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"/>
  </p:sldMasterIdLst>
  <p:notesMasterIdLst>
    <p:notesMasterId r:id="rId30"/>
  </p:notesMasterIdLst>
  <p:sldIdLst>
    <p:sldId id="256" r:id="rId6"/>
    <p:sldId id="286" r:id="rId7"/>
    <p:sldId id="258" r:id="rId8"/>
    <p:sldId id="259" r:id="rId9"/>
    <p:sldId id="287" r:id="rId10"/>
    <p:sldId id="288" r:id="rId11"/>
    <p:sldId id="312" r:id="rId12"/>
    <p:sldId id="262" r:id="rId13"/>
    <p:sldId id="263" r:id="rId14"/>
    <p:sldId id="264" r:id="rId15"/>
    <p:sldId id="281" r:id="rId16"/>
    <p:sldId id="311" r:id="rId17"/>
    <p:sldId id="267" r:id="rId18"/>
    <p:sldId id="268" r:id="rId19"/>
    <p:sldId id="269" r:id="rId20"/>
    <p:sldId id="270" r:id="rId21"/>
    <p:sldId id="285" r:id="rId22"/>
    <p:sldId id="272" r:id="rId23"/>
    <p:sldId id="273" r:id="rId24"/>
    <p:sldId id="274" r:id="rId25"/>
    <p:sldId id="275" r:id="rId26"/>
    <p:sldId id="276" r:id="rId27"/>
    <p:sldId id="277" r:id="rId28"/>
    <p:sldId id="278" r:id="rId29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485D"/>
    <a:srgbClr val="005555"/>
    <a:srgbClr val="006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5369" autoAdjust="0"/>
  </p:normalViewPr>
  <p:slideViewPr>
    <p:cSldViewPr snapToGrid="0" snapToObjects="1" showGuides="1">
      <p:cViewPr>
        <p:scale>
          <a:sx n="55" d="100"/>
          <a:sy n="55" d="100"/>
        </p:scale>
        <p:origin x="2556" y="148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67F-423E-AFAE-BDE61041FE6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67F-423E-AFAE-BDE61041FE6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67F-423E-AFAE-BDE61041FE6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67F-423E-AFAE-BDE61041FE64}"/>
              </c:ext>
            </c:extLst>
          </c:dPt>
          <c:dLbls>
            <c:dLbl>
              <c:idx val="0"/>
              <c:layout>
                <c:manualLayout>
                  <c:x val="-4.2712170954977285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67F-423E-AFAE-BDE61041FE64}"/>
                </c:ext>
              </c:extLst>
            </c:dLbl>
            <c:dLbl>
              <c:idx val="1"/>
              <c:layout>
                <c:manualLayout>
                  <c:x val="-1.1805532776930527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6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67F-423E-AFAE-BDE61041FE64}"/>
                </c:ext>
              </c:extLst>
            </c:dLbl>
            <c:dLbl>
              <c:idx val="2"/>
              <c:layout>
                <c:manualLayout>
                  <c:x val="-2.6365537626528629E-2"/>
                  <c:y val="4.1699748467117246E-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67F-423E-AFAE-BDE61041FE6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7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67F-423E-AFAE-BDE61041FE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sia</c:v>
                </c:pt>
                <c:pt idx="1">
                  <c:v>Latin America</c:v>
                </c:pt>
                <c:pt idx="2">
                  <c:v>Europe</c:v>
                </c:pt>
                <c:pt idx="3">
                  <c:v>Africa</c:v>
                </c:pt>
                <c:pt idx="4">
                  <c:v>North America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9</c:v>
                </c:pt>
                <c:pt idx="1">
                  <c:v>22</c:v>
                </c:pt>
                <c:pt idx="2">
                  <c:v>17</c:v>
                </c:pt>
                <c:pt idx="3">
                  <c:v>4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67F-423E-AFAE-BDE61041FE6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74523839"/>
        <c:axId val="249017263"/>
      </c:barChart>
      <c:catAx>
        <c:axId val="27452383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49017263"/>
        <c:crosses val="autoZero"/>
        <c:auto val="1"/>
        <c:lblAlgn val="ctr"/>
        <c:lblOffset val="100"/>
        <c:noMultiLvlLbl val="0"/>
      </c:catAx>
      <c:valAx>
        <c:axId val="2490172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745238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80376-9849-0641-980F-B64B5DF60C01}" type="datetimeFigureOut">
              <a:rPr lang="de-DE" smtClean="0"/>
              <a:t>04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9F2F47-17B9-B440-9B67-93B9C4BEB08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962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09361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9779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2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CEE6E5-DB8B-472C-8377-0C6AA874D1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D5D59-E9B2-42BF-A061-8A51677792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D9F8A-C438-4962-8518-060144F57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2" userDrawn="1">
          <p15:clr>
            <a:srgbClr val="FBAE40"/>
          </p15:clr>
        </p15:guide>
        <p15:guide id="2" orient="horz" pos="1408" userDrawn="1">
          <p15:clr>
            <a:srgbClr val="FBAE40"/>
          </p15:clr>
        </p15:guide>
        <p15:guide id="3" orient="horz" pos="1792" userDrawn="1">
          <p15:clr>
            <a:srgbClr val="FBAE40"/>
          </p15:clr>
        </p15:guide>
        <p15:guide id="4" orient="horz" pos="1918" userDrawn="1">
          <p15:clr>
            <a:srgbClr val="FBAE40"/>
          </p15:clr>
        </p15:guide>
        <p15:guide id="5" orient="horz" pos="2046" userDrawn="1">
          <p15:clr>
            <a:srgbClr val="FBAE40"/>
          </p15:clr>
        </p15:guide>
        <p15:guide id="6" orient="horz" pos="2176" userDrawn="1">
          <p15:clr>
            <a:srgbClr val="FBAE40"/>
          </p15:clr>
        </p15:guide>
        <p15:guide id="7" orient="horz" pos="2302" userDrawn="1">
          <p15:clr>
            <a:srgbClr val="FBAE40"/>
          </p15:clr>
        </p15:guide>
        <p15:guide id="8" orient="horz" pos="2432" userDrawn="1">
          <p15:clr>
            <a:srgbClr val="FBAE40"/>
          </p15:clr>
        </p15:guide>
        <p15:guide id="9" orient="horz" pos="2558" userDrawn="1">
          <p15:clr>
            <a:srgbClr val="FBAE40"/>
          </p15:clr>
        </p15:guide>
        <p15:guide id="10" orient="horz" pos="2688" userDrawn="1">
          <p15:clr>
            <a:srgbClr val="FBAE40"/>
          </p15:clr>
        </p15:guide>
        <p15:guide id="11" orient="horz" pos="2818" userDrawn="1">
          <p15:clr>
            <a:srgbClr val="FBAE40"/>
          </p15:clr>
        </p15:guide>
        <p15:guide id="12" orient="horz" pos="2944" userDrawn="1">
          <p15:clr>
            <a:srgbClr val="FBAE40"/>
          </p15:clr>
        </p15:guide>
        <p15:guide id="13" orient="horz" pos="3074" userDrawn="1">
          <p15:clr>
            <a:srgbClr val="FBAE40"/>
          </p15:clr>
        </p15:guide>
        <p15:guide id="14" orient="horz" pos="3202" userDrawn="1">
          <p15:clr>
            <a:srgbClr val="FBAE40"/>
          </p15:clr>
        </p15:guide>
        <p15:guide id="15" orient="horz" pos="3328" userDrawn="1">
          <p15:clr>
            <a:srgbClr val="FBAE40"/>
          </p15:clr>
        </p15:guide>
        <p15:guide id="16" orient="horz" pos="3456" userDrawn="1">
          <p15:clr>
            <a:srgbClr val="FBAE40"/>
          </p15:clr>
        </p15:guide>
        <p15:guide id="17" orient="horz" pos="3584" userDrawn="1">
          <p15:clr>
            <a:srgbClr val="FBAE40"/>
          </p15:clr>
        </p15:guide>
        <p15:guide id="18" orient="horz" pos="3710" userDrawn="1">
          <p15:clr>
            <a:srgbClr val="FBAE40"/>
          </p15:clr>
        </p15:guide>
        <p15:guide id="19" orient="horz" pos="3838" userDrawn="1">
          <p15:clr>
            <a:srgbClr val="FBAE40"/>
          </p15:clr>
        </p15:guide>
        <p15:guide id="20" orient="horz" pos="3970" userDrawn="1">
          <p15:clr>
            <a:srgbClr val="FBAE40"/>
          </p15:clr>
        </p15:guide>
        <p15:guide id="21" pos="7162" userDrawn="1">
          <p15:clr>
            <a:srgbClr val="FBAE40"/>
          </p15:clr>
        </p15:guide>
        <p15:guide id="22" pos="5626" userDrawn="1">
          <p15:clr>
            <a:srgbClr val="FBAE40"/>
          </p15:clr>
        </p15:guide>
        <p15:guide id="23" pos="5500" userDrawn="1">
          <p15:clr>
            <a:srgbClr val="FBAE40"/>
          </p15:clr>
        </p15:guide>
        <p15:guide id="24" pos="5372" userDrawn="1">
          <p15:clr>
            <a:srgbClr val="FBAE40"/>
          </p15:clr>
        </p15:guide>
        <p15:guide id="25" pos="5246" userDrawn="1">
          <p15:clr>
            <a:srgbClr val="FBAE40"/>
          </p15:clr>
        </p15:guide>
        <p15:guide id="26" pos="5116" userDrawn="1">
          <p15:clr>
            <a:srgbClr val="FBAE40"/>
          </p15:clr>
        </p15:guide>
        <p15:guide id="27" pos="4988" userDrawn="1">
          <p15:clr>
            <a:srgbClr val="FBAE40"/>
          </p15:clr>
        </p15:guide>
        <p15:guide id="28" pos="4860" userDrawn="1">
          <p15:clr>
            <a:srgbClr val="FBAE40"/>
          </p15:clr>
        </p15:guide>
        <p15:guide id="29" pos="4732" userDrawn="1">
          <p15:clr>
            <a:srgbClr val="FBAE40"/>
          </p15:clr>
        </p15:guide>
        <p15:guide id="30" pos="4602" userDrawn="1">
          <p15:clr>
            <a:srgbClr val="FBAE40"/>
          </p15:clr>
        </p15:guide>
        <p15:guide id="31" pos="4476" userDrawn="1">
          <p15:clr>
            <a:srgbClr val="FBAE40"/>
          </p15:clr>
        </p15:guide>
        <p15:guide id="32" pos="4348" userDrawn="1">
          <p15:clr>
            <a:srgbClr val="FBAE40"/>
          </p15:clr>
        </p15:guide>
        <p15:guide id="33" pos="4220" userDrawn="1">
          <p15:clr>
            <a:srgbClr val="FBAE40"/>
          </p15:clr>
        </p15:guide>
        <p15:guide id="34" pos="4094" userDrawn="1">
          <p15:clr>
            <a:srgbClr val="FBAE40"/>
          </p15:clr>
        </p15:guide>
        <p15:guide id="35" pos="3966" userDrawn="1">
          <p15:clr>
            <a:srgbClr val="FBAE40"/>
          </p15:clr>
        </p15:guide>
        <p15:guide id="36" pos="3838" userDrawn="1">
          <p15:clr>
            <a:srgbClr val="FBAE40"/>
          </p15:clr>
        </p15:guide>
        <p15:guide id="37" pos="3708" userDrawn="1">
          <p15:clr>
            <a:srgbClr val="FBAE40"/>
          </p15:clr>
        </p15:guide>
        <p15:guide id="38" pos="3580" userDrawn="1">
          <p15:clr>
            <a:srgbClr val="FBAE40"/>
          </p15:clr>
        </p15:guide>
        <p15:guide id="39" pos="3452" userDrawn="1">
          <p15:clr>
            <a:srgbClr val="FBAE40"/>
          </p15:clr>
        </p15:guide>
        <p15:guide id="40" pos="3324" userDrawn="1">
          <p15:clr>
            <a:srgbClr val="FBAE40"/>
          </p15:clr>
        </p15:guide>
        <p15:guide id="41" pos="3196" userDrawn="1">
          <p15:clr>
            <a:srgbClr val="FBAE40"/>
          </p15:clr>
        </p15:guide>
        <p15:guide id="42" pos="3068" userDrawn="1">
          <p15:clr>
            <a:srgbClr val="FBAE40"/>
          </p15:clr>
        </p15:guide>
        <p15:guide id="43" pos="2940" userDrawn="1">
          <p15:clr>
            <a:srgbClr val="FBAE40"/>
          </p15:clr>
        </p15:guide>
        <p15:guide id="44" pos="2812" userDrawn="1">
          <p15:clr>
            <a:srgbClr val="FBAE40"/>
          </p15:clr>
        </p15:guide>
        <p15:guide id="45" pos="2686" userDrawn="1">
          <p15:clr>
            <a:srgbClr val="FBAE40"/>
          </p15:clr>
        </p15:guide>
        <p15:guide id="46" pos="2556" userDrawn="1">
          <p15:clr>
            <a:srgbClr val="FBAE40"/>
          </p15:clr>
        </p15:guide>
        <p15:guide id="47" pos="2430" userDrawn="1">
          <p15:clr>
            <a:srgbClr val="FBAE40"/>
          </p15:clr>
        </p15:guide>
        <p15:guide id="48" pos="2302" userDrawn="1">
          <p15:clr>
            <a:srgbClr val="FBAE40"/>
          </p15:clr>
        </p15:guide>
        <p15:guide id="49" pos="217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973028-3882-4980-B8C8-2E29C1E4BD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2.w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" name="think-cell Folie" r:id="rId26" imgW="384" imgH="385" progId="TCLayout.ActiveDocument.1">
                  <p:embed/>
                </p:oleObj>
              </mc:Choice>
              <mc:Fallback>
                <p:oleObj name="think-cell Folie" r:id="rId2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November 2021          5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8" r:id="rId4"/>
    <p:sldLayoutId id="2147483695" r:id="rId5"/>
    <p:sldLayoutId id="2147483697" r:id="rId6"/>
    <p:sldLayoutId id="2147483662" r:id="rId7"/>
    <p:sldLayoutId id="2147483669" r:id="rId8"/>
    <p:sldLayoutId id="2147483664" r:id="rId9"/>
    <p:sldLayoutId id="2147483668" r:id="rId10"/>
    <p:sldLayoutId id="2147483698" r:id="rId11"/>
    <p:sldLayoutId id="2147483671" r:id="rId12"/>
    <p:sldLayoutId id="2147483699" r:id="rId13"/>
    <p:sldLayoutId id="2147483692" r:id="rId14"/>
    <p:sldLayoutId id="2147483672" r:id="rId15"/>
    <p:sldLayoutId id="2147483673" r:id="rId16"/>
    <p:sldLayoutId id="2147483694" r:id="rId17"/>
    <p:sldLayoutId id="2147483696" r:id="rId18"/>
    <p:sldLayoutId id="2147483667" r:id="rId19"/>
    <p:sldLayoutId id="2147483700" r:id="rId20"/>
    <p:sldLayoutId id="2147483663" r:id="rId21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 userDrawn="1">
          <p15:clr>
            <a:srgbClr val="F26B43"/>
          </p15:clr>
        </p15:guide>
        <p15:guide id="2" orient="horz" pos="1321" userDrawn="1">
          <p15:clr>
            <a:srgbClr val="F26B43"/>
          </p15:clr>
        </p15:guide>
        <p15:guide id="3" pos="7083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  <p15:guide id="5" pos="483" userDrawn="1">
          <p15:clr>
            <a:srgbClr val="F26B43"/>
          </p15:clr>
        </p15:guide>
        <p15:guide id="6" orient="horz" pos="436" userDrawn="1">
          <p15:clr>
            <a:srgbClr val="F26B43"/>
          </p15:clr>
        </p15:guide>
        <p15:guide id="7" orient="horz" pos="4065" userDrawn="1">
          <p15:clr>
            <a:srgbClr val="F26B43"/>
          </p15:clr>
        </p15:guide>
        <p15:guide id="8" orient="horz" pos="4178" userDrawn="1">
          <p15:clr>
            <a:srgbClr val="F26B43"/>
          </p15:clr>
        </p15:guide>
        <p15:guide id="9" pos="166" userDrawn="1">
          <p15:clr>
            <a:srgbClr val="F26B43"/>
          </p15:clr>
        </p15:guide>
        <p15:guide id="10" pos="751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30.xml"/><Relationship Id="rId7" Type="http://schemas.openxmlformats.org/officeDocument/2006/relationships/chart" Target="../charts/chart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2.emf"/><Relationship Id="rId11" Type="http://schemas.openxmlformats.org/officeDocument/2006/relationships/image" Target="../media/image36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35.png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microsoft.com/office/2007/relationships/hdphoto" Target="../media/hdphoto4.wdp"/><Relationship Id="rId18" Type="http://schemas.microsoft.com/office/2007/relationships/hdphoto" Target="../media/hdphoto6.wdp"/><Relationship Id="rId26" Type="http://schemas.openxmlformats.org/officeDocument/2006/relationships/image" Target="../media/image22.png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19.png"/><Relationship Id="rId7" Type="http://schemas.microsoft.com/office/2007/relationships/hdphoto" Target="../media/hdphoto1.wdp"/><Relationship Id="rId12" Type="http://schemas.openxmlformats.org/officeDocument/2006/relationships/image" Target="../media/image14.png"/><Relationship Id="rId17" Type="http://schemas.openxmlformats.org/officeDocument/2006/relationships/image" Target="../media/image17.png"/><Relationship Id="rId25" Type="http://schemas.openxmlformats.org/officeDocument/2006/relationships/image" Target="../media/image21.png"/><Relationship Id="rId2" Type="http://schemas.openxmlformats.org/officeDocument/2006/relationships/tags" Target="../tags/tag28.xml"/><Relationship Id="rId16" Type="http://schemas.openxmlformats.org/officeDocument/2006/relationships/image" Target="../media/image16.png"/><Relationship Id="rId20" Type="http://schemas.microsoft.com/office/2007/relationships/hdphoto" Target="../media/hdphoto7.wdp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png"/><Relationship Id="rId11" Type="http://schemas.microsoft.com/office/2007/relationships/hdphoto" Target="../media/hdphoto3.wdp"/><Relationship Id="rId24" Type="http://schemas.microsoft.com/office/2007/relationships/hdphoto" Target="../media/hdphoto9.wdp"/><Relationship Id="rId5" Type="http://schemas.openxmlformats.org/officeDocument/2006/relationships/image" Target="../media/image10.emf"/><Relationship Id="rId15" Type="http://schemas.microsoft.com/office/2007/relationships/hdphoto" Target="../media/hdphoto5.wdp"/><Relationship Id="rId23" Type="http://schemas.openxmlformats.org/officeDocument/2006/relationships/image" Target="../media/image20.png"/><Relationship Id="rId10" Type="http://schemas.openxmlformats.org/officeDocument/2006/relationships/image" Target="../media/image13.png"/><Relationship Id="rId19" Type="http://schemas.openxmlformats.org/officeDocument/2006/relationships/image" Target="../media/image18.png"/><Relationship Id="rId4" Type="http://schemas.openxmlformats.org/officeDocument/2006/relationships/oleObject" Target="../embeddings/oleObject13.bin"/><Relationship Id="rId9" Type="http://schemas.microsoft.com/office/2007/relationships/hdphoto" Target="../media/hdphoto2.wdp"/><Relationship Id="rId14" Type="http://schemas.openxmlformats.org/officeDocument/2006/relationships/image" Target="../media/image15.png"/><Relationship Id="rId22" Type="http://schemas.microsoft.com/office/2007/relationships/hdphoto" Target="../media/hdphoto8.wdp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ax-Planck-Gesellschaft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b="0" dirty="0"/>
              <a:t>An independent research organis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97241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341" y="1218559"/>
            <a:ext cx="10057965" cy="5234629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X PLANCK CENTERs AND PARTNER INSTITUTES</a:t>
            </a:r>
            <a:br>
              <a:rPr lang="de-DE" dirty="0"/>
            </a:br>
            <a:r>
              <a:rPr lang="de-DE" sz="1800" b="0" cap="none" dirty="0"/>
              <a:t>03/2022</a:t>
            </a:r>
            <a:endParaRPr lang="de-DE" sz="2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4985AB68-6CDE-4676-8F32-6907AFAC9C39}" type="slidenum">
              <a:rPr lang="pt-BR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44644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Inhaltsplatzhalter 6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373333357"/>
              </p:ext>
            </p:extLst>
          </p:nvPr>
        </p:nvGraphicFramePr>
        <p:xfrm>
          <a:off x="947737" y="2097086"/>
          <a:ext cx="10296525" cy="3571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69612">
                  <a:extLst>
                    <a:ext uri="{9D8B030D-6E8A-4147-A177-3AD203B41FA5}">
                      <a16:colId xmlns:a16="http://schemas.microsoft.com/office/drawing/2014/main" val="3947988917"/>
                    </a:ext>
                  </a:extLst>
                </a:gridCol>
                <a:gridCol w="1127626">
                  <a:extLst>
                    <a:ext uri="{9D8B030D-6E8A-4147-A177-3AD203B41FA5}">
                      <a16:colId xmlns:a16="http://schemas.microsoft.com/office/drawing/2014/main" val="2738801"/>
                    </a:ext>
                  </a:extLst>
                </a:gridCol>
                <a:gridCol w="3199287">
                  <a:extLst>
                    <a:ext uri="{9D8B030D-6E8A-4147-A177-3AD203B41FA5}">
                      <a16:colId xmlns:a16="http://schemas.microsoft.com/office/drawing/2014/main" val="154281507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n-GB" cap="none" noProof="0" dirty="0"/>
                        <a:t>Proportion of International Scientific Staff</a:t>
                      </a:r>
                      <a:endParaRPr lang="en-GB" noProof="0" dirty="0"/>
                    </a:p>
                  </a:txBody>
                  <a:tcPr marL="91765" marR="91765">
                    <a:solidFill>
                      <a:srgbClr val="006C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noProof="0" dirty="0"/>
                    </a:p>
                  </a:txBody>
                  <a:tcPr marL="91765" marR="91765">
                    <a:solidFill>
                      <a:srgbClr val="006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78023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b="1" noProof="0" dirty="0">
                          <a:solidFill>
                            <a:schemeClr val="tx1"/>
                          </a:solidFill>
                        </a:rPr>
                        <a:t>Directors</a:t>
                      </a:r>
                    </a:p>
                    <a:p>
                      <a:r>
                        <a:rPr lang="en-GB" b="0" noProof="0" dirty="0">
                          <a:solidFill>
                            <a:schemeClr val="tx1"/>
                          </a:solidFill>
                        </a:rPr>
                        <a:t>from outside Germany</a:t>
                      </a:r>
                    </a:p>
                  </a:txBody>
                  <a:tcPr marL="91765" marR="91765"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/>
                        <a:t>304</a:t>
                      </a:r>
                      <a:br>
                        <a:rPr lang="de-DE" dirty="0"/>
                      </a:br>
                      <a:r>
                        <a:rPr lang="de-DE" dirty="0"/>
                        <a:t>117</a:t>
                      </a:r>
                    </a:p>
                  </a:txBody>
                  <a:tcPr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endParaRPr lang="de-DE" dirty="0"/>
                    </a:p>
                    <a:p>
                      <a:pPr lvl="1" algn="l"/>
                      <a:r>
                        <a:rPr lang="de-DE" dirty="0"/>
                        <a:t>38,5</a:t>
                      </a:r>
                      <a:r>
                        <a:rPr lang="de-DE" baseline="0" dirty="0"/>
                        <a:t>%</a:t>
                      </a:r>
                      <a:endParaRPr lang="de-DE" dirty="0"/>
                    </a:p>
                  </a:txBody>
                  <a:tcPr>
                    <a:solidFill>
                      <a:srgbClr val="CBD4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9150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b="1" noProof="0" dirty="0">
                          <a:solidFill>
                            <a:schemeClr val="tx1"/>
                          </a:solidFill>
                        </a:rPr>
                        <a:t>Max Planck Research Group Leaders (W2)</a:t>
                      </a:r>
                    </a:p>
                    <a:p>
                      <a:r>
                        <a:rPr lang="en-GB" b="0" noProof="0" dirty="0">
                          <a:solidFill>
                            <a:schemeClr val="tx1"/>
                          </a:solidFill>
                        </a:rPr>
                        <a:t>from outside Germany</a:t>
                      </a:r>
                    </a:p>
                  </a:txBody>
                  <a:tcPr marL="91765" marR="91765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/>
                        <a:t>386</a:t>
                      </a:r>
                    </a:p>
                    <a:p>
                      <a:pPr algn="r"/>
                      <a:r>
                        <a:rPr lang="de-DE" dirty="0"/>
                        <a:t>18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 algn="l"/>
                      <a:endParaRPr lang="de-DE" dirty="0"/>
                    </a:p>
                    <a:p>
                      <a:pPr lvl="1" algn="l"/>
                      <a:r>
                        <a:rPr lang="de-DE" dirty="0"/>
                        <a:t>47,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9853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1" noProof="0" dirty="0">
                          <a:solidFill>
                            <a:schemeClr val="tx1"/>
                          </a:solidFill>
                        </a:rPr>
                        <a:t>Postdocs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(with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</a:rPr>
                        <a:t>TVöD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 contract and scholarship)</a:t>
                      </a:r>
                      <a:endParaRPr lang="de-DE" sz="1800" b="1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b="0" noProof="0" dirty="0">
                          <a:solidFill>
                            <a:schemeClr val="tx1"/>
                          </a:solidFill>
                        </a:rPr>
                        <a:t>from outside Germany</a:t>
                      </a:r>
                    </a:p>
                  </a:txBody>
                  <a:tcPr marL="91765" marR="91765"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/>
                        <a:t>2.552</a:t>
                      </a:r>
                    </a:p>
                    <a:p>
                      <a:pPr algn="r"/>
                      <a:r>
                        <a:rPr lang="de-DE" dirty="0"/>
                        <a:t>1.957</a:t>
                      </a:r>
                    </a:p>
                  </a:txBody>
                  <a:tcPr>
                    <a:solidFill>
                      <a:srgbClr val="CBD4D3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endParaRPr lang="de-DE" dirty="0"/>
                    </a:p>
                    <a:p>
                      <a:pPr lvl="1" algn="l"/>
                      <a:r>
                        <a:rPr lang="de-DE" dirty="0"/>
                        <a:t>76,7%</a:t>
                      </a:r>
                    </a:p>
                  </a:txBody>
                  <a:tcPr>
                    <a:solidFill>
                      <a:srgbClr val="CBD4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527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1" noProof="0" dirty="0">
                          <a:solidFill>
                            <a:schemeClr val="tx1"/>
                          </a:solidFill>
                        </a:rPr>
                        <a:t>PhD students 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with funding agreement and scholarship)</a:t>
                      </a:r>
                      <a:endParaRPr kumimoji="0" lang="de-DE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b="0" noProof="0" dirty="0">
                          <a:solidFill>
                            <a:schemeClr val="tx1"/>
                          </a:solidFill>
                        </a:rPr>
                        <a:t>from outside Germany</a:t>
                      </a:r>
                    </a:p>
                  </a:txBody>
                  <a:tcPr marL="91765" marR="91765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/>
                        <a:t>3.723</a:t>
                      </a:r>
                    </a:p>
                    <a:p>
                      <a:pPr algn="r"/>
                      <a:r>
                        <a:rPr lang="de-DE" dirty="0"/>
                        <a:t>2.3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 algn="l"/>
                      <a:endParaRPr lang="de-DE" dirty="0"/>
                    </a:p>
                    <a:p>
                      <a:pPr lvl="1" algn="l"/>
                      <a:r>
                        <a:rPr lang="de-DE" dirty="0"/>
                        <a:t>62,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1897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b="1" noProof="0" dirty="0">
                          <a:solidFill>
                            <a:schemeClr val="tx1"/>
                          </a:solidFill>
                        </a:rPr>
                        <a:t>Visiting researchers</a:t>
                      </a:r>
                    </a:p>
                    <a:p>
                      <a:r>
                        <a:rPr lang="en-GB" b="0" noProof="0" dirty="0">
                          <a:solidFill>
                            <a:schemeClr val="tx1"/>
                          </a:solidFill>
                        </a:rPr>
                        <a:t>from outside Germany</a:t>
                      </a:r>
                    </a:p>
                  </a:txBody>
                  <a:tcPr marL="91765" marR="91765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/>
                        <a:t>2. 798</a:t>
                      </a:r>
                    </a:p>
                    <a:p>
                      <a:pPr algn="r"/>
                      <a:r>
                        <a:rPr lang="de-DE" dirty="0"/>
                        <a:t>1.6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 algn="l"/>
                      <a:endParaRPr lang="de-DE" dirty="0"/>
                    </a:p>
                    <a:p>
                      <a:pPr lvl="1" algn="l"/>
                      <a:r>
                        <a:rPr lang="de-DE" dirty="0"/>
                        <a:t>58,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5545945"/>
                  </a:ext>
                </a:extLst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>
                <a:ea typeface="ＭＳ Ｐゴシック" pitchFamily="34" charset="-128"/>
              </a:rPr>
              <a:t>INTERNATIONAL BACKGROUND of Max Planck Scientific Staff</a:t>
            </a:r>
            <a:br>
              <a:rPr lang="en-GB" cap="none" dirty="0">
                <a:ea typeface="ＭＳ Ｐゴシック" pitchFamily="34" charset="-128"/>
              </a:rPr>
            </a:br>
            <a:r>
              <a:rPr lang="en-GB" sz="2000" b="0" cap="none" dirty="0">
                <a:ea typeface="ＭＳ Ｐゴシック" pitchFamily="34" charset="-128"/>
              </a:rPr>
              <a:t>as per 31.12.2022; without Florida, Luxemburg, ESI </a:t>
            </a:r>
            <a:br>
              <a:rPr lang="en-GB" sz="1600" b="0" cap="none" dirty="0">
                <a:ea typeface="ＭＳ Ｐゴシック" pitchFamily="34" charset="-128"/>
              </a:rPr>
            </a:br>
            <a:r>
              <a:rPr lang="de-DE" sz="1600" b="0" i="1" dirty="0"/>
              <a:t>	</a:t>
            </a:r>
            <a:r>
              <a:rPr lang="de-DE" dirty="0"/>
              <a:t>		</a:t>
            </a:r>
            <a:br>
              <a:rPr lang="de-DE" dirty="0"/>
            </a:b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563B148C-750B-45A7-AD38-A4B8A21A0D02}" type="slidenum">
              <a:rPr lang="pt-BR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84753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39A548A-5B87-4D06-AF28-E951884353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0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39A548A-5B87-4D06-AF28-E951884353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A897752-D423-4D48-9F2D-9C8FB6E164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9" name="Background">
            <a:extLst>
              <a:ext uri="{FF2B5EF4-FFF2-40B4-BE49-F238E27FC236}">
                <a16:creationId xmlns:a16="http://schemas.microsoft.com/office/drawing/2014/main" id="{5E7AD92A-4DF2-6E42-8A7D-34FEF56993C4}"/>
              </a:ext>
            </a:extLst>
          </p:cNvPr>
          <p:cNvSpPr/>
          <p:nvPr/>
        </p:nvSpPr>
        <p:spPr>
          <a:xfrm>
            <a:off x="957729" y="1525005"/>
            <a:ext cx="7810361" cy="488802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grpSp>
        <p:nvGrpSpPr>
          <p:cNvPr id="492" name="Worldmap">
            <a:extLst>
              <a:ext uri="{FF2B5EF4-FFF2-40B4-BE49-F238E27FC236}">
                <a16:creationId xmlns:a16="http://schemas.microsoft.com/office/drawing/2014/main" id="{ED7882FC-F999-EA40-973E-BC260149BA8E}"/>
              </a:ext>
            </a:extLst>
          </p:cNvPr>
          <p:cNvGrpSpPr/>
          <p:nvPr/>
        </p:nvGrpSpPr>
        <p:grpSpPr>
          <a:xfrm>
            <a:off x="1039310" y="1525004"/>
            <a:ext cx="7687011" cy="4802450"/>
            <a:chOff x="3341935" y="1975253"/>
            <a:chExt cx="5738229" cy="3584950"/>
          </a:xfrm>
          <a:solidFill>
            <a:schemeClr val="bg1"/>
          </a:solidFill>
        </p:grpSpPr>
        <p:sp>
          <p:nvSpPr>
            <p:cNvPr id="493" name="Freihandform: Form 4">
              <a:extLst>
                <a:ext uri="{FF2B5EF4-FFF2-40B4-BE49-F238E27FC236}">
                  <a16:creationId xmlns:a16="http://schemas.microsoft.com/office/drawing/2014/main" id="{1A924708-18E7-3F4F-868A-867AF422558F}"/>
                </a:ext>
              </a:extLst>
            </p:cNvPr>
            <p:cNvSpPr/>
            <p:nvPr/>
          </p:nvSpPr>
          <p:spPr>
            <a:xfrm>
              <a:off x="7300313" y="3543047"/>
              <a:ext cx="931640" cy="650206"/>
            </a:xfrm>
            <a:custGeom>
              <a:avLst/>
              <a:gdLst>
                <a:gd name="connsiteX0" fmla="*/ 787245 w 931640"/>
                <a:gd name="connsiteY0" fmla="*/ 286046 h 650206"/>
                <a:gd name="connsiteX1" fmla="*/ 770534 w 931640"/>
                <a:gd name="connsiteY1" fmla="*/ 304346 h 650206"/>
                <a:gd name="connsiteX2" fmla="*/ 766955 w 931640"/>
                <a:gd name="connsiteY2" fmla="*/ 303552 h 650206"/>
                <a:gd name="connsiteX3" fmla="*/ 759394 w 931640"/>
                <a:gd name="connsiteY3" fmla="*/ 304346 h 650206"/>
                <a:gd name="connsiteX4" fmla="*/ 754626 w 931640"/>
                <a:gd name="connsiteY4" fmla="*/ 306337 h 650206"/>
                <a:gd name="connsiteX5" fmla="*/ 748261 w 931640"/>
                <a:gd name="connsiteY5" fmla="*/ 309122 h 650206"/>
                <a:gd name="connsiteX6" fmla="*/ 743084 w 931640"/>
                <a:gd name="connsiteY6" fmla="*/ 312702 h 650206"/>
                <a:gd name="connsiteX7" fmla="*/ 738710 w 931640"/>
                <a:gd name="connsiteY7" fmla="*/ 316281 h 650206"/>
                <a:gd name="connsiteX8" fmla="*/ 733541 w 931640"/>
                <a:gd name="connsiteY8" fmla="*/ 320255 h 650206"/>
                <a:gd name="connsiteX9" fmla="*/ 728371 w 931640"/>
                <a:gd name="connsiteY9" fmla="*/ 324236 h 650206"/>
                <a:gd name="connsiteX10" fmla="*/ 722006 w 931640"/>
                <a:gd name="connsiteY10" fmla="*/ 326620 h 650206"/>
                <a:gd name="connsiteX11" fmla="*/ 722006 w 931640"/>
                <a:gd name="connsiteY11" fmla="*/ 323441 h 650206"/>
                <a:gd name="connsiteX12" fmla="*/ 725980 w 931640"/>
                <a:gd name="connsiteY12" fmla="*/ 320255 h 650206"/>
                <a:gd name="connsiteX13" fmla="*/ 728371 w 931640"/>
                <a:gd name="connsiteY13" fmla="*/ 317076 h 650206"/>
                <a:gd name="connsiteX14" fmla="*/ 728371 w 931640"/>
                <a:gd name="connsiteY14" fmla="*/ 313496 h 650206"/>
                <a:gd name="connsiteX15" fmla="*/ 727176 w 931640"/>
                <a:gd name="connsiteY15" fmla="*/ 313496 h 650206"/>
                <a:gd name="connsiteX16" fmla="*/ 723596 w 931640"/>
                <a:gd name="connsiteY16" fmla="*/ 311506 h 650206"/>
                <a:gd name="connsiteX17" fmla="*/ 723596 w 931640"/>
                <a:gd name="connsiteY17" fmla="*/ 307926 h 650206"/>
                <a:gd name="connsiteX18" fmla="*/ 727176 w 931640"/>
                <a:gd name="connsiteY18" fmla="*/ 305535 h 650206"/>
                <a:gd name="connsiteX19" fmla="*/ 729560 w 931640"/>
                <a:gd name="connsiteY19" fmla="*/ 303552 h 650206"/>
                <a:gd name="connsiteX20" fmla="*/ 732746 w 931640"/>
                <a:gd name="connsiteY20" fmla="*/ 299972 h 650206"/>
                <a:gd name="connsiteX21" fmla="*/ 737514 w 931640"/>
                <a:gd name="connsiteY21" fmla="*/ 294001 h 650206"/>
                <a:gd name="connsiteX22" fmla="*/ 737514 w 931640"/>
                <a:gd name="connsiteY22" fmla="*/ 290027 h 650206"/>
                <a:gd name="connsiteX23" fmla="*/ 735130 w 931640"/>
                <a:gd name="connsiteY23" fmla="*/ 287242 h 650206"/>
                <a:gd name="connsiteX24" fmla="*/ 730755 w 931640"/>
                <a:gd name="connsiteY24" fmla="*/ 285252 h 650206"/>
                <a:gd name="connsiteX25" fmla="*/ 727569 w 931640"/>
                <a:gd name="connsiteY25" fmla="*/ 284851 h 650206"/>
                <a:gd name="connsiteX26" fmla="*/ 722006 w 931640"/>
                <a:gd name="connsiteY26" fmla="*/ 286046 h 650206"/>
                <a:gd name="connsiteX27" fmla="*/ 718820 w 931640"/>
                <a:gd name="connsiteY27" fmla="*/ 288431 h 650206"/>
                <a:gd name="connsiteX28" fmla="*/ 712856 w 931640"/>
                <a:gd name="connsiteY28" fmla="*/ 294001 h 650206"/>
                <a:gd name="connsiteX29" fmla="*/ 700127 w 931640"/>
                <a:gd name="connsiteY29" fmla="*/ 302757 h 650206"/>
                <a:gd name="connsiteX30" fmla="*/ 693361 w 931640"/>
                <a:gd name="connsiteY30" fmla="*/ 311506 h 650206"/>
                <a:gd name="connsiteX31" fmla="*/ 692566 w 931640"/>
                <a:gd name="connsiteY31" fmla="*/ 314291 h 650206"/>
                <a:gd name="connsiteX32" fmla="*/ 690576 w 931640"/>
                <a:gd name="connsiteY32" fmla="*/ 317076 h 650206"/>
                <a:gd name="connsiteX33" fmla="*/ 685406 w 931640"/>
                <a:gd name="connsiteY33" fmla="*/ 320255 h 650206"/>
                <a:gd name="connsiteX34" fmla="*/ 681826 w 931640"/>
                <a:gd name="connsiteY34" fmla="*/ 322646 h 650206"/>
                <a:gd name="connsiteX35" fmla="*/ 678247 w 931640"/>
                <a:gd name="connsiteY35" fmla="*/ 322646 h 650206"/>
                <a:gd name="connsiteX36" fmla="*/ 676657 w 931640"/>
                <a:gd name="connsiteY36" fmla="*/ 320255 h 650206"/>
                <a:gd name="connsiteX37" fmla="*/ 674266 w 931640"/>
                <a:gd name="connsiteY37" fmla="*/ 318265 h 650206"/>
                <a:gd name="connsiteX38" fmla="*/ 672677 w 931640"/>
                <a:gd name="connsiteY38" fmla="*/ 319460 h 650206"/>
                <a:gd name="connsiteX39" fmla="*/ 671882 w 931640"/>
                <a:gd name="connsiteY39" fmla="*/ 322646 h 650206"/>
                <a:gd name="connsiteX40" fmla="*/ 669892 w 931640"/>
                <a:gd name="connsiteY40" fmla="*/ 327415 h 650206"/>
                <a:gd name="connsiteX41" fmla="*/ 669892 w 931640"/>
                <a:gd name="connsiteY41" fmla="*/ 329806 h 650206"/>
                <a:gd name="connsiteX42" fmla="*/ 670686 w 931640"/>
                <a:gd name="connsiteY42" fmla="*/ 332985 h 650206"/>
                <a:gd name="connsiteX43" fmla="*/ 671882 w 931640"/>
                <a:gd name="connsiteY43" fmla="*/ 335770 h 650206"/>
                <a:gd name="connsiteX44" fmla="*/ 674266 w 931640"/>
                <a:gd name="connsiteY44" fmla="*/ 338154 h 650206"/>
                <a:gd name="connsiteX45" fmla="*/ 676657 w 931640"/>
                <a:gd name="connsiteY45" fmla="*/ 338956 h 650206"/>
                <a:gd name="connsiteX46" fmla="*/ 681826 w 931640"/>
                <a:gd name="connsiteY46" fmla="*/ 339751 h 650206"/>
                <a:gd name="connsiteX47" fmla="*/ 687791 w 931640"/>
                <a:gd name="connsiteY47" fmla="*/ 339751 h 650206"/>
                <a:gd name="connsiteX48" fmla="*/ 689781 w 931640"/>
                <a:gd name="connsiteY48" fmla="*/ 341340 h 650206"/>
                <a:gd name="connsiteX49" fmla="*/ 690576 w 931640"/>
                <a:gd name="connsiteY49" fmla="*/ 345321 h 650206"/>
                <a:gd name="connsiteX50" fmla="*/ 688986 w 931640"/>
                <a:gd name="connsiteY50" fmla="*/ 346509 h 650206"/>
                <a:gd name="connsiteX51" fmla="*/ 686996 w 931640"/>
                <a:gd name="connsiteY51" fmla="*/ 349294 h 650206"/>
                <a:gd name="connsiteX52" fmla="*/ 686996 w 931640"/>
                <a:gd name="connsiteY52" fmla="*/ 353669 h 650206"/>
                <a:gd name="connsiteX53" fmla="*/ 689781 w 931640"/>
                <a:gd name="connsiteY53" fmla="*/ 356060 h 650206"/>
                <a:gd name="connsiteX54" fmla="*/ 693361 w 931640"/>
                <a:gd name="connsiteY54" fmla="*/ 356855 h 650206"/>
                <a:gd name="connsiteX55" fmla="*/ 700127 w 931640"/>
                <a:gd name="connsiteY55" fmla="*/ 356855 h 650206"/>
                <a:gd name="connsiteX56" fmla="*/ 703305 w 931640"/>
                <a:gd name="connsiteY56" fmla="*/ 356060 h 650206"/>
                <a:gd name="connsiteX57" fmla="*/ 706091 w 931640"/>
                <a:gd name="connsiteY57" fmla="*/ 351285 h 650206"/>
                <a:gd name="connsiteX58" fmla="*/ 707286 w 931640"/>
                <a:gd name="connsiteY58" fmla="*/ 349294 h 650206"/>
                <a:gd name="connsiteX59" fmla="*/ 710465 w 931640"/>
                <a:gd name="connsiteY59" fmla="*/ 346509 h 650206"/>
                <a:gd name="connsiteX60" fmla="*/ 716436 w 931640"/>
                <a:gd name="connsiteY60" fmla="*/ 344519 h 650206"/>
                <a:gd name="connsiteX61" fmla="*/ 720410 w 931640"/>
                <a:gd name="connsiteY61" fmla="*/ 347705 h 650206"/>
                <a:gd name="connsiteX62" fmla="*/ 723596 w 931640"/>
                <a:gd name="connsiteY62" fmla="*/ 350089 h 650206"/>
                <a:gd name="connsiteX63" fmla="*/ 730355 w 931640"/>
                <a:gd name="connsiteY63" fmla="*/ 351285 h 650206"/>
                <a:gd name="connsiteX64" fmla="*/ 738710 w 931640"/>
                <a:gd name="connsiteY64" fmla="*/ 352080 h 650206"/>
                <a:gd name="connsiteX65" fmla="*/ 742290 w 931640"/>
                <a:gd name="connsiteY65" fmla="*/ 354464 h 650206"/>
                <a:gd name="connsiteX66" fmla="*/ 742290 w 931640"/>
                <a:gd name="connsiteY66" fmla="*/ 359239 h 650206"/>
                <a:gd name="connsiteX67" fmla="*/ 739906 w 931640"/>
                <a:gd name="connsiteY67" fmla="*/ 362425 h 650206"/>
                <a:gd name="connsiteX68" fmla="*/ 735925 w 931640"/>
                <a:gd name="connsiteY68" fmla="*/ 362425 h 650206"/>
                <a:gd name="connsiteX69" fmla="*/ 732746 w 931640"/>
                <a:gd name="connsiteY69" fmla="*/ 361630 h 650206"/>
                <a:gd name="connsiteX70" fmla="*/ 729560 w 931640"/>
                <a:gd name="connsiteY70" fmla="*/ 363614 h 650206"/>
                <a:gd name="connsiteX71" fmla="*/ 724791 w 931640"/>
                <a:gd name="connsiteY71" fmla="*/ 365604 h 650206"/>
                <a:gd name="connsiteX72" fmla="*/ 719221 w 931640"/>
                <a:gd name="connsiteY72" fmla="*/ 370379 h 650206"/>
                <a:gd name="connsiteX73" fmla="*/ 714045 w 931640"/>
                <a:gd name="connsiteY73" fmla="*/ 374754 h 650206"/>
                <a:gd name="connsiteX74" fmla="*/ 709277 w 931640"/>
                <a:gd name="connsiteY74" fmla="*/ 377940 h 650206"/>
                <a:gd name="connsiteX75" fmla="*/ 706091 w 931640"/>
                <a:gd name="connsiteY75" fmla="*/ 381119 h 650206"/>
                <a:gd name="connsiteX76" fmla="*/ 703305 w 931640"/>
                <a:gd name="connsiteY76" fmla="*/ 383904 h 650206"/>
                <a:gd name="connsiteX77" fmla="*/ 700127 w 931640"/>
                <a:gd name="connsiteY77" fmla="*/ 386689 h 650206"/>
                <a:gd name="connsiteX78" fmla="*/ 697341 w 931640"/>
                <a:gd name="connsiteY78" fmla="*/ 391465 h 650206"/>
                <a:gd name="connsiteX79" fmla="*/ 693361 w 931640"/>
                <a:gd name="connsiteY79" fmla="*/ 396233 h 650206"/>
                <a:gd name="connsiteX80" fmla="*/ 693361 w 931640"/>
                <a:gd name="connsiteY80" fmla="*/ 400615 h 650206"/>
                <a:gd name="connsiteX81" fmla="*/ 697341 w 931640"/>
                <a:gd name="connsiteY81" fmla="*/ 403794 h 650206"/>
                <a:gd name="connsiteX82" fmla="*/ 701716 w 931640"/>
                <a:gd name="connsiteY82" fmla="*/ 405784 h 650206"/>
                <a:gd name="connsiteX83" fmla="*/ 709277 w 931640"/>
                <a:gd name="connsiteY83" fmla="*/ 413738 h 650206"/>
                <a:gd name="connsiteX84" fmla="*/ 712062 w 931640"/>
                <a:gd name="connsiteY84" fmla="*/ 418514 h 650206"/>
                <a:gd name="connsiteX85" fmla="*/ 714045 w 931640"/>
                <a:gd name="connsiteY85" fmla="*/ 426468 h 650206"/>
                <a:gd name="connsiteX86" fmla="*/ 716830 w 931640"/>
                <a:gd name="connsiteY86" fmla="*/ 432432 h 650206"/>
                <a:gd name="connsiteX87" fmla="*/ 720811 w 931640"/>
                <a:gd name="connsiteY87" fmla="*/ 439599 h 650206"/>
                <a:gd name="connsiteX88" fmla="*/ 724791 w 931640"/>
                <a:gd name="connsiteY88" fmla="*/ 446358 h 650206"/>
                <a:gd name="connsiteX89" fmla="*/ 731951 w 931640"/>
                <a:gd name="connsiteY89" fmla="*/ 451527 h 650206"/>
                <a:gd name="connsiteX90" fmla="*/ 731951 w 931640"/>
                <a:gd name="connsiteY90" fmla="*/ 459882 h 650206"/>
                <a:gd name="connsiteX91" fmla="*/ 730755 w 931640"/>
                <a:gd name="connsiteY91" fmla="*/ 459882 h 650206"/>
                <a:gd name="connsiteX92" fmla="*/ 727176 w 931640"/>
                <a:gd name="connsiteY92" fmla="*/ 458687 h 650206"/>
                <a:gd name="connsiteX93" fmla="*/ 722801 w 931640"/>
                <a:gd name="connsiteY93" fmla="*/ 456703 h 650206"/>
                <a:gd name="connsiteX94" fmla="*/ 722801 w 931640"/>
                <a:gd name="connsiteY94" fmla="*/ 460677 h 650206"/>
                <a:gd name="connsiteX95" fmla="*/ 727176 w 931640"/>
                <a:gd name="connsiteY95" fmla="*/ 463863 h 650206"/>
                <a:gd name="connsiteX96" fmla="*/ 731951 w 931640"/>
                <a:gd name="connsiteY96" fmla="*/ 466648 h 650206"/>
                <a:gd name="connsiteX97" fmla="*/ 733140 w 931640"/>
                <a:gd name="connsiteY97" fmla="*/ 471023 h 650206"/>
                <a:gd name="connsiteX98" fmla="*/ 724791 w 931640"/>
                <a:gd name="connsiteY98" fmla="*/ 474602 h 650206"/>
                <a:gd name="connsiteX99" fmla="*/ 718026 w 931640"/>
                <a:gd name="connsiteY99" fmla="*/ 483752 h 650206"/>
                <a:gd name="connsiteX100" fmla="*/ 723990 w 931640"/>
                <a:gd name="connsiteY100" fmla="*/ 481361 h 650206"/>
                <a:gd name="connsiteX101" fmla="*/ 727176 w 931640"/>
                <a:gd name="connsiteY101" fmla="*/ 482958 h 650206"/>
                <a:gd name="connsiteX102" fmla="*/ 730755 w 931640"/>
                <a:gd name="connsiteY102" fmla="*/ 486931 h 650206"/>
                <a:gd name="connsiteX103" fmla="*/ 733140 w 931640"/>
                <a:gd name="connsiteY103" fmla="*/ 490511 h 650206"/>
                <a:gd name="connsiteX104" fmla="*/ 731149 w 931640"/>
                <a:gd name="connsiteY104" fmla="*/ 494091 h 650206"/>
                <a:gd name="connsiteX105" fmla="*/ 729560 w 931640"/>
                <a:gd name="connsiteY105" fmla="*/ 498473 h 650206"/>
                <a:gd name="connsiteX106" fmla="*/ 729560 w 931640"/>
                <a:gd name="connsiteY106" fmla="*/ 512391 h 650206"/>
                <a:gd name="connsiteX107" fmla="*/ 723990 w 931640"/>
                <a:gd name="connsiteY107" fmla="*/ 519551 h 650206"/>
                <a:gd name="connsiteX108" fmla="*/ 716436 w 931640"/>
                <a:gd name="connsiteY108" fmla="*/ 529102 h 650206"/>
                <a:gd name="connsiteX109" fmla="*/ 709277 w 931640"/>
                <a:gd name="connsiteY109" fmla="*/ 537851 h 650206"/>
                <a:gd name="connsiteX110" fmla="*/ 703706 w 931640"/>
                <a:gd name="connsiteY110" fmla="*/ 545805 h 650206"/>
                <a:gd name="connsiteX111" fmla="*/ 697341 w 931640"/>
                <a:gd name="connsiteY111" fmla="*/ 561721 h 650206"/>
                <a:gd name="connsiteX112" fmla="*/ 695351 w 931640"/>
                <a:gd name="connsiteY112" fmla="*/ 564900 h 650206"/>
                <a:gd name="connsiteX113" fmla="*/ 689781 w 931640"/>
                <a:gd name="connsiteY113" fmla="*/ 572059 h 650206"/>
                <a:gd name="connsiteX114" fmla="*/ 682220 w 931640"/>
                <a:gd name="connsiteY114" fmla="*/ 578030 h 650206"/>
                <a:gd name="connsiteX115" fmla="*/ 675061 w 931640"/>
                <a:gd name="connsiteY115" fmla="*/ 585190 h 650206"/>
                <a:gd name="connsiteX116" fmla="*/ 667901 w 931640"/>
                <a:gd name="connsiteY116" fmla="*/ 592350 h 650206"/>
                <a:gd name="connsiteX117" fmla="*/ 656768 w 931640"/>
                <a:gd name="connsiteY117" fmla="*/ 601500 h 650206"/>
                <a:gd name="connsiteX118" fmla="*/ 650002 w 931640"/>
                <a:gd name="connsiteY118" fmla="*/ 607464 h 650206"/>
                <a:gd name="connsiteX119" fmla="*/ 636477 w 931640"/>
                <a:gd name="connsiteY119" fmla="*/ 609060 h 650206"/>
                <a:gd name="connsiteX120" fmla="*/ 624542 w 931640"/>
                <a:gd name="connsiteY120" fmla="*/ 612239 h 650206"/>
                <a:gd name="connsiteX121" fmla="*/ 616187 w 931640"/>
                <a:gd name="connsiteY121" fmla="*/ 618604 h 650206"/>
                <a:gd name="connsiteX122" fmla="*/ 609822 w 931640"/>
                <a:gd name="connsiteY122" fmla="*/ 612239 h 650206"/>
                <a:gd name="connsiteX123" fmla="*/ 602662 w 931640"/>
                <a:gd name="connsiteY123" fmla="*/ 621389 h 650206"/>
                <a:gd name="connsiteX124" fmla="*/ 596298 w 931640"/>
                <a:gd name="connsiteY124" fmla="*/ 623773 h 650206"/>
                <a:gd name="connsiteX125" fmla="*/ 584362 w 931640"/>
                <a:gd name="connsiteY125" fmla="*/ 627754 h 650206"/>
                <a:gd name="connsiteX126" fmla="*/ 567659 w 931640"/>
                <a:gd name="connsiteY126" fmla="*/ 632129 h 650206"/>
                <a:gd name="connsiteX127" fmla="*/ 562089 w 931640"/>
                <a:gd name="connsiteY127" fmla="*/ 634914 h 650206"/>
                <a:gd name="connsiteX128" fmla="*/ 556919 w 931640"/>
                <a:gd name="connsiteY128" fmla="*/ 639689 h 650206"/>
                <a:gd name="connsiteX129" fmla="*/ 559304 w 931640"/>
                <a:gd name="connsiteY129" fmla="*/ 647644 h 650206"/>
                <a:gd name="connsiteX130" fmla="*/ 558509 w 931640"/>
                <a:gd name="connsiteY130" fmla="*/ 650028 h 650206"/>
                <a:gd name="connsiteX131" fmla="*/ 555330 w 931640"/>
                <a:gd name="connsiteY131" fmla="*/ 650028 h 650206"/>
                <a:gd name="connsiteX132" fmla="*/ 552545 w 931640"/>
                <a:gd name="connsiteY132" fmla="*/ 647644 h 650206"/>
                <a:gd name="connsiteX133" fmla="*/ 549359 w 931640"/>
                <a:gd name="connsiteY133" fmla="*/ 644458 h 650206"/>
                <a:gd name="connsiteX134" fmla="*/ 548163 w 931640"/>
                <a:gd name="connsiteY134" fmla="*/ 635708 h 650206"/>
                <a:gd name="connsiteX135" fmla="*/ 547368 w 931640"/>
                <a:gd name="connsiteY135" fmla="*/ 632129 h 650206"/>
                <a:gd name="connsiteX136" fmla="*/ 542600 w 931640"/>
                <a:gd name="connsiteY136" fmla="*/ 627754 h 650206"/>
                <a:gd name="connsiteX137" fmla="*/ 533049 w 931640"/>
                <a:gd name="connsiteY137" fmla="*/ 626558 h 650206"/>
                <a:gd name="connsiteX138" fmla="*/ 520720 w 931640"/>
                <a:gd name="connsiteY138" fmla="*/ 630933 h 650206"/>
                <a:gd name="connsiteX139" fmla="*/ 517935 w 931640"/>
                <a:gd name="connsiteY139" fmla="*/ 630138 h 650206"/>
                <a:gd name="connsiteX140" fmla="*/ 512365 w 931640"/>
                <a:gd name="connsiteY140" fmla="*/ 628950 h 650206"/>
                <a:gd name="connsiteX141" fmla="*/ 504804 w 931640"/>
                <a:gd name="connsiteY141" fmla="*/ 625764 h 650206"/>
                <a:gd name="connsiteX142" fmla="*/ 501225 w 931640"/>
                <a:gd name="connsiteY142" fmla="*/ 619399 h 650206"/>
                <a:gd name="connsiteX143" fmla="*/ 501626 w 931640"/>
                <a:gd name="connsiteY143" fmla="*/ 611838 h 650206"/>
                <a:gd name="connsiteX144" fmla="*/ 496456 w 931640"/>
                <a:gd name="connsiteY144" fmla="*/ 610249 h 650206"/>
                <a:gd name="connsiteX145" fmla="*/ 492869 w 931640"/>
                <a:gd name="connsiteY145" fmla="*/ 609454 h 650206"/>
                <a:gd name="connsiteX146" fmla="*/ 489290 w 931640"/>
                <a:gd name="connsiteY146" fmla="*/ 607464 h 650206"/>
                <a:gd name="connsiteX147" fmla="*/ 486905 w 931640"/>
                <a:gd name="connsiteY147" fmla="*/ 605080 h 650206"/>
                <a:gd name="connsiteX148" fmla="*/ 481335 w 931640"/>
                <a:gd name="connsiteY148" fmla="*/ 603089 h 650206"/>
                <a:gd name="connsiteX149" fmla="*/ 478951 w 931640"/>
                <a:gd name="connsiteY149" fmla="*/ 603089 h 650206"/>
                <a:gd name="connsiteX150" fmla="*/ 474176 w 931640"/>
                <a:gd name="connsiteY150" fmla="*/ 605874 h 650206"/>
                <a:gd name="connsiteX151" fmla="*/ 469400 w 931640"/>
                <a:gd name="connsiteY151" fmla="*/ 608259 h 650206"/>
                <a:gd name="connsiteX152" fmla="*/ 463830 w 931640"/>
                <a:gd name="connsiteY152" fmla="*/ 610249 h 650206"/>
                <a:gd name="connsiteX153" fmla="*/ 458267 w 931640"/>
                <a:gd name="connsiteY153" fmla="*/ 611838 h 650206"/>
                <a:gd name="connsiteX154" fmla="*/ 447921 w 931640"/>
                <a:gd name="connsiteY154" fmla="*/ 611838 h 650206"/>
                <a:gd name="connsiteX155" fmla="*/ 437575 w 931640"/>
                <a:gd name="connsiteY155" fmla="*/ 613435 h 650206"/>
                <a:gd name="connsiteX156" fmla="*/ 431611 w 931640"/>
                <a:gd name="connsiteY156" fmla="*/ 616220 h 650206"/>
                <a:gd name="connsiteX157" fmla="*/ 426041 w 931640"/>
                <a:gd name="connsiteY157" fmla="*/ 619399 h 650206"/>
                <a:gd name="connsiteX158" fmla="*/ 426041 w 931640"/>
                <a:gd name="connsiteY158" fmla="*/ 630933 h 650206"/>
                <a:gd name="connsiteX159" fmla="*/ 426041 w 931640"/>
                <a:gd name="connsiteY159" fmla="*/ 635708 h 650206"/>
                <a:gd name="connsiteX160" fmla="*/ 422068 w 931640"/>
                <a:gd name="connsiteY160" fmla="*/ 636904 h 650206"/>
                <a:gd name="connsiteX161" fmla="*/ 416891 w 931640"/>
                <a:gd name="connsiteY161" fmla="*/ 634119 h 650206"/>
                <a:gd name="connsiteX162" fmla="*/ 416891 w 931640"/>
                <a:gd name="connsiteY162" fmla="*/ 630138 h 650206"/>
                <a:gd name="connsiteX163" fmla="*/ 416097 w 931640"/>
                <a:gd name="connsiteY163" fmla="*/ 627353 h 650206"/>
                <a:gd name="connsiteX164" fmla="*/ 414507 w 931640"/>
                <a:gd name="connsiteY164" fmla="*/ 628549 h 650206"/>
                <a:gd name="connsiteX165" fmla="*/ 408142 w 931640"/>
                <a:gd name="connsiteY165" fmla="*/ 630138 h 650206"/>
                <a:gd name="connsiteX166" fmla="*/ 404562 w 931640"/>
                <a:gd name="connsiteY166" fmla="*/ 630933 h 650206"/>
                <a:gd name="connsiteX167" fmla="*/ 401777 w 931640"/>
                <a:gd name="connsiteY167" fmla="*/ 630138 h 650206"/>
                <a:gd name="connsiteX168" fmla="*/ 397797 w 931640"/>
                <a:gd name="connsiteY168" fmla="*/ 628549 h 650206"/>
                <a:gd name="connsiteX169" fmla="*/ 389449 w 931640"/>
                <a:gd name="connsiteY169" fmla="*/ 624174 h 650206"/>
                <a:gd name="connsiteX170" fmla="*/ 387852 w 931640"/>
                <a:gd name="connsiteY170" fmla="*/ 620988 h 650206"/>
                <a:gd name="connsiteX171" fmla="*/ 389449 w 931640"/>
                <a:gd name="connsiteY171" fmla="*/ 617409 h 650206"/>
                <a:gd name="connsiteX172" fmla="*/ 390637 w 931640"/>
                <a:gd name="connsiteY172" fmla="*/ 613435 h 650206"/>
                <a:gd name="connsiteX173" fmla="*/ 391432 w 931640"/>
                <a:gd name="connsiteY173" fmla="*/ 610249 h 650206"/>
                <a:gd name="connsiteX174" fmla="*/ 391432 w 931640"/>
                <a:gd name="connsiteY174" fmla="*/ 607464 h 650206"/>
                <a:gd name="connsiteX175" fmla="*/ 385868 w 931640"/>
                <a:gd name="connsiteY175" fmla="*/ 605874 h 650206"/>
                <a:gd name="connsiteX176" fmla="*/ 382683 w 931640"/>
                <a:gd name="connsiteY176" fmla="*/ 600705 h 650206"/>
                <a:gd name="connsiteX177" fmla="*/ 379898 w 931640"/>
                <a:gd name="connsiteY177" fmla="*/ 592751 h 650206"/>
                <a:gd name="connsiteX178" fmla="*/ 379103 w 931640"/>
                <a:gd name="connsiteY178" fmla="*/ 589565 h 650206"/>
                <a:gd name="connsiteX179" fmla="*/ 375523 w 931640"/>
                <a:gd name="connsiteY179" fmla="*/ 591154 h 650206"/>
                <a:gd name="connsiteX180" fmla="*/ 363588 w 931640"/>
                <a:gd name="connsiteY180" fmla="*/ 591154 h 650206"/>
                <a:gd name="connsiteX181" fmla="*/ 363588 w 931640"/>
                <a:gd name="connsiteY181" fmla="*/ 575639 h 650206"/>
                <a:gd name="connsiteX182" fmla="*/ 366373 w 931640"/>
                <a:gd name="connsiteY182" fmla="*/ 572059 h 650206"/>
                <a:gd name="connsiteX183" fmla="*/ 370354 w 931640"/>
                <a:gd name="connsiteY183" fmla="*/ 566496 h 650206"/>
                <a:gd name="connsiteX184" fmla="*/ 375523 w 931640"/>
                <a:gd name="connsiteY184" fmla="*/ 561721 h 650206"/>
                <a:gd name="connsiteX185" fmla="*/ 379103 w 931640"/>
                <a:gd name="connsiteY185" fmla="*/ 556945 h 650206"/>
                <a:gd name="connsiteX186" fmla="*/ 379898 w 931640"/>
                <a:gd name="connsiteY186" fmla="*/ 550187 h 650206"/>
                <a:gd name="connsiteX187" fmla="*/ 379898 w 931640"/>
                <a:gd name="connsiteY187" fmla="*/ 542626 h 650206"/>
                <a:gd name="connsiteX188" fmla="*/ 379103 w 931640"/>
                <a:gd name="connsiteY188" fmla="*/ 532281 h 650206"/>
                <a:gd name="connsiteX189" fmla="*/ 377513 w 931640"/>
                <a:gd name="connsiteY189" fmla="*/ 529896 h 650206"/>
                <a:gd name="connsiteX190" fmla="*/ 373934 w 931640"/>
                <a:gd name="connsiteY190" fmla="*/ 526317 h 650206"/>
                <a:gd name="connsiteX191" fmla="*/ 370354 w 931640"/>
                <a:gd name="connsiteY191" fmla="*/ 521942 h 650206"/>
                <a:gd name="connsiteX192" fmla="*/ 368757 w 931640"/>
                <a:gd name="connsiteY192" fmla="*/ 517961 h 650206"/>
                <a:gd name="connsiteX193" fmla="*/ 365177 w 931640"/>
                <a:gd name="connsiteY193" fmla="*/ 516372 h 650206"/>
                <a:gd name="connsiteX194" fmla="*/ 356829 w 931640"/>
                <a:gd name="connsiteY194" fmla="*/ 519952 h 650206"/>
                <a:gd name="connsiteX195" fmla="*/ 354438 w 931640"/>
                <a:gd name="connsiteY195" fmla="*/ 519157 h 650206"/>
                <a:gd name="connsiteX196" fmla="*/ 350464 w 931640"/>
                <a:gd name="connsiteY196" fmla="*/ 516372 h 650206"/>
                <a:gd name="connsiteX197" fmla="*/ 345288 w 931640"/>
                <a:gd name="connsiteY197" fmla="*/ 515577 h 650206"/>
                <a:gd name="connsiteX198" fmla="*/ 344493 w 931640"/>
                <a:gd name="connsiteY198" fmla="*/ 512391 h 650206"/>
                <a:gd name="connsiteX199" fmla="*/ 348073 w 931640"/>
                <a:gd name="connsiteY199" fmla="*/ 508417 h 650206"/>
                <a:gd name="connsiteX200" fmla="*/ 344493 w 931640"/>
                <a:gd name="connsiteY200" fmla="*/ 502847 h 650206"/>
                <a:gd name="connsiteX201" fmla="*/ 340119 w 931640"/>
                <a:gd name="connsiteY201" fmla="*/ 498866 h 650206"/>
                <a:gd name="connsiteX202" fmla="*/ 337734 w 931640"/>
                <a:gd name="connsiteY202" fmla="*/ 498866 h 650206"/>
                <a:gd name="connsiteX203" fmla="*/ 332558 w 931640"/>
                <a:gd name="connsiteY203" fmla="*/ 502847 h 650206"/>
                <a:gd name="connsiteX204" fmla="*/ 328183 w 931640"/>
                <a:gd name="connsiteY204" fmla="*/ 505231 h 650206"/>
                <a:gd name="connsiteX205" fmla="*/ 323809 w 931640"/>
                <a:gd name="connsiteY205" fmla="*/ 502847 h 650206"/>
                <a:gd name="connsiteX206" fmla="*/ 317845 w 931640"/>
                <a:gd name="connsiteY206" fmla="*/ 499661 h 650206"/>
                <a:gd name="connsiteX207" fmla="*/ 312274 w 931640"/>
                <a:gd name="connsiteY207" fmla="*/ 502847 h 650206"/>
                <a:gd name="connsiteX208" fmla="*/ 303919 w 931640"/>
                <a:gd name="connsiteY208" fmla="*/ 508417 h 650206"/>
                <a:gd name="connsiteX209" fmla="*/ 290395 w 931640"/>
                <a:gd name="connsiteY209" fmla="*/ 519952 h 650206"/>
                <a:gd name="connsiteX210" fmla="*/ 280844 w 931640"/>
                <a:gd name="connsiteY210" fmla="*/ 526317 h 650206"/>
                <a:gd name="connsiteX211" fmla="*/ 275281 w 931640"/>
                <a:gd name="connsiteY211" fmla="*/ 527906 h 650206"/>
                <a:gd name="connsiteX212" fmla="*/ 267720 w 931640"/>
                <a:gd name="connsiteY212" fmla="*/ 521541 h 650206"/>
                <a:gd name="connsiteX213" fmla="*/ 258971 w 931640"/>
                <a:gd name="connsiteY213" fmla="*/ 519952 h 650206"/>
                <a:gd name="connsiteX214" fmla="*/ 247831 w 931640"/>
                <a:gd name="connsiteY214" fmla="*/ 518362 h 650206"/>
                <a:gd name="connsiteX215" fmla="*/ 243456 w 931640"/>
                <a:gd name="connsiteY215" fmla="*/ 519952 h 650206"/>
                <a:gd name="connsiteX216" fmla="*/ 240671 w 931640"/>
                <a:gd name="connsiteY216" fmla="*/ 522336 h 650206"/>
                <a:gd name="connsiteX217" fmla="*/ 235101 w 931640"/>
                <a:gd name="connsiteY217" fmla="*/ 527906 h 650206"/>
                <a:gd name="connsiteX218" fmla="*/ 230726 w 931640"/>
                <a:gd name="connsiteY218" fmla="*/ 529896 h 650206"/>
                <a:gd name="connsiteX219" fmla="*/ 226352 w 931640"/>
                <a:gd name="connsiteY219" fmla="*/ 522336 h 650206"/>
                <a:gd name="connsiteX220" fmla="*/ 219987 w 931640"/>
                <a:gd name="connsiteY220" fmla="*/ 525522 h 650206"/>
                <a:gd name="connsiteX221" fmla="*/ 217202 w 931640"/>
                <a:gd name="connsiteY221" fmla="*/ 524727 h 650206"/>
                <a:gd name="connsiteX222" fmla="*/ 209641 w 931640"/>
                <a:gd name="connsiteY222" fmla="*/ 524727 h 650206"/>
                <a:gd name="connsiteX223" fmla="*/ 199697 w 931640"/>
                <a:gd name="connsiteY223" fmla="*/ 523925 h 650206"/>
                <a:gd name="connsiteX224" fmla="*/ 190153 w 931640"/>
                <a:gd name="connsiteY224" fmla="*/ 522336 h 650206"/>
                <a:gd name="connsiteX225" fmla="*/ 182592 w 931640"/>
                <a:gd name="connsiteY225" fmla="*/ 518362 h 650206"/>
                <a:gd name="connsiteX226" fmla="*/ 165882 w 931640"/>
                <a:gd name="connsiteY226" fmla="*/ 510401 h 650206"/>
                <a:gd name="connsiteX227" fmla="*/ 160311 w 931640"/>
                <a:gd name="connsiteY227" fmla="*/ 506427 h 650206"/>
                <a:gd name="connsiteX228" fmla="*/ 136842 w 931640"/>
                <a:gd name="connsiteY228" fmla="*/ 491306 h 650206"/>
                <a:gd name="connsiteX229" fmla="*/ 132074 w 931640"/>
                <a:gd name="connsiteY229" fmla="*/ 486931 h 650206"/>
                <a:gd name="connsiteX230" fmla="*/ 122924 w 931640"/>
                <a:gd name="connsiteY230" fmla="*/ 482163 h 650206"/>
                <a:gd name="connsiteX231" fmla="*/ 116953 w 931640"/>
                <a:gd name="connsiteY231" fmla="*/ 482163 h 650206"/>
                <a:gd name="connsiteX232" fmla="*/ 110588 w 931640"/>
                <a:gd name="connsiteY232" fmla="*/ 484146 h 650206"/>
                <a:gd name="connsiteX233" fmla="*/ 105017 w 931640"/>
                <a:gd name="connsiteY233" fmla="*/ 480967 h 650206"/>
                <a:gd name="connsiteX234" fmla="*/ 93089 w 931640"/>
                <a:gd name="connsiteY234" fmla="*/ 473013 h 650206"/>
                <a:gd name="connsiteX235" fmla="*/ 86324 w 931640"/>
                <a:gd name="connsiteY235" fmla="*/ 469433 h 650206"/>
                <a:gd name="connsiteX236" fmla="*/ 79959 w 931640"/>
                <a:gd name="connsiteY236" fmla="*/ 465853 h 650206"/>
                <a:gd name="connsiteX237" fmla="*/ 75183 w 931640"/>
                <a:gd name="connsiteY237" fmla="*/ 460283 h 650206"/>
                <a:gd name="connsiteX238" fmla="*/ 75183 w 931640"/>
                <a:gd name="connsiteY238" fmla="*/ 450338 h 650206"/>
                <a:gd name="connsiteX239" fmla="*/ 72398 w 931640"/>
                <a:gd name="connsiteY239" fmla="*/ 447947 h 650206"/>
                <a:gd name="connsiteX240" fmla="*/ 72398 w 931640"/>
                <a:gd name="connsiteY240" fmla="*/ 442778 h 650206"/>
                <a:gd name="connsiteX241" fmla="*/ 75183 w 931640"/>
                <a:gd name="connsiteY241" fmla="*/ 441983 h 650206"/>
                <a:gd name="connsiteX242" fmla="*/ 79959 w 931640"/>
                <a:gd name="connsiteY242" fmla="*/ 443973 h 650206"/>
                <a:gd name="connsiteX243" fmla="*/ 82744 w 931640"/>
                <a:gd name="connsiteY243" fmla="*/ 442778 h 650206"/>
                <a:gd name="connsiteX244" fmla="*/ 82744 w 931640"/>
                <a:gd name="connsiteY244" fmla="*/ 436413 h 650206"/>
                <a:gd name="connsiteX245" fmla="*/ 80753 w 931640"/>
                <a:gd name="connsiteY245" fmla="*/ 432432 h 650206"/>
                <a:gd name="connsiteX246" fmla="*/ 77574 w 931640"/>
                <a:gd name="connsiteY246" fmla="*/ 427664 h 650206"/>
                <a:gd name="connsiteX247" fmla="*/ 77574 w 931640"/>
                <a:gd name="connsiteY247" fmla="*/ 418908 h 650206"/>
                <a:gd name="connsiteX248" fmla="*/ 77574 w 931640"/>
                <a:gd name="connsiteY248" fmla="*/ 409758 h 650206"/>
                <a:gd name="connsiteX249" fmla="*/ 73594 w 931640"/>
                <a:gd name="connsiteY249" fmla="*/ 404194 h 650206"/>
                <a:gd name="connsiteX250" fmla="*/ 59274 w 931640"/>
                <a:gd name="connsiteY250" fmla="*/ 389073 h 650206"/>
                <a:gd name="connsiteX251" fmla="*/ 54105 w 931640"/>
                <a:gd name="connsiteY251" fmla="*/ 386689 h 650206"/>
                <a:gd name="connsiteX252" fmla="*/ 46946 w 931640"/>
                <a:gd name="connsiteY252" fmla="*/ 384699 h 650206"/>
                <a:gd name="connsiteX253" fmla="*/ 38984 w 931640"/>
                <a:gd name="connsiteY253" fmla="*/ 382708 h 650206"/>
                <a:gd name="connsiteX254" fmla="*/ 35404 w 931640"/>
                <a:gd name="connsiteY254" fmla="*/ 375950 h 650206"/>
                <a:gd name="connsiteX255" fmla="*/ 33414 w 931640"/>
                <a:gd name="connsiteY255" fmla="*/ 368790 h 650206"/>
                <a:gd name="connsiteX256" fmla="*/ 22281 w 931640"/>
                <a:gd name="connsiteY256" fmla="*/ 358444 h 650206"/>
                <a:gd name="connsiteX257" fmla="*/ 17906 w 931640"/>
                <a:gd name="connsiteY257" fmla="*/ 351686 h 650206"/>
                <a:gd name="connsiteX258" fmla="*/ 15916 w 931640"/>
                <a:gd name="connsiteY258" fmla="*/ 343330 h 650206"/>
                <a:gd name="connsiteX259" fmla="*/ 14326 w 931640"/>
                <a:gd name="connsiteY259" fmla="*/ 332190 h 650206"/>
                <a:gd name="connsiteX260" fmla="*/ 10739 w 931640"/>
                <a:gd name="connsiteY260" fmla="*/ 330601 h 650206"/>
                <a:gd name="connsiteX261" fmla="*/ 3580 w 931640"/>
                <a:gd name="connsiteY261" fmla="*/ 328209 h 650206"/>
                <a:gd name="connsiteX262" fmla="*/ 0 w 931640"/>
                <a:gd name="connsiteY262" fmla="*/ 322646 h 650206"/>
                <a:gd name="connsiteX263" fmla="*/ 0 w 931640"/>
                <a:gd name="connsiteY263" fmla="*/ 312301 h 650206"/>
                <a:gd name="connsiteX264" fmla="*/ 1990 w 931640"/>
                <a:gd name="connsiteY264" fmla="*/ 305936 h 650206"/>
                <a:gd name="connsiteX265" fmla="*/ 9945 w 931640"/>
                <a:gd name="connsiteY265" fmla="*/ 298375 h 650206"/>
                <a:gd name="connsiteX266" fmla="*/ 16710 w 931640"/>
                <a:gd name="connsiteY266" fmla="*/ 294795 h 650206"/>
                <a:gd name="connsiteX267" fmla="*/ 24665 w 931640"/>
                <a:gd name="connsiteY267" fmla="*/ 292411 h 650206"/>
                <a:gd name="connsiteX268" fmla="*/ 34610 w 931640"/>
                <a:gd name="connsiteY268" fmla="*/ 292411 h 650206"/>
                <a:gd name="connsiteX269" fmla="*/ 40180 w 931640"/>
                <a:gd name="connsiteY269" fmla="*/ 290822 h 650206"/>
                <a:gd name="connsiteX270" fmla="*/ 47340 w 931640"/>
                <a:gd name="connsiteY270" fmla="*/ 283662 h 650206"/>
                <a:gd name="connsiteX271" fmla="*/ 54105 w 931640"/>
                <a:gd name="connsiteY271" fmla="*/ 280476 h 650206"/>
                <a:gd name="connsiteX272" fmla="*/ 64845 w 931640"/>
                <a:gd name="connsiteY272" fmla="*/ 278486 h 650206"/>
                <a:gd name="connsiteX273" fmla="*/ 68819 w 931640"/>
                <a:gd name="connsiteY273" fmla="*/ 273316 h 650206"/>
                <a:gd name="connsiteX274" fmla="*/ 79959 w 931640"/>
                <a:gd name="connsiteY274" fmla="*/ 267746 h 650206"/>
                <a:gd name="connsiteX275" fmla="*/ 91099 w 931640"/>
                <a:gd name="connsiteY275" fmla="*/ 261782 h 650206"/>
                <a:gd name="connsiteX276" fmla="*/ 97858 w 931640"/>
                <a:gd name="connsiteY276" fmla="*/ 255811 h 650206"/>
                <a:gd name="connsiteX277" fmla="*/ 99455 w 931640"/>
                <a:gd name="connsiteY277" fmla="*/ 241098 h 650206"/>
                <a:gd name="connsiteX278" fmla="*/ 105819 w 931640"/>
                <a:gd name="connsiteY278" fmla="*/ 232342 h 650206"/>
                <a:gd name="connsiteX279" fmla="*/ 103428 w 931640"/>
                <a:gd name="connsiteY279" fmla="*/ 225977 h 650206"/>
                <a:gd name="connsiteX280" fmla="*/ 99455 w 931640"/>
                <a:gd name="connsiteY280" fmla="*/ 213648 h 650206"/>
                <a:gd name="connsiteX281" fmla="*/ 94679 w 931640"/>
                <a:gd name="connsiteY281" fmla="*/ 200517 h 650206"/>
                <a:gd name="connsiteX282" fmla="*/ 96669 w 931640"/>
                <a:gd name="connsiteY282" fmla="*/ 198133 h 650206"/>
                <a:gd name="connsiteX283" fmla="*/ 107409 w 931640"/>
                <a:gd name="connsiteY283" fmla="*/ 196143 h 650206"/>
                <a:gd name="connsiteX284" fmla="*/ 119344 w 931640"/>
                <a:gd name="connsiteY284" fmla="*/ 193358 h 650206"/>
                <a:gd name="connsiteX285" fmla="*/ 130083 w 931640"/>
                <a:gd name="connsiteY285" fmla="*/ 186599 h 650206"/>
                <a:gd name="connsiteX286" fmla="*/ 136047 w 931640"/>
                <a:gd name="connsiteY286" fmla="*/ 177449 h 650206"/>
                <a:gd name="connsiteX287" fmla="*/ 139234 w 931640"/>
                <a:gd name="connsiteY287" fmla="*/ 160738 h 650206"/>
                <a:gd name="connsiteX288" fmla="*/ 145198 w 931640"/>
                <a:gd name="connsiteY288" fmla="*/ 146820 h 650206"/>
                <a:gd name="connsiteX289" fmla="*/ 150367 w 931640"/>
                <a:gd name="connsiteY289" fmla="*/ 147615 h 650206"/>
                <a:gd name="connsiteX290" fmla="*/ 158328 w 931640"/>
                <a:gd name="connsiteY290" fmla="*/ 150400 h 650206"/>
                <a:gd name="connsiteX291" fmla="*/ 164693 w 931640"/>
                <a:gd name="connsiteY291" fmla="*/ 152383 h 650206"/>
                <a:gd name="connsiteX292" fmla="*/ 173836 w 931640"/>
                <a:gd name="connsiteY292" fmla="*/ 154373 h 650206"/>
                <a:gd name="connsiteX293" fmla="*/ 180602 w 931640"/>
                <a:gd name="connsiteY293" fmla="*/ 146025 h 650206"/>
                <a:gd name="connsiteX294" fmla="*/ 180602 w 931640"/>
                <a:gd name="connsiteY294" fmla="*/ 132894 h 650206"/>
                <a:gd name="connsiteX295" fmla="*/ 182986 w 931640"/>
                <a:gd name="connsiteY295" fmla="*/ 120565 h 650206"/>
                <a:gd name="connsiteX296" fmla="*/ 195322 w 931640"/>
                <a:gd name="connsiteY296" fmla="*/ 120565 h 650206"/>
                <a:gd name="connsiteX297" fmla="*/ 206455 w 931640"/>
                <a:gd name="connsiteY297" fmla="*/ 103454 h 650206"/>
                <a:gd name="connsiteX298" fmla="*/ 213622 w 931640"/>
                <a:gd name="connsiteY298" fmla="*/ 103454 h 650206"/>
                <a:gd name="connsiteX299" fmla="*/ 214417 w 931640"/>
                <a:gd name="connsiteY299" fmla="*/ 108630 h 650206"/>
                <a:gd name="connsiteX300" fmla="*/ 216407 w 931640"/>
                <a:gd name="connsiteY300" fmla="*/ 116986 h 650206"/>
                <a:gd name="connsiteX301" fmla="*/ 220782 w 931640"/>
                <a:gd name="connsiteY301" fmla="*/ 123351 h 650206"/>
                <a:gd name="connsiteX302" fmla="*/ 228335 w 931640"/>
                <a:gd name="connsiteY302" fmla="*/ 128914 h 650206"/>
                <a:gd name="connsiteX303" fmla="*/ 240270 w 931640"/>
                <a:gd name="connsiteY303" fmla="*/ 133689 h 650206"/>
                <a:gd name="connsiteX304" fmla="*/ 251010 w 931640"/>
                <a:gd name="connsiteY304" fmla="*/ 138465 h 650206"/>
                <a:gd name="connsiteX305" fmla="*/ 258570 w 931640"/>
                <a:gd name="connsiteY305" fmla="*/ 151588 h 650206"/>
                <a:gd name="connsiteX306" fmla="*/ 261355 w 931640"/>
                <a:gd name="connsiteY306" fmla="*/ 158354 h 650206"/>
                <a:gd name="connsiteX307" fmla="*/ 258570 w 931640"/>
                <a:gd name="connsiteY307" fmla="*/ 167103 h 650206"/>
                <a:gd name="connsiteX308" fmla="*/ 256981 w 931640"/>
                <a:gd name="connsiteY308" fmla="*/ 177843 h 650206"/>
                <a:gd name="connsiteX309" fmla="*/ 258570 w 931640"/>
                <a:gd name="connsiteY309" fmla="*/ 187394 h 650206"/>
                <a:gd name="connsiteX310" fmla="*/ 267319 w 931640"/>
                <a:gd name="connsiteY310" fmla="*/ 192964 h 650206"/>
                <a:gd name="connsiteX311" fmla="*/ 280049 w 931640"/>
                <a:gd name="connsiteY311" fmla="*/ 195749 h 650206"/>
                <a:gd name="connsiteX312" fmla="*/ 299545 w 931640"/>
                <a:gd name="connsiteY312" fmla="*/ 197338 h 650206"/>
                <a:gd name="connsiteX313" fmla="*/ 310137 w 931640"/>
                <a:gd name="connsiteY313" fmla="*/ 206320 h 650206"/>
                <a:gd name="connsiteX314" fmla="*/ 310284 w 931640"/>
                <a:gd name="connsiteY314" fmla="*/ 206488 h 650206"/>
                <a:gd name="connsiteX315" fmla="*/ 326193 w 931640"/>
                <a:gd name="connsiteY315" fmla="*/ 213648 h 650206"/>
                <a:gd name="connsiteX316" fmla="*/ 329379 w 931640"/>
                <a:gd name="connsiteY316" fmla="*/ 216827 h 650206"/>
                <a:gd name="connsiteX317" fmla="*/ 335744 w 931640"/>
                <a:gd name="connsiteY317" fmla="*/ 233931 h 650206"/>
                <a:gd name="connsiteX318" fmla="*/ 343698 w 931640"/>
                <a:gd name="connsiteY318" fmla="*/ 245866 h 650206"/>
                <a:gd name="connsiteX319" fmla="*/ 367168 w 931640"/>
                <a:gd name="connsiteY319" fmla="*/ 245866 h 650206"/>
                <a:gd name="connsiteX320" fmla="*/ 379504 w 931640"/>
                <a:gd name="connsiteY320" fmla="*/ 248652 h 650206"/>
                <a:gd name="connsiteX321" fmla="*/ 393823 w 931640"/>
                <a:gd name="connsiteY321" fmla="*/ 251838 h 650206"/>
                <a:gd name="connsiteX322" fmla="*/ 409732 w 931640"/>
                <a:gd name="connsiteY322" fmla="*/ 248652 h 650206"/>
                <a:gd name="connsiteX323" fmla="*/ 425247 w 931640"/>
                <a:gd name="connsiteY323" fmla="*/ 250642 h 650206"/>
                <a:gd name="connsiteX324" fmla="*/ 441957 w 931640"/>
                <a:gd name="connsiteY324" fmla="*/ 260587 h 650206"/>
                <a:gd name="connsiteX325" fmla="*/ 466221 w 931640"/>
                <a:gd name="connsiteY325" fmla="*/ 262971 h 650206"/>
                <a:gd name="connsiteX326" fmla="*/ 476961 w 931640"/>
                <a:gd name="connsiteY326" fmla="*/ 268942 h 650206"/>
                <a:gd name="connsiteX327" fmla="*/ 483726 w 931640"/>
                <a:gd name="connsiteY327" fmla="*/ 264567 h 650206"/>
                <a:gd name="connsiteX328" fmla="*/ 500831 w 931640"/>
                <a:gd name="connsiteY328" fmla="*/ 256212 h 650206"/>
                <a:gd name="connsiteX329" fmla="*/ 515945 w 931640"/>
                <a:gd name="connsiteY329" fmla="*/ 251838 h 650206"/>
                <a:gd name="connsiteX330" fmla="*/ 540209 w 931640"/>
                <a:gd name="connsiteY330" fmla="*/ 250642 h 650206"/>
                <a:gd name="connsiteX331" fmla="*/ 558108 w 931640"/>
                <a:gd name="connsiteY331" fmla="*/ 242687 h 650206"/>
                <a:gd name="connsiteX332" fmla="*/ 578799 w 931640"/>
                <a:gd name="connsiteY332" fmla="*/ 223593 h 650206"/>
                <a:gd name="connsiteX333" fmla="*/ 573229 w 931640"/>
                <a:gd name="connsiteY333" fmla="*/ 210462 h 650206"/>
                <a:gd name="connsiteX334" fmla="*/ 580783 w 931640"/>
                <a:gd name="connsiteY334" fmla="*/ 198133 h 650206"/>
                <a:gd name="connsiteX335" fmla="*/ 589932 w 931640"/>
                <a:gd name="connsiteY335" fmla="*/ 198133 h 650206"/>
                <a:gd name="connsiteX336" fmla="*/ 599083 w 931640"/>
                <a:gd name="connsiteY336" fmla="*/ 200918 h 650206"/>
                <a:gd name="connsiteX337" fmla="*/ 605849 w 931640"/>
                <a:gd name="connsiteY337" fmla="*/ 202114 h 650206"/>
                <a:gd name="connsiteX338" fmla="*/ 616187 w 931640"/>
                <a:gd name="connsiteY338" fmla="*/ 194553 h 650206"/>
                <a:gd name="connsiteX339" fmla="*/ 626132 w 931640"/>
                <a:gd name="connsiteY339" fmla="*/ 188188 h 650206"/>
                <a:gd name="connsiteX340" fmla="*/ 634888 w 931640"/>
                <a:gd name="connsiteY340" fmla="*/ 186198 h 650206"/>
                <a:gd name="connsiteX341" fmla="*/ 642842 w 931640"/>
                <a:gd name="connsiteY341" fmla="*/ 181823 h 650206"/>
                <a:gd name="connsiteX342" fmla="*/ 653983 w 931640"/>
                <a:gd name="connsiteY342" fmla="*/ 169494 h 650206"/>
                <a:gd name="connsiteX343" fmla="*/ 667901 w 931640"/>
                <a:gd name="connsiteY343" fmla="*/ 160738 h 650206"/>
                <a:gd name="connsiteX344" fmla="*/ 694950 w 931640"/>
                <a:gd name="connsiteY344" fmla="*/ 160738 h 650206"/>
                <a:gd name="connsiteX345" fmla="*/ 702117 w 931640"/>
                <a:gd name="connsiteY345" fmla="*/ 155970 h 650206"/>
                <a:gd name="connsiteX346" fmla="*/ 693361 w 931640"/>
                <a:gd name="connsiteY346" fmla="*/ 145223 h 650206"/>
                <a:gd name="connsiteX347" fmla="*/ 675061 w 931640"/>
                <a:gd name="connsiteY347" fmla="*/ 130904 h 650206"/>
                <a:gd name="connsiteX348" fmla="*/ 662331 w 931640"/>
                <a:gd name="connsiteY348" fmla="*/ 139259 h 650206"/>
                <a:gd name="connsiteX349" fmla="*/ 656768 w 931640"/>
                <a:gd name="connsiteY349" fmla="*/ 136073 h 650206"/>
                <a:gd name="connsiteX350" fmla="*/ 640057 w 931640"/>
                <a:gd name="connsiteY350" fmla="*/ 136073 h 650206"/>
                <a:gd name="connsiteX351" fmla="*/ 640057 w 931640"/>
                <a:gd name="connsiteY351" fmla="*/ 117379 h 650206"/>
                <a:gd name="connsiteX352" fmla="*/ 655171 w 931640"/>
                <a:gd name="connsiteY352" fmla="*/ 88340 h 650206"/>
                <a:gd name="connsiteX353" fmla="*/ 662331 w 931640"/>
                <a:gd name="connsiteY353" fmla="*/ 91920 h 650206"/>
                <a:gd name="connsiteX354" fmla="*/ 673471 w 931640"/>
                <a:gd name="connsiteY354" fmla="*/ 95901 h 650206"/>
                <a:gd name="connsiteX355" fmla="*/ 693361 w 931640"/>
                <a:gd name="connsiteY355" fmla="*/ 83171 h 650206"/>
                <a:gd name="connsiteX356" fmla="*/ 693361 w 931640"/>
                <a:gd name="connsiteY356" fmla="*/ 72030 h 650206"/>
                <a:gd name="connsiteX357" fmla="*/ 704895 w 931640"/>
                <a:gd name="connsiteY357" fmla="*/ 51346 h 650206"/>
                <a:gd name="connsiteX358" fmla="*/ 715241 w 931640"/>
                <a:gd name="connsiteY358" fmla="*/ 39017 h 650206"/>
                <a:gd name="connsiteX359" fmla="*/ 715241 w 931640"/>
                <a:gd name="connsiteY359" fmla="*/ 23502 h 650206"/>
                <a:gd name="connsiteX360" fmla="*/ 707286 w 931640"/>
                <a:gd name="connsiteY360" fmla="*/ 17932 h 650206"/>
                <a:gd name="connsiteX361" fmla="*/ 717231 w 931640"/>
                <a:gd name="connsiteY361" fmla="*/ 7987 h 650206"/>
                <a:gd name="connsiteX362" fmla="*/ 731550 w 931640"/>
                <a:gd name="connsiteY362" fmla="*/ 1623 h 650206"/>
                <a:gd name="connsiteX363" fmla="*/ 753824 w 931640"/>
                <a:gd name="connsiteY363" fmla="*/ 33 h 650206"/>
                <a:gd name="connsiteX364" fmla="*/ 771730 w 931640"/>
                <a:gd name="connsiteY364" fmla="*/ 3613 h 650206"/>
                <a:gd name="connsiteX365" fmla="*/ 785255 w 931640"/>
                <a:gd name="connsiteY365" fmla="*/ 9978 h 650206"/>
                <a:gd name="connsiteX366" fmla="*/ 797583 w 931640"/>
                <a:gd name="connsiteY366" fmla="*/ 26681 h 650206"/>
                <a:gd name="connsiteX367" fmla="*/ 804349 w 931640"/>
                <a:gd name="connsiteY367" fmla="*/ 44580 h 650206"/>
                <a:gd name="connsiteX368" fmla="*/ 813893 w 931640"/>
                <a:gd name="connsiteY368" fmla="*/ 62487 h 650206"/>
                <a:gd name="connsiteX369" fmla="*/ 821053 w 931640"/>
                <a:gd name="connsiteY369" fmla="*/ 90330 h 650206"/>
                <a:gd name="connsiteX370" fmla="*/ 829408 w 931640"/>
                <a:gd name="connsiteY370" fmla="*/ 94705 h 650206"/>
                <a:gd name="connsiteX371" fmla="*/ 844923 w 931640"/>
                <a:gd name="connsiteY371" fmla="*/ 97891 h 650206"/>
                <a:gd name="connsiteX372" fmla="*/ 853278 w 931640"/>
                <a:gd name="connsiteY372" fmla="*/ 104650 h 650206"/>
                <a:gd name="connsiteX373" fmla="*/ 867197 w 931640"/>
                <a:gd name="connsiteY373" fmla="*/ 118575 h 650206"/>
                <a:gd name="connsiteX374" fmla="*/ 870777 w 931640"/>
                <a:gd name="connsiteY374" fmla="*/ 134090 h 650206"/>
                <a:gd name="connsiteX375" fmla="*/ 889871 w 931640"/>
                <a:gd name="connsiteY375" fmla="*/ 136474 h 650206"/>
                <a:gd name="connsiteX376" fmla="*/ 897833 w 931640"/>
                <a:gd name="connsiteY376" fmla="*/ 134090 h 650206"/>
                <a:gd name="connsiteX377" fmla="*/ 911751 w 931640"/>
                <a:gd name="connsiteY377" fmla="*/ 126529 h 650206"/>
                <a:gd name="connsiteX378" fmla="*/ 923686 w 931640"/>
                <a:gd name="connsiteY378" fmla="*/ 123351 h 650206"/>
                <a:gd name="connsiteX379" fmla="*/ 931641 w 931640"/>
                <a:gd name="connsiteY379" fmla="*/ 123351 h 650206"/>
                <a:gd name="connsiteX380" fmla="*/ 928061 w 931640"/>
                <a:gd name="connsiteY380" fmla="*/ 134090 h 650206"/>
                <a:gd name="connsiteX381" fmla="*/ 918911 w 931640"/>
                <a:gd name="connsiteY381" fmla="*/ 151989 h 650206"/>
                <a:gd name="connsiteX382" fmla="*/ 916527 w 931640"/>
                <a:gd name="connsiteY382" fmla="*/ 161139 h 650206"/>
                <a:gd name="connsiteX383" fmla="*/ 908171 w 931640"/>
                <a:gd name="connsiteY383" fmla="*/ 184208 h 650206"/>
                <a:gd name="connsiteX384" fmla="*/ 903396 w 931640"/>
                <a:gd name="connsiteY384" fmla="*/ 195348 h 650206"/>
                <a:gd name="connsiteX385" fmla="*/ 889871 w 931640"/>
                <a:gd name="connsiteY385" fmla="*/ 192964 h 650206"/>
                <a:gd name="connsiteX386" fmla="*/ 877943 w 931640"/>
                <a:gd name="connsiteY386" fmla="*/ 195348 h 650206"/>
                <a:gd name="connsiteX387" fmla="*/ 872767 w 931640"/>
                <a:gd name="connsiteY387" fmla="*/ 200517 h 650206"/>
                <a:gd name="connsiteX388" fmla="*/ 875953 w 931640"/>
                <a:gd name="connsiteY388" fmla="*/ 206882 h 650206"/>
                <a:gd name="connsiteX389" fmla="*/ 875953 w 931640"/>
                <a:gd name="connsiteY389" fmla="*/ 239108 h 650206"/>
                <a:gd name="connsiteX390" fmla="*/ 867598 w 931640"/>
                <a:gd name="connsiteY390" fmla="*/ 244277 h 650206"/>
                <a:gd name="connsiteX391" fmla="*/ 867598 w 931640"/>
                <a:gd name="connsiteY391" fmla="*/ 253828 h 650206"/>
                <a:gd name="connsiteX392" fmla="*/ 856064 w 931640"/>
                <a:gd name="connsiteY392" fmla="*/ 242287 h 650206"/>
                <a:gd name="connsiteX393" fmla="*/ 852877 w 931640"/>
                <a:gd name="connsiteY393" fmla="*/ 249052 h 650206"/>
                <a:gd name="connsiteX394" fmla="*/ 847307 w 931640"/>
                <a:gd name="connsiteY394" fmla="*/ 253828 h 650206"/>
                <a:gd name="connsiteX395" fmla="*/ 841737 w 931640"/>
                <a:gd name="connsiteY395" fmla="*/ 255811 h 650206"/>
                <a:gd name="connsiteX396" fmla="*/ 829809 w 931640"/>
                <a:gd name="connsiteY396" fmla="*/ 260193 h 650206"/>
                <a:gd name="connsiteX397" fmla="*/ 827024 w 931640"/>
                <a:gd name="connsiteY397" fmla="*/ 266157 h 650206"/>
                <a:gd name="connsiteX398" fmla="*/ 829809 w 931640"/>
                <a:gd name="connsiteY398" fmla="*/ 272522 h 650206"/>
                <a:gd name="connsiteX399" fmla="*/ 819864 w 931640"/>
                <a:gd name="connsiteY399" fmla="*/ 272522 h 650206"/>
                <a:gd name="connsiteX400" fmla="*/ 807528 w 931640"/>
                <a:gd name="connsiteY400" fmla="*/ 264961 h 650206"/>
                <a:gd name="connsiteX401" fmla="*/ 801564 w 931640"/>
                <a:gd name="connsiteY401" fmla="*/ 276102 h 650206"/>
                <a:gd name="connsiteX402" fmla="*/ 787245 w 931640"/>
                <a:gd name="connsiteY402" fmla="*/ 286046 h 6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</a:cxnLst>
              <a:rect l="l" t="t" r="r" b="b"/>
              <a:pathLst>
                <a:path w="931640" h="650206">
                  <a:moveTo>
                    <a:pt x="787245" y="286046"/>
                  </a:moveTo>
                  <a:cubicBezTo>
                    <a:pt x="785255" y="287242"/>
                    <a:pt x="771329" y="302757"/>
                    <a:pt x="770534" y="304346"/>
                  </a:cubicBezTo>
                  <a:lnTo>
                    <a:pt x="766955" y="303552"/>
                  </a:lnTo>
                  <a:cubicBezTo>
                    <a:pt x="766554" y="303552"/>
                    <a:pt x="764486" y="303706"/>
                    <a:pt x="759394" y="304346"/>
                  </a:cubicBezTo>
                  <a:cubicBezTo>
                    <a:pt x="756609" y="305141"/>
                    <a:pt x="756215" y="305535"/>
                    <a:pt x="754626" y="306337"/>
                  </a:cubicBezTo>
                  <a:cubicBezTo>
                    <a:pt x="753029" y="307131"/>
                    <a:pt x="751440" y="307926"/>
                    <a:pt x="748261" y="309122"/>
                  </a:cubicBezTo>
                  <a:cubicBezTo>
                    <a:pt x="745075" y="310310"/>
                    <a:pt x="745476" y="311506"/>
                    <a:pt x="743084" y="312702"/>
                  </a:cubicBezTo>
                  <a:cubicBezTo>
                    <a:pt x="740700" y="313890"/>
                    <a:pt x="740299" y="314685"/>
                    <a:pt x="738710" y="316281"/>
                  </a:cubicBezTo>
                  <a:cubicBezTo>
                    <a:pt x="737120" y="317871"/>
                    <a:pt x="735925" y="318265"/>
                    <a:pt x="733541" y="320255"/>
                  </a:cubicBezTo>
                  <a:cubicBezTo>
                    <a:pt x="731149" y="322245"/>
                    <a:pt x="730355" y="322646"/>
                    <a:pt x="728371" y="324236"/>
                  </a:cubicBezTo>
                  <a:cubicBezTo>
                    <a:pt x="726381" y="325825"/>
                    <a:pt x="723596" y="326620"/>
                    <a:pt x="722006" y="326620"/>
                  </a:cubicBezTo>
                  <a:cubicBezTo>
                    <a:pt x="720410" y="326620"/>
                    <a:pt x="722006" y="324236"/>
                    <a:pt x="722006" y="323441"/>
                  </a:cubicBezTo>
                  <a:cubicBezTo>
                    <a:pt x="722006" y="322646"/>
                    <a:pt x="724391" y="321451"/>
                    <a:pt x="725980" y="320255"/>
                  </a:cubicBezTo>
                  <a:cubicBezTo>
                    <a:pt x="727253" y="319299"/>
                    <a:pt x="728104" y="317737"/>
                    <a:pt x="728371" y="317076"/>
                  </a:cubicBezTo>
                  <a:cubicBezTo>
                    <a:pt x="728765" y="316148"/>
                    <a:pt x="729321" y="314129"/>
                    <a:pt x="728371" y="313496"/>
                  </a:cubicBezTo>
                  <a:cubicBezTo>
                    <a:pt x="727176" y="312702"/>
                    <a:pt x="727569" y="313496"/>
                    <a:pt x="727176" y="313496"/>
                  </a:cubicBezTo>
                  <a:cubicBezTo>
                    <a:pt x="726775" y="313496"/>
                    <a:pt x="724391" y="312301"/>
                    <a:pt x="723596" y="311506"/>
                  </a:cubicBezTo>
                  <a:cubicBezTo>
                    <a:pt x="722801" y="310711"/>
                    <a:pt x="723596" y="309122"/>
                    <a:pt x="723596" y="307926"/>
                  </a:cubicBezTo>
                  <a:cubicBezTo>
                    <a:pt x="723596" y="306730"/>
                    <a:pt x="725980" y="306337"/>
                    <a:pt x="727176" y="305535"/>
                  </a:cubicBezTo>
                  <a:cubicBezTo>
                    <a:pt x="728371" y="304740"/>
                    <a:pt x="728371" y="304346"/>
                    <a:pt x="729560" y="303552"/>
                  </a:cubicBezTo>
                  <a:cubicBezTo>
                    <a:pt x="730516" y="302911"/>
                    <a:pt x="732078" y="300900"/>
                    <a:pt x="732746" y="299972"/>
                  </a:cubicBezTo>
                  <a:cubicBezTo>
                    <a:pt x="734335" y="298375"/>
                    <a:pt x="737514" y="294957"/>
                    <a:pt x="737514" y="294001"/>
                  </a:cubicBezTo>
                  <a:lnTo>
                    <a:pt x="737514" y="290027"/>
                  </a:lnTo>
                  <a:cubicBezTo>
                    <a:pt x="737514" y="288431"/>
                    <a:pt x="736719" y="288431"/>
                    <a:pt x="735130" y="287242"/>
                  </a:cubicBezTo>
                  <a:cubicBezTo>
                    <a:pt x="733541" y="286046"/>
                    <a:pt x="732746" y="286046"/>
                    <a:pt x="730755" y="285252"/>
                  </a:cubicBezTo>
                  <a:cubicBezTo>
                    <a:pt x="728765" y="284457"/>
                    <a:pt x="728765" y="284851"/>
                    <a:pt x="727569" y="284851"/>
                  </a:cubicBezTo>
                  <a:cubicBezTo>
                    <a:pt x="726381" y="284851"/>
                    <a:pt x="723596" y="285252"/>
                    <a:pt x="722006" y="286046"/>
                  </a:cubicBezTo>
                  <a:cubicBezTo>
                    <a:pt x="720410" y="286841"/>
                    <a:pt x="719615" y="287636"/>
                    <a:pt x="718820" y="288431"/>
                  </a:cubicBezTo>
                  <a:cubicBezTo>
                    <a:pt x="718026" y="289225"/>
                    <a:pt x="714446" y="292411"/>
                    <a:pt x="712856" y="294001"/>
                  </a:cubicBezTo>
                  <a:cubicBezTo>
                    <a:pt x="711260" y="295590"/>
                    <a:pt x="701315" y="301955"/>
                    <a:pt x="700127" y="302757"/>
                  </a:cubicBezTo>
                  <a:cubicBezTo>
                    <a:pt x="699170" y="303390"/>
                    <a:pt x="695217" y="308854"/>
                    <a:pt x="693361" y="311506"/>
                  </a:cubicBezTo>
                  <a:cubicBezTo>
                    <a:pt x="693361" y="311900"/>
                    <a:pt x="693206" y="313018"/>
                    <a:pt x="692566" y="314291"/>
                  </a:cubicBezTo>
                  <a:cubicBezTo>
                    <a:pt x="691771" y="315880"/>
                    <a:pt x="691370" y="315880"/>
                    <a:pt x="690576" y="317076"/>
                  </a:cubicBezTo>
                  <a:cubicBezTo>
                    <a:pt x="689781" y="318265"/>
                    <a:pt x="685807" y="319460"/>
                    <a:pt x="685406" y="320255"/>
                  </a:cubicBezTo>
                  <a:cubicBezTo>
                    <a:pt x="685005" y="321050"/>
                    <a:pt x="683022" y="321845"/>
                    <a:pt x="681826" y="322646"/>
                  </a:cubicBezTo>
                  <a:cubicBezTo>
                    <a:pt x="680631" y="323441"/>
                    <a:pt x="679041" y="322646"/>
                    <a:pt x="678247" y="322646"/>
                  </a:cubicBezTo>
                  <a:cubicBezTo>
                    <a:pt x="677452" y="322646"/>
                    <a:pt x="676657" y="320656"/>
                    <a:pt x="676657" y="320255"/>
                  </a:cubicBezTo>
                  <a:cubicBezTo>
                    <a:pt x="676657" y="319861"/>
                    <a:pt x="675462" y="318666"/>
                    <a:pt x="674266" y="318265"/>
                  </a:cubicBezTo>
                  <a:cubicBezTo>
                    <a:pt x="673077" y="317871"/>
                    <a:pt x="672677" y="318666"/>
                    <a:pt x="672677" y="319460"/>
                  </a:cubicBezTo>
                  <a:cubicBezTo>
                    <a:pt x="672677" y="320255"/>
                    <a:pt x="671882" y="321451"/>
                    <a:pt x="671882" y="322646"/>
                  </a:cubicBezTo>
                  <a:cubicBezTo>
                    <a:pt x="671882" y="323835"/>
                    <a:pt x="670686" y="325030"/>
                    <a:pt x="669892" y="327415"/>
                  </a:cubicBezTo>
                  <a:cubicBezTo>
                    <a:pt x="669097" y="328610"/>
                    <a:pt x="669892" y="328610"/>
                    <a:pt x="669892" y="329806"/>
                  </a:cubicBezTo>
                  <a:cubicBezTo>
                    <a:pt x="669892" y="330994"/>
                    <a:pt x="670686" y="331395"/>
                    <a:pt x="670686" y="332985"/>
                  </a:cubicBezTo>
                  <a:cubicBezTo>
                    <a:pt x="670686" y="334574"/>
                    <a:pt x="671481" y="334180"/>
                    <a:pt x="671882" y="335770"/>
                  </a:cubicBezTo>
                  <a:cubicBezTo>
                    <a:pt x="672276" y="337359"/>
                    <a:pt x="673077" y="336966"/>
                    <a:pt x="674266" y="338154"/>
                  </a:cubicBezTo>
                  <a:cubicBezTo>
                    <a:pt x="675462" y="339350"/>
                    <a:pt x="676256" y="338555"/>
                    <a:pt x="676657" y="338956"/>
                  </a:cubicBezTo>
                  <a:cubicBezTo>
                    <a:pt x="677051" y="339350"/>
                    <a:pt x="679442" y="338956"/>
                    <a:pt x="681826" y="339751"/>
                  </a:cubicBezTo>
                  <a:cubicBezTo>
                    <a:pt x="684211" y="340545"/>
                    <a:pt x="685807" y="339350"/>
                    <a:pt x="687791" y="339751"/>
                  </a:cubicBezTo>
                  <a:cubicBezTo>
                    <a:pt x="689781" y="340144"/>
                    <a:pt x="688986" y="340545"/>
                    <a:pt x="689781" y="341340"/>
                  </a:cubicBezTo>
                  <a:cubicBezTo>
                    <a:pt x="690576" y="342135"/>
                    <a:pt x="690576" y="342930"/>
                    <a:pt x="690576" y="345321"/>
                  </a:cubicBezTo>
                  <a:cubicBezTo>
                    <a:pt x="689781" y="346115"/>
                    <a:pt x="689781" y="345321"/>
                    <a:pt x="688986" y="346509"/>
                  </a:cubicBezTo>
                  <a:cubicBezTo>
                    <a:pt x="688191" y="347705"/>
                    <a:pt x="688191" y="347705"/>
                    <a:pt x="686996" y="349294"/>
                  </a:cubicBezTo>
                  <a:cubicBezTo>
                    <a:pt x="685807" y="350884"/>
                    <a:pt x="686996" y="351285"/>
                    <a:pt x="686996" y="353669"/>
                  </a:cubicBezTo>
                  <a:cubicBezTo>
                    <a:pt x="686996" y="356060"/>
                    <a:pt x="688191" y="354464"/>
                    <a:pt x="689781" y="356060"/>
                  </a:cubicBezTo>
                  <a:cubicBezTo>
                    <a:pt x="691370" y="357650"/>
                    <a:pt x="692172" y="356855"/>
                    <a:pt x="693361" y="356855"/>
                  </a:cubicBezTo>
                  <a:lnTo>
                    <a:pt x="700127" y="356855"/>
                  </a:lnTo>
                  <a:cubicBezTo>
                    <a:pt x="701076" y="356855"/>
                    <a:pt x="702644" y="356320"/>
                    <a:pt x="703305" y="356060"/>
                  </a:cubicBezTo>
                  <a:lnTo>
                    <a:pt x="706091" y="351285"/>
                  </a:lnTo>
                  <a:cubicBezTo>
                    <a:pt x="706091" y="350884"/>
                    <a:pt x="706330" y="349935"/>
                    <a:pt x="707286" y="349294"/>
                  </a:cubicBezTo>
                  <a:cubicBezTo>
                    <a:pt x="708482" y="348500"/>
                    <a:pt x="709277" y="347705"/>
                    <a:pt x="710465" y="346509"/>
                  </a:cubicBezTo>
                  <a:cubicBezTo>
                    <a:pt x="711661" y="345321"/>
                    <a:pt x="714045" y="344519"/>
                    <a:pt x="716436" y="344519"/>
                  </a:cubicBezTo>
                  <a:cubicBezTo>
                    <a:pt x="718820" y="344519"/>
                    <a:pt x="719221" y="346910"/>
                    <a:pt x="720410" y="347705"/>
                  </a:cubicBezTo>
                  <a:cubicBezTo>
                    <a:pt x="721605" y="348500"/>
                    <a:pt x="722801" y="349294"/>
                    <a:pt x="723596" y="350089"/>
                  </a:cubicBezTo>
                  <a:cubicBezTo>
                    <a:pt x="724391" y="350884"/>
                    <a:pt x="728765" y="351285"/>
                    <a:pt x="730355" y="351285"/>
                  </a:cubicBezTo>
                  <a:cubicBezTo>
                    <a:pt x="731951" y="351285"/>
                    <a:pt x="735925" y="351285"/>
                    <a:pt x="738710" y="352080"/>
                  </a:cubicBezTo>
                  <a:cubicBezTo>
                    <a:pt x="741495" y="352874"/>
                    <a:pt x="741101" y="353275"/>
                    <a:pt x="742290" y="354464"/>
                  </a:cubicBezTo>
                  <a:cubicBezTo>
                    <a:pt x="743485" y="355659"/>
                    <a:pt x="742290" y="357650"/>
                    <a:pt x="742290" y="359239"/>
                  </a:cubicBezTo>
                  <a:cubicBezTo>
                    <a:pt x="742290" y="360829"/>
                    <a:pt x="741495" y="361630"/>
                    <a:pt x="739906" y="362425"/>
                  </a:cubicBezTo>
                  <a:cubicBezTo>
                    <a:pt x="738632" y="363058"/>
                    <a:pt x="736719" y="362685"/>
                    <a:pt x="735925" y="362425"/>
                  </a:cubicBezTo>
                  <a:lnTo>
                    <a:pt x="732746" y="361630"/>
                  </a:lnTo>
                  <a:cubicBezTo>
                    <a:pt x="731951" y="362158"/>
                    <a:pt x="730200" y="363297"/>
                    <a:pt x="729560" y="363614"/>
                  </a:cubicBezTo>
                  <a:cubicBezTo>
                    <a:pt x="728765" y="364015"/>
                    <a:pt x="725980" y="364415"/>
                    <a:pt x="724791" y="365604"/>
                  </a:cubicBezTo>
                  <a:cubicBezTo>
                    <a:pt x="723596" y="366800"/>
                    <a:pt x="720811" y="369184"/>
                    <a:pt x="719221" y="370379"/>
                  </a:cubicBezTo>
                  <a:cubicBezTo>
                    <a:pt x="717625" y="371575"/>
                    <a:pt x="715241" y="373558"/>
                    <a:pt x="714045" y="374754"/>
                  </a:cubicBezTo>
                  <a:cubicBezTo>
                    <a:pt x="712856" y="375950"/>
                    <a:pt x="711260" y="376744"/>
                    <a:pt x="709277" y="377940"/>
                  </a:cubicBezTo>
                  <a:cubicBezTo>
                    <a:pt x="707286" y="379129"/>
                    <a:pt x="707286" y="379923"/>
                    <a:pt x="706091" y="381119"/>
                  </a:cubicBezTo>
                  <a:cubicBezTo>
                    <a:pt x="704895" y="382315"/>
                    <a:pt x="704501" y="383109"/>
                    <a:pt x="703305" y="383904"/>
                  </a:cubicBezTo>
                  <a:cubicBezTo>
                    <a:pt x="702117" y="384699"/>
                    <a:pt x="701716" y="385494"/>
                    <a:pt x="700127" y="386689"/>
                  </a:cubicBezTo>
                  <a:cubicBezTo>
                    <a:pt x="698530" y="387885"/>
                    <a:pt x="697341" y="390269"/>
                    <a:pt x="697341" y="391465"/>
                  </a:cubicBezTo>
                  <a:cubicBezTo>
                    <a:pt x="697341" y="392653"/>
                    <a:pt x="694556" y="394250"/>
                    <a:pt x="693361" y="396233"/>
                  </a:cubicBezTo>
                  <a:cubicBezTo>
                    <a:pt x="692172" y="398223"/>
                    <a:pt x="692967" y="399419"/>
                    <a:pt x="693361" y="400615"/>
                  </a:cubicBezTo>
                  <a:cubicBezTo>
                    <a:pt x="693762" y="401803"/>
                    <a:pt x="695752" y="402204"/>
                    <a:pt x="697341" y="403794"/>
                  </a:cubicBezTo>
                  <a:cubicBezTo>
                    <a:pt x="698614" y="405067"/>
                    <a:pt x="700788" y="405650"/>
                    <a:pt x="701716" y="405784"/>
                  </a:cubicBezTo>
                  <a:lnTo>
                    <a:pt x="709277" y="413738"/>
                  </a:lnTo>
                  <a:cubicBezTo>
                    <a:pt x="710071" y="414934"/>
                    <a:pt x="711738" y="417557"/>
                    <a:pt x="712062" y="418514"/>
                  </a:cubicBezTo>
                  <a:cubicBezTo>
                    <a:pt x="712455" y="419702"/>
                    <a:pt x="712856" y="422487"/>
                    <a:pt x="714045" y="426468"/>
                  </a:cubicBezTo>
                  <a:cubicBezTo>
                    <a:pt x="715241" y="430449"/>
                    <a:pt x="716436" y="431244"/>
                    <a:pt x="716830" y="432432"/>
                  </a:cubicBezTo>
                  <a:cubicBezTo>
                    <a:pt x="717231" y="433628"/>
                    <a:pt x="720016" y="437609"/>
                    <a:pt x="720811" y="439599"/>
                  </a:cubicBezTo>
                  <a:cubicBezTo>
                    <a:pt x="721605" y="441582"/>
                    <a:pt x="723990" y="444367"/>
                    <a:pt x="724791" y="446358"/>
                  </a:cubicBezTo>
                  <a:cubicBezTo>
                    <a:pt x="725586" y="448348"/>
                    <a:pt x="729560" y="450338"/>
                    <a:pt x="731951" y="451527"/>
                  </a:cubicBezTo>
                  <a:cubicBezTo>
                    <a:pt x="733857" y="452484"/>
                    <a:pt x="732746" y="457498"/>
                    <a:pt x="731951" y="459882"/>
                  </a:cubicBezTo>
                  <a:lnTo>
                    <a:pt x="730755" y="459882"/>
                  </a:lnTo>
                  <a:lnTo>
                    <a:pt x="727176" y="458687"/>
                  </a:lnTo>
                  <a:lnTo>
                    <a:pt x="722801" y="456703"/>
                  </a:lnTo>
                  <a:cubicBezTo>
                    <a:pt x="722667" y="457498"/>
                    <a:pt x="722477" y="459404"/>
                    <a:pt x="722801" y="460677"/>
                  </a:cubicBezTo>
                  <a:cubicBezTo>
                    <a:pt x="723195" y="462273"/>
                    <a:pt x="725980" y="462667"/>
                    <a:pt x="727176" y="463863"/>
                  </a:cubicBezTo>
                  <a:cubicBezTo>
                    <a:pt x="728371" y="465051"/>
                    <a:pt x="730755" y="465452"/>
                    <a:pt x="731951" y="466648"/>
                  </a:cubicBezTo>
                  <a:cubicBezTo>
                    <a:pt x="733140" y="467837"/>
                    <a:pt x="733934" y="469433"/>
                    <a:pt x="733140" y="471023"/>
                  </a:cubicBezTo>
                  <a:cubicBezTo>
                    <a:pt x="732345" y="472612"/>
                    <a:pt x="729560" y="472218"/>
                    <a:pt x="724791" y="474602"/>
                  </a:cubicBezTo>
                  <a:cubicBezTo>
                    <a:pt x="720973" y="476508"/>
                    <a:pt x="718687" y="481495"/>
                    <a:pt x="718026" y="483752"/>
                  </a:cubicBezTo>
                  <a:cubicBezTo>
                    <a:pt x="719615" y="483091"/>
                    <a:pt x="723040" y="481685"/>
                    <a:pt x="723990" y="481361"/>
                  </a:cubicBezTo>
                  <a:cubicBezTo>
                    <a:pt x="725185" y="480967"/>
                    <a:pt x="725980" y="481762"/>
                    <a:pt x="727176" y="482958"/>
                  </a:cubicBezTo>
                  <a:cubicBezTo>
                    <a:pt x="728371" y="484146"/>
                    <a:pt x="729560" y="485743"/>
                    <a:pt x="730755" y="486931"/>
                  </a:cubicBezTo>
                  <a:cubicBezTo>
                    <a:pt x="731712" y="487888"/>
                    <a:pt x="732746" y="489716"/>
                    <a:pt x="733140" y="490511"/>
                  </a:cubicBezTo>
                  <a:cubicBezTo>
                    <a:pt x="732746" y="491306"/>
                    <a:pt x="731789" y="493141"/>
                    <a:pt x="731149" y="494091"/>
                  </a:cubicBezTo>
                  <a:cubicBezTo>
                    <a:pt x="730355" y="495287"/>
                    <a:pt x="729560" y="497277"/>
                    <a:pt x="729560" y="498473"/>
                  </a:cubicBezTo>
                  <a:lnTo>
                    <a:pt x="729560" y="512391"/>
                  </a:lnTo>
                  <a:cubicBezTo>
                    <a:pt x="729560" y="513186"/>
                    <a:pt x="725980" y="517166"/>
                    <a:pt x="723990" y="519551"/>
                  </a:cubicBezTo>
                  <a:cubicBezTo>
                    <a:pt x="722006" y="521942"/>
                    <a:pt x="717625" y="527111"/>
                    <a:pt x="716436" y="529102"/>
                  </a:cubicBezTo>
                  <a:cubicBezTo>
                    <a:pt x="715241" y="531092"/>
                    <a:pt x="711260" y="535467"/>
                    <a:pt x="709277" y="537851"/>
                  </a:cubicBezTo>
                  <a:cubicBezTo>
                    <a:pt x="707286" y="540235"/>
                    <a:pt x="705296" y="542225"/>
                    <a:pt x="703706" y="545805"/>
                  </a:cubicBezTo>
                  <a:cubicBezTo>
                    <a:pt x="702117" y="549385"/>
                    <a:pt x="697735" y="560926"/>
                    <a:pt x="697341" y="561721"/>
                  </a:cubicBezTo>
                  <a:cubicBezTo>
                    <a:pt x="696941" y="562516"/>
                    <a:pt x="696146" y="563711"/>
                    <a:pt x="695351" y="564900"/>
                  </a:cubicBezTo>
                  <a:cubicBezTo>
                    <a:pt x="694556" y="566095"/>
                    <a:pt x="690576" y="570470"/>
                    <a:pt x="689781" y="572059"/>
                  </a:cubicBezTo>
                  <a:cubicBezTo>
                    <a:pt x="688986" y="573656"/>
                    <a:pt x="683416" y="576835"/>
                    <a:pt x="682220" y="578030"/>
                  </a:cubicBezTo>
                  <a:cubicBezTo>
                    <a:pt x="681032" y="579219"/>
                    <a:pt x="677051" y="582806"/>
                    <a:pt x="675061" y="585190"/>
                  </a:cubicBezTo>
                  <a:cubicBezTo>
                    <a:pt x="673077" y="587574"/>
                    <a:pt x="669892" y="590760"/>
                    <a:pt x="667901" y="592350"/>
                  </a:cubicBezTo>
                  <a:cubicBezTo>
                    <a:pt x="665911" y="593939"/>
                    <a:pt x="658751" y="599910"/>
                    <a:pt x="656768" y="601500"/>
                  </a:cubicBezTo>
                  <a:cubicBezTo>
                    <a:pt x="654777" y="603089"/>
                    <a:pt x="651198" y="607070"/>
                    <a:pt x="650002" y="607464"/>
                  </a:cubicBezTo>
                  <a:cubicBezTo>
                    <a:pt x="648806" y="607865"/>
                    <a:pt x="637272" y="609060"/>
                    <a:pt x="636477" y="609060"/>
                  </a:cubicBezTo>
                  <a:cubicBezTo>
                    <a:pt x="635683" y="609060"/>
                    <a:pt x="627328" y="610650"/>
                    <a:pt x="624542" y="612239"/>
                  </a:cubicBezTo>
                  <a:cubicBezTo>
                    <a:pt x="621757" y="613829"/>
                    <a:pt x="619767" y="616614"/>
                    <a:pt x="616187" y="618604"/>
                  </a:cubicBezTo>
                  <a:cubicBezTo>
                    <a:pt x="612607" y="620594"/>
                    <a:pt x="611419" y="612640"/>
                    <a:pt x="609822" y="612239"/>
                  </a:cubicBezTo>
                  <a:cubicBezTo>
                    <a:pt x="608233" y="611838"/>
                    <a:pt x="603457" y="620988"/>
                    <a:pt x="602662" y="621389"/>
                  </a:cubicBezTo>
                  <a:cubicBezTo>
                    <a:pt x="601868" y="621783"/>
                    <a:pt x="597493" y="623380"/>
                    <a:pt x="596298" y="623773"/>
                  </a:cubicBezTo>
                  <a:cubicBezTo>
                    <a:pt x="595109" y="624174"/>
                    <a:pt x="588343" y="625764"/>
                    <a:pt x="584362" y="627754"/>
                  </a:cubicBezTo>
                  <a:cubicBezTo>
                    <a:pt x="581183" y="629344"/>
                    <a:pt x="571900" y="631334"/>
                    <a:pt x="567659" y="632129"/>
                  </a:cubicBezTo>
                  <a:cubicBezTo>
                    <a:pt x="566731" y="632656"/>
                    <a:pt x="564318" y="633957"/>
                    <a:pt x="562089" y="634914"/>
                  </a:cubicBezTo>
                  <a:cubicBezTo>
                    <a:pt x="559304" y="636109"/>
                    <a:pt x="557714" y="638894"/>
                    <a:pt x="556919" y="639689"/>
                  </a:cubicBezTo>
                  <a:cubicBezTo>
                    <a:pt x="556125" y="640484"/>
                    <a:pt x="558509" y="644458"/>
                    <a:pt x="559304" y="647644"/>
                  </a:cubicBezTo>
                  <a:cubicBezTo>
                    <a:pt x="560098" y="650823"/>
                    <a:pt x="559304" y="650028"/>
                    <a:pt x="558509" y="650028"/>
                  </a:cubicBezTo>
                  <a:cubicBezTo>
                    <a:pt x="557714" y="650028"/>
                    <a:pt x="556519" y="650429"/>
                    <a:pt x="555330" y="650028"/>
                  </a:cubicBezTo>
                  <a:cubicBezTo>
                    <a:pt x="554374" y="649711"/>
                    <a:pt x="553072" y="648305"/>
                    <a:pt x="552545" y="647644"/>
                  </a:cubicBezTo>
                  <a:cubicBezTo>
                    <a:pt x="551483" y="646715"/>
                    <a:pt x="549359" y="644781"/>
                    <a:pt x="549359" y="644458"/>
                  </a:cubicBezTo>
                  <a:cubicBezTo>
                    <a:pt x="549359" y="644064"/>
                    <a:pt x="547368" y="637298"/>
                    <a:pt x="548163" y="635708"/>
                  </a:cubicBezTo>
                  <a:cubicBezTo>
                    <a:pt x="548965" y="634119"/>
                    <a:pt x="548163" y="633718"/>
                    <a:pt x="547368" y="632129"/>
                  </a:cubicBezTo>
                  <a:cubicBezTo>
                    <a:pt x="546574" y="630539"/>
                    <a:pt x="543789" y="628950"/>
                    <a:pt x="542600" y="627754"/>
                  </a:cubicBezTo>
                  <a:cubicBezTo>
                    <a:pt x="541404" y="626558"/>
                    <a:pt x="536629" y="626558"/>
                    <a:pt x="533049" y="626558"/>
                  </a:cubicBezTo>
                  <a:cubicBezTo>
                    <a:pt x="530187" y="626558"/>
                    <a:pt x="523639" y="629477"/>
                    <a:pt x="520720" y="630933"/>
                  </a:cubicBezTo>
                  <a:cubicBezTo>
                    <a:pt x="520186" y="630933"/>
                    <a:pt x="518892" y="630778"/>
                    <a:pt x="517935" y="630138"/>
                  </a:cubicBezTo>
                  <a:cubicBezTo>
                    <a:pt x="516740" y="629344"/>
                    <a:pt x="514749" y="629344"/>
                    <a:pt x="512365" y="628950"/>
                  </a:cubicBezTo>
                  <a:cubicBezTo>
                    <a:pt x="509981" y="628549"/>
                    <a:pt x="506000" y="626558"/>
                    <a:pt x="504804" y="625764"/>
                  </a:cubicBezTo>
                  <a:cubicBezTo>
                    <a:pt x="503616" y="624969"/>
                    <a:pt x="502420" y="622979"/>
                    <a:pt x="501225" y="619399"/>
                  </a:cubicBezTo>
                  <a:cubicBezTo>
                    <a:pt x="500036" y="615819"/>
                    <a:pt x="501225" y="614230"/>
                    <a:pt x="501626" y="611838"/>
                  </a:cubicBezTo>
                  <a:cubicBezTo>
                    <a:pt x="501942" y="609932"/>
                    <a:pt x="498306" y="609989"/>
                    <a:pt x="496456" y="610249"/>
                  </a:cubicBezTo>
                  <a:cubicBezTo>
                    <a:pt x="495528" y="610249"/>
                    <a:pt x="493510" y="610094"/>
                    <a:pt x="492869" y="609454"/>
                  </a:cubicBezTo>
                  <a:cubicBezTo>
                    <a:pt x="492075" y="608659"/>
                    <a:pt x="490886" y="608259"/>
                    <a:pt x="489290" y="607464"/>
                  </a:cubicBezTo>
                  <a:cubicBezTo>
                    <a:pt x="487700" y="606669"/>
                    <a:pt x="487306" y="605874"/>
                    <a:pt x="486905" y="605080"/>
                  </a:cubicBezTo>
                  <a:cubicBezTo>
                    <a:pt x="486505" y="604285"/>
                    <a:pt x="482531" y="603089"/>
                    <a:pt x="481335" y="603089"/>
                  </a:cubicBezTo>
                  <a:cubicBezTo>
                    <a:pt x="480140" y="603089"/>
                    <a:pt x="479345" y="602695"/>
                    <a:pt x="478951" y="603089"/>
                  </a:cubicBezTo>
                  <a:cubicBezTo>
                    <a:pt x="478550" y="603490"/>
                    <a:pt x="475371" y="604679"/>
                    <a:pt x="474176" y="605874"/>
                  </a:cubicBezTo>
                  <a:cubicBezTo>
                    <a:pt x="472980" y="607070"/>
                    <a:pt x="471390" y="607464"/>
                    <a:pt x="469400" y="608259"/>
                  </a:cubicBezTo>
                  <a:cubicBezTo>
                    <a:pt x="467417" y="609060"/>
                    <a:pt x="465426" y="609060"/>
                    <a:pt x="463830" y="610249"/>
                  </a:cubicBezTo>
                  <a:cubicBezTo>
                    <a:pt x="462241" y="611444"/>
                    <a:pt x="461052" y="610249"/>
                    <a:pt x="458267" y="611838"/>
                  </a:cubicBezTo>
                  <a:cubicBezTo>
                    <a:pt x="455482" y="613435"/>
                    <a:pt x="451107" y="611838"/>
                    <a:pt x="447921" y="611838"/>
                  </a:cubicBezTo>
                  <a:cubicBezTo>
                    <a:pt x="444742" y="611838"/>
                    <a:pt x="438771" y="613435"/>
                    <a:pt x="437575" y="613435"/>
                  </a:cubicBezTo>
                  <a:cubicBezTo>
                    <a:pt x="436387" y="613435"/>
                    <a:pt x="433602" y="615024"/>
                    <a:pt x="431611" y="616220"/>
                  </a:cubicBezTo>
                  <a:cubicBezTo>
                    <a:pt x="429621" y="617409"/>
                    <a:pt x="427237" y="618203"/>
                    <a:pt x="426041" y="619399"/>
                  </a:cubicBezTo>
                  <a:cubicBezTo>
                    <a:pt x="424853" y="620594"/>
                    <a:pt x="426041" y="629344"/>
                    <a:pt x="426041" y="630933"/>
                  </a:cubicBezTo>
                  <a:lnTo>
                    <a:pt x="426041" y="635708"/>
                  </a:lnTo>
                  <a:cubicBezTo>
                    <a:pt x="426041" y="637298"/>
                    <a:pt x="426041" y="636904"/>
                    <a:pt x="422068" y="636904"/>
                  </a:cubicBezTo>
                  <a:cubicBezTo>
                    <a:pt x="418882" y="636904"/>
                    <a:pt x="417292" y="635047"/>
                    <a:pt x="416891" y="634119"/>
                  </a:cubicBezTo>
                  <a:lnTo>
                    <a:pt x="416891" y="630138"/>
                  </a:lnTo>
                  <a:lnTo>
                    <a:pt x="416097" y="627353"/>
                  </a:lnTo>
                  <a:lnTo>
                    <a:pt x="414507" y="628549"/>
                  </a:lnTo>
                  <a:cubicBezTo>
                    <a:pt x="412650" y="629076"/>
                    <a:pt x="408775" y="630138"/>
                    <a:pt x="408142" y="630138"/>
                  </a:cubicBezTo>
                  <a:cubicBezTo>
                    <a:pt x="407502" y="630138"/>
                    <a:pt x="405491" y="630673"/>
                    <a:pt x="404562" y="630933"/>
                  </a:cubicBezTo>
                  <a:lnTo>
                    <a:pt x="401777" y="630138"/>
                  </a:lnTo>
                  <a:lnTo>
                    <a:pt x="397797" y="628549"/>
                  </a:lnTo>
                  <a:lnTo>
                    <a:pt x="389449" y="624174"/>
                  </a:lnTo>
                  <a:cubicBezTo>
                    <a:pt x="388914" y="623380"/>
                    <a:pt x="387852" y="621628"/>
                    <a:pt x="387852" y="620988"/>
                  </a:cubicBezTo>
                  <a:cubicBezTo>
                    <a:pt x="387852" y="620194"/>
                    <a:pt x="388647" y="618203"/>
                    <a:pt x="389449" y="617409"/>
                  </a:cubicBezTo>
                  <a:cubicBezTo>
                    <a:pt x="390243" y="616614"/>
                    <a:pt x="390637" y="615024"/>
                    <a:pt x="390637" y="613435"/>
                  </a:cubicBezTo>
                  <a:cubicBezTo>
                    <a:pt x="390637" y="611838"/>
                    <a:pt x="391432" y="611444"/>
                    <a:pt x="391432" y="610249"/>
                  </a:cubicBezTo>
                  <a:cubicBezTo>
                    <a:pt x="391432" y="609060"/>
                    <a:pt x="391832" y="608259"/>
                    <a:pt x="391432" y="607464"/>
                  </a:cubicBezTo>
                  <a:cubicBezTo>
                    <a:pt x="391038" y="606669"/>
                    <a:pt x="387057" y="606669"/>
                    <a:pt x="385868" y="605874"/>
                  </a:cubicBezTo>
                  <a:cubicBezTo>
                    <a:pt x="384673" y="605080"/>
                    <a:pt x="383878" y="602695"/>
                    <a:pt x="382683" y="600705"/>
                  </a:cubicBezTo>
                  <a:cubicBezTo>
                    <a:pt x="381726" y="599116"/>
                    <a:pt x="380432" y="594734"/>
                    <a:pt x="379898" y="592751"/>
                  </a:cubicBezTo>
                  <a:cubicBezTo>
                    <a:pt x="379898" y="591822"/>
                    <a:pt x="379736" y="589881"/>
                    <a:pt x="379103" y="589565"/>
                  </a:cubicBezTo>
                  <a:cubicBezTo>
                    <a:pt x="378470" y="589248"/>
                    <a:pt x="376451" y="590493"/>
                    <a:pt x="375523" y="591154"/>
                  </a:cubicBezTo>
                  <a:lnTo>
                    <a:pt x="363588" y="591154"/>
                  </a:lnTo>
                  <a:lnTo>
                    <a:pt x="363588" y="575639"/>
                  </a:lnTo>
                  <a:cubicBezTo>
                    <a:pt x="363588" y="574845"/>
                    <a:pt x="365972" y="572460"/>
                    <a:pt x="366373" y="572059"/>
                  </a:cubicBezTo>
                  <a:cubicBezTo>
                    <a:pt x="366774" y="571666"/>
                    <a:pt x="370354" y="566890"/>
                    <a:pt x="370354" y="566496"/>
                  </a:cubicBezTo>
                  <a:cubicBezTo>
                    <a:pt x="370354" y="566095"/>
                    <a:pt x="373934" y="562909"/>
                    <a:pt x="375523" y="561721"/>
                  </a:cubicBezTo>
                  <a:cubicBezTo>
                    <a:pt x="377113" y="560525"/>
                    <a:pt x="379103" y="557740"/>
                    <a:pt x="379103" y="556945"/>
                  </a:cubicBezTo>
                  <a:cubicBezTo>
                    <a:pt x="379103" y="556151"/>
                    <a:pt x="379898" y="551375"/>
                    <a:pt x="379898" y="550187"/>
                  </a:cubicBezTo>
                  <a:lnTo>
                    <a:pt x="379898" y="542626"/>
                  </a:lnTo>
                  <a:cubicBezTo>
                    <a:pt x="379898" y="542225"/>
                    <a:pt x="379103" y="533075"/>
                    <a:pt x="379103" y="532281"/>
                  </a:cubicBezTo>
                  <a:cubicBezTo>
                    <a:pt x="379103" y="531486"/>
                    <a:pt x="377907" y="530290"/>
                    <a:pt x="377513" y="529896"/>
                  </a:cubicBezTo>
                  <a:lnTo>
                    <a:pt x="373934" y="526317"/>
                  </a:lnTo>
                  <a:cubicBezTo>
                    <a:pt x="373139" y="525522"/>
                    <a:pt x="371149" y="522737"/>
                    <a:pt x="370354" y="521942"/>
                  </a:cubicBezTo>
                  <a:cubicBezTo>
                    <a:pt x="369559" y="521147"/>
                    <a:pt x="369158" y="519157"/>
                    <a:pt x="368757" y="517961"/>
                  </a:cubicBezTo>
                  <a:cubicBezTo>
                    <a:pt x="368363" y="516766"/>
                    <a:pt x="366373" y="517166"/>
                    <a:pt x="365177" y="516372"/>
                  </a:cubicBezTo>
                  <a:cubicBezTo>
                    <a:pt x="363989" y="515577"/>
                    <a:pt x="357223" y="519952"/>
                    <a:pt x="356829" y="519952"/>
                  </a:cubicBezTo>
                  <a:cubicBezTo>
                    <a:pt x="356505" y="519952"/>
                    <a:pt x="355099" y="519417"/>
                    <a:pt x="354438" y="519157"/>
                  </a:cubicBezTo>
                  <a:lnTo>
                    <a:pt x="350464" y="516372"/>
                  </a:lnTo>
                  <a:cubicBezTo>
                    <a:pt x="349001" y="516238"/>
                    <a:pt x="345928" y="515893"/>
                    <a:pt x="345288" y="515577"/>
                  </a:cubicBezTo>
                  <a:cubicBezTo>
                    <a:pt x="344493" y="515176"/>
                    <a:pt x="344493" y="512792"/>
                    <a:pt x="344493" y="512391"/>
                  </a:cubicBezTo>
                  <a:cubicBezTo>
                    <a:pt x="344493" y="511997"/>
                    <a:pt x="347278" y="509212"/>
                    <a:pt x="348073" y="508417"/>
                  </a:cubicBezTo>
                  <a:cubicBezTo>
                    <a:pt x="348868" y="507616"/>
                    <a:pt x="345288" y="504036"/>
                    <a:pt x="344493" y="502847"/>
                  </a:cubicBezTo>
                  <a:cubicBezTo>
                    <a:pt x="343698" y="501652"/>
                    <a:pt x="342109" y="500456"/>
                    <a:pt x="340119" y="498866"/>
                  </a:cubicBezTo>
                  <a:cubicBezTo>
                    <a:pt x="338529" y="497593"/>
                    <a:pt x="337868" y="498339"/>
                    <a:pt x="337734" y="498866"/>
                  </a:cubicBezTo>
                  <a:cubicBezTo>
                    <a:pt x="336539" y="499795"/>
                    <a:pt x="333831" y="501891"/>
                    <a:pt x="332558" y="502847"/>
                  </a:cubicBezTo>
                  <a:cubicBezTo>
                    <a:pt x="330968" y="504036"/>
                    <a:pt x="329379" y="505231"/>
                    <a:pt x="328183" y="505231"/>
                  </a:cubicBezTo>
                  <a:cubicBezTo>
                    <a:pt x="326995" y="505231"/>
                    <a:pt x="324604" y="502847"/>
                    <a:pt x="323809" y="502847"/>
                  </a:cubicBezTo>
                  <a:cubicBezTo>
                    <a:pt x="323014" y="502847"/>
                    <a:pt x="319434" y="500456"/>
                    <a:pt x="317845" y="499661"/>
                  </a:cubicBezTo>
                  <a:cubicBezTo>
                    <a:pt x="316248" y="498866"/>
                    <a:pt x="313864" y="502052"/>
                    <a:pt x="312274" y="502847"/>
                  </a:cubicBezTo>
                  <a:cubicBezTo>
                    <a:pt x="310678" y="503642"/>
                    <a:pt x="307499" y="506427"/>
                    <a:pt x="303919" y="508417"/>
                  </a:cubicBezTo>
                  <a:cubicBezTo>
                    <a:pt x="301057" y="510007"/>
                    <a:pt x="293707" y="516766"/>
                    <a:pt x="290395" y="519952"/>
                  </a:cubicBezTo>
                  <a:lnTo>
                    <a:pt x="280844" y="526317"/>
                  </a:lnTo>
                  <a:cubicBezTo>
                    <a:pt x="279522" y="526844"/>
                    <a:pt x="276554" y="527906"/>
                    <a:pt x="275281" y="527906"/>
                  </a:cubicBezTo>
                  <a:cubicBezTo>
                    <a:pt x="273684" y="527906"/>
                    <a:pt x="268114" y="522336"/>
                    <a:pt x="267720" y="521541"/>
                  </a:cubicBezTo>
                  <a:cubicBezTo>
                    <a:pt x="267319" y="520746"/>
                    <a:pt x="260561" y="520746"/>
                    <a:pt x="258971" y="519952"/>
                  </a:cubicBezTo>
                  <a:cubicBezTo>
                    <a:pt x="257698" y="519311"/>
                    <a:pt x="251010" y="518622"/>
                    <a:pt x="247831" y="518362"/>
                  </a:cubicBezTo>
                  <a:cubicBezTo>
                    <a:pt x="246769" y="518756"/>
                    <a:pt x="244406" y="519635"/>
                    <a:pt x="243456" y="519952"/>
                  </a:cubicBezTo>
                  <a:cubicBezTo>
                    <a:pt x="242261" y="520345"/>
                    <a:pt x="241466" y="522336"/>
                    <a:pt x="240671" y="522336"/>
                  </a:cubicBezTo>
                  <a:cubicBezTo>
                    <a:pt x="239876" y="522336"/>
                    <a:pt x="235896" y="527111"/>
                    <a:pt x="235101" y="527906"/>
                  </a:cubicBezTo>
                  <a:cubicBezTo>
                    <a:pt x="234306" y="528701"/>
                    <a:pt x="231521" y="530290"/>
                    <a:pt x="230726" y="529896"/>
                  </a:cubicBezTo>
                  <a:cubicBezTo>
                    <a:pt x="230086" y="529580"/>
                    <a:pt x="227540" y="524727"/>
                    <a:pt x="226352" y="522336"/>
                  </a:cubicBezTo>
                  <a:cubicBezTo>
                    <a:pt x="224495" y="523398"/>
                    <a:pt x="220620" y="525522"/>
                    <a:pt x="219987" y="525522"/>
                  </a:cubicBezTo>
                  <a:cubicBezTo>
                    <a:pt x="219185" y="525522"/>
                    <a:pt x="218791" y="525522"/>
                    <a:pt x="217202" y="524727"/>
                  </a:cubicBezTo>
                  <a:cubicBezTo>
                    <a:pt x="215605" y="523925"/>
                    <a:pt x="211632" y="525121"/>
                    <a:pt x="209641" y="524727"/>
                  </a:cubicBezTo>
                  <a:cubicBezTo>
                    <a:pt x="207651" y="524326"/>
                    <a:pt x="201687" y="524326"/>
                    <a:pt x="199697" y="523925"/>
                  </a:cubicBezTo>
                  <a:cubicBezTo>
                    <a:pt x="197706" y="523531"/>
                    <a:pt x="195322" y="523131"/>
                    <a:pt x="190153" y="522336"/>
                  </a:cubicBezTo>
                  <a:cubicBezTo>
                    <a:pt x="184976" y="521541"/>
                    <a:pt x="184583" y="519551"/>
                    <a:pt x="182592" y="518362"/>
                  </a:cubicBezTo>
                  <a:cubicBezTo>
                    <a:pt x="181003" y="517405"/>
                    <a:pt x="170791" y="512658"/>
                    <a:pt x="165882" y="510401"/>
                  </a:cubicBezTo>
                  <a:cubicBezTo>
                    <a:pt x="164426" y="509346"/>
                    <a:pt x="161268" y="507060"/>
                    <a:pt x="160311" y="506427"/>
                  </a:cubicBezTo>
                  <a:cubicBezTo>
                    <a:pt x="159123" y="505632"/>
                    <a:pt x="137243" y="491707"/>
                    <a:pt x="136842" y="491306"/>
                  </a:cubicBezTo>
                  <a:cubicBezTo>
                    <a:pt x="136448" y="490912"/>
                    <a:pt x="132468" y="487726"/>
                    <a:pt x="132074" y="486931"/>
                  </a:cubicBezTo>
                  <a:cubicBezTo>
                    <a:pt x="131673" y="486137"/>
                    <a:pt x="125308" y="484146"/>
                    <a:pt x="122924" y="482163"/>
                  </a:cubicBezTo>
                  <a:cubicBezTo>
                    <a:pt x="120532" y="480173"/>
                    <a:pt x="119738" y="482163"/>
                    <a:pt x="116953" y="482163"/>
                  </a:cubicBezTo>
                  <a:cubicBezTo>
                    <a:pt x="114730" y="482163"/>
                    <a:pt x="111783" y="483485"/>
                    <a:pt x="110588" y="484146"/>
                  </a:cubicBezTo>
                  <a:cubicBezTo>
                    <a:pt x="108998" y="483352"/>
                    <a:pt x="105658" y="481600"/>
                    <a:pt x="105017" y="480967"/>
                  </a:cubicBezTo>
                  <a:cubicBezTo>
                    <a:pt x="104223" y="480173"/>
                    <a:pt x="94278" y="473808"/>
                    <a:pt x="93089" y="473013"/>
                  </a:cubicBezTo>
                  <a:cubicBezTo>
                    <a:pt x="91894" y="472218"/>
                    <a:pt x="87519" y="470228"/>
                    <a:pt x="86324" y="469433"/>
                  </a:cubicBezTo>
                  <a:cubicBezTo>
                    <a:pt x="85128" y="468631"/>
                    <a:pt x="81155" y="466648"/>
                    <a:pt x="79959" y="465853"/>
                  </a:cubicBezTo>
                  <a:cubicBezTo>
                    <a:pt x="78763" y="465051"/>
                    <a:pt x="75978" y="461078"/>
                    <a:pt x="75183" y="460283"/>
                  </a:cubicBezTo>
                  <a:cubicBezTo>
                    <a:pt x="74389" y="459488"/>
                    <a:pt x="75183" y="450732"/>
                    <a:pt x="75183" y="450338"/>
                  </a:cubicBezTo>
                  <a:cubicBezTo>
                    <a:pt x="75183" y="449937"/>
                    <a:pt x="72398" y="449143"/>
                    <a:pt x="72398" y="447947"/>
                  </a:cubicBezTo>
                  <a:lnTo>
                    <a:pt x="72398" y="442778"/>
                  </a:lnTo>
                  <a:cubicBezTo>
                    <a:pt x="72398" y="441821"/>
                    <a:pt x="74255" y="441849"/>
                    <a:pt x="75183" y="441983"/>
                  </a:cubicBezTo>
                  <a:cubicBezTo>
                    <a:pt x="75978" y="442511"/>
                    <a:pt x="78053" y="443650"/>
                    <a:pt x="79959" y="443973"/>
                  </a:cubicBezTo>
                  <a:cubicBezTo>
                    <a:pt x="81872" y="444290"/>
                    <a:pt x="82610" y="443305"/>
                    <a:pt x="82744" y="442778"/>
                  </a:cubicBezTo>
                  <a:lnTo>
                    <a:pt x="82744" y="436413"/>
                  </a:lnTo>
                  <a:cubicBezTo>
                    <a:pt x="82744" y="435618"/>
                    <a:pt x="81155" y="432833"/>
                    <a:pt x="80753" y="432432"/>
                  </a:cubicBezTo>
                  <a:cubicBezTo>
                    <a:pt x="80360" y="432038"/>
                    <a:pt x="78369" y="428458"/>
                    <a:pt x="77574" y="427664"/>
                  </a:cubicBezTo>
                  <a:cubicBezTo>
                    <a:pt x="76780" y="426869"/>
                    <a:pt x="77574" y="419702"/>
                    <a:pt x="77574" y="418908"/>
                  </a:cubicBezTo>
                  <a:lnTo>
                    <a:pt x="77574" y="409758"/>
                  </a:lnTo>
                  <a:cubicBezTo>
                    <a:pt x="77574" y="408963"/>
                    <a:pt x="74389" y="405383"/>
                    <a:pt x="73594" y="404194"/>
                  </a:cubicBezTo>
                  <a:cubicBezTo>
                    <a:pt x="72799" y="402999"/>
                    <a:pt x="60470" y="389474"/>
                    <a:pt x="59274" y="389073"/>
                  </a:cubicBezTo>
                  <a:cubicBezTo>
                    <a:pt x="58079" y="388680"/>
                    <a:pt x="55695" y="387484"/>
                    <a:pt x="54105" y="386689"/>
                  </a:cubicBezTo>
                  <a:cubicBezTo>
                    <a:pt x="52509" y="385894"/>
                    <a:pt x="48535" y="385100"/>
                    <a:pt x="46946" y="384699"/>
                  </a:cubicBezTo>
                  <a:cubicBezTo>
                    <a:pt x="45349" y="384305"/>
                    <a:pt x="41376" y="383503"/>
                    <a:pt x="38984" y="382708"/>
                  </a:cubicBezTo>
                  <a:cubicBezTo>
                    <a:pt x="36600" y="381914"/>
                    <a:pt x="35805" y="377138"/>
                    <a:pt x="35404" y="375950"/>
                  </a:cubicBezTo>
                  <a:cubicBezTo>
                    <a:pt x="35010" y="374754"/>
                    <a:pt x="34216" y="369979"/>
                    <a:pt x="33414" y="368790"/>
                  </a:cubicBezTo>
                  <a:cubicBezTo>
                    <a:pt x="32619" y="367594"/>
                    <a:pt x="23469" y="359640"/>
                    <a:pt x="22281" y="358444"/>
                  </a:cubicBezTo>
                  <a:cubicBezTo>
                    <a:pt x="21085" y="357249"/>
                    <a:pt x="18300" y="352874"/>
                    <a:pt x="17906" y="351686"/>
                  </a:cubicBezTo>
                  <a:cubicBezTo>
                    <a:pt x="17505" y="350490"/>
                    <a:pt x="15916" y="344920"/>
                    <a:pt x="15916" y="343330"/>
                  </a:cubicBezTo>
                  <a:cubicBezTo>
                    <a:pt x="15916" y="341741"/>
                    <a:pt x="14720" y="332591"/>
                    <a:pt x="14326" y="332190"/>
                  </a:cubicBezTo>
                  <a:cubicBezTo>
                    <a:pt x="13925" y="331796"/>
                    <a:pt x="12730" y="330994"/>
                    <a:pt x="10739" y="330601"/>
                  </a:cubicBezTo>
                  <a:cubicBezTo>
                    <a:pt x="8756" y="330200"/>
                    <a:pt x="4775" y="329011"/>
                    <a:pt x="3580" y="328209"/>
                  </a:cubicBezTo>
                  <a:cubicBezTo>
                    <a:pt x="2391" y="327415"/>
                    <a:pt x="0" y="323441"/>
                    <a:pt x="0" y="322646"/>
                  </a:cubicBezTo>
                  <a:lnTo>
                    <a:pt x="0" y="312301"/>
                  </a:lnTo>
                  <a:cubicBezTo>
                    <a:pt x="0" y="311105"/>
                    <a:pt x="1196" y="307926"/>
                    <a:pt x="1990" y="305936"/>
                  </a:cubicBezTo>
                  <a:cubicBezTo>
                    <a:pt x="2785" y="303945"/>
                    <a:pt x="9150" y="299571"/>
                    <a:pt x="9945" y="298375"/>
                  </a:cubicBezTo>
                  <a:cubicBezTo>
                    <a:pt x="10739" y="297187"/>
                    <a:pt x="15515" y="295590"/>
                    <a:pt x="16710" y="294795"/>
                  </a:cubicBezTo>
                  <a:cubicBezTo>
                    <a:pt x="17906" y="294001"/>
                    <a:pt x="22281" y="293206"/>
                    <a:pt x="24665" y="292411"/>
                  </a:cubicBezTo>
                  <a:cubicBezTo>
                    <a:pt x="27049" y="291616"/>
                    <a:pt x="32619" y="292411"/>
                    <a:pt x="34610" y="292411"/>
                  </a:cubicBezTo>
                  <a:cubicBezTo>
                    <a:pt x="36600" y="292411"/>
                    <a:pt x="39385" y="291616"/>
                    <a:pt x="40180" y="290822"/>
                  </a:cubicBezTo>
                  <a:lnTo>
                    <a:pt x="47340" y="283662"/>
                  </a:lnTo>
                  <a:cubicBezTo>
                    <a:pt x="48613" y="282389"/>
                    <a:pt x="52382" y="281011"/>
                    <a:pt x="54105" y="280476"/>
                  </a:cubicBezTo>
                  <a:lnTo>
                    <a:pt x="64845" y="278486"/>
                  </a:lnTo>
                  <a:cubicBezTo>
                    <a:pt x="66033" y="277030"/>
                    <a:pt x="68502" y="273956"/>
                    <a:pt x="68819" y="273316"/>
                  </a:cubicBezTo>
                  <a:cubicBezTo>
                    <a:pt x="69219" y="272522"/>
                    <a:pt x="79164" y="268541"/>
                    <a:pt x="79959" y="267746"/>
                  </a:cubicBezTo>
                  <a:cubicBezTo>
                    <a:pt x="80753" y="266952"/>
                    <a:pt x="89510" y="262577"/>
                    <a:pt x="91099" y="261782"/>
                  </a:cubicBezTo>
                  <a:cubicBezTo>
                    <a:pt x="92689" y="260988"/>
                    <a:pt x="97464" y="257007"/>
                    <a:pt x="97858" y="255811"/>
                  </a:cubicBezTo>
                  <a:cubicBezTo>
                    <a:pt x="98182" y="254862"/>
                    <a:pt x="99053" y="245606"/>
                    <a:pt x="99455" y="241098"/>
                  </a:cubicBezTo>
                  <a:cubicBezTo>
                    <a:pt x="101571" y="238707"/>
                    <a:pt x="105819" y="233615"/>
                    <a:pt x="105819" y="232342"/>
                  </a:cubicBezTo>
                  <a:cubicBezTo>
                    <a:pt x="105819" y="230752"/>
                    <a:pt x="103428" y="226378"/>
                    <a:pt x="103428" y="225977"/>
                  </a:cubicBezTo>
                  <a:cubicBezTo>
                    <a:pt x="103428" y="225583"/>
                    <a:pt x="100249" y="216032"/>
                    <a:pt x="99455" y="213648"/>
                  </a:cubicBezTo>
                  <a:cubicBezTo>
                    <a:pt x="98653" y="211264"/>
                    <a:pt x="95474" y="202508"/>
                    <a:pt x="94679" y="200517"/>
                  </a:cubicBezTo>
                  <a:cubicBezTo>
                    <a:pt x="94039" y="198928"/>
                    <a:pt x="95741" y="198267"/>
                    <a:pt x="96669" y="198133"/>
                  </a:cubicBezTo>
                  <a:lnTo>
                    <a:pt x="107409" y="196143"/>
                  </a:lnTo>
                  <a:cubicBezTo>
                    <a:pt x="110588" y="195348"/>
                    <a:pt x="117431" y="193681"/>
                    <a:pt x="119344" y="193358"/>
                  </a:cubicBezTo>
                  <a:cubicBezTo>
                    <a:pt x="121250" y="193041"/>
                    <a:pt x="127298" y="188716"/>
                    <a:pt x="130083" y="186599"/>
                  </a:cubicBezTo>
                  <a:cubicBezTo>
                    <a:pt x="131539" y="184475"/>
                    <a:pt x="134774" y="179678"/>
                    <a:pt x="136047" y="177449"/>
                  </a:cubicBezTo>
                  <a:cubicBezTo>
                    <a:pt x="137320" y="175219"/>
                    <a:pt x="138699" y="165380"/>
                    <a:pt x="139234" y="160738"/>
                  </a:cubicBezTo>
                  <a:cubicBezTo>
                    <a:pt x="140823" y="156765"/>
                    <a:pt x="144241" y="148409"/>
                    <a:pt x="145198" y="146820"/>
                  </a:cubicBezTo>
                  <a:cubicBezTo>
                    <a:pt x="146393" y="144829"/>
                    <a:pt x="149178" y="147615"/>
                    <a:pt x="150367" y="147615"/>
                  </a:cubicBezTo>
                  <a:cubicBezTo>
                    <a:pt x="151562" y="147615"/>
                    <a:pt x="157132" y="149999"/>
                    <a:pt x="158328" y="150400"/>
                  </a:cubicBezTo>
                  <a:cubicBezTo>
                    <a:pt x="159517" y="150794"/>
                    <a:pt x="163891" y="152383"/>
                    <a:pt x="164693" y="152383"/>
                  </a:cubicBezTo>
                  <a:cubicBezTo>
                    <a:pt x="165326" y="152383"/>
                    <a:pt x="171058" y="153712"/>
                    <a:pt x="173836" y="154373"/>
                  </a:cubicBezTo>
                  <a:cubicBezTo>
                    <a:pt x="176094" y="151856"/>
                    <a:pt x="180602" y="146658"/>
                    <a:pt x="180602" y="146025"/>
                  </a:cubicBezTo>
                  <a:cubicBezTo>
                    <a:pt x="180602" y="145223"/>
                    <a:pt x="181003" y="133689"/>
                    <a:pt x="180602" y="132894"/>
                  </a:cubicBezTo>
                  <a:cubicBezTo>
                    <a:pt x="180201" y="132100"/>
                    <a:pt x="182191" y="123351"/>
                    <a:pt x="182986" y="120565"/>
                  </a:cubicBezTo>
                  <a:cubicBezTo>
                    <a:pt x="183626" y="118336"/>
                    <a:pt x="191475" y="119637"/>
                    <a:pt x="195322" y="120565"/>
                  </a:cubicBezTo>
                  <a:lnTo>
                    <a:pt x="206455" y="103454"/>
                  </a:lnTo>
                  <a:lnTo>
                    <a:pt x="213622" y="103454"/>
                  </a:lnTo>
                  <a:cubicBezTo>
                    <a:pt x="213882" y="104650"/>
                    <a:pt x="214417" y="107357"/>
                    <a:pt x="214417" y="108630"/>
                  </a:cubicBezTo>
                  <a:cubicBezTo>
                    <a:pt x="214417" y="110220"/>
                    <a:pt x="216006" y="115389"/>
                    <a:pt x="216407" y="116986"/>
                  </a:cubicBezTo>
                  <a:cubicBezTo>
                    <a:pt x="216801" y="118575"/>
                    <a:pt x="219987" y="121754"/>
                    <a:pt x="220782" y="123351"/>
                  </a:cubicBezTo>
                  <a:cubicBezTo>
                    <a:pt x="221576" y="124940"/>
                    <a:pt x="226746" y="127324"/>
                    <a:pt x="228335" y="128914"/>
                  </a:cubicBezTo>
                  <a:cubicBezTo>
                    <a:pt x="229932" y="130510"/>
                    <a:pt x="237091" y="132894"/>
                    <a:pt x="240270" y="133689"/>
                  </a:cubicBezTo>
                  <a:cubicBezTo>
                    <a:pt x="243456" y="134484"/>
                    <a:pt x="249026" y="137269"/>
                    <a:pt x="251010" y="138465"/>
                  </a:cubicBezTo>
                  <a:cubicBezTo>
                    <a:pt x="253000" y="139660"/>
                    <a:pt x="258570" y="149999"/>
                    <a:pt x="258570" y="151588"/>
                  </a:cubicBezTo>
                  <a:cubicBezTo>
                    <a:pt x="258570" y="153185"/>
                    <a:pt x="261355" y="155168"/>
                    <a:pt x="261355" y="158354"/>
                  </a:cubicBezTo>
                  <a:cubicBezTo>
                    <a:pt x="261355" y="161533"/>
                    <a:pt x="258570" y="165514"/>
                    <a:pt x="258570" y="167103"/>
                  </a:cubicBezTo>
                  <a:cubicBezTo>
                    <a:pt x="258570" y="168693"/>
                    <a:pt x="257375" y="175859"/>
                    <a:pt x="256981" y="177843"/>
                  </a:cubicBezTo>
                  <a:cubicBezTo>
                    <a:pt x="256580" y="179833"/>
                    <a:pt x="258169" y="185002"/>
                    <a:pt x="258570" y="187394"/>
                  </a:cubicBezTo>
                  <a:cubicBezTo>
                    <a:pt x="258971" y="189778"/>
                    <a:pt x="264534" y="190973"/>
                    <a:pt x="267319" y="192964"/>
                  </a:cubicBezTo>
                  <a:cubicBezTo>
                    <a:pt x="270104" y="194954"/>
                    <a:pt x="277665" y="194553"/>
                    <a:pt x="280049" y="195749"/>
                  </a:cubicBezTo>
                  <a:cubicBezTo>
                    <a:pt x="282440" y="196937"/>
                    <a:pt x="296760" y="197338"/>
                    <a:pt x="299545" y="197338"/>
                  </a:cubicBezTo>
                  <a:cubicBezTo>
                    <a:pt x="302281" y="197338"/>
                    <a:pt x="307324" y="203105"/>
                    <a:pt x="310137" y="206320"/>
                  </a:cubicBezTo>
                  <a:lnTo>
                    <a:pt x="310284" y="206488"/>
                  </a:lnTo>
                  <a:cubicBezTo>
                    <a:pt x="313069" y="209667"/>
                    <a:pt x="323809" y="213247"/>
                    <a:pt x="326193" y="213648"/>
                  </a:cubicBezTo>
                  <a:cubicBezTo>
                    <a:pt x="328584" y="214042"/>
                    <a:pt x="328584" y="215237"/>
                    <a:pt x="329379" y="216827"/>
                  </a:cubicBezTo>
                  <a:cubicBezTo>
                    <a:pt x="330174" y="218423"/>
                    <a:pt x="333753" y="230752"/>
                    <a:pt x="335744" y="233931"/>
                  </a:cubicBezTo>
                  <a:cubicBezTo>
                    <a:pt x="337734" y="237117"/>
                    <a:pt x="342904" y="243883"/>
                    <a:pt x="343698" y="245866"/>
                  </a:cubicBezTo>
                  <a:cubicBezTo>
                    <a:pt x="344493" y="247857"/>
                    <a:pt x="363588" y="245866"/>
                    <a:pt x="367168" y="245866"/>
                  </a:cubicBezTo>
                  <a:cubicBezTo>
                    <a:pt x="370747" y="245866"/>
                    <a:pt x="375122" y="248652"/>
                    <a:pt x="379504" y="248652"/>
                  </a:cubicBezTo>
                  <a:cubicBezTo>
                    <a:pt x="383878" y="248652"/>
                    <a:pt x="389842" y="251838"/>
                    <a:pt x="393823" y="251838"/>
                  </a:cubicBezTo>
                  <a:cubicBezTo>
                    <a:pt x="397797" y="251838"/>
                    <a:pt x="405758" y="249052"/>
                    <a:pt x="409732" y="248652"/>
                  </a:cubicBezTo>
                  <a:cubicBezTo>
                    <a:pt x="413713" y="248258"/>
                    <a:pt x="421266" y="250642"/>
                    <a:pt x="425247" y="250642"/>
                  </a:cubicBezTo>
                  <a:cubicBezTo>
                    <a:pt x="429227" y="250642"/>
                    <a:pt x="437575" y="257408"/>
                    <a:pt x="441957" y="260587"/>
                  </a:cubicBezTo>
                  <a:cubicBezTo>
                    <a:pt x="446332" y="263773"/>
                    <a:pt x="461052" y="262577"/>
                    <a:pt x="466221" y="262971"/>
                  </a:cubicBezTo>
                  <a:cubicBezTo>
                    <a:pt x="470356" y="263294"/>
                    <a:pt x="475104" y="267085"/>
                    <a:pt x="476961" y="268942"/>
                  </a:cubicBezTo>
                  <a:cubicBezTo>
                    <a:pt x="478817" y="267880"/>
                    <a:pt x="482770" y="265517"/>
                    <a:pt x="483726" y="264567"/>
                  </a:cubicBezTo>
                  <a:cubicBezTo>
                    <a:pt x="484915" y="263372"/>
                    <a:pt x="496850" y="257007"/>
                    <a:pt x="500831" y="256212"/>
                  </a:cubicBezTo>
                  <a:cubicBezTo>
                    <a:pt x="504804" y="255417"/>
                    <a:pt x="513561" y="252231"/>
                    <a:pt x="515945" y="251838"/>
                  </a:cubicBezTo>
                  <a:cubicBezTo>
                    <a:pt x="518329" y="251437"/>
                    <a:pt x="535834" y="251437"/>
                    <a:pt x="540209" y="250642"/>
                  </a:cubicBezTo>
                  <a:cubicBezTo>
                    <a:pt x="544583" y="249847"/>
                    <a:pt x="554134" y="244678"/>
                    <a:pt x="558108" y="242687"/>
                  </a:cubicBezTo>
                  <a:cubicBezTo>
                    <a:pt x="562089" y="240697"/>
                    <a:pt x="578799" y="225182"/>
                    <a:pt x="578799" y="223593"/>
                  </a:cubicBezTo>
                  <a:cubicBezTo>
                    <a:pt x="578799" y="222003"/>
                    <a:pt x="574024" y="211658"/>
                    <a:pt x="573229" y="210462"/>
                  </a:cubicBezTo>
                  <a:cubicBezTo>
                    <a:pt x="572434" y="209273"/>
                    <a:pt x="578799" y="199723"/>
                    <a:pt x="580783" y="198133"/>
                  </a:cubicBezTo>
                  <a:cubicBezTo>
                    <a:pt x="582773" y="196544"/>
                    <a:pt x="588744" y="197732"/>
                    <a:pt x="589932" y="198133"/>
                  </a:cubicBezTo>
                  <a:cubicBezTo>
                    <a:pt x="591128" y="198534"/>
                    <a:pt x="597092" y="200517"/>
                    <a:pt x="599083" y="200918"/>
                  </a:cubicBezTo>
                  <a:cubicBezTo>
                    <a:pt x="601073" y="201312"/>
                    <a:pt x="604653" y="202114"/>
                    <a:pt x="605849" y="202114"/>
                  </a:cubicBezTo>
                  <a:cubicBezTo>
                    <a:pt x="607037" y="202114"/>
                    <a:pt x="615793" y="195348"/>
                    <a:pt x="616187" y="194553"/>
                  </a:cubicBezTo>
                  <a:cubicBezTo>
                    <a:pt x="616588" y="193758"/>
                    <a:pt x="625337" y="188589"/>
                    <a:pt x="626132" y="188188"/>
                  </a:cubicBezTo>
                  <a:cubicBezTo>
                    <a:pt x="626934" y="187787"/>
                    <a:pt x="631702" y="186198"/>
                    <a:pt x="634888" y="186198"/>
                  </a:cubicBezTo>
                  <a:cubicBezTo>
                    <a:pt x="638067" y="186198"/>
                    <a:pt x="642047" y="182618"/>
                    <a:pt x="642842" y="181823"/>
                  </a:cubicBezTo>
                  <a:cubicBezTo>
                    <a:pt x="643637" y="181029"/>
                    <a:pt x="652787" y="171478"/>
                    <a:pt x="653983" y="169494"/>
                  </a:cubicBezTo>
                  <a:cubicBezTo>
                    <a:pt x="655171" y="167504"/>
                    <a:pt x="665911" y="162335"/>
                    <a:pt x="667901" y="160738"/>
                  </a:cubicBezTo>
                  <a:cubicBezTo>
                    <a:pt x="669892" y="159149"/>
                    <a:pt x="691370" y="160344"/>
                    <a:pt x="694950" y="160738"/>
                  </a:cubicBezTo>
                  <a:cubicBezTo>
                    <a:pt x="698530" y="161139"/>
                    <a:pt x="701716" y="157953"/>
                    <a:pt x="702117" y="155970"/>
                  </a:cubicBezTo>
                  <a:cubicBezTo>
                    <a:pt x="702511" y="153980"/>
                    <a:pt x="696146" y="149204"/>
                    <a:pt x="693361" y="145223"/>
                  </a:cubicBezTo>
                  <a:cubicBezTo>
                    <a:pt x="691138" y="142044"/>
                    <a:pt x="680237" y="134350"/>
                    <a:pt x="675061" y="130904"/>
                  </a:cubicBezTo>
                  <a:cubicBezTo>
                    <a:pt x="672149" y="133162"/>
                    <a:pt x="665517" y="137986"/>
                    <a:pt x="662331" y="139259"/>
                  </a:cubicBezTo>
                  <a:cubicBezTo>
                    <a:pt x="659152" y="140532"/>
                    <a:pt x="657295" y="137670"/>
                    <a:pt x="656768" y="136073"/>
                  </a:cubicBezTo>
                  <a:cubicBezTo>
                    <a:pt x="653448" y="136341"/>
                    <a:pt x="645465" y="136713"/>
                    <a:pt x="640057" y="136073"/>
                  </a:cubicBezTo>
                  <a:cubicBezTo>
                    <a:pt x="634649" y="135440"/>
                    <a:pt x="637807" y="123351"/>
                    <a:pt x="640057" y="117379"/>
                  </a:cubicBezTo>
                  <a:lnTo>
                    <a:pt x="655171" y="88340"/>
                  </a:lnTo>
                  <a:lnTo>
                    <a:pt x="662331" y="91920"/>
                  </a:lnTo>
                  <a:cubicBezTo>
                    <a:pt x="665250" y="93249"/>
                    <a:pt x="671565" y="95901"/>
                    <a:pt x="673471" y="95901"/>
                  </a:cubicBezTo>
                  <a:cubicBezTo>
                    <a:pt x="675384" y="95901"/>
                    <a:pt x="687530" y="87412"/>
                    <a:pt x="693361" y="83171"/>
                  </a:cubicBezTo>
                  <a:lnTo>
                    <a:pt x="693361" y="72030"/>
                  </a:lnTo>
                  <a:cubicBezTo>
                    <a:pt x="693361" y="70835"/>
                    <a:pt x="702511" y="55327"/>
                    <a:pt x="704895" y="51346"/>
                  </a:cubicBezTo>
                  <a:cubicBezTo>
                    <a:pt x="706808" y="48160"/>
                    <a:pt x="712589" y="41802"/>
                    <a:pt x="715241" y="39017"/>
                  </a:cubicBezTo>
                  <a:lnTo>
                    <a:pt x="715241" y="23502"/>
                  </a:lnTo>
                  <a:lnTo>
                    <a:pt x="707286" y="17932"/>
                  </a:lnTo>
                  <a:lnTo>
                    <a:pt x="717231" y="7987"/>
                  </a:lnTo>
                  <a:cubicBezTo>
                    <a:pt x="719221" y="5997"/>
                    <a:pt x="727176" y="3613"/>
                    <a:pt x="731550" y="1623"/>
                  </a:cubicBezTo>
                  <a:cubicBezTo>
                    <a:pt x="735925" y="-368"/>
                    <a:pt x="747860" y="33"/>
                    <a:pt x="753824" y="33"/>
                  </a:cubicBezTo>
                  <a:cubicBezTo>
                    <a:pt x="759795" y="33"/>
                    <a:pt x="768945" y="2818"/>
                    <a:pt x="771730" y="3613"/>
                  </a:cubicBezTo>
                  <a:cubicBezTo>
                    <a:pt x="774515" y="4408"/>
                    <a:pt x="778890" y="6792"/>
                    <a:pt x="785255" y="9978"/>
                  </a:cubicBezTo>
                  <a:cubicBezTo>
                    <a:pt x="791619" y="13157"/>
                    <a:pt x="796789" y="24297"/>
                    <a:pt x="797583" y="26681"/>
                  </a:cubicBezTo>
                  <a:cubicBezTo>
                    <a:pt x="798378" y="29073"/>
                    <a:pt x="803154" y="39812"/>
                    <a:pt x="804349" y="44580"/>
                  </a:cubicBezTo>
                  <a:cubicBezTo>
                    <a:pt x="805538" y="49356"/>
                    <a:pt x="811509" y="56916"/>
                    <a:pt x="813893" y="62487"/>
                  </a:cubicBezTo>
                  <a:cubicBezTo>
                    <a:pt x="816285" y="68057"/>
                    <a:pt x="820258" y="87946"/>
                    <a:pt x="821053" y="90330"/>
                  </a:cubicBezTo>
                  <a:cubicBezTo>
                    <a:pt x="821847" y="92715"/>
                    <a:pt x="827819" y="93910"/>
                    <a:pt x="829408" y="94705"/>
                  </a:cubicBezTo>
                  <a:cubicBezTo>
                    <a:pt x="830998" y="95500"/>
                    <a:pt x="841343" y="96695"/>
                    <a:pt x="844923" y="97891"/>
                  </a:cubicBezTo>
                  <a:cubicBezTo>
                    <a:pt x="848503" y="99079"/>
                    <a:pt x="851288" y="101865"/>
                    <a:pt x="853278" y="104650"/>
                  </a:cubicBezTo>
                  <a:cubicBezTo>
                    <a:pt x="855269" y="107435"/>
                    <a:pt x="864813" y="113005"/>
                    <a:pt x="867197" y="118575"/>
                  </a:cubicBezTo>
                  <a:cubicBezTo>
                    <a:pt x="869110" y="123027"/>
                    <a:pt x="870383" y="130770"/>
                    <a:pt x="870777" y="134090"/>
                  </a:cubicBezTo>
                  <a:cubicBezTo>
                    <a:pt x="875953" y="134751"/>
                    <a:pt x="887009" y="136158"/>
                    <a:pt x="889871" y="136474"/>
                  </a:cubicBezTo>
                  <a:cubicBezTo>
                    <a:pt x="892741" y="136791"/>
                    <a:pt x="896370" y="135018"/>
                    <a:pt x="897833" y="134090"/>
                  </a:cubicBezTo>
                  <a:cubicBezTo>
                    <a:pt x="901279" y="132233"/>
                    <a:pt x="908889" y="128119"/>
                    <a:pt x="911751" y="126529"/>
                  </a:cubicBezTo>
                  <a:cubicBezTo>
                    <a:pt x="915331" y="124539"/>
                    <a:pt x="922097" y="123351"/>
                    <a:pt x="923686" y="123351"/>
                  </a:cubicBezTo>
                  <a:lnTo>
                    <a:pt x="931641" y="123351"/>
                  </a:lnTo>
                  <a:cubicBezTo>
                    <a:pt x="931113" y="125467"/>
                    <a:pt x="929650" y="130588"/>
                    <a:pt x="928061" y="134090"/>
                  </a:cubicBezTo>
                  <a:cubicBezTo>
                    <a:pt x="926071" y="138465"/>
                    <a:pt x="919705" y="149605"/>
                    <a:pt x="918911" y="151989"/>
                  </a:cubicBezTo>
                  <a:cubicBezTo>
                    <a:pt x="918116" y="154373"/>
                    <a:pt x="917321" y="157953"/>
                    <a:pt x="916527" y="161139"/>
                  </a:cubicBezTo>
                  <a:cubicBezTo>
                    <a:pt x="915732" y="164318"/>
                    <a:pt x="908572" y="183019"/>
                    <a:pt x="908171" y="184208"/>
                  </a:cubicBezTo>
                  <a:cubicBezTo>
                    <a:pt x="907777" y="185403"/>
                    <a:pt x="904198" y="192964"/>
                    <a:pt x="903396" y="195348"/>
                  </a:cubicBezTo>
                  <a:cubicBezTo>
                    <a:pt x="902601" y="197732"/>
                    <a:pt x="894647" y="192964"/>
                    <a:pt x="889871" y="192964"/>
                  </a:cubicBezTo>
                  <a:cubicBezTo>
                    <a:pt x="885103" y="192964"/>
                    <a:pt x="879132" y="194954"/>
                    <a:pt x="877943" y="195348"/>
                  </a:cubicBezTo>
                  <a:cubicBezTo>
                    <a:pt x="876748" y="195749"/>
                    <a:pt x="873962" y="197732"/>
                    <a:pt x="872767" y="200517"/>
                  </a:cubicBezTo>
                  <a:cubicBezTo>
                    <a:pt x="871810" y="202747"/>
                    <a:pt x="874490" y="205694"/>
                    <a:pt x="875953" y="206882"/>
                  </a:cubicBezTo>
                  <a:lnTo>
                    <a:pt x="875953" y="239108"/>
                  </a:lnTo>
                  <a:cubicBezTo>
                    <a:pt x="875953" y="240697"/>
                    <a:pt x="870383" y="243215"/>
                    <a:pt x="867598" y="244277"/>
                  </a:cubicBezTo>
                  <a:lnTo>
                    <a:pt x="867598" y="253828"/>
                  </a:lnTo>
                  <a:lnTo>
                    <a:pt x="856064" y="242287"/>
                  </a:lnTo>
                  <a:cubicBezTo>
                    <a:pt x="855135" y="244143"/>
                    <a:pt x="853194" y="248096"/>
                    <a:pt x="852877" y="249052"/>
                  </a:cubicBezTo>
                  <a:cubicBezTo>
                    <a:pt x="852483" y="250248"/>
                    <a:pt x="849298" y="252231"/>
                    <a:pt x="847307" y="253828"/>
                  </a:cubicBezTo>
                  <a:cubicBezTo>
                    <a:pt x="845324" y="255417"/>
                    <a:pt x="843334" y="255016"/>
                    <a:pt x="841737" y="255811"/>
                  </a:cubicBezTo>
                  <a:cubicBezTo>
                    <a:pt x="840147" y="256606"/>
                    <a:pt x="835379" y="258596"/>
                    <a:pt x="829809" y="260193"/>
                  </a:cubicBezTo>
                  <a:cubicBezTo>
                    <a:pt x="824239" y="261782"/>
                    <a:pt x="827024" y="264961"/>
                    <a:pt x="827024" y="266157"/>
                  </a:cubicBezTo>
                  <a:cubicBezTo>
                    <a:pt x="827024" y="267352"/>
                    <a:pt x="829809" y="269737"/>
                    <a:pt x="829809" y="272522"/>
                  </a:cubicBezTo>
                  <a:cubicBezTo>
                    <a:pt x="829809" y="275307"/>
                    <a:pt x="823444" y="273316"/>
                    <a:pt x="819864" y="272522"/>
                  </a:cubicBezTo>
                  <a:cubicBezTo>
                    <a:pt x="816995" y="271882"/>
                    <a:pt x="810447" y="267219"/>
                    <a:pt x="807528" y="264961"/>
                  </a:cubicBezTo>
                  <a:cubicBezTo>
                    <a:pt x="805805" y="268281"/>
                    <a:pt x="802197" y="275145"/>
                    <a:pt x="801564" y="276102"/>
                  </a:cubicBezTo>
                  <a:cubicBezTo>
                    <a:pt x="800770" y="277297"/>
                    <a:pt x="789228" y="284851"/>
                    <a:pt x="787245" y="28604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4" name="Freihandform: Form 9">
              <a:extLst>
                <a:ext uri="{FF2B5EF4-FFF2-40B4-BE49-F238E27FC236}">
                  <a16:creationId xmlns:a16="http://schemas.microsoft.com/office/drawing/2014/main" id="{4D8AFA12-EB6E-D443-826A-9E926FF772EB}"/>
                </a:ext>
              </a:extLst>
            </p:cNvPr>
            <p:cNvSpPr/>
            <p:nvPr/>
          </p:nvSpPr>
          <p:spPr>
            <a:xfrm>
              <a:off x="7831215" y="4198088"/>
              <a:ext cx="35962" cy="29997"/>
            </a:xfrm>
            <a:custGeom>
              <a:avLst/>
              <a:gdLst>
                <a:gd name="connsiteX0" fmla="*/ 32382 w 35962"/>
                <a:gd name="connsiteY0" fmla="*/ 163 h 29997"/>
                <a:gd name="connsiteX1" fmla="*/ 25223 w 35962"/>
                <a:gd name="connsiteY1" fmla="*/ 2146 h 29997"/>
                <a:gd name="connsiteX2" fmla="*/ 19652 w 35962"/>
                <a:gd name="connsiteY2" fmla="*/ 1352 h 29997"/>
                <a:gd name="connsiteX3" fmla="*/ 12887 w 35962"/>
                <a:gd name="connsiteY3" fmla="*/ 3342 h 29997"/>
                <a:gd name="connsiteX4" fmla="*/ 6522 w 35962"/>
                <a:gd name="connsiteY4" fmla="*/ 8912 h 29997"/>
                <a:gd name="connsiteX5" fmla="*/ 1352 w 35962"/>
                <a:gd name="connsiteY5" fmla="*/ 13688 h 29997"/>
                <a:gd name="connsiteX6" fmla="*/ 1352 w 35962"/>
                <a:gd name="connsiteY6" fmla="*/ 13688 h 29997"/>
                <a:gd name="connsiteX7" fmla="*/ 157 w 35962"/>
                <a:gd name="connsiteY7" fmla="*/ 23232 h 29997"/>
                <a:gd name="connsiteX8" fmla="*/ 6522 w 35962"/>
                <a:gd name="connsiteY8" fmla="*/ 28802 h 29997"/>
                <a:gd name="connsiteX9" fmla="*/ 15278 w 35962"/>
                <a:gd name="connsiteY9" fmla="*/ 29997 h 29997"/>
                <a:gd name="connsiteX10" fmla="*/ 20841 w 35962"/>
                <a:gd name="connsiteY10" fmla="*/ 26418 h 29997"/>
                <a:gd name="connsiteX11" fmla="*/ 28401 w 35962"/>
                <a:gd name="connsiteY11" fmla="*/ 21642 h 29997"/>
                <a:gd name="connsiteX12" fmla="*/ 30392 w 35962"/>
                <a:gd name="connsiteY12" fmla="*/ 13688 h 29997"/>
                <a:gd name="connsiteX13" fmla="*/ 35962 w 35962"/>
                <a:gd name="connsiteY13" fmla="*/ 4932 h 29997"/>
                <a:gd name="connsiteX14" fmla="*/ 32382 w 35962"/>
                <a:gd name="connsiteY14" fmla="*/ 163 h 29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962" h="29997">
                  <a:moveTo>
                    <a:pt x="32382" y="163"/>
                  </a:moveTo>
                  <a:cubicBezTo>
                    <a:pt x="31587" y="-639"/>
                    <a:pt x="27607" y="1753"/>
                    <a:pt x="25223" y="2146"/>
                  </a:cubicBezTo>
                  <a:lnTo>
                    <a:pt x="19652" y="1352"/>
                  </a:lnTo>
                  <a:cubicBezTo>
                    <a:pt x="18189" y="1619"/>
                    <a:pt x="14800" y="2386"/>
                    <a:pt x="12887" y="3342"/>
                  </a:cubicBezTo>
                  <a:cubicBezTo>
                    <a:pt x="10502" y="4538"/>
                    <a:pt x="8118" y="7717"/>
                    <a:pt x="6522" y="8912"/>
                  </a:cubicBezTo>
                  <a:cubicBezTo>
                    <a:pt x="4932" y="10108"/>
                    <a:pt x="3343" y="11697"/>
                    <a:pt x="1352" y="13688"/>
                  </a:cubicBezTo>
                  <a:lnTo>
                    <a:pt x="1352" y="13688"/>
                  </a:lnTo>
                  <a:cubicBezTo>
                    <a:pt x="-638" y="15671"/>
                    <a:pt x="157" y="21642"/>
                    <a:pt x="157" y="23232"/>
                  </a:cubicBezTo>
                  <a:cubicBezTo>
                    <a:pt x="157" y="24821"/>
                    <a:pt x="4932" y="28401"/>
                    <a:pt x="6522" y="28802"/>
                  </a:cubicBezTo>
                  <a:cubicBezTo>
                    <a:pt x="8118" y="29203"/>
                    <a:pt x="13287" y="29997"/>
                    <a:pt x="15278" y="29997"/>
                  </a:cubicBezTo>
                  <a:cubicBezTo>
                    <a:pt x="17261" y="29997"/>
                    <a:pt x="20046" y="27212"/>
                    <a:pt x="20841" y="26418"/>
                  </a:cubicBezTo>
                  <a:cubicBezTo>
                    <a:pt x="21643" y="25623"/>
                    <a:pt x="27607" y="22437"/>
                    <a:pt x="28401" y="21642"/>
                  </a:cubicBezTo>
                  <a:cubicBezTo>
                    <a:pt x="29196" y="20847"/>
                    <a:pt x="29991" y="14482"/>
                    <a:pt x="30392" y="13688"/>
                  </a:cubicBezTo>
                  <a:cubicBezTo>
                    <a:pt x="30793" y="12893"/>
                    <a:pt x="35962" y="6528"/>
                    <a:pt x="35962" y="4932"/>
                  </a:cubicBezTo>
                  <a:cubicBezTo>
                    <a:pt x="35962" y="3342"/>
                    <a:pt x="33177" y="958"/>
                    <a:pt x="32382" y="16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5" name="Freihandform: Form 10">
              <a:extLst>
                <a:ext uri="{FF2B5EF4-FFF2-40B4-BE49-F238E27FC236}">
                  <a16:creationId xmlns:a16="http://schemas.microsoft.com/office/drawing/2014/main" id="{299AD4E8-129F-9E43-8E7A-791CB182C22A}"/>
                </a:ext>
              </a:extLst>
            </p:cNvPr>
            <p:cNvSpPr/>
            <p:nvPr/>
          </p:nvSpPr>
          <p:spPr>
            <a:xfrm>
              <a:off x="7300313" y="3543047"/>
              <a:ext cx="931640" cy="650206"/>
            </a:xfrm>
            <a:custGeom>
              <a:avLst/>
              <a:gdLst>
                <a:gd name="connsiteX0" fmla="*/ 787245 w 931640"/>
                <a:gd name="connsiteY0" fmla="*/ 286046 h 650206"/>
                <a:gd name="connsiteX1" fmla="*/ 770534 w 931640"/>
                <a:gd name="connsiteY1" fmla="*/ 304346 h 650206"/>
                <a:gd name="connsiteX2" fmla="*/ 766955 w 931640"/>
                <a:gd name="connsiteY2" fmla="*/ 303552 h 650206"/>
                <a:gd name="connsiteX3" fmla="*/ 759394 w 931640"/>
                <a:gd name="connsiteY3" fmla="*/ 304346 h 650206"/>
                <a:gd name="connsiteX4" fmla="*/ 754626 w 931640"/>
                <a:gd name="connsiteY4" fmla="*/ 306337 h 650206"/>
                <a:gd name="connsiteX5" fmla="*/ 748261 w 931640"/>
                <a:gd name="connsiteY5" fmla="*/ 309122 h 650206"/>
                <a:gd name="connsiteX6" fmla="*/ 743084 w 931640"/>
                <a:gd name="connsiteY6" fmla="*/ 312702 h 650206"/>
                <a:gd name="connsiteX7" fmla="*/ 738710 w 931640"/>
                <a:gd name="connsiteY7" fmla="*/ 316281 h 650206"/>
                <a:gd name="connsiteX8" fmla="*/ 733541 w 931640"/>
                <a:gd name="connsiteY8" fmla="*/ 320255 h 650206"/>
                <a:gd name="connsiteX9" fmla="*/ 728371 w 931640"/>
                <a:gd name="connsiteY9" fmla="*/ 324236 h 650206"/>
                <a:gd name="connsiteX10" fmla="*/ 722006 w 931640"/>
                <a:gd name="connsiteY10" fmla="*/ 326620 h 650206"/>
                <a:gd name="connsiteX11" fmla="*/ 722006 w 931640"/>
                <a:gd name="connsiteY11" fmla="*/ 323441 h 650206"/>
                <a:gd name="connsiteX12" fmla="*/ 725980 w 931640"/>
                <a:gd name="connsiteY12" fmla="*/ 320255 h 650206"/>
                <a:gd name="connsiteX13" fmla="*/ 728371 w 931640"/>
                <a:gd name="connsiteY13" fmla="*/ 317076 h 650206"/>
                <a:gd name="connsiteX14" fmla="*/ 728371 w 931640"/>
                <a:gd name="connsiteY14" fmla="*/ 313496 h 650206"/>
                <a:gd name="connsiteX15" fmla="*/ 727176 w 931640"/>
                <a:gd name="connsiteY15" fmla="*/ 313496 h 650206"/>
                <a:gd name="connsiteX16" fmla="*/ 723596 w 931640"/>
                <a:gd name="connsiteY16" fmla="*/ 311506 h 650206"/>
                <a:gd name="connsiteX17" fmla="*/ 723596 w 931640"/>
                <a:gd name="connsiteY17" fmla="*/ 307926 h 650206"/>
                <a:gd name="connsiteX18" fmla="*/ 727176 w 931640"/>
                <a:gd name="connsiteY18" fmla="*/ 305535 h 650206"/>
                <a:gd name="connsiteX19" fmla="*/ 729560 w 931640"/>
                <a:gd name="connsiteY19" fmla="*/ 303552 h 650206"/>
                <a:gd name="connsiteX20" fmla="*/ 732746 w 931640"/>
                <a:gd name="connsiteY20" fmla="*/ 299972 h 650206"/>
                <a:gd name="connsiteX21" fmla="*/ 737514 w 931640"/>
                <a:gd name="connsiteY21" fmla="*/ 294001 h 650206"/>
                <a:gd name="connsiteX22" fmla="*/ 737514 w 931640"/>
                <a:gd name="connsiteY22" fmla="*/ 290027 h 650206"/>
                <a:gd name="connsiteX23" fmla="*/ 735130 w 931640"/>
                <a:gd name="connsiteY23" fmla="*/ 287242 h 650206"/>
                <a:gd name="connsiteX24" fmla="*/ 730755 w 931640"/>
                <a:gd name="connsiteY24" fmla="*/ 285252 h 650206"/>
                <a:gd name="connsiteX25" fmla="*/ 727569 w 931640"/>
                <a:gd name="connsiteY25" fmla="*/ 284851 h 650206"/>
                <a:gd name="connsiteX26" fmla="*/ 722006 w 931640"/>
                <a:gd name="connsiteY26" fmla="*/ 286046 h 650206"/>
                <a:gd name="connsiteX27" fmla="*/ 718820 w 931640"/>
                <a:gd name="connsiteY27" fmla="*/ 288431 h 650206"/>
                <a:gd name="connsiteX28" fmla="*/ 712856 w 931640"/>
                <a:gd name="connsiteY28" fmla="*/ 294001 h 650206"/>
                <a:gd name="connsiteX29" fmla="*/ 700127 w 931640"/>
                <a:gd name="connsiteY29" fmla="*/ 302757 h 650206"/>
                <a:gd name="connsiteX30" fmla="*/ 693361 w 931640"/>
                <a:gd name="connsiteY30" fmla="*/ 311506 h 650206"/>
                <a:gd name="connsiteX31" fmla="*/ 692566 w 931640"/>
                <a:gd name="connsiteY31" fmla="*/ 314291 h 650206"/>
                <a:gd name="connsiteX32" fmla="*/ 690576 w 931640"/>
                <a:gd name="connsiteY32" fmla="*/ 317076 h 650206"/>
                <a:gd name="connsiteX33" fmla="*/ 685406 w 931640"/>
                <a:gd name="connsiteY33" fmla="*/ 320255 h 650206"/>
                <a:gd name="connsiteX34" fmla="*/ 681826 w 931640"/>
                <a:gd name="connsiteY34" fmla="*/ 322646 h 650206"/>
                <a:gd name="connsiteX35" fmla="*/ 678247 w 931640"/>
                <a:gd name="connsiteY35" fmla="*/ 322646 h 650206"/>
                <a:gd name="connsiteX36" fmla="*/ 676657 w 931640"/>
                <a:gd name="connsiteY36" fmla="*/ 320255 h 650206"/>
                <a:gd name="connsiteX37" fmla="*/ 674266 w 931640"/>
                <a:gd name="connsiteY37" fmla="*/ 318265 h 650206"/>
                <a:gd name="connsiteX38" fmla="*/ 672677 w 931640"/>
                <a:gd name="connsiteY38" fmla="*/ 319460 h 650206"/>
                <a:gd name="connsiteX39" fmla="*/ 671882 w 931640"/>
                <a:gd name="connsiteY39" fmla="*/ 322646 h 650206"/>
                <a:gd name="connsiteX40" fmla="*/ 669892 w 931640"/>
                <a:gd name="connsiteY40" fmla="*/ 327415 h 650206"/>
                <a:gd name="connsiteX41" fmla="*/ 669892 w 931640"/>
                <a:gd name="connsiteY41" fmla="*/ 329806 h 650206"/>
                <a:gd name="connsiteX42" fmla="*/ 670686 w 931640"/>
                <a:gd name="connsiteY42" fmla="*/ 332985 h 650206"/>
                <a:gd name="connsiteX43" fmla="*/ 671882 w 931640"/>
                <a:gd name="connsiteY43" fmla="*/ 335770 h 650206"/>
                <a:gd name="connsiteX44" fmla="*/ 674266 w 931640"/>
                <a:gd name="connsiteY44" fmla="*/ 338154 h 650206"/>
                <a:gd name="connsiteX45" fmla="*/ 676657 w 931640"/>
                <a:gd name="connsiteY45" fmla="*/ 338956 h 650206"/>
                <a:gd name="connsiteX46" fmla="*/ 681826 w 931640"/>
                <a:gd name="connsiteY46" fmla="*/ 339751 h 650206"/>
                <a:gd name="connsiteX47" fmla="*/ 687791 w 931640"/>
                <a:gd name="connsiteY47" fmla="*/ 339751 h 650206"/>
                <a:gd name="connsiteX48" fmla="*/ 689781 w 931640"/>
                <a:gd name="connsiteY48" fmla="*/ 341340 h 650206"/>
                <a:gd name="connsiteX49" fmla="*/ 690576 w 931640"/>
                <a:gd name="connsiteY49" fmla="*/ 345321 h 650206"/>
                <a:gd name="connsiteX50" fmla="*/ 688986 w 931640"/>
                <a:gd name="connsiteY50" fmla="*/ 346509 h 650206"/>
                <a:gd name="connsiteX51" fmla="*/ 686996 w 931640"/>
                <a:gd name="connsiteY51" fmla="*/ 349294 h 650206"/>
                <a:gd name="connsiteX52" fmla="*/ 686996 w 931640"/>
                <a:gd name="connsiteY52" fmla="*/ 353669 h 650206"/>
                <a:gd name="connsiteX53" fmla="*/ 689781 w 931640"/>
                <a:gd name="connsiteY53" fmla="*/ 356060 h 650206"/>
                <a:gd name="connsiteX54" fmla="*/ 693361 w 931640"/>
                <a:gd name="connsiteY54" fmla="*/ 356855 h 650206"/>
                <a:gd name="connsiteX55" fmla="*/ 700127 w 931640"/>
                <a:gd name="connsiteY55" fmla="*/ 356855 h 650206"/>
                <a:gd name="connsiteX56" fmla="*/ 703305 w 931640"/>
                <a:gd name="connsiteY56" fmla="*/ 356060 h 650206"/>
                <a:gd name="connsiteX57" fmla="*/ 706091 w 931640"/>
                <a:gd name="connsiteY57" fmla="*/ 351285 h 650206"/>
                <a:gd name="connsiteX58" fmla="*/ 707286 w 931640"/>
                <a:gd name="connsiteY58" fmla="*/ 349294 h 650206"/>
                <a:gd name="connsiteX59" fmla="*/ 710465 w 931640"/>
                <a:gd name="connsiteY59" fmla="*/ 346509 h 650206"/>
                <a:gd name="connsiteX60" fmla="*/ 716436 w 931640"/>
                <a:gd name="connsiteY60" fmla="*/ 344519 h 650206"/>
                <a:gd name="connsiteX61" fmla="*/ 720410 w 931640"/>
                <a:gd name="connsiteY61" fmla="*/ 347705 h 650206"/>
                <a:gd name="connsiteX62" fmla="*/ 723596 w 931640"/>
                <a:gd name="connsiteY62" fmla="*/ 350089 h 650206"/>
                <a:gd name="connsiteX63" fmla="*/ 730355 w 931640"/>
                <a:gd name="connsiteY63" fmla="*/ 351285 h 650206"/>
                <a:gd name="connsiteX64" fmla="*/ 738710 w 931640"/>
                <a:gd name="connsiteY64" fmla="*/ 352080 h 650206"/>
                <a:gd name="connsiteX65" fmla="*/ 742290 w 931640"/>
                <a:gd name="connsiteY65" fmla="*/ 354464 h 650206"/>
                <a:gd name="connsiteX66" fmla="*/ 742290 w 931640"/>
                <a:gd name="connsiteY66" fmla="*/ 359239 h 650206"/>
                <a:gd name="connsiteX67" fmla="*/ 739906 w 931640"/>
                <a:gd name="connsiteY67" fmla="*/ 362425 h 650206"/>
                <a:gd name="connsiteX68" fmla="*/ 735925 w 931640"/>
                <a:gd name="connsiteY68" fmla="*/ 362425 h 650206"/>
                <a:gd name="connsiteX69" fmla="*/ 732746 w 931640"/>
                <a:gd name="connsiteY69" fmla="*/ 361630 h 650206"/>
                <a:gd name="connsiteX70" fmla="*/ 729560 w 931640"/>
                <a:gd name="connsiteY70" fmla="*/ 363614 h 650206"/>
                <a:gd name="connsiteX71" fmla="*/ 724791 w 931640"/>
                <a:gd name="connsiteY71" fmla="*/ 365604 h 650206"/>
                <a:gd name="connsiteX72" fmla="*/ 719221 w 931640"/>
                <a:gd name="connsiteY72" fmla="*/ 370379 h 650206"/>
                <a:gd name="connsiteX73" fmla="*/ 714045 w 931640"/>
                <a:gd name="connsiteY73" fmla="*/ 374754 h 650206"/>
                <a:gd name="connsiteX74" fmla="*/ 709277 w 931640"/>
                <a:gd name="connsiteY74" fmla="*/ 377940 h 650206"/>
                <a:gd name="connsiteX75" fmla="*/ 706091 w 931640"/>
                <a:gd name="connsiteY75" fmla="*/ 381119 h 650206"/>
                <a:gd name="connsiteX76" fmla="*/ 703305 w 931640"/>
                <a:gd name="connsiteY76" fmla="*/ 383904 h 650206"/>
                <a:gd name="connsiteX77" fmla="*/ 700127 w 931640"/>
                <a:gd name="connsiteY77" fmla="*/ 386689 h 650206"/>
                <a:gd name="connsiteX78" fmla="*/ 697341 w 931640"/>
                <a:gd name="connsiteY78" fmla="*/ 391465 h 650206"/>
                <a:gd name="connsiteX79" fmla="*/ 693361 w 931640"/>
                <a:gd name="connsiteY79" fmla="*/ 396233 h 650206"/>
                <a:gd name="connsiteX80" fmla="*/ 693361 w 931640"/>
                <a:gd name="connsiteY80" fmla="*/ 400615 h 650206"/>
                <a:gd name="connsiteX81" fmla="*/ 697341 w 931640"/>
                <a:gd name="connsiteY81" fmla="*/ 403794 h 650206"/>
                <a:gd name="connsiteX82" fmla="*/ 701716 w 931640"/>
                <a:gd name="connsiteY82" fmla="*/ 405784 h 650206"/>
                <a:gd name="connsiteX83" fmla="*/ 709277 w 931640"/>
                <a:gd name="connsiteY83" fmla="*/ 413738 h 650206"/>
                <a:gd name="connsiteX84" fmla="*/ 712062 w 931640"/>
                <a:gd name="connsiteY84" fmla="*/ 418514 h 650206"/>
                <a:gd name="connsiteX85" fmla="*/ 714045 w 931640"/>
                <a:gd name="connsiteY85" fmla="*/ 426468 h 650206"/>
                <a:gd name="connsiteX86" fmla="*/ 716830 w 931640"/>
                <a:gd name="connsiteY86" fmla="*/ 432432 h 650206"/>
                <a:gd name="connsiteX87" fmla="*/ 720811 w 931640"/>
                <a:gd name="connsiteY87" fmla="*/ 439599 h 650206"/>
                <a:gd name="connsiteX88" fmla="*/ 724791 w 931640"/>
                <a:gd name="connsiteY88" fmla="*/ 446358 h 650206"/>
                <a:gd name="connsiteX89" fmla="*/ 731951 w 931640"/>
                <a:gd name="connsiteY89" fmla="*/ 451527 h 650206"/>
                <a:gd name="connsiteX90" fmla="*/ 731951 w 931640"/>
                <a:gd name="connsiteY90" fmla="*/ 459882 h 650206"/>
                <a:gd name="connsiteX91" fmla="*/ 730755 w 931640"/>
                <a:gd name="connsiteY91" fmla="*/ 459882 h 650206"/>
                <a:gd name="connsiteX92" fmla="*/ 727176 w 931640"/>
                <a:gd name="connsiteY92" fmla="*/ 458687 h 650206"/>
                <a:gd name="connsiteX93" fmla="*/ 722801 w 931640"/>
                <a:gd name="connsiteY93" fmla="*/ 456703 h 650206"/>
                <a:gd name="connsiteX94" fmla="*/ 722801 w 931640"/>
                <a:gd name="connsiteY94" fmla="*/ 460677 h 650206"/>
                <a:gd name="connsiteX95" fmla="*/ 727176 w 931640"/>
                <a:gd name="connsiteY95" fmla="*/ 463863 h 650206"/>
                <a:gd name="connsiteX96" fmla="*/ 731951 w 931640"/>
                <a:gd name="connsiteY96" fmla="*/ 466648 h 650206"/>
                <a:gd name="connsiteX97" fmla="*/ 733140 w 931640"/>
                <a:gd name="connsiteY97" fmla="*/ 471023 h 650206"/>
                <a:gd name="connsiteX98" fmla="*/ 724791 w 931640"/>
                <a:gd name="connsiteY98" fmla="*/ 474602 h 650206"/>
                <a:gd name="connsiteX99" fmla="*/ 718026 w 931640"/>
                <a:gd name="connsiteY99" fmla="*/ 483752 h 650206"/>
                <a:gd name="connsiteX100" fmla="*/ 723990 w 931640"/>
                <a:gd name="connsiteY100" fmla="*/ 481361 h 650206"/>
                <a:gd name="connsiteX101" fmla="*/ 727176 w 931640"/>
                <a:gd name="connsiteY101" fmla="*/ 482958 h 650206"/>
                <a:gd name="connsiteX102" fmla="*/ 730755 w 931640"/>
                <a:gd name="connsiteY102" fmla="*/ 486931 h 650206"/>
                <a:gd name="connsiteX103" fmla="*/ 733140 w 931640"/>
                <a:gd name="connsiteY103" fmla="*/ 490511 h 650206"/>
                <a:gd name="connsiteX104" fmla="*/ 731149 w 931640"/>
                <a:gd name="connsiteY104" fmla="*/ 494091 h 650206"/>
                <a:gd name="connsiteX105" fmla="*/ 729560 w 931640"/>
                <a:gd name="connsiteY105" fmla="*/ 498473 h 650206"/>
                <a:gd name="connsiteX106" fmla="*/ 729560 w 931640"/>
                <a:gd name="connsiteY106" fmla="*/ 512391 h 650206"/>
                <a:gd name="connsiteX107" fmla="*/ 723990 w 931640"/>
                <a:gd name="connsiteY107" fmla="*/ 519551 h 650206"/>
                <a:gd name="connsiteX108" fmla="*/ 716436 w 931640"/>
                <a:gd name="connsiteY108" fmla="*/ 529102 h 650206"/>
                <a:gd name="connsiteX109" fmla="*/ 709277 w 931640"/>
                <a:gd name="connsiteY109" fmla="*/ 537851 h 650206"/>
                <a:gd name="connsiteX110" fmla="*/ 703706 w 931640"/>
                <a:gd name="connsiteY110" fmla="*/ 545805 h 650206"/>
                <a:gd name="connsiteX111" fmla="*/ 697341 w 931640"/>
                <a:gd name="connsiteY111" fmla="*/ 561721 h 650206"/>
                <a:gd name="connsiteX112" fmla="*/ 695351 w 931640"/>
                <a:gd name="connsiteY112" fmla="*/ 564900 h 650206"/>
                <a:gd name="connsiteX113" fmla="*/ 689781 w 931640"/>
                <a:gd name="connsiteY113" fmla="*/ 572059 h 650206"/>
                <a:gd name="connsiteX114" fmla="*/ 682220 w 931640"/>
                <a:gd name="connsiteY114" fmla="*/ 578030 h 650206"/>
                <a:gd name="connsiteX115" fmla="*/ 675061 w 931640"/>
                <a:gd name="connsiteY115" fmla="*/ 585190 h 650206"/>
                <a:gd name="connsiteX116" fmla="*/ 667901 w 931640"/>
                <a:gd name="connsiteY116" fmla="*/ 592350 h 650206"/>
                <a:gd name="connsiteX117" fmla="*/ 656768 w 931640"/>
                <a:gd name="connsiteY117" fmla="*/ 601500 h 650206"/>
                <a:gd name="connsiteX118" fmla="*/ 650002 w 931640"/>
                <a:gd name="connsiteY118" fmla="*/ 607464 h 650206"/>
                <a:gd name="connsiteX119" fmla="*/ 636477 w 931640"/>
                <a:gd name="connsiteY119" fmla="*/ 609060 h 650206"/>
                <a:gd name="connsiteX120" fmla="*/ 624542 w 931640"/>
                <a:gd name="connsiteY120" fmla="*/ 612239 h 650206"/>
                <a:gd name="connsiteX121" fmla="*/ 616187 w 931640"/>
                <a:gd name="connsiteY121" fmla="*/ 618604 h 650206"/>
                <a:gd name="connsiteX122" fmla="*/ 609822 w 931640"/>
                <a:gd name="connsiteY122" fmla="*/ 612239 h 650206"/>
                <a:gd name="connsiteX123" fmla="*/ 602662 w 931640"/>
                <a:gd name="connsiteY123" fmla="*/ 621389 h 650206"/>
                <a:gd name="connsiteX124" fmla="*/ 596298 w 931640"/>
                <a:gd name="connsiteY124" fmla="*/ 623773 h 650206"/>
                <a:gd name="connsiteX125" fmla="*/ 584362 w 931640"/>
                <a:gd name="connsiteY125" fmla="*/ 627754 h 650206"/>
                <a:gd name="connsiteX126" fmla="*/ 567659 w 931640"/>
                <a:gd name="connsiteY126" fmla="*/ 632129 h 650206"/>
                <a:gd name="connsiteX127" fmla="*/ 562089 w 931640"/>
                <a:gd name="connsiteY127" fmla="*/ 634914 h 650206"/>
                <a:gd name="connsiteX128" fmla="*/ 556919 w 931640"/>
                <a:gd name="connsiteY128" fmla="*/ 639689 h 650206"/>
                <a:gd name="connsiteX129" fmla="*/ 559304 w 931640"/>
                <a:gd name="connsiteY129" fmla="*/ 647644 h 650206"/>
                <a:gd name="connsiteX130" fmla="*/ 558509 w 931640"/>
                <a:gd name="connsiteY130" fmla="*/ 650028 h 650206"/>
                <a:gd name="connsiteX131" fmla="*/ 555330 w 931640"/>
                <a:gd name="connsiteY131" fmla="*/ 650028 h 650206"/>
                <a:gd name="connsiteX132" fmla="*/ 552545 w 931640"/>
                <a:gd name="connsiteY132" fmla="*/ 647644 h 650206"/>
                <a:gd name="connsiteX133" fmla="*/ 549359 w 931640"/>
                <a:gd name="connsiteY133" fmla="*/ 644458 h 650206"/>
                <a:gd name="connsiteX134" fmla="*/ 548163 w 931640"/>
                <a:gd name="connsiteY134" fmla="*/ 635708 h 650206"/>
                <a:gd name="connsiteX135" fmla="*/ 547368 w 931640"/>
                <a:gd name="connsiteY135" fmla="*/ 632129 h 650206"/>
                <a:gd name="connsiteX136" fmla="*/ 542600 w 931640"/>
                <a:gd name="connsiteY136" fmla="*/ 627754 h 650206"/>
                <a:gd name="connsiteX137" fmla="*/ 533049 w 931640"/>
                <a:gd name="connsiteY137" fmla="*/ 626558 h 650206"/>
                <a:gd name="connsiteX138" fmla="*/ 520720 w 931640"/>
                <a:gd name="connsiteY138" fmla="*/ 630933 h 650206"/>
                <a:gd name="connsiteX139" fmla="*/ 517935 w 931640"/>
                <a:gd name="connsiteY139" fmla="*/ 630138 h 650206"/>
                <a:gd name="connsiteX140" fmla="*/ 512365 w 931640"/>
                <a:gd name="connsiteY140" fmla="*/ 628950 h 650206"/>
                <a:gd name="connsiteX141" fmla="*/ 504804 w 931640"/>
                <a:gd name="connsiteY141" fmla="*/ 625764 h 650206"/>
                <a:gd name="connsiteX142" fmla="*/ 501225 w 931640"/>
                <a:gd name="connsiteY142" fmla="*/ 619399 h 650206"/>
                <a:gd name="connsiteX143" fmla="*/ 501626 w 931640"/>
                <a:gd name="connsiteY143" fmla="*/ 611838 h 650206"/>
                <a:gd name="connsiteX144" fmla="*/ 496456 w 931640"/>
                <a:gd name="connsiteY144" fmla="*/ 610249 h 650206"/>
                <a:gd name="connsiteX145" fmla="*/ 492869 w 931640"/>
                <a:gd name="connsiteY145" fmla="*/ 609454 h 650206"/>
                <a:gd name="connsiteX146" fmla="*/ 489290 w 931640"/>
                <a:gd name="connsiteY146" fmla="*/ 607464 h 650206"/>
                <a:gd name="connsiteX147" fmla="*/ 486905 w 931640"/>
                <a:gd name="connsiteY147" fmla="*/ 605080 h 650206"/>
                <a:gd name="connsiteX148" fmla="*/ 481335 w 931640"/>
                <a:gd name="connsiteY148" fmla="*/ 603089 h 650206"/>
                <a:gd name="connsiteX149" fmla="*/ 478951 w 931640"/>
                <a:gd name="connsiteY149" fmla="*/ 603089 h 650206"/>
                <a:gd name="connsiteX150" fmla="*/ 474176 w 931640"/>
                <a:gd name="connsiteY150" fmla="*/ 605874 h 650206"/>
                <a:gd name="connsiteX151" fmla="*/ 469400 w 931640"/>
                <a:gd name="connsiteY151" fmla="*/ 608259 h 650206"/>
                <a:gd name="connsiteX152" fmla="*/ 463830 w 931640"/>
                <a:gd name="connsiteY152" fmla="*/ 610249 h 650206"/>
                <a:gd name="connsiteX153" fmla="*/ 458267 w 931640"/>
                <a:gd name="connsiteY153" fmla="*/ 611838 h 650206"/>
                <a:gd name="connsiteX154" fmla="*/ 447921 w 931640"/>
                <a:gd name="connsiteY154" fmla="*/ 611838 h 650206"/>
                <a:gd name="connsiteX155" fmla="*/ 437575 w 931640"/>
                <a:gd name="connsiteY155" fmla="*/ 613435 h 650206"/>
                <a:gd name="connsiteX156" fmla="*/ 431611 w 931640"/>
                <a:gd name="connsiteY156" fmla="*/ 616220 h 650206"/>
                <a:gd name="connsiteX157" fmla="*/ 426041 w 931640"/>
                <a:gd name="connsiteY157" fmla="*/ 619399 h 650206"/>
                <a:gd name="connsiteX158" fmla="*/ 426041 w 931640"/>
                <a:gd name="connsiteY158" fmla="*/ 630933 h 650206"/>
                <a:gd name="connsiteX159" fmla="*/ 426041 w 931640"/>
                <a:gd name="connsiteY159" fmla="*/ 635708 h 650206"/>
                <a:gd name="connsiteX160" fmla="*/ 422068 w 931640"/>
                <a:gd name="connsiteY160" fmla="*/ 636904 h 650206"/>
                <a:gd name="connsiteX161" fmla="*/ 416891 w 931640"/>
                <a:gd name="connsiteY161" fmla="*/ 634119 h 650206"/>
                <a:gd name="connsiteX162" fmla="*/ 416891 w 931640"/>
                <a:gd name="connsiteY162" fmla="*/ 630138 h 650206"/>
                <a:gd name="connsiteX163" fmla="*/ 416097 w 931640"/>
                <a:gd name="connsiteY163" fmla="*/ 627353 h 650206"/>
                <a:gd name="connsiteX164" fmla="*/ 414507 w 931640"/>
                <a:gd name="connsiteY164" fmla="*/ 628549 h 650206"/>
                <a:gd name="connsiteX165" fmla="*/ 408142 w 931640"/>
                <a:gd name="connsiteY165" fmla="*/ 630138 h 650206"/>
                <a:gd name="connsiteX166" fmla="*/ 404562 w 931640"/>
                <a:gd name="connsiteY166" fmla="*/ 630933 h 650206"/>
                <a:gd name="connsiteX167" fmla="*/ 401777 w 931640"/>
                <a:gd name="connsiteY167" fmla="*/ 630138 h 650206"/>
                <a:gd name="connsiteX168" fmla="*/ 397797 w 931640"/>
                <a:gd name="connsiteY168" fmla="*/ 628549 h 650206"/>
                <a:gd name="connsiteX169" fmla="*/ 389449 w 931640"/>
                <a:gd name="connsiteY169" fmla="*/ 624174 h 650206"/>
                <a:gd name="connsiteX170" fmla="*/ 387852 w 931640"/>
                <a:gd name="connsiteY170" fmla="*/ 620988 h 650206"/>
                <a:gd name="connsiteX171" fmla="*/ 389449 w 931640"/>
                <a:gd name="connsiteY171" fmla="*/ 617409 h 650206"/>
                <a:gd name="connsiteX172" fmla="*/ 390637 w 931640"/>
                <a:gd name="connsiteY172" fmla="*/ 613435 h 650206"/>
                <a:gd name="connsiteX173" fmla="*/ 391432 w 931640"/>
                <a:gd name="connsiteY173" fmla="*/ 610249 h 650206"/>
                <a:gd name="connsiteX174" fmla="*/ 391432 w 931640"/>
                <a:gd name="connsiteY174" fmla="*/ 607464 h 650206"/>
                <a:gd name="connsiteX175" fmla="*/ 385868 w 931640"/>
                <a:gd name="connsiteY175" fmla="*/ 605874 h 650206"/>
                <a:gd name="connsiteX176" fmla="*/ 382683 w 931640"/>
                <a:gd name="connsiteY176" fmla="*/ 600705 h 650206"/>
                <a:gd name="connsiteX177" fmla="*/ 379898 w 931640"/>
                <a:gd name="connsiteY177" fmla="*/ 592751 h 650206"/>
                <a:gd name="connsiteX178" fmla="*/ 379103 w 931640"/>
                <a:gd name="connsiteY178" fmla="*/ 589565 h 650206"/>
                <a:gd name="connsiteX179" fmla="*/ 375523 w 931640"/>
                <a:gd name="connsiteY179" fmla="*/ 591154 h 650206"/>
                <a:gd name="connsiteX180" fmla="*/ 363588 w 931640"/>
                <a:gd name="connsiteY180" fmla="*/ 591154 h 650206"/>
                <a:gd name="connsiteX181" fmla="*/ 363588 w 931640"/>
                <a:gd name="connsiteY181" fmla="*/ 575639 h 650206"/>
                <a:gd name="connsiteX182" fmla="*/ 366373 w 931640"/>
                <a:gd name="connsiteY182" fmla="*/ 572059 h 650206"/>
                <a:gd name="connsiteX183" fmla="*/ 370354 w 931640"/>
                <a:gd name="connsiteY183" fmla="*/ 566496 h 650206"/>
                <a:gd name="connsiteX184" fmla="*/ 375523 w 931640"/>
                <a:gd name="connsiteY184" fmla="*/ 561721 h 650206"/>
                <a:gd name="connsiteX185" fmla="*/ 379103 w 931640"/>
                <a:gd name="connsiteY185" fmla="*/ 556945 h 650206"/>
                <a:gd name="connsiteX186" fmla="*/ 379898 w 931640"/>
                <a:gd name="connsiteY186" fmla="*/ 550187 h 650206"/>
                <a:gd name="connsiteX187" fmla="*/ 379898 w 931640"/>
                <a:gd name="connsiteY187" fmla="*/ 542626 h 650206"/>
                <a:gd name="connsiteX188" fmla="*/ 379103 w 931640"/>
                <a:gd name="connsiteY188" fmla="*/ 532281 h 650206"/>
                <a:gd name="connsiteX189" fmla="*/ 377513 w 931640"/>
                <a:gd name="connsiteY189" fmla="*/ 529896 h 650206"/>
                <a:gd name="connsiteX190" fmla="*/ 373934 w 931640"/>
                <a:gd name="connsiteY190" fmla="*/ 526317 h 650206"/>
                <a:gd name="connsiteX191" fmla="*/ 370354 w 931640"/>
                <a:gd name="connsiteY191" fmla="*/ 521942 h 650206"/>
                <a:gd name="connsiteX192" fmla="*/ 368757 w 931640"/>
                <a:gd name="connsiteY192" fmla="*/ 517961 h 650206"/>
                <a:gd name="connsiteX193" fmla="*/ 365177 w 931640"/>
                <a:gd name="connsiteY193" fmla="*/ 516372 h 650206"/>
                <a:gd name="connsiteX194" fmla="*/ 356829 w 931640"/>
                <a:gd name="connsiteY194" fmla="*/ 519952 h 650206"/>
                <a:gd name="connsiteX195" fmla="*/ 354438 w 931640"/>
                <a:gd name="connsiteY195" fmla="*/ 519157 h 650206"/>
                <a:gd name="connsiteX196" fmla="*/ 350464 w 931640"/>
                <a:gd name="connsiteY196" fmla="*/ 516372 h 650206"/>
                <a:gd name="connsiteX197" fmla="*/ 345288 w 931640"/>
                <a:gd name="connsiteY197" fmla="*/ 515577 h 650206"/>
                <a:gd name="connsiteX198" fmla="*/ 344493 w 931640"/>
                <a:gd name="connsiteY198" fmla="*/ 512391 h 650206"/>
                <a:gd name="connsiteX199" fmla="*/ 348073 w 931640"/>
                <a:gd name="connsiteY199" fmla="*/ 508417 h 650206"/>
                <a:gd name="connsiteX200" fmla="*/ 344493 w 931640"/>
                <a:gd name="connsiteY200" fmla="*/ 502847 h 650206"/>
                <a:gd name="connsiteX201" fmla="*/ 340119 w 931640"/>
                <a:gd name="connsiteY201" fmla="*/ 498866 h 650206"/>
                <a:gd name="connsiteX202" fmla="*/ 337734 w 931640"/>
                <a:gd name="connsiteY202" fmla="*/ 498866 h 650206"/>
                <a:gd name="connsiteX203" fmla="*/ 332558 w 931640"/>
                <a:gd name="connsiteY203" fmla="*/ 502847 h 650206"/>
                <a:gd name="connsiteX204" fmla="*/ 328183 w 931640"/>
                <a:gd name="connsiteY204" fmla="*/ 505231 h 650206"/>
                <a:gd name="connsiteX205" fmla="*/ 323809 w 931640"/>
                <a:gd name="connsiteY205" fmla="*/ 502847 h 650206"/>
                <a:gd name="connsiteX206" fmla="*/ 317845 w 931640"/>
                <a:gd name="connsiteY206" fmla="*/ 499661 h 650206"/>
                <a:gd name="connsiteX207" fmla="*/ 312274 w 931640"/>
                <a:gd name="connsiteY207" fmla="*/ 502847 h 650206"/>
                <a:gd name="connsiteX208" fmla="*/ 303919 w 931640"/>
                <a:gd name="connsiteY208" fmla="*/ 508417 h 650206"/>
                <a:gd name="connsiteX209" fmla="*/ 290395 w 931640"/>
                <a:gd name="connsiteY209" fmla="*/ 519952 h 650206"/>
                <a:gd name="connsiteX210" fmla="*/ 280844 w 931640"/>
                <a:gd name="connsiteY210" fmla="*/ 526317 h 650206"/>
                <a:gd name="connsiteX211" fmla="*/ 275281 w 931640"/>
                <a:gd name="connsiteY211" fmla="*/ 527906 h 650206"/>
                <a:gd name="connsiteX212" fmla="*/ 267720 w 931640"/>
                <a:gd name="connsiteY212" fmla="*/ 521541 h 650206"/>
                <a:gd name="connsiteX213" fmla="*/ 258971 w 931640"/>
                <a:gd name="connsiteY213" fmla="*/ 519952 h 650206"/>
                <a:gd name="connsiteX214" fmla="*/ 247831 w 931640"/>
                <a:gd name="connsiteY214" fmla="*/ 518362 h 650206"/>
                <a:gd name="connsiteX215" fmla="*/ 243456 w 931640"/>
                <a:gd name="connsiteY215" fmla="*/ 519952 h 650206"/>
                <a:gd name="connsiteX216" fmla="*/ 240671 w 931640"/>
                <a:gd name="connsiteY216" fmla="*/ 522336 h 650206"/>
                <a:gd name="connsiteX217" fmla="*/ 235101 w 931640"/>
                <a:gd name="connsiteY217" fmla="*/ 527906 h 650206"/>
                <a:gd name="connsiteX218" fmla="*/ 230726 w 931640"/>
                <a:gd name="connsiteY218" fmla="*/ 529896 h 650206"/>
                <a:gd name="connsiteX219" fmla="*/ 226352 w 931640"/>
                <a:gd name="connsiteY219" fmla="*/ 522336 h 650206"/>
                <a:gd name="connsiteX220" fmla="*/ 219987 w 931640"/>
                <a:gd name="connsiteY220" fmla="*/ 525522 h 650206"/>
                <a:gd name="connsiteX221" fmla="*/ 217202 w 931640"/>
                <a:gd name="connsiteY221" fmla="*/ 524727 h 650206"/>
                <a:gd name="connsiteX222" fmla="*/ 209641 w 931640"/>
                <a:gd name="connsiteY222" fmla="*/ 524727 h 650206"/>
                <a:gd name="connsiteX223" fmla="*/ 199697 w 931640"/>
                <a:gd name="connsiteY223" fmla="*/ 523925 h 650206"/>
                <a:gd name="connsiteX224" fmla="*/ 190153 w 931640"/>
                <a:gd name="connsiteY224" fmla="*/ 522336 h 650206"/>
                <a:gd name="connsiteX225" fmla="*/ 182592 w 931640"/>
                <a:gd name="connsiteY225" fmla="*/ 518362 h 650206"/>
                <a:gd name="connsiteX226" fmla="*/ 165882 w 931640"/>
                <a:gd name="connsiteY226" fmla="*/ 510401 h 650206"/>
                <a:gd name="connsiteX227" fmla="*/ 160311 w 931640"/>
                <a:gd name="connsiteY227" fmla="*/ 506427 h 650206"/>
                <a:gd name="connsiteX228" fmla="*/ 136842 w 931640"/>
                <a:gd name="connsiteY228" fmla="*/ 491306 h 650206"/>
                <a:gd name="connsiteX229" fmla="*/ 132074 w 931640"/>
                <a:gd name="connsiteY229" fmla="*/ 486931 h 650206"/>
                <a:gd name="connsiteX230" fmla="*/ 122924 w 931640"/>
                <a:gd name="connsiteY230" fmla="*/ 482163 h 650206"/>
                <a:gd name="connsiteX231" fmla="*/ 116953 w 931640"/>
                <a:gd name="connsiteY231" fmla="*/ 482163 h 650206"/>
                <a:gd name="connsiteX232" fmla="*/ 110588 w 931640"/>
                <a:gd name="connsiteY232" fmla="*/ 484146 h 650206"/>
                <a:gd name="connsiteX233" fmla="*/ 105017 w 931640"/>
                <a:gd name="connsiteY233" fmla="*/ 480967 h 650206"/>
                <a:gd name="connsiteX234" fmla="*/ 93089 w 931640"/>
                <a:gd name="connsiteY234" fmla="*/ 473013 h 650206"/>
                <a:gd name="connsiteX235" fmla="*/ 86324 w 931640"/>
                <a:gd name="connsiteY235" fmla="*/ 469433 h 650206"/>
                <a:gd name="connsiteX236" fmla="*/ 79959 w 931640"/>
                <a:gd name="connsiteY236" fmla="*/ 465853 h 650206"/>
                <a:gd name="connsiteX237" fmla="*/ 75183 w 931640"/>
                <a:gd name="connsiteY237" fmla="*/ 460283 h 650206"/>
                <a:gd name="connsiteX238" fmla="*/ 75183 w 931640"/>
                <a:gd name="connsiteY238" fmla="*/ 450338 h 650206"/>
                <a:gd name="connsiteX239" fmla="*/ 72398 w 931640"/>
                <a:gd name="connsiteY239" fmla="*/ 447947 h 650206"/>
                <a:gd name="connsiteX240" fmla="*/ 72398 w 931640"/>
                <a:gd name="connsiteY240" fmla="*/ 442778 h 650206"/>
                <a:gd name="connsiteX241" fmla="*/ 75183 w 931640"/>
                <a:gd name="connsiteY241" fmla="*/ 441983 h 650206"/>
                <a:gd name="connsiteX242" fmla="*/ 79959 w 931640"/>
                <a:gd name="connsiteY242" fmla="*/ 443973 h 650206"/>
                <a:gd name="connsiteX243" fmla="*/ 82744 w 931640"/>
                <a:gd name="connsiteY243" fmla="*/ 442778 h 650206"/>
                <a:gd name="connsiteX244" fmla="*/ 82744 w 931640"/>
                <a:gd name="connsiteY244" fmla="*/ 436413 h 650206"/>
                <a:gd name="connsiteX245" fmla="*/ 80753 w 931640"/>
                <a:gd name="connsiteY245" fmla="*/ 432432 h 650206"/>
                <a:gd name="connsiteX246" fmla="*/ 77574 w 931640"/>
                <a:gd name="connsiteY246" fmla="*/ 427664 h 650206"/>
                <a:gd name="connsiteX247" fmla="*/ 77574 w 931640"/>
                <a:gd name="connsiteY247" fmla="*/ 418908 h 650206"/>
                <a:gd name="connsiteX248" fmla="*/ 77574 w 931640"/>
                <a:gd name="connsiteY248" fmla="*/ 409758 h 650206"/>
                <a:gd name="connsiteX249" fmla="*/ 73594 w 931640"/>
                <a:gd name="connsiteY249" fmla="*/ 404194 h 650206"/>
                <a:gd name="connsiteX250" fmla="*/ 59274 w 931640"/>
                <a:gd name="connsiteY250" fmla="*/ 389073 h 650206"/>
                <a:gd name="connsiteX251" fmla="*/ 54105 w 931640"/>
                <a:gd name="connsiteY251" fmla="*/ 386689 h 650206"/>
                <a:gd name="connsiteX252" fmla="*/ 46946 w 931640"/>
                <a:gd name="connsiteY252" fmla="*/ 384699 h 650206"/>
                <a:gd name="connsiteX253" fmla="*/ 38984 w 931640"/>
                <a:gd name="connsiteY253" fmla="*/ 382708 h 650206"/>
                <a:gd name="connsiteX254" fmla="*/ 35404 w 931640"/>
                <a:gd name="connsiteY254" fmla="*/ 375950 h 650206"/>
                <a:gd name="connsiteX255" fmla="*/ 33414 w 931640"/>
                <a:gd name="connsiteY255" fmla="*/ 368790 h 650206"/>
                <a:gd name="connsiteX256" fmla="*/ 22281 w 931640"/>
                <a:gd name="connsiteY256" fmla="*/ 358444 h 650206"/>
                <a:gd name="connsiteX257" fmla="*/ 17906 w 931640"/>
                <a:gd name="connsiteY257" fmla="*/ 351686 h 650206"/>
                <a:gd name="connsiteX258" fmla="*/ 15916 w 931640"/>
                <a:gd name="connsiteY258" fmla="*/ 343330 h 650206"/>
                <a:gd name="connsiteX259" fmla="*/ 14326 w 931640"/>
                <a:gd name="connsiteY259" fmla="*/ 332190 h 650206"/>
                <a:gd name="connsiteX260" fmla="*/ 10739 w 931640"/>
                <a:gd name="connsiteY260" fmla="*/ 330601 h 650206"/>
                <a:gd name="connsiteX261" fmla="*/ 3580 w 931640"/>
                <a:gd name="connsiteY261" fmla="*/ 328209 h 650206"/>
                <a:gd name="connsiteX262" fmla="*/ 0 w 931640"/>
                <a:gd name="connsiteY262" fmla="*/ 322646 h 650206"/>
                <a:gd name="connsiteX263" fmla="*/ 0 w 931640"/>
                <a:gd name="connsiteY263" fmla="*/ 312301 h 650206"/>
                <a:gd name="connsiteX264" fmla="*/ 1990 w 931640"/>
                <a:gd name="connsiteY264" fmla="*/ 305936 h 650206"/>
                <a:gd name="connsiteX265" fmla="*/ 9945 w 931640"/>
                <a:gd name="connsiteY265" fmla="*/ 298375 h 650206"/>
                <a:gd name="connsiteX266" fmla="*/ 16710 w 931640"/>
                <a:gd name="connsiteY266" fmla="*/ 294795 h 650206"/>
                <a:gd name="connsiteX267" fmla="*/ 24665 w 931640"/>
                <a:gd name="connsiteY267" fmla="*/ 292411 h 650206"/>
                <a:gd name="connsiteX268" fmla="*/ 34610 w 931640"/>
                <a:gd name="connsiteY268" fmla="*/ 292411 h 650206"/>
                <a:gd name="connsiteX269" fmla="*/ 40180 w 931640"/>
                <a:gd name="connsiteY269" fmla="*/ 290822 h 650206"/>
                <a:gd name="connsiteX270" fmla="*/ 47340 w 931640"/>
                <a:gd name="connsiteY270" fmla="*/ 283662 h 650206"/>
                <a:gd name="connsiteX271" fmla="*/ 54105 w 931640"/>
                <a:gd name="connsiteY271" fmla="*/ 280476 h 650206"/>
                <a:gd name="connsiteX272" fmla="*/ 64845 w 931640"/>
                <a:gd name="connsiteY272" fmla="*/ 278486 h 650206"/>
                <a:gd name="connsiteX273" fmla="*/ 68819 w 931640"/>
                <a:gd name="connsiteY273" fmla="*/ 273316 h 650206"/>
                <a:gd name="connsiteX274" fmla="*/ 79959 w 931640"/>
                <a:gd name="connsiteY274" fmla="*/ 267746 h 650206"/>
                <a:gd name="connsiteX275" fmla="*/ 91099 w 931640"/>
                <a:gd name="connsiteY275" fmla="*/ 261782 h 650206"/>
                <a:gd name="connsiteX276" fmla="*/ 97858 w 931640"/>
                <a:gd name="connsiteY276" fmla="*/ 255811 h 650206"/>
                <a:gd name="connsiteX277" fmla="*/ 99455 w 931640"/>
                <a:gd name="connsiteY277" fmla="*/ 241098 h 650206"/>
                <a:gd name="connsiteX278" fmla="*/ 105819 w 931640"/>
                <a:gd name="connsiteY278" fmla="*/ 232342 h 650206"/>
                <a:gd name="connsiteX279" fmla="*/ 103428 w 931640"/>
                <a:gd name="connsiteY279" fmla="*/ 225977 h 650206"/>
                <a:gd name="connsiteX280" fmla="*/ 99455 w 931640"/>
                <a:gd name="connsiteY280" fmla="*/ 213648 h 650206"/>
                <a:gd name="connsiteX281" fmla="*/ 94679 w 931640"/>
                <a:gd name="connsiteY281" fmla="*/ 200517 h 650206"/>
                <a:gd name="connsiteX282" fmla="*/ 96669 w 931640"/>
                <a:gd name="connsiteY282" fmla="*/ 198133 h 650206"/>
                <a:gd name="connsiteX283" fmla="*/ 107409 w 931640"/>
                <a:gd name="connsiteY283" fmla="*/ 196143 h 650206"/>
                <a:gd name="connsiteX284" fmla="*/ 119344 w 931640"/>
                <a:gd name="connsiteY284" fmla="*/ 193358 h 650206"/>
                <a:gd name="connsiteX285" fmla="*/ 130083 w 931640"/>
                <a:gd name="connsiteY285" fmla="*/ 186599 h 650206"/>
                <a:gd name="connsiteX286" fmla="*/ 136047 w 931640"/>
                <a:gd name="connsiteY286" fmla="*/ 177449 h 650206"/>
                <a:gd name="connsiteX287" fmla="*/ 139234 w 931640"/>
                <a:gd name="connsiteY287" fmla="*/ 160738 h 650206"/>
                <a:gd name="connsiteX288" fmla="*/ 145198 w 931640"/>
                <a:gd name="connsiteY288" fmla="*/ 146820 h 650206"/>
                <a:gd name="connsiteX289" fmla="*/ 150367 w 931640"/>
                <a:gd name="connsiteY289" fmla="*/ 147615 h 650206"/>
                <a:gd name="connsiteX290" fmla="*/ 158328 w 931640"/>
                <a:gd name="connsiteY290" fmla="*/ 150400 h 650206"/>
                <a:gd name="connsiteX291" fmla="*/ 164693 w 931640"/>
                <a:gd name="connsiteY291" fmla="*/ 152383 h 650206"/>
                <a:gd name="connsiteX292" fmla="*/ 173836 w 931640"/>
                <a:gd name="connsiteY292" fmla="*/ 154373 h 650206"/>
                <a:gd name="connsiteX293" fmla="*/ 180602 w 931640"/>
                <a:gd name="connsiteY293" fmla="*/ 146025 h 650206"/>
                <a:gd name="connsiteX294" fmla="*/ 180602 w 931640"/>
                <a:gd name="connsiteY294" fmla="*/ 132894 h 650206"/>
                <a:gd name="connsiteX295" fmla="*/ 182986 w 931640"/>
                <a:gd name="connsiteY295" fmla="*/ 120565 h 650206"/>
                <a:gd name="connsiteX296" fmla="*/ 195322 w 931640"/>
                <a:gd name="connsiteY296" fmla="*/ 120565 h 650206"/>
                <a:gd name="connsiteX297" fmla="*/ 206455 w 931640"/>
                <a:gd name="connsiteY297" fmla="*/ 103454 h 650206"/>
                <a:gd name="connsiteX298" fmla="*/ 213622 w 931640"/>
                <a:gd name="connsiteY298" fmla="*/ 103454 h 650206"/>
                <a:gd name="connsiteX299" fmla="*/ 214417 w 931640"/>
                <a:gd name="connsiteY299" fmla="*/ 108630 h 650206"/>
                <a:gd name="connsiteX300" fmla="*/ 216407 w 931640"/>
                <a:gd name="connsiteY300" fmla="*/ 116986 h 650206"/>
                <a:gd name="connsiteX301" fmla="*/ 220782 w 931640"/>
                <a:gd name="connsiteY301" fmla="*/ 123351 h 650206"/>
                <a:gd name="connsiteX302" fmla="*/ 228335 w 931640"/>
                <a:gd name="connsiteY302" fmla="*/ 128914 h 650206"/>
                <a:gd name="connsiteX303" fmla="*/ 240270 w 931640"/>
                <a:gd name="connsiteY303" fmla="*/ 133689 h 650206"/>
                <a:gd name="connsiteX304" fmla="*/ 251010 w 931640"/>
                <a:gd name="connsiteY304" fmla="*/ 138465 h 650206"/>
                <a:gd name="connsiteX305" fmla="*/ 258570 w 931640"/>
                <a:gd name="connsiteY305" fmla="*/ 151588 h 650206"/>
                <a:gd name="connsiteX306" fmla="*/ 261355 w 931640"/>
                <a:gd name="connsiteY306" fmla="*/ 158354 h 650206"/>
                <a:gd name="connsiteX307" fmla="*/ 258570 w 931640"/>
                <a:gd name="connsiteY307" fmla="*/ 167103 h 650206"/>
                <a:gd name="connsiteX308" fmla="*/ 256981 w 931640"/>
                <a:gd name="connsiteY308" fmla="*/ 177843 h 650206"/>
                <a:gd name="connsiteX309" fmla="*/ 258570 w 931640"/>
                <a:gd name="connsiteY309" fmla="*/ 187394 h 650206"/>
                <a:gd name="connsiteX310" fmla="*/ 267319 w 931640"/>
                <a:gd name="connsiteY310" fmla="*/ 192964 h 650206"/>
                <a:gd name="connsiteX311" fmla="*/ 280049 w 931640"/>
                <a:gd name="connsiteY311" fmla="*/ 195749 h 650206"/>
                <a:gd name="connsiteX312" fmla="*/ 299545 w 931640"/>
                <a:gd name="connsiteY312" fmla="*/ 197338 h 650206"/>
                <a:gd name="connsiteX313" fmla="*/ 310137 w 931640"/>
                <a:gd name="connsiteY313" fmla="*/ 206320 h 650206"/>
                <a:gd name="connsiteX314" fmla="*/ 310284 w 931640"/>
                <a:gd name="connsiteY314" fmla="*/ 206488 h 650206"/>
                <a:gd name="connsiteX315" fmla="*/ 326193 w 931640"/>
                <a:gd name="connsiteY315" fmla="*/ 213648 h 650206"/>
                <a:gd name="connsiteX316" fmla="*/ 329379 w 931640"/>
                <a:gd name="connsiteY316" fmla="*/ 216827 h 650206"/>
                <a:gd name="connsiteX317" fmla="*/ 335744 w 931640"/>
                <a:gd name="connsiteY317" fmla="*/ 233931 h 650206"/>
                <a:gd name="connsiteX318" fmla="*/ 343698 w 931640"/>
                <a:gd name="connsiteY318" fmla="*/ 245866 h 650206"/>
                <a:gd name="connsiteX319" fmla="*/ 367168 w 931640"/>
                <a:gd name="connsiteY319" fmla="*/ 245866 h 650206"/>
                <a:gd name="connsiteX320" fmla="*/ 379504 w 931640"/>
                <a:gd name="connsiteY320" fmla="*/ 248652 h 650206"/>
                <a:gd name="connsiteX321" fmla="*/ 393823 w 931640"/>
                <a:gd name="connsiteY321" fmla="*/ 251838 h 650206"/>
                <a:gd name="connsiteX322" fmla="*/ 409732 w 931640"/>
                <a:gd name="connsiteY322" fmla="*/ 248652 h 650206"/>
                <a:gd name="connsiteX323" fmla="*/ 425247 w 931640"/>
                <a:gd name="connsiteY323" fmla="*/ 250642 h 650206"/>
                <a:gd name="connsiteX324" fmla="*/ 441957 w 931640"/>
                <a:gd name="connsiteY324" fmla="*/ 260587 h 650206"/>
                <a:gd name="connsiteX325" fmla="*/ 466221 w 931640"/>
                <a:gd name="connsiteY325" fmla="*/ 262971 h 650206"/>
                <a:gd name="connsiteX326" fmla="*/ 476961 w 931640"/>
                <a:gd name="connsiteY326" fmla="*/ 268942 h 650206"/>
                <a:gd name="connsiteX327" fmla="*/ 483726 w 931640"/>
                <a:gd name="connsiteY327" fmla="*/ 264567 h 650206"/>
                <a:gd name="connsiteX328" fmla="*/ 500831 w 931640"/>
                <a:gd name="connsiteY328" fmla="*/ 256212 h 650206"/>
                <a:gd name="connsiteX329" fmla="*/ 515945 w 931640"/>
                <a:gd name="connsiteY329" fmla="*/ 251838 h 650206"/>
                <a:gd name="connsiteX330" fmla="*/ 540209 w 931640"/>
                <a:gd name="connsiteY330" fmla="*/ 250642 h 650206"/>
                <a:gd name="connsiteX331" fmla="*/ 558108 w 931640"/>
                <a:gd name="connsiteY331" fmla="*/ 242687 h 650206"/>
                <a:gd name="connsiteX332" fmla="*/ 578799 w 931640"/>
                <a:gd name="connsiteY332" fmla="*/ 223593 h 650206"/>
                <a:gd name="connsiteX333" fmla="*/ 573229 w 931640"/>
                <a:gd name="connsiteY333" fmla="*/ 210462 h 650206"/>
                <a:gd name="connsiteX334" fmla="*/ 580783 w 931640"/>
                <a:gd name="connsiteY334" fmla="*/ 198133 h 650206"/>
                <a:gd name="connsiteX335" fmla="*/ 589932 w 931640"/>
                <a:gd name="connsiteY335" fmla="*/ 198133 h 650206"/>
                <a:gd name="connsiteX336" fmla="*/ 599083 w 931640"/>
                <a:gd name="connsiteY336" fmla="*/ 200918 h 650206"/>
                <a:gd name="connsiteX337" fmla="*/ 605849 w 931640"/>
                <a:gd name="connsiteY337" fmla="*/ 202114 h 650206"/>
                <a:gd name="connsiteX338" fmla="*/ 616187 w 931640"/>
                <a:gd name="connsiteY338" fmla="*/ 194553 h 650206"/>
                <a:gd name="connsiteX339" fmla="*/ 626132 w 931640"/>
                <a:gd name="connsiteY339" fmla="*/ 188188 h 650206"/>
                <a:gd name="connsiteX340" fmla="*/ 634888 w 931640"/>
                <a:gd name="connsiteY340" fmla="*/ 186198 h 650206"/>
                <a:gd name="connsiteX341" fmla="*/ 642842 w 931640"/>
                <a:gd name="connsiteY341" fmla="*/ 181823 h 650206"/>
                <a:gd name="connsiteX342" fmla="*/ 653983 w 931640"/>
                <a:gd name="connsiteY342" fmla="*/ 169494 h 650206"/>
                <a:gd name="connsiteX343" fmla="*/ 667901 w 931640"/>
                <a:gd name="connsiteY343" fmla="*/ 160738 h 650206"/>
                <a:gd name="connsiteX344" fmla="*/ 694950 w 931640"/>
                <a:gd name="connsiteY344" fmla="*/ 160738 h 650206"/>
                <a:gd name="connsiteX345" fmla="*/ 702117 w 931640"/>
                <a:gd name="connsiteY345" fmla="*/ 155970 h 650206"/>
                <a:gd name="connsiteX346" fmla="*/ 693361 w 931640"/>
                <a:gd name="connsiteY346" fmla="*/ 145223 h 650206"/>
                <a:gd name="connsiteX347" fmla="*/ 675061 w 931640"/>
                <a:gd name="connsiteY347" fmla="*/ 130904 h 650206"/>
                <a:gd name="connsiteX348" fmla="*/ 662331 w 931640"/>
                <a:gd name="connsiteY348" fmla="*/ 139259 h 650206"/>
                <a:gd name="connsiteX349" fmla="*/ 656768 w 931640"/>
                <a:gd name="connsiteY349" fmla="*/ 136073 h 650206"/>
                <a:gd name="connsiteX350" fmla="*/ 640057 w 931640"/>
                <a:gd name="connsiteY350" fmla="*/ 136073 h 650206"/>
                <a:gd name="connsiteX351" fmla="*/ 640057 w 931640"/>
                <a:gd name="connsiteY351" fmla="*/ 117379 h 650206"/>
                <a:gd name="connsiteX352" fmla="*/ 655171 w 931640"/>
                <a:gd name="connsiteY352" fmla="*/ 88340 h 650206"/>
                <a:gd name="connsiteX353" fmla="*/ 662331 w 931640"/>
                <a:gd name="connsiteY353" fmla="*/ 91920 h 650206"/>
                <a:gd name="connsiteX354" fmla="*/ 673471 w 931640"/>
                <a:gd name="connsiteY354" fmla="*/ 95901 h 650206"/>
                <a:gd name="connsiteX355" fmla="*/ 693361 w 931640"/>
                <a:gd name="connsiteY355" fmla="*/ 83171 h 650206"/>
                <a:gd name="connsiteX356" fmla="*/ 693361 w 931640"/>
                <a:gd name="connsiteY356" fmla="*/ 72030 h 650206"/>
                <a:gd name="connsiteX357" fmla="*/ 704895 w 931640"/>
                <a:gd name="connsiteY357" fmla="*/ 51346 h 650206"/>
                <a:gd name="connsiteX358" fmla="*/ 715241 w 931640"/>
                <a:gd name="connsiteY358" fmla="*/ 39017 h 650206"/>
                <a:gd name="connsiteX359" fmla="*/ 715241 w 931640"/>
                <a:gd name="connsiteY359" fmla="*/ 23502 h 650206"/>
                <a:gd name="connsiteX360" fmla="*/ 707286 w 931640"/>
                <a:gd name="connsiteY360" fmla="*/ 17932 h 650206"/>
                <a:gd name="connsiteX361" fmla="*/ 717231 w 931640"/>
                <a:gd name="connsiteY361" fmla="*/ 7987 h 650206"/>
                <a:gd name="connsiteX362" fmla="*/ 731550 w 931640"/>
                <a:gd name="connsiteY362" fmla="*/ 1623 h 650206"/>
                <a:gd name="connsiteX363" fmla="*/ 753824 w 931640"/>
                <a:gd name="connsiteY363" fmla="*/ 33 h 650206"/>
                <a:gd name="connsiteX364" fmla="*/ 771730 w 931640"/>
                <a:gd name="connsiteY364" fmla="*/ 3613 h 650206"/>
                <a:gd name="connsiteX365" fmla="*/ 785255 w 931640"/>
                <a:gd name="connsiteY365" fmla="*/ 9978 h 650206"/>
                <a:gd name="connsiteX366" fmla="*/ 797583 w 931640"/>
                <a:gd name="connsiteY366" fmla="*/ 26681 h 650206"/>
                <a:gd name="connsiteX367" fmla="*/ 804349 w 931640"/>
                <a:gd name="connsiteY367" fmla="*/ 44580 h 650206"/>
                <a:gd name="connsiteX368" fmla="*/ 813893 w 931640"/>
                <a:gd name="connsiteY368" fmla="*/ 62487 h 650206"/>
                <a:gd name="connsiteX369" fmla="*/ 821053 w 931640"/>
                <a:gd name="connsiteY369" fmla="*/ 90330 h 650206"/>
                <a:gd name="connsiteX370" fmla="*/ 829408 w 931640"/>
                <a:gd name="connsiteY370" fmla="*/ 94705 h 650206"/>
                <a:gd name="connsiteX371" fmla="*/ 844923 w 931640"/>
                <a:gd name="connsiteY371" fmla="*/ 97891 h 650206"/>
                <a:gd name="connsiteX372" fmla="*/ 853278 w 931640"/>
                <a:gd name="connsiteY372" fmla="*/ 104650 h 650206"/>
                <a:gd name="connsiteX373" fmla="*/ 867197 w 931640"/>
                <a:gd name="connsiteY373" fmla="*/ 118575 h 650206"/>
                <a:gd name="connsiteX374" fmla="*/ 870777 w 931640"/>
                <a:gd name="connsiteY374" fmla="*/ 134090 h 650206"/>
                <a:gd name="connsiteX375" fmla="*/ 889871 w 931640"/>
                <a:gd name="connsiteY375" fmla="*/ 136474 h 650206"/>
                <a:gd name="connsiteX376" fmla="*/ 897833 w 931640"/>
                <a:gd name="connsiteY376" fmla="*/ 134090 h 650206"/>
                <a:gd name="connsiteX377" fmla="*/ 911751 w 931640"/>
                <a:gd name="connsiteY377" fmla="*/ 126529 h 650206"/>
                <a:gd name="connsiteX378" fmla="*/ 923686 w 931640"/>
                <a:gd name="connsiteY378" fmla="*/ 123351 h 650206"/>
                <a:gd name="connsiteX379" fmla="*/ 931641 w 931640"/>
                <a:gd name="connsiteY379" fmla="*/ 123351 h 650206"/>
                <a:gd name="connsiteX380" fmla="*/ 928061 w 931640"/>
                <a:gd name="connsiteY380" fmla="*/ 134090 h 650206"/>
                <a:gd name="connsiteX381" fmla="*/ 918911 w 931640"/>
                <a:gd name="connsiteY381" fmla="*/ 151989 h 650206"/>
                <a:gd name="connsiteX382" fmla="*/ 916527 w 931640"/>
                <a:gd name="connsiteY382" fmla="*/ 161139 h 650206"/>
                <a:gd name="connsiteX383" fmla="*/ 908171 w 931640"/>
                <a:gd name="connsiteY383" fmla="*/ 184208 h 650206"/>
                <a:gd name="connsiteX384" fmla="*/ 903396 w 931640"/>
                <a:gd name="connsiteY384" fmla="*/ 195348 h 650206"/>
                <a:gd name="connsiteX385" fmla="*/ 889871 w 931640"/>
                <a:gd name="connsiteY385" fmla="*/ 192964 h 650206"/>
                <a:gd name="connsiteX386" fmla="*/ 877943 w 931640"/>
                <a:gd name="connsiteY386" fmla="*/ 195348 h 650206"/>
                <a:gd name="connsiteX387" fmla="*/ 872767 w 931640"/>
                <a:gd name="connsiteY387" fmla="*/ 200517 h 650206"/>
                <a:gd name="connsiteX388" fmla="*/ 875953 w 931640"/>
                <a:gd name="connsiteY388" fmla="*/ 206882 h 650206"/>
                <a:gd name="connsiteX389" fmla="*/ 875953 w 931640"/>
                <a:gd name="connsiteY389" fmla="*/ 239108 h 650206"/>
                <a:gd name="connsiteX390" fmla="*/ 867598 w 931640"/>
                <a:gd name="connsiteY390" fmla="*/ 244277 h 650206"/>
                <a:gd name="connsiteX391" fmla="*/ 867598 w 931640"/>
                <a:gd name="connsiteY391" fmla="*/ 253828 h 650206"/>
                <a:gd name="connsiteX392" fmla="*/ 856064 w 931640"/>
                <a:gd name="connsiteY392" fmla="*/ 242287 h 650206"/>
                <a:gd name="connsiteX393" fmla="*/ 852877 w 931640"/>
                <a:gd name="connsiteY393" fmla="*/ 249052 h 650206"/>
                <a:gd name="connsiteX394" fmla="*/ 847307 w 931640"/>
                <a:gd name="connsiteY394" fmla="*/ 253828 h 650206"/>
                <a:gd name="connsiteX395" fmla="*/ 841737 w 931640"/>
                <a:gd name="connsiteY395" fmla="*/ 255811 h 650206"/>
                <a:gd name="connsiteX396" fmla="*/ 829809 w 931640"/>
                <a:gd name="connsiteY396" fmla="*/ 260193 h 650206"/>
                <a:gd name="connsiteX397" fmla="*/ 827024 w 931640"/>
                <a:gd name="connsiteY397" fmla="*/ 266157 h 650206"/>
                <a:gd name="connsiteX398" fmla="*/ 829809 w 931640"/>
                <a:gd name="connsiteY398" fmla="*/ 272522 h 650206"/>
                <a:gd name="connsiteX399" fmla="*/ 819864 w 931640"/>
                <a:gd name="connsiteY399" fmla="*/ 272522 h 650206"/>
                <a:gd name="connsiteX400" fmla="*/ 807528 w 931640"/>
                <a:gd name="connsiteY400" fmla="*/ 264961 h 650206"/>
                <a:gd name="connsiteX401" fmla="*/ 801564 w 931640"/>
                <a:gd name="connsiteY401" fmla="*/ 276102 h 650206"/>
                <a:gd name="connsiteX402" fmla="*/ 787245 w 931640"/>
                <a:gd name="connsiteY402" fmla="*/ 286046 h 6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</a:cxnLst>
              <a:rect l="l" t="t" r="r" b="b"/>
              <a:pathLst>
                <a:path w="931640" h="650206">
                  <a:moveTo>
                    <a:pt x="787245" y="286046"/>
                  </a:moveTo>
                  <a:cubicBezTo>
                    <a:pt x="785255" y="287242"/>
                    <a:pt x="771329" y="302757"/>
                    <a:pt x="770534" y="304346"/>
                  </a:cubicBezTo>
                  <a:lnTo>
                    <a:pt x="766955" y="303552"/>
                  </a:lnTo>
                  <a:cubicBezTo>
                    <a:pt x="766554" y="303552"/>
                    <a:pt x="764486" y="303706"/>
                    <a:pt x="759394" y="304346"/>
                  </a:cubicBezTo>
                  <a:cubicBezTo>
                    <a:pt x="756609" y="305141"/>
                    <a:pt x="756215" y="305535"/>
                    <a:pt x="754626" y="306337"/>
                  </a:cubicBezTo>
                  <a:cubicBezTo>
                    <a:pt x="753029" y="307131"/>
                    <a:pt x="751440" y="307926"/>
                    <a:pt x="748261" y="309122"/>
                  </a:cubicBezTo>
                  <a:cubicBezTo>
                    <a:pt x="745075" y="310310"/>
                    <a:pt x="745476" y="311506"/>
                    <a:pt x="743084" y="312702"/>
                  </a:cubicBezTo>
                  <a:cubicBezTo>
                    <a:pt x="740700" y="313890"/>
                    <a:pt x="740299" y="314685"/>
                    <a:pt x="738710" y="316281"/>
                  </a:cubicBezTo>
                  <a:cubicBezTo>
                    <a:pt x="737120" y="317871"/>
                    <a:pt x="735925" y="318265"/>
                    <a:pt x="733541" y="320255"/>
                  </a:cubicBezTo>
                  <a:cubicBezTo>
                    <a:pt x="731149" y="322245"/>
                    <a:pt x="730355" y="322646"/>
                    <a:pt x="728371" y="324236"/>
                  </a:cubicBezTo>
                  <a:cubicBezTo>
                    <a:pt x="726381" y="325825"/>
                    <a:pt x="723596" y="326620"/>
                    <a:pt x="722006" y="326620"/>
                  </a:cubicBezTo>
                  <a:cubicBezTo>
                    <a:pt x="720410" y="326620"/>
                    <a:pt x="722006" y="324236"/>
                    <a:pt x="722006" y="323441"/>
                  </a:cubicBezTo>
                  <a:cubicBezTo>
                    <a:pt x="722006" y="322646"/>
                    <a:pt x="724391" y="321451"/>
                    <a:pt x="725980" y="320255"/>
                  </a:cubicBezTo>
                  <a:cubicBezTo>
                    <a:pt x="727253" y="319299"/>
                    <a:pt x="728104" y="317737"/>
                    <a:pt x="728371" y="317076"/>
                  </a:cubicBezTo>
                  <a:cubicBezTo>
                    <a:pt x="728765" y="316148"/>
                    <a:pt x="729321" y="314129"/>
                    <a:pt x="728371" y="313496"/>
                  </a:cubicBezTo>
                  <a:cubicBezTo>
                    <a:pt x="727176" y="312702"/>
                    <a:pt x="727569" y="313496"/>
                    <a:pt x="727176" y="313496"/>
                  </a:cubicBezTo>
                  <a:cubicBezTo>
                    <a:pt x="726775" y="313496"/>
                    <a:pt x="724391" y="312301"/>
                    <a:pt x="723596" y="311506"/>
                  </a:cubicBezTo>
                  <a:cubicBezTo>
                    <a:pt x="722801" y="310711"/>
                    <a:pt x="723596" y="309122"/>
                    <a:pt x="723596" y="307926"/>
                  </a:cubicBezTo>
                  <a:cubicBezTo>
                    <a:pt x="723596" y="306730"/>
                    <a:pt x="725980" y="306337"/>
                    <a:pt x="727176" y="305535"/>
                  </a:cubicBezTo>
                  <a:cubicBezTo>
                    <a:pt x="728371" y="304740"/>
                    <a:pt x="728371" y="304346"/>
                    <a:pt x="729560" y="303552"/>
                  </a:cubicBezTo>
                  <a:cubicBezTo>
                    <a:pt x="730516" y="302911"/>
                    <a:pt x="732078" y="300900"/>
                    <a:pt x="732746" y="299972"/>
                  </a:cubicBezTo>
                  <a:cubicBezTo>
                    <a:pt x="734335" y="298375"/>
                    <a:pt x="737514" y="294957"/>
                    <a:pt x="737514" y="294001"/>
                  </a:cubicBezTo>
                  <a:lnTo>
                    <a:pt x="737514" y="290027"/>
                  </a:lnTo>
                  <a:cubicBezTo>
                    <a:pt x="737514" y="288431"/>
                    <a:pt x="736719" y="288431"/>
                    <a:pt x="735130" y="287242"/>
                  </a:cubicBezTo>
                  <a:cubicBezTo>
                    <a:pt x="733541" y="286046"/>
                    <a:pt x="732746" y="286046"/>
                    <a:pt x="730755" y="285252"/>
                  </a:cubicBezTo>
                  <a:cubicBezTo>
                    <a:pt x="728765" y="284457"/>
                    <a:pt x="728765" y="284851"/>
                    <a:pt x="727569" y="284851"/>
                  </a:cubicBezTo>
                  <a:cubicBezTo>
                    <a:pt x="726381" y="284851"/>
                    <a:pt x="723596" y="285252"/>
                    <a:pt x="722006" y="286046"/>
                  </a:cubicBezTo>
                  <a:cubicBezTo>
                    <a:pt x="720410" y="286841"/>
                    <a:pt x="719615" y="287636"/>
                    <a:pt x="718820" y="288431"/>
                  </a:cubicBezTo>
                  <a:cubicBezTo>
                    <a:pt x="718026" y="289225"/>
                    <a:pt x="714446" y="292411"/>
                    <a:pt x="712856" y="294001"/>
                  </a:cubicBezTo>
                  <a:cubicBezTo>
                    <a:pt x="711260" y="295590"/>
                    <a:pt x="701315" y="301955"/>
                    <a:pt x="700127" y="302757"/>
                  </a:cubicBezTo>
                  <a:cubicBezTo>
                    <a:pt x="699170" y="303390"/>
                    <a:pt x="695217" y="308854"/>
                    <a:pt x="693361" y="311506"/>
                  </a:cubicBezTo>
                  <a:cubicBezTo>
                    <a:pt x="693361" y="311900"/>
                    <a:pt x="693206" y="313018"/>
                    <a:pt x="692566" y="314291"/>
                  </a:cubicBezTo>
                  <a:cubicBezTo>
                    <a:pt x="691771" y="315880"/>
                    <a:pt x="691370" y="315880"/>
                    <a:pt x="690576" y="317076"/>
                  </a:cubicBezTo>
                  <a:cubicBezTo>
                    <a:pt x="689781" y="318265"/>
                    <a:pt x="685807" y="319460"/>
                    <a:pt x="685406" y="320255"/>
                  </a:cubicBezTo>
                  <a:cubicBezTo>
                    <a:pt x="685005" y="321050"/>
                    <a:pt x="683022" y="321845"/>
                    <a:pt x="681826" y="322646"/>
                  </a:cubicBezTo>
                  <a:cubicBezTo>
                    <a:pt x="680631" y="323441"/>
                    <a:pt x="679041" y="322646"/>
                    <a:pt x="678247" y="322646"/>
                  </a:cubicBezTo>
                  <a:cubicBezTo>
                    <a:pt x="677452" y="322646"/>
                    <a:pt x="676657" y="320656"/>
                    <a:pt x="676657" y="320255"/>
                  </a:cubicBezTo>
                  <a:cubicBezTo>
                    <a:pt x="676657" y="319861"/>
                    <a:pt x="675462" y="318666"/>
                    <a:pt x="674266" y="318265"/>
                  </a:cubicBezTo>
                  <a:cubicBezTo>
                    <a:pt x="673077" y="317871"/>
                    <a:pt x="672677" y="318666"/>
                    <a:pt x="672677" y="319460"/>
                  </a:cubicBezTo>
                  <a:cubicBezTo>
                    <a:pt x="672677" y="320255"/>
                    <a:pt x="671882" y="321451"/>
                    <a:pt x="671882" y="322646"/>
                  </a:cubicBezTo>
                  <a:cubicBezTo>
                    <a:pt x="671882" y="323835"/>
                    <a:pt x="670686" y="325030"/>
                    <a:pt x="669892" y="327415"/>
                  </a:cubicBezTo>
                  <a:cubicBezTo>
                    <a:pt x="669097" y="328610"/>
                    <a:pt x="669892" y="328610"/>
                    <a:pt x="669892" y="329806"/>
                  </a:cubicBezTo>
                  <a:cubicBezTo>
                    <a:pt x="669892" y="330994"/>
                    <a:pt x="670686" y="331395"/>
                    <a:pt x="670686" y="332985"/>
                  </a:cubicBezTo>
                  <a:cubicBezTo>
                    <a:pt x="670686" y="334574"/>
                    <a:pt x="671481" y="334180"/>
                    <a:pt x="671882" y="335770"/>
                  </a:cubicBezTo>
                  <a:cubicBezTo>
                    <a:pt x="672276" y="337359"/>
                    <a:pt x="673077" y="336966"/>
                    <a:pt x="674266" y="338154"/>
                  </a:cubicBezTo>
                  <a:cubicBezTo>
                    <a:pt x="675462" y="339350"/>
                    <a:pt x="676256" y="338555"/>
                    <a:pt x="676657" y="338956"/>
                  </a:cubicBezTo>
                  <a:cubicBezTo>
                    <a:pt x="677051" y="339350"/>
                    <a:pt x="679442" y="338956"/>
                    <a:pt x="681826" y="339751"/>
                  </a:cubicBezTo>
                  <a:cubicBezTo>
                    <a:pt x="684211" y="340545"/>
                    <a:pt x="685807" y="339350"/>
                    <a:pt x="687791" y="339751"/>
                  </a:cubicBezTo>
                  <a:cubicBezTo>
                    <a:pt x="689781" y="340144"/>
                    <a:pt x="688986" y="340545"/>
                    <a:pt x="689781" y="341340"/>
                  </a:cubicBezTo>
                  <a:cubicBezTo>
                    <a:pt x="690576" y="342135"/>
                    <a:pt x="690576" y="342930"/>
                    <a:pt x="690576" y="345321"/>
                  </a:cubicBezTo>
                  <a:cubicBezTo>
                    <a:pt x="689781" y="346115"/>
                    <a:pt x="689781" y="345321"/>
                    <a:pt x="688986" y="346509"/>
                  </a:cubicBezTo>
                  <a:cubicBezTo>
                    <a:pt x="688191" y="347705"/>
                    <a:pt x="688191" y="347705"/>
                    <a:pt x="686996" y="349294"/>
                  </a:cubicBezTo>
                  <a:cubicBezTo>
                    <a:pt x="685807" y="350884"/>
                    <a:pt x="686996" y="351285"/>
                    <a:pt x="686996" y="353669"/>
                  </a:cubicBezTo>
                  <a:cubicBezTo>
                    <a:pt x="686996" y="356060"/>
                    <a:pt x="688191" y="354464"/>
                    <a:pt x="689781" y="356060"/>
                  </a:cubicBezTo>
                  <a:cubicBezTo>
                    <a:pt x="691370" y="357650"/>
                    <a:pt x="692172" y="356855"/>
                    <a:pt x="693361" y="356855"/>
                  </a:cubicBezTo>
                  <a:lnTo>
                    <a:pt x="700127" y="356855"/>
                  </a:lnTo>
                  <a:cubicBezTo>
                    <a:pt x="701076" y="356855"/>
                    <a:pt x="702644" y="356320"/>
                    <a:pt x="703305" y="356060"/>
                  </a:cubicBezTo>
                  <a:lnTo>
                    <a:pt x="706091" y="351285"/>
                  </a:lnTo>
                  <a:cubicBezTo>
                    <a:pt x="706091" y="350884"/>
                    <a:pt x="706330" y="349935"/>
                    <a:pt x="707286" y="349294"/>
                  </a:cubicBezTo>
                  <a:cubicBezTo>
                    <a:pt x="708482" y="348500"/>
                    <a:pt x="709277" y="347705"/>
                    <a:pt x="710465" y="346509"/>
                  </a:cubicBezTo>
                  <a:cubicBezTo>
                    <a:pt x="711661" y="345321"/>
                    <a:pt x="714045" y="344519"/>
                    <a:pt x="716436" y="344519"/>
                  </a:cubicBezTo>
                  <a:cubicBezTo>
                    <a:pt x="718820" y="344519"/>
                    <a:pt x="719221" y="346910"/>
                    <a:pt x="720410" y="347705"/>
                  </a:cubicBezTo>
                  <a:cubicBezTo>
                    <a:pt x="721605" y="348500"/>
                    <a:pt x="722801" y="349294"/>
                    <a:pt x="723596" y="350089"/>
                  </a:cubicBezTo>
                  <a:cubicBezTo>
                    <a:pt x="724391" y="350884"/>
                    <a:pt x="728765" y="351285"/>
                    <a:pt x="730355" y="351285"/>
                  </a:cubicBezTo>
                  <a:cubicBezTo>
                    <a:pt x="731951" y="351285"/>
                    <a:pt x="735925" y="351285"/>
                    <a:pt x="738710" y="352080"/>
                  </a:cubicBezTo>
                  <a:cubicBezTo>
                    <a:pt x="741495" y="352874"/>
                    <a:pt x="741101" y="353275"/>
                    <a:pt x="742290" y="354464"/>
                  </a:cubicBezTo>
                  <a:cubicBezTo>
                    <a:pt x="743485" y="355659"/>
                    <a:pt x="742290" y="357650"/>
                    <a:pt x="742290" y="359239"/>
                  </a:cubicBezTo>
                  <a:cubicBezTo>
                    <a:pt x="742290" y="360829"/>
                    <a:pt x="741495" y="361630"/>
                    <a:pt x="739906" y="362425"/>
                  </a:cubicBezTo>
                  <a:cubicBezTo>
                    <a:pt x="738632" y="363058"/>
                    <a:pt x="736719" y="362685"/>
                    <a:pt x="735925" y="362425"/>
                  </a:cubicBezTo>
                  <a:lnTo>
                    <a:pt x="732746" y="361630"/>
                  </a:lnTo>
                  <a:cubicBezTo>
                    <a:pt x="731951" y="362158"/>
                    <a:pt x="730200" y="363297"/>
                    <a:pt x="729560" y="363614"/>
                  </a:cubicBezTo>
                  <a:cubicBezTo>
                    <a:pt x="728765" y="364015"/>
                    <a:pt x="725980" y="364415"/>
                    <a:pt x="724791" y="365604"/>
                  </a:cubicBezTo>
                  <a:cubicBezTo>
                    <a:pt x="723596" y="366800"/>
                    <a:pt x="720811" y="369184"/>
                    <a:pt x="719221" y="370379"/>
                  </a:cubicBezTo>
                  <a:cubicBezTo>
                    <a:pt x="717625" y="371575"/>
                    <a:pt x="715241" y="373558"/>
                    <a:pt x="714045" y="374754"/>
                  </a:cubicBezTo>
                  <a:cubicBezTo>
                    <a:pt x="712856" y="375950"/>
                    <a:pt x="711260" y="376744"/>
                    <a:pt x="709277" y="377940"/>
                  </a:cubicBezTo>
                  <a:cubicBezTo>
                    <a:pt x="707286" y="379129"/>
                    <a:pt x="707286" y="379923"/>
                    <a:pt x="706091" y="381119"/>
                  </a:cubicBezTo>
                  <a:cubicBezTo>
                    <a:pt x="704895" y="382315"/>
                    <a:pt x="704501" y="383109"/>
                    <a:pt x="703305" y="383904"/>
                  </a:cubicBezTo>
                  <a:cubicBezTo>
                    <a:pt x="702117" y="384699"/>
                    <a:pt x="701716" y="385494"/>
                    <a:pt x="700127" y="386689"/>
                  </a:cubicBezTo>
                  <a:cubicBezTo>
                    <a:pt x="698530" y="387885"/>
                    <a:pt x="697341" y="390269"/>
                    <a:pt x="697341" y="391465"/>
                  </a:cubicBezTo>
                  <a:cubicBezTo>
                    <a:pt x="697341" y="392653"/>
                    <a:pt x="694556" y="394250"/>
                    <a:pt x="693361" y="396233"/>
                  </a:cubicBezTo>
                  <a:cubicBezTo>
                    <a:pt x="692172" y="398223"/>
                    <a:pt x="692967" y="399419"/>
                    <a:pt x="693361" y="400615"/>
                  </a:cubicBezTo>
                  <a:cubicBezTo>
                    <a:pt x="693762" y="401803"/>
                    <a:pt x="695752" y="402204"/>
                    <a:pt x="697341" y="403794"/>
                  </a:cubicBezTo>
                  <a:cubicBezTo>
                    <a:pt x="698614" y="405067"/>
                    <a:pt x="700788" y="405650"/>
                    <a:pt x="701716" y="405784"/>
                  </a:cubicBezTo>
                  <a:lnTo>
                    <a:pt x="709277" y="413738"/>
                  </a:lnTo>
                  <a:cubicBezTo>
                    <a:pt x="710071" y="414934"/>
                    <a:pt x="711738" y="417557"/>
                    <a:pt x="712062" y="418514"/>
                  </a:cubicBezTo>
                  <a:cubicBezTo>
                    <a:pt x="712455" y="419702"/>
                    <a:pt x="712856" y="422487"/>
                    <a:pt x="714045" y="426468"/>
                  </a:cubicBezTo>
                  <a:cubicBezTo>
                    <a:pt x="715241" y="430449"/>
                    <a:pt x="716436" y="431244"/>
                    <a:pt x="716830" y="432432"/>
                  </a:cubicBezTo>
                  <a:cubicBezTo>
                    <a:pt x="717231" y="433628"/>
                    <a:pt x="720016" y="437609"/>
                    <a:pt x="720811" y="439599"/>
                  </a:cubicBezTo>
                  <a:cubicBezTo>
                    <a:pt x="721605" y="441582"/>
                    <a:pt x="723990" y="444367"/>
                    <a:pt x="724791" y="446358"/>
                  </a:cubicBezTo>
                  <a:cubicBezTo>
                    <a:pt x="725586" y="448348"/>
                    <a:pt x="729560" y="450338"/>
                    <a:pt x="731951" y="451527"/>
                  </a:cubicBezTo>
                  <a:cubicBezTo>
                    <a:pt x="733857" y="452484"/>
                    <a:pt x="732746" y="457498"/>
                    <a:pt x="731951" y="459882"/>
                  </a:cubicBezTo>
                  <a:lnTo>
                    <a:pt x="730755" y="459882"/>
                  </a:lnTo>
                  <a:lnTo>
                    <a:pt x="727176" y="458687"/>
                  </a:lnTo>
                  <a:lnTo>
                    <a:pt x="722801" y="456703"/>
                  </a:lnTo>
                  <a:cubicBezTo>
                    <a:pt x="722667" y="457498"/>
                    <a:pt x="722477" y="459404"/>
                    <a:pt x="722801" y="460677"/>
                  </a:cubicBezTo>
                  <a:cubicBezTo>
                    <a:pt x="723195" y="462273"/>
                    <a:pt x="725980" y="462667"/>
                    <a:pt x="727176" y="463863"/>
                  </a:cubicBezTo>
                  <a:cubicBezTo>
                    <a:pt x="728371" y="465051"/>
                    <a:pt x="730755" y="465452"/>
                    <a:pt x="731951" y="466648"/>
                  </a:cubicBezTo>
                  <a:cubicBezTo>
                    <a:pt x="733140" y="467837"/>
                    <a:pt x="733934" y="469433"/>
                    <a:pt x="733140" y="471023"/>
                  </a:cubicBezTo>
                  <a:cubicBezTo>
                    <a:pt x="732345" y="472612"/>
                    <a:pt x="729560" y="472218"/>
                    <a:pt x="724791" y="474602"/>
                  </a:cubicBezTo>
                  <a:cubicBezTo>
                    <a:pt x="720973" y="476508"/>
                    <a:pt x="718687" y="481495"/>
                    <a:pt x="718026" y="483752"/>
                  </a:cubicBezTo>
                  <a:cubicBezTo>
                    <a:pt x="719615" y="483091"/>
                    <a:pt x="723040" y="481685"/>
                    <a:pt x="723990" y="481361"/>
                  </a:cubicBezTo>
                  <a:cubicBezTo>
                    <a:pt x="725185" y="480967"/>
                    <a:pt x="725980" y="481762"/>
                    <a:pt x="727176" y="482958"/>
                  </a:cubicBezTo>
                  <a:cubicBezTo>
                    <a:pt x="728371" y="484146"/>
                    <a:pt x="729560" y="485743"/>
                    <a:pt x="730755" y="486931"/>
                  </a:cubicBezTo>
                  <a:cubicBezTo>
                    <a:pt x="731712" y="487888"/>
                    <a:pt x="732746" y="489716"/>
                    <a:pt x="733140" y="490511"/>
                  </a:cubicBezTo>
                  <a:cubicBezTo>
                    <a:pt x="732746" y="491306"/>
                    <a:pt x="731789" y="493141"/>
                    <a:pt x="731149" y="494091"/>
                  </a:cubicBezTo>
                  <a:cubicBezTo>
                    <a:pt x="730355" y="495287"/>
                    <a:pt x="729560" y="497277"/>
                    <a:pt x="729560" y="498473"/>
                  </a:cubicBezTo>
                  <a:lnTo>
                    <a:pt x="729560" y="512391"/>
                  </a:lnTo>
                  <a:cubicBezTo>
                    <a:pt x="729560" y="513186"/>
                    <a:pt x="725980" y="517166"/>
                    <a:pt x="723990" y="519551"/>
                  </a:cubicBezTo>
                  <a:cubicBezTo>
                    <a:pt x="722006" y="521942"/>
                    <a:pt x="717625" y="527111"/>
                    <a:pt x="716436" y="529102"/>
                  </a:cubicBezTo>
                  <a:cubicBezTo>
                    <a:pt x="715241" y="531092"/>
                    <a:pt x="711260" y="535467"/>
                    <a:pt x="709277" y="537851"/>
                  </a:cubicBezTo>
                  <a:cubicBezTo>
                    <a:pt x="707286" y="540235"/>
                    <a:pt x="705296" y="542225"/>
                    <a:pt x="703706" y="545805"/>
                  </a:cubicBezTo>
                  <a:cubicBezTo>
                    <a:pt x="702117" y="549385"/>
                    <a:pt x="697735" y="560926"/>
                    <a:pt x="697341" y="561721"/>
                  </a:cubicBezTo>
                  <a:cubicBezTo>
                    <a:pt x="696941" y="562516"/>
                    <a:pt x="696146" y="563711"/>
                    <a:pt x="695351" y="564900"/>
                  </a:cubicBezTo>
                  <a:cubicBezTo>
                    <a:pt x="694556" y="566095"/>
                    <a:pt x="690576" y="570470"/>
                    <a:pt x="689781" y="572059"/>
                  </a:cubicBezTo>
                  <a:cubicBezTo>
                    <a:pt x="688986" y="573656"/>
                    <a:pt x="683416" y="576835"/>
                    <a:pt x="682220" y="578030"/>
                  </a:cubicBezTo>
                  <a:cubicBezTo>
                    <a:pt x="681032" y="579219"/>
                    <a:pt x="677051" y="582806"/>
                    <a:pt x="675061" y="585190"/>
                  </a:cubicBezTo>
                  <a:cubicBezTo>
                    <a:pt x="673077" y="587574"/>
                    <a:pt x="669892" y="590760"/>
                    <a:pt x="667901" y="592350"/>
                  </a:cubicBezTo>
                  <a:cubicBezTo>
                    <a:pt x="665911" y="593939"/>
                    <a:pt x="658751" y="599910"/>
                    <a:pt x="656768" y="601500"/>
                  </a:cubicBezTo>
                  <a:cubicBezTo>
                    <a:pt x="654777" y="603089"/>
                    <a:pt x="651198" y="607070"/>
                    <a:pt x="650002" y="607464"/>
                  </a:cubicBezTo>
                  <a:cubicBezTo>
                    <a:pt x="648806" y="607865"/>
                    <a:pt x="637272" y="609060"/>
                    <a:pt x="636477" y="609060"/>
                  </a:cubicBezTo>
                  <a:cubicBezTo>
                    <a:pt x="635683" y="609060"/>
                    <a:pt x="627328" y="610650"/>
                    <a:pt x="624542" y="612239"/>
                  </a:cubicBezTo>
                  <a:cubicBezTo>
                    <a:pt x="621757" y="613829"/>
                    <a:pt x="619767" y="616614"/>
                    <a:pt x="616187" y="618604"/>
                  </a:cubicBezTo>
                  <a:cubicBezTo>
                    <a:pt x="612607" y="620594"/>
                    <a:pt x="611419" y="612640"/>
                    <a:pt x="609822" y="612239"/>
                  </a:cubicBezTo>
                  <a:cubicBezTo>
                    <a:pt x="608233" y="611838"/>
                    <a:pt x="603457" y="620988"/>
                    <a:pt x="602662" y="621389"/>
                  </a:cubicBezTo>
                  <a:cubicBezTo>
                    <a:pt x="601868" y="621783"/>
                    <a:pt x="597493" y="623380"/>
                    <a:pt x="596298" y="623773"/>
                  </a:cubicBezTo>
                  <a:cubicBezTo>
                    <a:pt x="595109" y="624174"/>
                    <a:pt x="588343" y="625764"/>
                    <a:pt x="584362" y="627754"/>
                  </a:cubicBezTo>
                  <a:cubicBezTo>
                    <a:pt x="581183" y="629344"/>
                    <a:pt x="571900" y="631334"/>
                    <a:pt x="567659" y="632129"/>
                  </a:cubicBezTo>
                  <a:cubicBezTo>
                    <a:pt x="566731" y="632656"/>
                    <a:pt x="564318" y="633957"/>
                    <a:pt x="562089" y="634914"/>
                  </a:cubicBezTo>
                  <a:cubicBezTo>
                    <a:pt x="559304" y="636109"/>
                    <a:pt x="557714" y="638894"/>
                    <a:pt x="556919" y="639689"/>
                  </a:cubicBezTo>
                  <a:cubicBezTo>
                    <a:pt x="556125" y="640484"/>
                    <a:pt x="558509" y="644458"/>
                    <a:pt x="559304" y="647644"/>
                  </a:cubicBezTo>
                  <a:cubicBezTo>
                    <a:pt x="560098" y="650823"/>
                    <a:pt x="559304" y="650028"/>
                    <a:pt x="558509" y="650028"/>
                  </a:cubicBezTo>
                  <a:cubicBezTo>
                    <a:pt x="557714" y="650028"/>
                    <a:pt x="556519" y="650429"/>
                    <a:pt x="555330" y="650028"/>
                  </a:cubicBezTo>
                  <a:cubicBezTo>
                    <a:pt x="554374" y="649711"/>
                    <a:pt x="553072" y="648305"/>
                    <a:pt x="552545" y="647644"/>
                  </a:cubicBezTo>
                  <a:cubicBezTo>
                    <a:pt x="551483" y="646715"/>
                    <a:pt x="549359" y="644781"/>
                    <a:pt x="549359" y="644458"/>
                  </a:cubicBezTo>
                  <a:cubicBezTo>
                    <a:pt x="549359" y="644064"/>
                    <a:pt x="547368" y="637298"/>
                    <a:pt x="548163" y="635708"/>
                  </a:cubicBezTo>
                  <a:cubicBezTo>
                    <a:pt x="548965" y="634119"/>
                    <a:pt x="548163" y="633718"/>
                    <a:pt x="547368" y="632129"/>
                  </a:cubicBezTo>
                  <a:cubicBezTo>
                    <a:pt x="546574" y="630539"/>
                    <a:pt x="543789" y="628950"/>
                    <a:pt x="542600" y="627754"/>
                  </a:cubicBezTo>
                  <a:cubicBezTo>
                    <a:pt x="541404" y="626558"/>
                    <a:pt x="536629" y="626558"/>
                    <a:pt x="533049" y="626558"/>
                  </a:cubicBezTo>
                  <a:cubicBezTo>
                    <a:pt x="530187" y="626558"/>
                    <a:pt x="523639" y="629477"/>
                    <a:pt x="520720" y="630933"/>
                  </a:cubicBezTo>
                  <a:cubicBezTo>
                    <a:pt x="520186" y="630933"/>
                    <a:pt x="518892" y="630778"/>
                    <a:pt x="517935" y="630138"/>
                  </a:cubicBezTo>
                  <a:cubicBezTo>
                    <a:pt x="516740" y="629344"/>
                    <a:pt x="514749" y="629344"/>
                    <a:pt x="512365" y="628950"/>
                  </a:cubicBezTo>
                  <a:cubicBezTo>
                    <a:pt x="509981" y="628549"/>
                    <a:pt x="506000" y="626558"/>
                    <a:pt x="504804" y="625764"/>
                  </a:cubicBezTo>
                  <a:cubicBezTo>
                    <a:pt x="503616" y="624969"/>
                    <a:pt x="502420" y="622979"/>
                    <a:pt x="501225" y="619399"/>
                  </a:cubicBezTo>
                  <a:cubicBezTo>
                    <a:pt x="500036" y="615819"/>
                    <a:pt x="501225" y="614230"/>
                    <a:pt x="501626" y="611838"/>
                  </a:cubicBezTo>
                  <a:cubicBezTo>
                    <a:pt x="501942" y="609932"/>
                    <a:pt x="498306" y="609989"/>
                    <a:pt x="496456" y="610249"/>
                  </a:cubicBezTo>
                  <a:cubicBezTo>
                    <a:pt x="495528" y="610249"/>
                    <a:pt x="493510" y="610094"/>
                    <a:pt x="492869" y="609454"/>
                  </a:cubicBezTo>
                  <a:cubicBezTo>
                    <a:pt x="492075" y="608659"/>
                    <a:pt x="490886" y="608259"/>
                    <a:pt x="489290" y="607464"/>
                  </a:cubicBezTo>
                  <a:cubicBezTo>
                    <a:pt x="487700" y="606669"/>
                    <a:pt x="487306" y="605874"/>
                    <a:pt x="486905" y="605080"/>
                  </a:cubicBezTo>
                  <a:cubicBezTo>
                    <a:pt x="486505" y="604285"/>
                    <a:pt x="482531" y="603089"/>
                    <a:pt x="481335" y="603089"/>
                  </a:cubicBezTo>
                  <a:cubicBezTo>
                    <a:pt x="480140" y="603089"/>
                    <a:pt x="479345" y="602695"/>
                    <a:pt x="478951" y="603089"/>
                  </a:cubicBezTo>
                  <a:cubicBezTo>
                    <a:pt x="478550" y="603490"/>
                    <a:pt x="475371" y="604679"/>
                    <a:pt x="474176" y="605874"/>
                  </a:cubicBezTo>
                  <a:cubicBezTo>
                    <a:pt x="472980" y="607070"/>
                    <a:pt x="471390" y="607464"/>
                    <a:pt x="469400" y="608259"/>
                  </a:cubicBezTo>
                  <a:cubicBezTo>
                    <a:pt x="467417" y="609060"/>
                    <a:pt x="465426" y="609060"/>
                    <a:pt x="463830" y="610249"/>
                  </a:cubicBezTo>
                  <a:cubicBezTo>
                    <a:pt x="462241" y="611444"/>
                    <a:pt x="461052" y="610249"/>
                    <a:pt x="458267" y="611838"/>
                  </a:cubicBezTo>
                  <a:cubicBezTo>
                    <a:pt x="455482" y="613435"/>
                    <a:pt x="451107" y="611838"/>
                    <a:pt x="447921" y="611838"/>
                  </a:cubicBezTo>
                  <a:cubicBezTo>
                    <a:pt x="444742" y="611838"/>
                    <a:pt x="438771" y="613435"/>
                    <a:pt x="437575" y="613435"/>
                  </a:cubicBezTo>
                  <a:cubicBezTo>
                    <a:pt x="436387" y="613435"/>
                    <a:pt x="433602" y="615024"/>
                    <a:pt x="431611" y="616220"/>
                  </a:cubicBezTo>
                  <a:cubicBezTo>
                    <a:pt x="429621" y="617409"/>
                    <a:pt x="427237" y="618203"/>
                    <a:pt x="426041" y="619399"/>
                  </a:cubicBezTo>
                  <a:cubicBezTo>
                    <a:pt x="424853" y="620594"/>
                    <a:pt x="426041" y="629344"/>
                    <a:pt x="426041" y="630933"/>
                  </a:cubicBezTo>
                  <a:lnTo>
                    <a:pt x="426041" y="635708"/>
                  </a:lnTo>
                  <a:cubicBezTo>
                    <a:pt x="426041" y="637298"/>
                    <a:pt x="426041" y="636904"/>
                    <a:pt x="422068" y="636904"/>
                  </a:cubicBezTo>
                  <a:cubicBezTo>
                    <a:pt x="418882" y="636904"/>
                    <a:pt x="417292" y="635047"/>
                    <a:pt x="416891" y="634119"/>
                  </a:cubicBezTo>
                  <a:lnTo>
                    <a:pt x="416891" y="630138"/>
                  </a:lnTo>
                  <a:lnTo>
                    <a:pt x="416097" y="627353"/>
                  </a:lnTo>
                  <a:lnTo>
                    <a:pt x="414507" y="628549"/>
                  </a:lnTo>
                  <a:cubicBezTo>
                    <a:pt x="412650" y="629076"/>
                    <a:pt x="408775" y="630138"/>
                    <a:pt x="408142" y="630138"/>
                  </a:cubicBezTo>
                  <a:cubicBezTo>
                    <a:pt x="407502" y="630138"/>
                    <a:pt x="405491" y="630673"/>
                    <a:pt x="404562" y="630933"/>
                  </a:cubicBezTo>
                  <a:lnTo>
                    <a:pt x="401777" y="630138"/>
                  </a:lnTo>
                  <a:lnTo>
                    <a:pt x="397797" y="628549"/>
                  </a:lnTo>
                  <a:lnTo>
                    <a:pt x="389449" y="624174"/>
                  </a:lnTo>
                  <a:cubicBezTo>
                    <a:pt x="388914" y="623380"/>
                    <a:pt x="387852" y="621628"/>
                    <a:pt x="387852" y="620988"/>
                  </a:cubicBezTo>
                  <a:cubicBezTo>
                    <a:pt x="387852" y="620194"/>
                    <a:pt x="388647" y="618203"/>
                    <a:pt x="389449" y="617409"/>
                  </a:cubicBezTo>
                  <a:cubicBezTo>
                    <a:pt x="390243" y="616614"/>
                    <a:pt x="390637" y="615024"/>
                    <a:pt x="390637" y="613435"/>
                  </a:cubicBezTo>
                  <a:cubicBezTo>
                    <a:pt x="390637" y="611838"/>
                    <a:pt x="391432" y="611444"/>
                    <a:pt x="391432" y="610249"/>
                  </a:cubicBezTo>
                  <a:cubicBezTo>
                    <a:pt x="391432" y="609060"/>
                    <a:pt x="391832" y="608259"/>
                    <a:pt x="391432" y="607464"/>
                  </a:cubicBezTo>
                  <a:cubicBezTo>
                    <a:pt x="391038" y="606669"/>
                    <a:pt x="387057" y="606669"/>
                    <a:pt x="385868" y="605874"/>
                  </a:cubicBezTo>
                  <a:cubicBezTo>
                    <a:pt x="384673" y="605080"/>
                    <a:pt x="383878" y="602695"/>
                    <a:pt x="382683" y="600705"/>
                  </a:cubicBezTo>
                  <a:cubicBezTo>
                    <a:pt x="381726" y="599116"/>
                    <a:pt x="380432" y="594734"/>
                    <a:pt x="379898" y="592751"/>
                  </a:cubicBezTo>
                  <a:cubicBezTo>
                    <a:pt x="379898" y="591822"/>
                    <a:pt x="379736" y="589881"/>
                    <a:pt x="379103" y="589565"/>
                  </a:cubicBezTo>
                  <a:cubicBezTo>
                    <a:pt x="378470" y="589248"/>
                    <a:pt x="376451" y="590493"/>
                    <a:pt x="375523" y="591154"/>
                  </a:cubicBezTo>
                  <a:lnTo>
                    <a:pt x="363588" y="591154"/>
                  </a:lnTo>
                  <a:lnTo>
                    <a:pt x="363588" y="575639"/>
                  </a:lnTo>
                  <a:cubicBezTo>
                    <a:pt x="363588" y="574845"/>
                    <a:pt x="365972" y="572460"/>
                    <a:pt x="366373" y="572059"/>
                  </a:cubicBezTo>
                  <a:cubicBezTo>
                    <a:pt x="366774" y="571666"/>
                    <a:pt x="370354" y="566890"/>
                    <a:pt x="370354" y="566496"/>
                  </a:cubicBezTo>
                  <a:cubicBezTo>
                    <a:pt x="370354" y="566095"/>
                    <a:pt x="373934" y="562909"/>
                    <a:pt x="375523" y="561721"/>
                  </a:cubicBezTo>
                  <a:cubicBezTo>
                    <a:pt x="377113" y="560525"/>
                    <a:pt x="379103" y="557740"/>
                    <a:pt x="379103" y="556945"/>
                  </a:cubicBezTo>
                  <a:cubicBezTo>
                    <a:pt x="379103" y="556151"/>
                    <a:pt x="379898" y="551375"/>
                    <a:pt x="379898" y="550187"/>
                  </a:cubicBezTo>
                  <a:lnTo>
                    <a:pt x="379898" y="542626"/>
                  </a:lnTo>
                  <a:cubicBezTo>
                    <a:pt x="379898" y="542225"/>
                    <a:pt x="379103" y="533075"/>
                    <a:pt x="379103" y="532281"/>
                  </a:cubicBezTo>
                  <a:cubicBezTo>
                    <a:pt x="379103" y="531486"/>
                    <a:pt x="377907" y="530290"/>
                    <a:pt x="377513" y="529896"/>
                  </a:cubicBezTo>
                  <a:lnTo>
                    <a:pt x="373934" y="526317"/>
                  </a:lnTo>
                  <a:cubicBezTo>
                    <a:pt x="373139" y="525522"/>
                    <a:pt x="371149" y="522737"/>
                    <a:pt x="370354" y="521942"/>
                  </a:cubicBezTo>
                  <a:cubicBezTo>
                    <a:pt x="369559" y="521147"/>
                    <a:pt x="369158" y="519157"/>
                    <a:pt x="368757" y="517961"/>
                  </a:cubicBezTo>
                  <a:cubicBezTo>
                    <a:pt x="368363" y="516766"/>
                    <a:pt x="366373" y="517166"/>
                    <a:pt x="365177" y="516372"/>
                  </a:cubicBezTo>
                  <a:cubicBezTo>
                    <a:pt x="363989" y="515577"/>
                    <a:pt x="357223" y="519952"/>
                    <a:pt x="356829" y="519952"/>
                  </a:cubicBezTo>
                  <a:cubicBezTo>
                    <a:pt x="356505" y="519952"/>
                    <a:pt x="355099" y="519417"/>
                    <a:pt x="354438" y="519157"/>
                  </a:cubicBezTo>
                  <a:lnTo>
                    <a:pt x="350464" y="516372"/>
                  </a:lnTo>
                  <a:cubicBezTo>
                    <a:pt x="349001" y="516238"/>
                    <a:pt x="345928" y="515893"/>
                    <a:pt x="345288" y="515577"/>
                  </a:cubicBezTo>
                  <a:cubicBezTo>
                    <a:pt x="344493" y="515176"/>
                    <a:pt x="344493" y="512792"/>
                    <a:pt x="344493" y="512391"/>
                  </a:cubicBezTo>
                  <a:cubicBezTo>
                    <a:pt x="344493" y="511997"/>
                    <a:pt x="347278" y="509212"/>
                    <a:pt x="348073" y="508417"/>
                  </a:cubicBezTo>
                  <a:cubicBezTo>
                    <a:pt x="348868" y="507616"/>
                    <a:pt x="345288" y="504036"/>
                    <a:pt x="344493" y="502847"/>
                  </a:cubicBezTo>
                  <a:cubicBezTo>
                    <a:pt x="343698" y="501652"/>
                    <a:pt x="342109" y="500456"/>
                    <a:pt x="340119" y="498866"/>
                  </a:cubicBezTo>
                  <a:cubicBezTo>
                    <a:pt x="338529" y="497593"/>
                    <a:pt x="337868" y="498339"/>
                    <a:pt x="337734" y="498866"/>
                  </a:cubicBezTo>
                  <a:cubicBezTo>
                    <a:pt x="336539" y="499795"/>
                    <a:pt x="333831" y="501891"/>
                    <a:pt x="332558" y="502847"/>
                  </a:cubicBezTo>
                  <a:cubicBezTo>
                    <a:pt x="330968" y="504036"/>
                    <a:pt x="329379" y="505231"/>
                    <a:pt x="328183" y="505231"/>
                  </a:cubicBezTo>
                  <a:cubicBezTo>
                    <a:pt x="326995" y="505231"/>
                    <a:pt x="324604" y="502847"/>
                    <a:pt x="323809" y="502847"/>
                  </a:cubicBezTo>
                  <a:cubicBezTo>
                    <a:pt x="323014" y="502847"/>
                    <a:pt x="319434" y="500456"/>
                    <a:pt x="317845" y="499661"/>
                  </a:cubicBezTo>
                  <a:cubicBezTo>
                    <a:pt x="316248" y="498866"/>
                    <a:pt x="313864" y="502052"/>
                    <a:pt x="312274" y="502847"/>
                  </a:cubicBezTo>
                  <a:cubicBezTo>
                    <a:pt x="310678" y="503642"/>
                    <a:pt x="307499" y="506427"/>
                    <a:pt x="303919" y="508417"/>
                  </a:cubicBezTo>
                  <a:cubicBezTo>
                    <a:pt x="301057" y="510007"/>
                    <a:pt x="293707" y="516766"/>
                    <a:pt x="290395" y="519952"/>
                  </a:cubicBezTo>
                  <a:lnTo>
                    <a:pt x="280844" y="526317"/>
                  </a:lnTo>
                  <a:cubicBezTo>
                    <a:pt x="279522" y="526844"/>
                    <a:pt x="276554" y="527906"/>
                    <a:pt x="275281" y="527906"/>
                  </a:cubicBezTo>
                  <a:cubicBezTo>
                    <a:pt x="273684" y="527906"/>
                    <a:pt x="268114" y="522336"/>
                    <a:pt x="267720" y="521541"/>
                  </a:cubicBezTo>
                  <a:cubicBezTo>
                    <a:pt x="267319" y="520746"/>
                    <a:pt x="260561" y="520746"/>
                    <a:pt x="258971" y="519952"/>
                  </a:cubicBezTo>
                  <a:cubicBezTo>
                    <a:pt x="257698" y="519311"/>
                    <a:pt x="251010" y="518622"/>
                    <a:pt x="247831" y="518362"/>
                  </a:cubicBezTo>
                  <a:cubicBezTo>
                    <a:pt x="246769" y="518756"/>
                    <a:pt x="244406" y="519635"/>
                    <a:pt x="243456" y="519952"/>
                  </a:cubicBezTo>
                  <a:cubicBezTo>
                    <a:pt x="242261" y="520345"/>
                    <a:pt x="241466" y="522336"/>
                    <a:pt x="240671" y="522336"/>
                  </a:cubicBezTo>
                  <a:cubicBezTo>
                    <a:pt x="239876" y="522336"/>
                    <a:pt x="235896" y="527111"/>
                    <a:pt x="235101" y="527906"/>
                  </a:cubicBezTo>
                  <a:cubicBezTo>
                    <a:pt x="234306" y="528701"/>
                    <a:pt x="231521" y="530290"/>
                    <a:pt x="230726" y="529896"/>
                  </a:cubicBezTo>
                  <a:cubicBezTo>
                    <a:pt x="230086" y="529580"/>
                    <a:pt x="227540" y="524727"/>
                    <a:pt x="226352" y="522336"/>
                  </a:cubicBezTo>
                  <a:cubicBezTo>
                    <a:pt x="224495" y="523398"/>
                    <a:pt x="220620" y="525522"/>
                    <a:pt x="219987" y="525522"/>
                  </a:cubicBezTo>
                  <a:cubicBezTo>
                    <a:pt x="219185" y="525522"/>
                    <a:pt x="218791" y="525522"/>
                    <a:pt x="217202" y="524727"/>
                  </a:cubicBezTo>
                  <a:cubicBezTo>
                    <a:pt x="215605" y="523925"/>
                    <a:pt x="211632" y="525121"/>
                    <a:pt x="209641" y="524727"/>
                  </a:cubicBezTo>
                  <a:cubicBezTo>
                    <a:pt x="207651" y="524326"/>
                    <a:pt x="201687" y="524326"/>
                    <a:pt x="199697" y="523925"/>
                  </a:cubicBezTo>
                  <a:cubicBezTo>
                    <a:pt x="197706" y="523531"/>
                    <a:pt x="195322" y="523131"/>
                    <a:pt x="190153" y="522336"/>
                  </a:cubicBezTo>
                  <a:cubicBezTo>
                    <a:pt x="184976" y="521541"/>
                    <a:pt x="184583" y="519551"/>
                    <a:pt x="182592" y="518362"/>
                  </a:cubicBezTo>
                  <a:cubicBezTo>
                    <a:pt x="181003" y="517405"/>
                    <a:pt x="170791" y="512658"/>
                    <a:pt x="165882" y="510401"/>
                  </a:cubicBezTo>
                  <a:cubicBezTo>
                    <a:pt x="164426" y="509346"/>
                    <a:pt x="161268" y="507060"/>
                    <a:pt x="160311" y="506427"/>
                  </a:cubicBezTo>
                  <a:cubicBezTo>
                    <a:pt x="159123" y="505632"/>
                    <a:pt x="137243" y="491707"/>
                    <a:pt x="136842" y="491306"/>
                  </a:cubicBezTo>
                  <a:cubicBezTo>
                    <a:pt x="136448" y="490912"/>
                    <a:pt x="132468" y="487726"/>
                    <a:pt x="132074" y="486931"/>
                  </a:cubicBezTo>
                  <a:cubicBezTo>
                    <a:pt x="131673" y="486137"/>
                    <a:pt x="125308" y="484146"/>
                    <a:pt x="122924" y="482163"/>
                  </a:cubicBezTo>
                  <a:cubicBezTo>
                    <a:pt x="120532" y="480173"/>
                    <a:pt x="119738" y="482163"/>
                    <a:pt x="116953" y="482163"/>
                  </a:cubicBezTo>
                  <a:cubicBezTo>
                    <a:pt x="114730" y="482163"/>
                    <a:pt x="111783" y="483485"/>
                    <a:pt x="110588" y="484146"/>
                  </a:cubicBezTo>
                  <a:cubicBezTo>
                    <a:pt x="108998" y="483352"/>
                    <a:pt x="105658" y="481600"/>
                    <a:pt x="105017" y="480967"/>
                  </a:cubicBezTo>
                  <a:cubicBezTo>
                    <a:pt x="104223" y="480173"/>
                    <a:pt x="94278" y="473808"/>
                    <a:pt x="93089" y="473013"/>
                  </a:cubicBezTo>
                  <a:cubicBezTo>
                    <a:pt x="91894" y="472218"/>
                    <a:pt x="87519" y="470228"/>
                    <a:pt x="86324" y="469433"/>
                  </a:cubicBezTo>
                  <a:cubicBezTo>
                    <a:pt x="85128" y="468631"/>
                    <a:pt x="81155" y="466648"/>
                    <a:pt x="79959" y="465853"/>
                  </a:cubicBezTo>
                  <a:cubicBezTo>
                    <a:pt x="78763" y="465051"/>
                    <a:pt x="75978" y="461078"/>
                    <a:pt x="75183" y="460283"/>
                  </a:cubicBezTo>
                  <a:cubicBezTo>
                    <a:pt x="74389" y="459488"/>
                    <a:pt x="75183" y="450732"/>
                    <a:pt x="75183" y="450338"/>
                  </a:cubicBezTo>
                  <a:cubicBezTo>
                    <a:pt x="75183" y="449937"/>
                    <a:pt x="72398" y="449143"/>
                    <a:pt x="72398" y="447947"/>
                  </a:cubicBezTo>
                  <a:lnTo>
                    <a:pt x="72398" y="442778"/>
                  </a:lnTo>
                  <a:cubicBezTo>
                    <a:pt x="72398" y="441821"/>
                    <a:pt x="74255" y="441849"/>
                    <a:pt x="75183" y="441983"/>
                  </a:cubicBezTo>
                  <a:cubicBezTo>
                    <a:pt x="75978" y="442511"/>
                    <a:pt x="78053" y="443650"/>
                    <a:pt x="79959" y="443973"/>
                  </a:cubicBezTo>
                  <a:cubicBezTo>
                    <a:pt x="81872" y="444290"/>
                    <a:pt x="82610" y="443305"/>
                    <a:pt x="82744" y="442778"/>
                  </a:cubicBezTo>
                  <a:lnTo>
                    <a:pt x="82744" y="436413"/>
                  </a:lnTo>
                  <a:cubicBezTo>
                    <a:pt x="82744" y="435618"/>
                    <a:pt x="81155" y="432833"/>
                    <a:pt x="80753" y="432432"/>
                  </a:cubicBezTo>
                  <a:cubicBezTo>
                    <a:pt x="80360" y="432038"/>
                    <a:pt x="78369" y="428458"/>
                    <a:pt x="77574" y="427664"/>
                  </a:cubicBezTo>
                  <a:cubicBezTo>
                    <a:pt x="76780" y="426869"/>
                    <a:pt x="77574" y="419702"/>
                    <a:pt x="77574" y="418908"/>
                  </a:cubicBezTo>
                  <a:lnTo>
                    <a:pt x="77574" y="409758"/>
                  </a:lnTo>
                  <a:cubicBezTo>
                    <a:pt x="77574" y="408963"/>
                    <a:pt x="74389" y="405383"/>
                    <a:pt x="73594" y="404194"/>
                  </a:cubicBezTo>
                  <a:cubicBezTo>
                    <a:pt x="72799" y="402999"/>
                    <a:pt x="60470" y="389474"/>
                    <a:pt x="59274" y="389073"/>
                  </a:cubicBezTo>
                  <a:cubicBezTo>
                    <a:pt x="58079" y="388680"/>
                    <a:pt x="55695" y="387484"/>
                    <a:pt x="54105" y="386689"/>
                  </a:cubicBezTo>
                  <a:cubicBezTo>
                    <a:pt x="52509" y="385894"/>
                    <a:pt x="48535" y="385100"/>
                    <a:pt x="46946" y="384699"/>
                  </a:cubicBezTo>
                  <a:cubicBezTo>
                    <a:pt x="45349" y="384305"/>
                    <a:pt x="41376" y="383503"/>
                    <a:pt x="38984" y="382708"/>
                  </a:cubicBezTo>
                  <a:cubicBezTo>
                    <a:pt x="36600" y="381914"/>
                    <a:pt x="35805" y="377138"/>
                    <a:pt x="35404" y="375950"/>
                  </a:cubicBezTo>
                  <a:cubicBezTo>
                    <a:pt x="35010" y="374754"/>
                    <a:pt x="34216" y="369979"/>
                    <a:pt x="33414" y="368790"/>
                  </a:cubicBezTo>
                  <a:cubicBezTo>
                    <a:pt x="32619" y="367594"/>
                    <a:pt x="23469" y="359640"/>
                    <a:pt x="22281" y="358444"/>
                  </a:cubicBezTo>
                  <a:cubicBezTo>
                    <a:pt x="21085" y="357249"/>
                    <a:pt x="18300" y="352874"/>
                    <a:pt x="17906" y="351686"/>
                  </a:cubicBezTo>
                  <a:cubicBezTo>
                    <a:pt x="17505" y="350490"/>
                    <a:pt x="15916" y="344920"/>
                    <a:pt x="15916" y="343330"/>
                  </a:cubicBezTo>
                  <a:cubicBezTo>
                    <a:pt x="15916" y="341741"/>
                    <a:pt x="14720" y="332591"/>
                    <a:pt x="14326" y="332190"/>
                  </a:cubicBezTo>
                  <a:cubicBezTo>
                    <a:pt x="13925" y="331796"/>
                    <a:pt x="12730" y="330994"/>
                    <a:pt x="10739" y="330601"/>
                  </a:cubicBezTo>
                  <a:cubicBezTo>
                    <a:pt x="8756" y="330200"/>
                    <a:pt x="4775" y="329011"/>
                    <a:pt x="3580" y="328209"/>
                  </a:cubicBezTo>
                  <a:cubicBezTo>
                    <a:pt x="2391" y="327415"/>
                    <a:pt x="0" y="323441"/>
                    <a:pt x="0" y="322646"/>
                  </a:cubicBezTo>
                  <a:lnTo>
                    <a:pt x="0" y="312301"/>
                  </a:lnTo>
                  <a:cubicBezTo>
                    <a:pt x="0" y="311105"/>
                    <a:pt x="1196" y="307926"/>
                    <a:pt x="1990" y="305936"/>
                  </a:cubicBezTo>
                  <a:cubicBezTo>
                    <a:pt x="2785" y="303945"/>
                    <a:pt x="9150" y="299571"/>
                    <a:pt x="9945" y="298375"/>
                  </a:cubicBezTo>
                  <a:cubicBezTo>
                    <a:pt x="10739" y="297187"/>
                    <a:pt x="15515" y="295590"/>
                    <a:pt x="16710" y="294795"/>
                  </a:cubicBezTo>
                  <a:cubicBezTo>
                    <a:pt x="17906" y="294001"/>
                    <a:pt x="22281" y="293206"/>
                    <a:pt x="24665" y="292411"/>
                  </a:cubicBezTo>
                  <a:cubicBezTo>
                    <a:pt x="27049" y="291616"/>
                    <a:pt x="32619" y="292411"/>
                    <a:pt x="34610" y="292411"/>
                  </a:cubicBezTo>
                  <a:cubicBezTo>
                    <a:pt x="36600" y="292411"/>
                    <a:pt x="39385" y="291616"/>
                    <a:pt x="40180" y="290822"/>
                  </a:cubicBezTo>
                  <a:lnTo>
                    <a:pt x="47340" y="283662"/>
                  </a:lnTo>
                  <a:cubicBezTo>
                    <a:pt x="48613" y="282389"/>
                    <a:pt x="52382" y="281011"/>
                    <a:pt x="54105" y="280476"/>
                  </a:cubicBezTo>
                  <a:lnTo>
                    <a:pt x="64845" y="278486"/>
                  </a:lnTo>
                  <a:cubicBezTo>
                    <a:pt x="66033" y="277030"/>
                    <a:pt x="68502" y="273956"/>
                    <a:pt x="68819" y="273316"/>
                  </a:cubicBezTo>
                  <a:cubicBezTo>
                    <a:pt x="69219" y="272522"/>
                    <a:pt x="79164" y="268541"/>
                    <a:pt x="79959" y="267746"/>
                  </a:cubicBezTo>
                  <a:cubicBezTo>
                    <a:pt x="80753" y="266952"/>
                    <a:pt x="89510" y="262577"/>
                    <a:pt x="91099" y="261782"/>
                  </a:cubicBezTo>
                  <a:cubicBezTo>
                    <a:pt x="92689" y="260988"/>
                    <a:pt x="97464" y="257007"/>
                    <a:pt x="97858" y="255811"/>
                  </a:cubicBezTo>
                  <a:cubicBezTo>
                    <a:pt x="98182" y="254862"/>
                    <a:pt x="99053" y="245606"/>
                    <a:pt x="99455" y="241098"/>
                  </a:cubicBezTo>
                  <a:cubicBezTo>
                    <a:pt x="101571" y="238707"/>
                    <a:pt x="105819" y="233615"/>
                    <a:pt x="105819" y="232342"/>
                  </a:cubicBezTo>
                  <a:cubicBezTo>
                    <a:pt x="105819" y="230752"/>
                    <a:pt x="103428" y="226378"/>
                    <a:pt x="103428" y="225977"/>
                  </a:cubicBezTo>
                  <a:cubicBezTo>
                    <a:pt x="103428" y="225583"/>
                    <a:pt x="100249" y="216032"/>
                    <a:pt x="99455" y="213648"/>
                  </a:cubicBezTo>
                  <a:cubicBezTo>
                    <a:pt x="98653" y="211264"/>
                    <a:pt x="95474" y="202508"/>
                    <a:pt x="94679" y="200517"/>
                  </a:cubicBezTo>
                  <a:cubicBezTo>
                    <a:pt x="94039" y="198928"/>
                    <a:pt x="95741" y="198267"/>
                    <a:pt x="96669" y="198133"/>
                  </a:cubicBezTo>
                  <a:lnTo>
                    <a:pt x="107409" y="196143"/>
                  </a:lnTo>
                  <a:cubicBezTo>
                    <a:pt x="110588" y="195348"/>
                    <a:pt x="117431" y="193681"/>
                    <a:pt x="119344" y="193358"/>
                  </a:cubicBezTo>
                  <a:cubicBezTo>
                    <a:pt x="121250" y="193041"/>
                    <a:pt x="127298" y="188716"/>
                    <a:pt x="130083" y="186599"/>
                  </a:cubicBezTo>
                  <a:cubicBezTo>
                    <a:pt x="131539" y="184475"/>
                    <a:pt x="134774" y="179678"/>
                    <a:pt x="136047" y="177449"/>
                  </a:cubicBezTo>
                  <a:cubicBezTo>
                    <a:pt x="137320" y="175219"/>
                    <a:pt x="138699" y="165380"/>
                    <a:pt x="139234" y="160738"/>
                  </a:cubicBezTo>
                  <a:cubicBezTo>
                    <a:pt x="140823" y="156765"/>
                    <a:pt x="144241" y="148409"/>
                    <a:pt x="145198" y="146820"/>
                  </a:cubicBezTo>
                  <a:cubicBezTo>
                    <a:pt x="146393" y="144829"/>
                    <a:pt x="149178" y="147615"/>
                    <a:pt x="150367" y="147615"/>
                  </a:cubicBezTo>
                  <a:cubicBezTo>
                    <a:pt x="151562" y="147615"/>
                    <a:pt x="157132" y="149999"/>
                    <a:pt x="158328" y="150400"/>
                  </a:cubicBezTo>
                  <a:cubicBezTo>
                    <a:pt x="159517" y="150794"/>
                    <a:pt x="163891" y="152383"/>
                    <a:pt x="164693" y="152383"/>
                  </a:cubicBezTo>
                  <a:cubicBezTo>
                    <a:pt x="165326" y="152383"/>
                    <a:pt x="171058" y="153712"/>
                    <a:pt x="173836" y="154373"/>
                  </a:cubicBezTo>
                  <a:cubicBezTo>
                    <a:pt x="176094" y="151856"/>
                    <a:pt x="180602" y="146658"/>
                    <a:pt x="180602" y="146025"/>
                  </a:cubicBezTo>
                  <a:cubicBezTo>
                    <a:pt x="180602" y="145223"/>
                    <a:pt x="181003" y="133689"/>
                    <a:pt x="180602" y="132894"/>
                  </a:cubicBezTo>
                  <a:cubicBezTo>
                    <a:pt x="180201" y="132100"/>
                    <a:pt x="182191" y="123351"/>
                    <a:pt x="182986" y="120565"/>
                  </a:cubicBezTo>
                  <a:cubicBezTo>
                    <a:pt x="183626" y="118336"/>
                    <a:pt x="191475" y="119637"/>
                    <a:pt x="195322" y="120565"/>
                  </a:cubicBezTo>
                  <a:lnTo>
                    <a:pt x="206455" y="103454"/>
                  </a:lnTo>
                  <a:lnTo>
                    <a:pt x="213622" y="103454"/>
                  </a:lnTo>
                  <a:cubicBezTo>
                    <a:pt x="213882" y="104650"/>
                    <a:pt x="214417" y="107357"/>
                    <a:pt x="214417" y="108630"/>
                  </a:cubicBezTo>
                  <a:cubicBezTo>
                    <a:pt x="214417" y="110220"/>
                    <a:pt x="216006" y="115389"/>
                    <a:pt x="216407" y="116986"/>
                  </a:cubicBezTo>
                  <a:cubicBezTo>
                    <a:pt x="216801" y="118575"/>
                    <a:pt x="219987" y="121754"/>
                    <a:pt x="220782" y="123351"/>
                  </a:cubicBezTo>
                  <a:cubicBezTo>
                    <a:pt x="221576" y="124940"/>
                    <a:pt x="226746" y="127324"/>
                    <a:pt x="228335" y="128914"/>
                  </a:cubicBezTo>
                  <a:cubicBezTo>
                    <a:pt x="229932" y="130510"/>
                    <a:pt x="237091" y="132894"/>
                    <a:pt x="240270" y="133689"/>
                  </a:cubicBezTo>
                  <a:cubicBezTo>
                    <a:pt x="243456" y="134484"/>
                    <a:pt x="249026" y="137269"/>
                    <a:pt x="251010" y="138465"/>
                  </a:cubicBezTo>
                  <a:cubicBezTo>
                    <a:pt x="253000" y="139660"/>
                    <a:pt x="258570" y="149999"/>
                    <a:pt x="258570" y="151588"/>
                  </a:cubicBezTo>
                  <a:cubicBezTo>
                    <a:pt x="258570" y="153185"/>
                    <a:pt x="261355" y="155168"/>
                    <a:pt x="261355" y="158354"/>
                  </a:cubicBezTo>
                  <a:cubicBezTo>
                    <a:pt x="261355" y="161533"/>
                    <a:pt x="258570" y="165514"/>
                    <a:pt x="258570" y="167103"/>
                  </a:cubicBezTo>
                  <a:cubicBezTo>
                    <a:pt x="258570" y="168693"/>
                    <a:pt x="257375" y="175859"/>
                    <a:pt x="256981" y="177843"/>
                  </a:cubicBezTo>
                  <a:cubicBezTo>
                    <a:pt x="256580" y="179833"/>
                    <a:pt x="258169" y="185002"/>
                    <a:pt x="258570" y="187394"/>
                  </a:cubicBezTo>
                  <a:cubicBezTo>
                    <a:pt x="258971" y="189778"/>
                    <a:pt x="264534" y="190973"/>
                    <a:pt x="267319" y="192964"/>
                  </a:cubicBezTo>
                  <a:cubicBezTo>
                    <a:pt x="270104" y="194954"/>
                    <a:pt x="277665" y="194553"/>
                    <a:pt x="280049" y="195749"/>
                  </a:cubicBezTo>
                  <a:cubicBezTo>
                    <a:pt x="282440" y="196937"/>
                    <a:pt x="296760" y="197338"/>
                    <a:pt x="299545" y="197338"/>
                  </a:cubicBezTo>
                  <a:cubicBezTo>
                    <a:pt x="302281" y="197338"/>
                    <a:pt x="307324" y="203105"/>
                    <a:pt x="310137" y="206320"/>
                  </a:cubicBezTo>
                  <a:lnTo>
                    <a:pt x="310284" y="206488"/>
                  </a:lnTo>
                  <a:cubicBezTo>
                    <a:pt x="313069" y="209667"/>
                    <a:pt x="323809" y="213247"/>
                    <a:pt x="326193" y="213648"/>
                  </a:cubicBezTo>
                  <a:cubicBezTo>
                    <a:pt x="328584" y="214042"/>
                    <a:pt x="328584" y="215237"/>
                    <a:pt x="329379" y="216827"/>
                  </a:cubicBezTo>
                  <a:cubicBezTo>
                    <a:pt x="330174" y="218423"/>
                    <a:pt x="333753" y="230752"/>
                    <a:pt x="335744" y="233931"/>
                  </a:cubicBezTo>
                  <a:cubicBezTo>
                    <a:pt x="337734" y="237117"/>
                    <a:pt x="342904" y="243883"/>
                    <a:pt x="343698" y="245866"/>
                  </a:cubicBezTo>
                  <a:cubicBezTo>
                    <a:pt x="344493" y="247857"/>
                    <a:pt x="363588" y="245866"/>
                    <a:pt x="367168" y="245866"/>
                  </a:cubicBezTo>
                  <a:cubicBezTo>
                    <a:pt x="370747" y="245866"/>
                    <a:pt x="375122" y="248652"/>
                    <a:pt x="379504" y="248652"/>
                  </a:cubicBezTo>
                  <a:cubicBezTo>
                    <a:pt x="383878" y="248652"/>
                    <a:pt x="389842" y="251838"/>
                    <a:pt x="393823" y="251838"/>
                  </a:cubicBezTo>
                  <a:cubicBezTo>
                    <a:pt x="397797" y="251838"/>
                    <a:pt x="405758" y="249052"/>
                    <a:pt x="409732" y="248652"/>
                  </a:cubicBezTo>
                  <a:cubicBezTo>
                    <a:pt x="413713" y="248258"/>
                    <a:pt x="421266" y="250642"/>
                    <a:pt x="425247" y="250642"/>
                  </a:cubicBezTo>
                  <a:cubicBezTo>
                    <a:pt x="429227" y="250642"/>
                    <a:pt x="437575" y="257408"/>
                    <a:pt x="441957" y="260587"/>
                  </a:cubicBezTo>
                  <a:cubicBezTo>
                    <a:pt x="446332" y="263773"/>
                    <a:pt x="461052" y="262577"/>
                    <a:pt x="466221" y="262971"/>
                  </a:cubicBezTo>
                  <a:cubicBezTo>
                    <a:pt x="470356" y="263294"/>
                    <a:pt x="475104" y="267085"/>
                    <a:pt x="476961" y="268942"/>
                  </a:cubicBezTo>
                  <a:cubicBezTo>
                    <a:pt x="478817" y="267880"/>
                    <a:pt x="482770" y="265517"/>
                    <a:pt x="483726" y="264567"/>
                  </a:cubicBezTo>
                  <a:cubicBezTo>
                    <a:pt x="484915" y="263372"/>
                    <a:pt x="496850" y="257007"/>
                    <a:pt x="500831" y="256212"/>
                  </a:cubicBezTo>
                  <a:cubicBezTo>
                    <a:pt x="504804" y="255417"/>
                    <a:pt x="513561" y="252231"/>
                    <a:pt x="515945" y="251838"/>
                  </a:cubicBezTo>
                  <a:cubicBezTo>
                    <a:pt x="518329" y="251437"/>
                    <a:pt x="535834" y="251437"/>
                    <a:pt x="540209" y="250642"/>
                  </a:cubicBezTo>
                  <a:cubicBezTo>
                    <a:pt x="544583" y="249847"/>
                    <a:pt x="554134" y="244678"/>
                    <a:pt x="558108" y="242687"/>
                  </a:cubicBezTo>
                  <a:cubicBezTo>
                    <a:pt x="562089" y="240697"/>
                    <a:pt x="578799" y="225182"/>
                    <a:pt x="578799" y="223593"/>
                  </a:cubicBezTo>
                  <a:cubicBezTo>
                    <a:pt x="578799" y="222003"/>
                    <a:pt x="574024" y="211658"/>
                    <a:pt x="573229" y="210462"/>
                  </a:cubicBezTo>
                  <a:cubicBezTo>
                    <a:pt x="572434" y="209273"/>
                    <a:pt x="578799" y="199723"/>
                    <a:pt x="580783" y="198133"/>
                  </a:cubicBezTo>
                  <a:cubicBezTo>
                    <a:pt x="582773" y="196544"/>
                    <a:pt x="588744" y="197732"/>
                    <a:pt x="589932" y="198133"/>
                  </a:cubicBezTo>
                  <a:cubicBezTo>
                    <a:pt x="591128" y="198534"/>
                    <a:pt x="597092" y="200517"/>
                    <a:pt x="599083" y="200918"/>
                  </a:cubicBezTo>
                  <a:cubicBezTo>
                    <a:pt x="601073" y="201312"/>
                    <a:pt x="604653" y="202114"/>
                    <a:pt x="605849" y="202114"/>
                  </a:cubicBezTo>
                  <a:cubicBezTo>
                    <a:pt x="607037" y="202114"/>
                    <a:pt x="615793" y="195348"/>
                    <a:pt x="616187" y="194553"/>
                  </a:cubicBezTo>
                  <a:cubicBezTo>
                    <a:pt x="616588" y="193758"/>
                    <a:pt x="625337" y="188589"/>
                    <a:pt x="626132" y="188188"/>
                  </a:cubicBezTo>
                  <a:cubicBezTo>
                    <a:pt x="626934" y="187787"/>
                    <a:pt x="631702" y="186198"/>
                    <a:pt x="634888" y="186198"/>
                  </a:cubicBezTo>
                  <a:cubicBezTo>
                    <a:pt x="638067" y="186198"/>
                    <a:pt x="642047" y="182618"/>
                    <a:pt x="642842" y="181823"/>
                  </a:cubicBezTo>
                  <a:cubicBezTo>
                    <a:pt x="643637" y="181029"/>
                    <a:pt x="652787" y="171478"/>
                    <a:pt x="653983" y="169494"/>
                  </a:cubicBezTo>
                  <a:cubicBezTo>
                    <a:pt x="655171" y="167504"/>
                    <a:pt x="665911" y="162335"/>
                    <a:pt x="667901" y="160738"/>
                  </a:cubicBezTo>
                  <a:cubicBezTo>
                    <a:pt x="669892" y="159149"/>
                    <a:pt x="691370" y="160344"/>
                    <a:pt x="694950" y="160738"/>
                  </a:cubicBezTo>
                  <a:cubicBezTo>
                    <a:pt x="698530" y="161139"/>
                    <a:pt x="701716" y="157953"/>
                    <a:pt x="702117" y="155970"/>
                  </a:cubicBezTo>
                  <a:cubicBezTo>
                    <a:pt x="702511" y="153980"/>
                    <a:pt x="696146" y="149204"/>
                    <a:pt x="693361" y="145223"/>
                  </a:cubicBezTo>
                  <a:cubicBezTo>
                    <a:pt x="691138" y="142044"/>
                    <a:pt x="680237" y="134350"/>
                    <a:pt x="675061" y="130904"/>
                  </a:cubicBezTo>
                  <a:cubicBezTo>
                    <a:pt x="672149" y="133162"/>
                    <a:pt x="665517" y="137986"/>
                    <a:pt x="662331" y="139259"/>
                  </a:cubicBezTo>
                  <a:cubicBezTo>
                    <a:pt x="659152" y="140532"/>
                    <a:pt x="657295" y="137670"/>
                    <a:pt x="656768" y="136073"/>
                  </a:cubicBezTo>
                  <a:cubicBezTo>
                    <a:pt x="653448" y="136341"/>
                    <a:pt x="645465" y="136713"/>
                    <a:pt x="640057" y="136073"/>
                  </a:cubicBezTo>
                  <a:cubicBezTo>
                    <a:pt x="634649" y="135440"/>
                    <a:pt x="637807" y="123351"/>
                    <a:pt x="640057" y="117379"/>
                  </a:cubicBezTo>
                  <a:lnTo>
                    <a:pt x="655171" y="88340"/>
                  </a:lnTo>
                  <a:lnTo>
                    <a:pt x="662331" y="91920"/>
                  </a:lnTo>
                  <a:cubicBezTo>
                    <a:pt x="665250" y="93249"/>
                    <a:pt x="671565" y="95901"/>
                    <a:pt x="673471" y="95901"/>
                  </a:cubicBezTo>
                  <a:cubicBezTo>
                    <a:pt x="675384" y="95901"/>
                    <a:pt x="687530" y="87412"/>
                    <a:pt x="693361" y="83171"/>
                  </a:cubicBezTo>
                  <a:lnTo>
                    <a:pt x="693361" y="72030"/>
                  </a:lnTo>
                  <a:cubicBezTo>
                    <a:pt x="693361" y="70835"/>
                    <a:pt x="702511" y="55327"/>
                    <a:pt x="704895" y="51346"/>
                  </a:cubicBezTo>
                  <a:cubicBezTo>
                    <a:pt x="706808" y="48160"/>
                    <a:pt x="712589" y="41802"/>
                    <a:pt x="715241" y="39017"/>
                  </a:cubicBezTo>
                  <a:lnTo>
                    <a:pt x="715241" y="23502"/>
                  </a:lnTo>
                  <a:lnTo>
                    <a:pt x="707286" y="17932"/>
                  </a:lnTo>
                  <a:lnTo>
                    <a:pt x="717231" y="7987"/>
                  </a:lnTo>
                  <a:cubicBezTo>
                    <a:pt x="719221" y="5997"/>
                    <a:pt x="727176" y="3613"/>
                    <a:pt x="731550" y="1623"/>
                  </a:cubicBezTo>
                  <a:cubicBezTo>
                    <a:pt x="735925" y="-368"/>
                    <a:pt x="747860" y="33"/>
                    <a:pt x="753824" y="33"/>
                  </a:cubicBezTo>
                  <a:cubicBezTo>
                    <a:pt x="759795" y="33"/>
                    <a:pt x="768945" y="2818"/>
                    <a:pt x="771730" y="3613"/>
                  </a:cubicBezTo>
                  <a:cubicBezTo>
                    <a:pt x="774515" y="4408"/>
                    <a:pt x="778890" y="6792"/>
                    <a:pt x="785255" y="9978"/>
                  </a:cubicBezTo>
                  <a:cubicBezTo>
                    <a:pt x="791619" y="13157"/>
                    <a:pt x="796789" y="24297"/>
                    <a:pt x="797583" y="26681"/>
                  </a:cubicBezTo>
                  <a:cubicBezTo>
                    <a:pt x="798378" y="29073"/>
                    <a:pt x="803154" y="39812"/>
                    <a:pt x="804349" y="44580"/>
                  </a:cubicBezTo>
                  <a:cubicBezTo>
                    <a:pt x="805538" y="49356"/>
                    <a:pt x="811509" y="56916"/>
                    <a:pt x="813893" y="62487"/>
                  </a:cubicBezTo>
                  <a:cubicBezTo>
                    <a:pt x="816285" y="68057"/>
                    <a:pt x="820258" y="87946"/>
                    <a:pt x="821053" y="90330"/>
                  </a:cubicBezTo>
                  <a:cubicBezTo>
                    <a:pt x="821847" y="92715"/>
                    <a:pt x="827819" y="93910"/>
                    <a:pt x="829408" y="94705"/>
                  </a:cubicBezTo>
                  <a:cubicBezTo>
                    <a:pt x="830998" y="95500"/>
                    <a:pt x="841343" y="96695"/>
                    <a:pt x="844923" y="97891"/>
                  </a:cubicBezTo>
                  <a:cubicBezTo>
                    <a:pt x="848503" y="99079"/>
                    <a:pt x="851288" y="101865"/>
                    <a:pt x="853278" y="104650"/>
                  </a:cubicBezTo>
                  <a:cubicBezTo>
                    <a:pt x="855269" y="107435"/>
                    <a:pt x="864813" y="113005"/>
                    <a:pt x="867197" y="118575"/>
                  </a:cubicBezTo>
                  <a:cubicBezTo>
                    <a:pt x="869110" y="123027"/>
                    <a:pt x="870383" y="130770"/>
                    <a:pt x="870777" y="134090"/>
                  </a:cubicBezTo>
                  <a:cubicBezTo>
                    <a:pt x="875953" y="134751"/>
                    <a:pt x="887009" y="136158"/>
                    <a:pt x="889871" y="136474"/>
                  </a:cubicBezTo>
                  <a:cubicBezTo>
                    <a:pt x="892741" y="136791"/>
                    <a:pt x="896370" y="135018"/>
                    <a:pt x="897833" y="134090"/>
                  </a:cubicBezTo>
                  <a:cubicBezTo>
                    <a:pt x="901279" y="132233"/>
                    <a:pt x="908889" y="128119"/>
                    <a:pt x="911751" y="126529"/>
                  </a:cubicBezTo>
                  <a:cubicBezTo>
                    <a:pt x="915331" y="124539"/>
                    <a:pt x="922097" y="123351"/>
                    <a:pt x="923686" y="123351"/>
                  </a:cubicBezTo>
                  <a:lnTo>
                    <a:pt x="931641" y="123351"/>
                  </a:lnTo>
                  <a:cubicBezTo>
                    <a:pt x="931113" y="125467"/>
                    <a:pt x="929650" y="130588"/>
                    <a:pt x="928061" y="134090"/>
                  </a:cubicBezTo>
                  <a:cubicBezTo>
                    <a:pt x="926071" y="138465"/>
                    <a:pt x="919705" y="149605"/>
                    <a:pt x="918911" y="151989"/>
                  </a:cubicBezTo>
                  <a:cubicBezTo>
                    <a:pt x="918116" y="154373"/>
                    <a:pt x="917321" y="157953"/>
                    <a:pt x="916527" y="161139"/>
                  </a:cubicBezTo>
                  <a:cubicBezTo>
                    <a:pt x="915732" y="164318"/>
                    <a:pt x="908572" y="183019"/>
                    <a:pt x="908171" y="184208"/>
                  </a:cubicBezTo>
                  <a:cubicBezTo>
                    <a:pt x="907777" y="185403"/>
                    <a:pt x="904198" y="192964"/>
                    <a:pt x="903396" y="195348"/>
                  </a:cubicBezTo>
                  <a:cubicBezTo>
                    <a:pt x="902601" y="197732"/>
                    <a:pt x="894647" y="192964"/>
                    <a:pt x="889871" y="192964"/>
                  </a:cubicBezTo>
                  <a:cubicBezTo>
                    <a:pt x="885103" y="192964"/>
                    <a:pt x="879132" y="194954"/>
                    <a:pt x="877943" y="195348"/>
                  </a:cubicBezTo>
                  <a:cubicBezTo>
                    <a:pt x="876748" y="195749"/>
                    <a:pt x="873962" y="197732"/>
                    <a:pt x="872767" y="200517"/>
                  </a:cubicBezTo>
                  <a:cubicBezTo>
                    <a:pt x="871810" y="202747"/>
                    <a:pt x="874490" y="205694"/>
                    <a:pt x="875953" y="206882"/>
                  </a:cubicBezTo>
                  <a:lnTo>
                    <a:pt x="875953" y="239108"/>
                  </a:lnTo>
                  <a:cubicBezTo>
                    <a:pt x="875953" y="240697"/>
                    <a:pt x="870383" y="243215"/>
                    <a:pt x="867598" y="244277"/>
                  </a:cubicBezTo>
                  <a:lnTo>
                    <a:pt x="867598" y="253828"/>
                  </a:lnTo>
                  <a:lnTo>
                    <a:pt x="856064" y="242287"/>
                  </a:lnTo>
                  <a:cubicBezTo>
                    <a:pt x="855135" y="244143"/>
                    <a:pt x="853194" y="248096"/>
                    <a:pt x="852877" y="249052"/>
                  </a:cubicBezTo>
                  <a:cubicBezTo>
                    <a:pt x="852483" y="250248"/>
                    <a:pt x="849298" y="252231"/>
                    <a:pt x="847307" y="253828"/>
                  </a:cubicBezTo>
                  <a:cubicBezTo>
                    <a:pt x="845324" y="255417"/>
                    <a:pt x="843334" y="255016"/>
                    <a:pt x="841737" y="255811"/>
                  </a:cubicBezTo>
                  <a:cubicBezTo>
                    <a:pt x="840147" y="256606"/>
                    <a:pt x="835379" y="258596"/>
                    <a:pt x="829809" y="260193"/>
                  </a:cubicBezTo>
                  <a:cubicBezTo>
                    <a:pt x="824239" y="261782"/>
                    <a:pt x="827024" y="264961"/>
                    <a:pt x="827024" y="266157"/>
                  </a:cubicBezTo>
                  <a:cubicBezTo>
                    <a:pt x="827024" y="267352"/>
                    <a:pt x="829809" y="269737"/>
                    <a:pt x="829809" y="272522"/>
                  </a:cubicBezTo>
                  <a:cubicBezTo>
                    <a:pt x="829809" y="275307"/>
                    <a:pt x="823444" y="273316"/>
                    <a:pt x="819864" y="272522"/>
                  </a:cubicBezTo>
                  <a:cubicBezTo>
                    <a:pt x="816995" y="271882"/>
                    <a:pt x="810447" y="267219"/>
                    <a:pt x="807528" y="264961"/>
                  </a:cubicBezTo>
                  <a:cubicBezTo>
                    <a:pt x="805805" y="268281"/>
                    <a:pt x="802197" y="275145"/>
                    <a:pt x="801564" y="276102"/>
                  </a:cubicBezTo>
                  <a:cubicBezTo>
                    <a:pt x="800770" y="277297"/>
                    <a:pt x="789228" y="284851"/>
                    <a:pt x="787245" y="28604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6" name="Freihandform: Form 11">
              <a:extLst>
                <a:ext uri="{FF2B5EF4-FFF2-40B4-BE49-F238E27FC236}">
                  <a16:creationId xmlns:a16="http://schemas.microsoft.com/office/drawing/2014/main" id="{0F2480E8-60A1-5742-AE2D-77B47F79329E}"/>
                </a:ext>
              </a:extLst>
            </p:cNvPr>
            <p:cNvSpPr/>
            <p:nvPr/>
          </p:nvSpPr>
          <p:spPr>
            <a:xfrm>
              <a:off x="7831215" y="4198088"/>
              <a:ext cx="35962" cy="29997"/>
            </a:xfrm>
            <a:custGeom>
              <a:avLst/>
              <a:gdLst>
                <a:gd name="connsiteX0" fmla="*/ 32382 w 35962"/>
                <a:gd name="connsiteY0" fmla="*/ 163 h 29997"/>
                <a:gd name="connsiteX1" fmla="*/ 25223 w 35962"/>
                <a:gd name="connsiteY1" fmla="*/ 2146 h 29997"/>
                <a:gd name="connsiteX2" fmla="*/ 19652 w 35962"/>
                <a:gd name="connsiteY2" fmla="*/ 1352 h 29997"/>
                <a:gd name="connsiteX3" fmla="*/ 12887 w 35962"/>
                <a:gd name="connsiteY3" fmla="*/ 3342 h 29997"/>
                <a:gd name="connsiteX4" fmla="*/ 6522 w 35962"/>
                <a:gd name="connsiteY4" fmla="*/ 8912 h 29997"/>
                <a:gd name="connsiteX5" fmla="*/ 1352 w 35962"/>
                <a:gd name="connsiteY5" fmla="*/ 13688 h 29997"/>
                <a:gd name="connsiteX6" fmla="*/ 1352 w 35962"/>
                <a:gd name="connsiteY6" fmla="*/ 13688 h 29997"/>
                <a:gd name="connsiteX7" fmla="*/ 157 w 35962"/>
                <a:gd name="connsiteY7" fmla="*/ 23232 h 29997"/>
                <a:gd name="connsiteX8" fmla="*/ 6522 w 35962"/>
                <a:gd name="connsiteY8" fmla="*/ 28802 h 29997"/>
                <a:gd name="connsiteX9" fmla="*/ 15278 w 35962"/>
                <a:gd name="connsiteY9" fmla="*/ 29997 h 29997"/>
                <a:gd name="connsiteX10" fmla="*/ 20841 w 35962"/>
                <a:gd name="connsiteY10" fmla="*/ 26418 h 29997"/>
                <a:gd name="connsiteX11" fmla="*/ 28401 w 35962"/>
                <a:gd name="connsiteY11" fmla="*/ 21642 h 29997"/>
                <a:gd name="connsiteX12" fmla="*/ 30392 w 35962"/>
                <a:gd name="connsiteY12" fmla="*/ 13688 h 29997"/>
                <a:gd name="connsiteX13" fmla="*/ 35962 w 35962"/>
                <a:gd name="connsiteY13" fmla="*/ 4932 h 29997"/>
                <a:gd name="connsiteX14" fmla="*/ 32382 w 35962"/>
                <a:gd name="connsiteY14" fmla="*/ 163 h 29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962" h="29997">
                  <a:moveTo>
                    <a:pt x="32382" y="163"/>
                  </a:moveTo>
                  <a:cubicBezTo>
                    <a:pt x="31587" y="-639"/>
                    <a:pt x="27607" y="1753"/>
                    <a:pt x="25223" y="2146"/>
                  </a:cubicBezTo>
                  <a:lnTo>
                    <a:pt x="19652" y="1352"/>
                  </a:lnTo>
                  <a:cubicBezTo>
                    <a:pt x="18189" y="1619"/>
                    <a:pt x="14800" y="2386"/>
                    <a:pt x="12887" y="3342"/>
                  </a:cubicBezTo>
                  <a:cubicBezTo>
                    <a:pt x="10502" y="4538"/>
                    <a:pt x="8118" y="7717"/>
                    <a:pt x="6522" y="8912"/>
                  </a:cubicBezTo>
                  <a:cubicBezTo>
                    <a:pt x="4932" y="10108"/>
                    <a:pt x="3343" y="11697"/>
                    <a:pt x="1352" y="13688"/>
                  </a:cubicBezTo>
                  <a:lnTo>
                    <a:pt x="1352" y="13688"/>
                  </a:lnTo>
                  <a:cubicBezTo>
                    <a:pt x="-638" y="15671"/>
                    <a:pt x="157" y="21642"/>
                    <a:pt x="157" y="23232"/>
                  </a:cubicBezTo>
                  <a:cubicBezTo>
                    <a:pt x="157" y="24821"/>
                    <a:pt x="4932" y="28401"/>
                    <a:pt x="6522" y="28802"/>
                  </a:cubicBezTo>
                  <a:cubicBezTo>
                    <a:pt x="8118" y="29203"/>
                    <a:pt x="13287" y="29997"/>
                    <a:pt x="15278" y="29997"/>
                  </a:cubicBezTo>
                  <a:cubicBezTo>
                    <a:pt x="17261" y="29997"/>
                    <a:pt x="20046" y="27212"/>
                    <a:pt x="20841" y="26418"/>
                  </a:cubicBezTo>
                  <a:cubicBezTo>
                    <a:pt x="21643" y="25623"/>
                    <a:pt x="27607" y="22437"/>
                    <a:pt x="28401" y="21642"/>
                  </a:cubicBezTo>
                  <a:cubicBezTo>
                    <a:pt x="29196" y="20847"/>
                    <a:pt x="29991" y="14482"/>
                    <a:pt x="30392" y="13688"/>
                  </a:cubicBezTo>
                  <a:cubicBezTo>
                    <a:pt x="30793" y="12893"/>
                    <a:pt x="35962" y="6528"/>
                    <a:pt x="35962" y="4932"/>
                  </a:cubicBezTo>
                  <a:cubicBezTo>
                    <a:pt x="35962" y="3342"/>
                    <a:pt x="33177" y="958"/>
                    <a:pt x="32382" y="16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7" name="Freihandform: Form 12">
              <a:extLst>
                <a:ext uri="{FF2B5EF4-FFF2-40B4-BE49-F238E27FC236}">
                  <a16:creationId xmlns:a16="http://schemas.microsoft.com/office/drawing/2014/main" id="{8683A068-BD06-6F49-9209-43FAB0CA8921}"/>
                </a:ext>
              </a:extLst>
            </p:cNvPr>
            <p:cNvSpPr/>
            <p:nvPr/>
          </p:nvSpPr>
          <p:spPr>
            <a:xfrm>
              <a:off x="7219961" y="3931234"/>
              <a:ext cx="438876" cy="449401"/>
            </a:xfrm>
            <a:custGeom>
              <a:avLst/>
              <a:gdLst>
                <a:gd name="connsiteX0" fmla="*/ 142215 w 438876"/>
                <a:gd name="connsiteY0" fmla="*/ 0 h 449401"/>
                <a:gd name="connsiteX1" fmla="*/ 121355 w 438876"/>
                <a:gd name="connsiteY1" fmla="*/ 14411 h 449401"/>
                <a:gd name="connsiteX2" fmla="*/ 101283 w 438876"/>
                <a:gd name="connsiteY2" fmla="*/ 13616 h 449401"/>
                <a:gd name="connsiteX3" fmla="*/ 84762 w 438876"/>
                <a:gd name="connsiteY3" fmla="*/ 14411 h 449401"/>
                <a:gd name="connsiteX4" fmla="*/ 83011 w 438876"/>
                <a:gd name="connsiteY4" fmla="*/ 17315 h 449401"/>
                <a:gd name="connsiteX5" fmla="*/ 84762 w 438876"/>
                <a:gd name="connsiteY5" fmla="*/ 38281 h 449401"/>
                <a:gd name="connsiteX6" fmla="*/ 99876 w 438876"/>
                <a:gd name="connsiteY6" fmla="*/ 55385 h 449401"/>
                <a:gd name="connsiteX7" fmla="*/ 90726 w 438876"/>
                <a:gd name="connsiteY7" fmla="*/ 64936 h 449401"/>
                <a:gd name="connsiteX8" fmla="*/ 90726 w 438876"/>
                <a:gd name="connsiteY8" fmla="*/ 81246 h 449401"/>
                <a:gd name="connsiteX9" fmla="*/ 79192 w 438876"/>
                <a:gd name="connsiteY9" fmla="*/ 95959 h 449401"/>
                <a:gd name="connsiteX10" fmla="*/ 78313 w 438876"/>
                <a:gd name="connsiteY10" fmla="*/ 97183 h 449401"/>
                <a:gd name="connsiteX11" fmla="*/ 70837 w 438876"/>
                <a:gd name="connsiteY11" fmla="*/ 108295 h 449401"/>
                <a:gd name="connsiteX12" fmla="*/ 50553 w 438876"/>
                <a:gd name="connsiteY12" fmla="*/ 132559 h 449401"/>
                <a:gd name="connsiteX13" fmla="*/ 31058 w 438876"/>
                <a:gd name="connsiteY13" fmla="*/ 132559 h 449401"/>
                <a:gd name="connsiteX14" fmla="*/ 15543 w 438876"/>
                <a:gd name="connsiteY14" fmla="*/ 147673 h 449401"/>
                <a:gd name="connsiteX15" fmla="*/ 23898 w 438876"/>
                <a:gd name="connsiteY15" fmla="*/ 156429 h 449401"/>
                <a:gd name="connsiteX16" fmla="*/ 27077 w 438876"/>
                <a:gd name="connsiteY16" fmla="*/ 170348 h 449401"/>
                <a:gd name="connsiteX17" fmla="*/ 37423 w 438876"/>
                <a:gd name="connsiteY17" fmla="*/ 181889 h 449401"/>
                <a:gd name="connsiteX18" fmla="*/ 37423 w 438876"/>
                <a:gd name="connsiteY18" fmla="*/ 194218 h 449401"/>
                <a:gd name="connsiteX19" fmla="*/ 9973 w 438876"/>
                <a:gd name="connsiteY19" fmla="*/ 194218 h 449401"/>
                <a:gd name="connsiteX20" fmla="*/ 9973 w 438876"/>
                <a:gd name="connsiteY20" fmla="*/ 202967 h 449401"/>
                <a:gd name="connsiteX21" fmla="*/ 6407 w 438876"/>
                <a:gd name="connsiteY21" fmla="*/ 204824 h 449401"/>
                <a:gd name="connsiteX22" fmla="*/ 2419 w 438876"/>
                <a:gd name="connsiteY22" fmla="*/ 213706 h 449401"/>
                <a:gd name="connsiteX23" fmla="*/ 17533 w 438876"/>
                <a:gd name="connsiteY23" fmla="*/ 220472 h 449401"/>
                <a:gd name="connsiteX24" fmla="*/ 31058 w 438876"/>
                <a:gd name="connsiteY24" fmla="*/ 213706 h 449401"/>
                <a:gd name="connsiteX25" fmla="*/ 27077 w 438876"/>
                <a:gd name="connsiteY25" fmla="*/ 224453 h 449401"/>
                <a:gd name="connsiteX26" fmla="*/ 9973 w 438876"/>
                <a:gd name="connsiteY26" fmla="*/ 227231 h 449401"/>
                <a:gd name="connsiteX27" fmla="*/ 12364 w 438876"/>
                <a:gd name="connsiteY27" fmla="*/ 235192 h 449401"/>
                <a:gd name="connsiteX28" fmla="*/ 27077 w 438876"/>
                <a:gd name="connsiteY28" fmla="*/ 249906 h 449401"/>
                <a:gd name="connsiteX29" fmla="*/ 37423 w 438876"/>
                <a:gd name="connsiteY29" fmla="*/ 253886 h 449401"/>
                <a:gd name="connsiteX30" fmla="*/ 50553 w 438876"/>
                <a:gd name="connsiteY30" fmla="*/ 249906 h 449401"/>
                <a:gd name="connsiteX31" fmla="*/ 56517 w 438876"/>
                <a:gd name="connsiteY31" fmla="*/ 237183 h 449401"/>
                <a:gd name="connsiteX32" fmla="*/ 59696 w 438876"/>
                <a:gd name="connsiteY32" fmla="*/ 227231 h 449401"/>
                <a:gd name="connsiteX33" fmla="*/ 63677 w 438876"/>
                <a:gd name="connsiteY33" fmla="*/ 230818 h 449401"/>
                <a:gd name="connsiteX34" fmla="*/ 65667 w 438876"/>
                <a:gd name="connsiteY34" fmla="*/ 252691 h 449401"/>
                <a:gd name="connsiteX35" fmla="*/ 65365 w 438876"/>
                <a:gd name="connsiteY35" fmla="*/ 264921 h 449401"/>
                <a:gd name="connsiteX36" fmla="*/ 63677 w 438876"/>
                <a:gd name="connsiteY36" fmla="*/ 275766 h 449401"/>
                <a:gd name="connsiteX37" fmla="*/ 66321 w 438876"/>
                <a:gd name="connsiteY37" fmla="*/ 291379 h 449401"/>
                <a:gd name="connsiteX38" fmla="*/ 70837 w 438876"/>
                <a:gd name="connsiteY38" fmla="*/ 313956 h 449401"/>
                <a:gd name="connsiteX39" fmla="*/ 79009 w 438876"/>
                <a:gd name="connsiteY39" fmla="*/ 330096 h 449401"/>
                <a:gd name="connsiteX40" fmla="*/ 82772 w 438876"/>
                <a:gd name="connsiteY40" fmla="*/ 337819 h 449401"/>
                <a:gd name="connsiteX41" fmla="*/ 94707 w 438876"/>
                <a:gd name="connsiteY41" fmla="*/ 362484 h 449401"/>
                <a:gd name="connsiteX42" fmla="*/ 101466 w 438876"/>
                <a:gd name="connsiteY42" fmla="*/ 386354 h 449401"/>
                <a:gd name="connsiteX43" fmla="*/ 110222 w 438876"/>
                <a:gd name="connsiteY43" fmla="*/ 400279 h 449401"/>
                <a:gd name="connsiteX44" fmla="*/ 119372 w 438876"/>
                <a:gd name="connsiteY44" fmla="*/ 419367 h 449401"/>
                <a:gd name="connsiteX45" fmla="*/ 119372 w 438876"/>
                <a:gd name="connsiteY45" fmla="*/ 431302 h 449401"/>
                <a:gd name="connsiteX46" fmla="*/ 126531 w 438876"/>
                <a:gd name="connsiteY46" fmla="*/ 445227 h 449401"/>
                <a:gd name="connsiteX47" fmla="*/ 134486 w 438876"/>
                <a:gd name="connsiteY47" fmla="*/ 449208 h 449401"/>
                <a:gd name="connsiteX48" fmla="*/ 147215 w 438876"/>
                <a:gd name="connsiteY48" fmla="*/ 441247 h 449401"/>
                <a:gd name="connsiteX49" fmla="*/ 156380 w 438876"/>
                <a:gd name="connsiteY49" fmla="*/ 428749 h 449401"/>
                <a:gd name="connsiteX50" fmla="*/ 156760 w 438876"/>
                <a:gd name="connsiteY50" fmla="*/ 428517 h 449401"/>
                <a:gd name="connsiteX51" fmla="*/ 165515 w 438876"/>
                <a:gd name="connsiteY51" fmla="*/ 419367 h 449401"/>
                <a:gd name="connsiteX52" fmla="*/ 171881 w 438876"/>
                <a:gd name="connsiteY52" fmla="*/ 419367 h 449401"/>
                <a:gd name="connsiteX53" fmla="*/ 171881 w 438876"/>
                <a:gd name="connsiteY53" fmla="*/ 395103 h 449401"/>
                <a:gd name="connsiteX54" fmla="*/ 177444 w 438876"/>
                <a:gd name="connsiteY54" fmla="*/ 386354 h 449401"/>
                <a:gd name="connsiteX55" fmla="*/ 180630 w 438876"/>
                <a:gd name="connsiteY55" fmla="*/ 366063 h 449401"/>
                <a:gd name="connsiteX56" fmla="*/ 179539 w 438876"/>
                <a:gd name="connsiteY56" fmla="*/ 360669 h 449401"/>
                <a:gd name="connsiteX57" fmla="*/ 177444 w 438876"/>
                <a:gd name="connsiteY57" fmla="*/ 343389 h 449401"/>
                <a:gd name="connsiteX58" fmla="*/ 186994 w 438876"/>
                <a:gd name="connsiteY58" fmla="*/ 331060 h 449401"/>
                <a:gd name="connsiteX59" fmla="*/ 198930 w 438876"/>
                <a:gd name="connsiteY59" fmla="*/ 325891 h 449401"/>
                <a:gd name="connsiteX60" fmla="*/ 218024 w 438876"/>
                <a:gd name="connsiteY60" fmla="*/ 309581 h 449401"/>
                <a:gd name="connsiteX61" fmla="*/ 229277 w 438876"/>
                <a:gd name="connsiteY61" fmla="*/ 299313 h 449401"/>
                <a:gd name="connsiteX62" fmla="*/ 239503 w 438876"/>
                <a:gd name="connsiteY62" fmla="*/ 290085 h 449401"/>
                <a:gd name="connsiteX63" fmla="*/ 246909 w 438876"/>
                <a:gd name="connsiteY63" fmla="*/ 281414 h 449401"/>
                <a:gd name="connsiteX64" fmla="*/ 258197 w 438876"/>
                <a:gd name="connsiteY64" fmla="*/ 269802 h 449401"/>
                <a:gd name="connsiteX65" fmla="*/ 263613 w 438876"/>
                <a:gd name="connsiteY65" fmla="*/ 269872 h 449401"/>
                <a:gd name="connsiteX66" fmla="*/ 272123 w 438876"/>
                <a:gd name="connsiteY66" fmla="*/ 267411 h 449401"/>
                <a:gd name="connsiteX67" fmla="*/ 280478 w 438876"/>
                <a:gd name="connsiteY67" fmla="*/ 256270 h 449401"/>
                <a:gd name="connsiteX68" fmla="*/ 279866 w 438876"/>
                <a:gd name="connsiteY68" fmla="*/ 252859 h 449401"/>
                <a:gd name="connsiteX69" fmla="*/ 280478 w 438876"/>
                <a:gd name="connsiteY69" fmla="*/ 244736 h 449401"/>
                <a:gd name="connsiteX70" fmla="*/ 283312 w 438876"/>
                <a:gd name="connsiteY70" fmla="*/ 242204 h 449401"/>
                <a:gd name="connsiteX71" fmla="*/ 295592 w 438876"/>
                <a:gd name="connsiteY71" fmla="*/ 235192 h 449401"/>
                <a:gd name="connsiteX72" fmla="*/ 309517 w 438876"/>
                <a:gd name="connsiteY72" fmla="*/ 235192 h 449401"/>
                <a:gd name="connsiteX73" fmla="*/ 313892 w 438876"/>
                <a:gd name="connsiteY73" fmla="*/ 230818 h 449401"/>
                <a:gd name="connsiteX74" fmla="*/ 306732 w 438876"/>
                <a:gd name="connsiteY74" fmla="*/ 205752 h 449401"/>
                <a:gd name="connsiteX75" fmla="*/ 306732 w 438876"/>
                <a:gd name="connsiteY75" fmla="*/ 197003 h 449401"/>
                <a:gd name="connsiteX76" fmla="*/ 303152 w 438876"/>
                <a:gd name="connsiteY76" fmla="*/ 190638 h 449401"/>
                <a:gd name="connsiteX77" fmla="*/ 306732 w 438876"/>
                <a:gd name="connsiteY77" fmla="*/ 179498 h 449401"/>
                <a:gd name="connsiteX78" fmla="*/ 309517 w 438876"/>
                <a:gd name="connsiteY78" fmla="*/ 179498 h 449401"/>
                <a:gd name="connsiteX79" fmla="*/ 299172 w 438876"/>
                <a:gd name="connsiteY79" fmla="*/ 170348 h 449401"/>
                <a:gd name="connsiteX80" fmla="*/ 306732 w 438876"/>
                <a:gd name="connsiteY80" fmla="*/ 162393 h 449401"/>
                <a:gd name="connsiteX81" fmla="*/ 323436 w 438876"/>
                <a:gd name="connsiteY81" fmla="*/ 167963 h 449401"/>
                <a:gd name="connsiteX82" fmla="*/ 330595 w 438876"/>
                <a:gd name="connsiteY82" fmla="*/ 176713 h 449401"/>
                <a:gd name="connsiteX83" fmla="*/ 362026 w 438876"/>
                <a:gd name="connsiteY83" fmla="*/ 181889 h 449401"/>
                <a:gd name="connsiteX84" fmla="*/ 355661 w 438876"/>
                <a:gd name="connsiteY84" fmla="*/ 197003 h 449401"/>
                <a:gd name="connsiteX85" fmla="*/ 347707 w 438876"/>
                <a:gd name="connsiteY85" fmla="*/ 205752 h 449401"/>
                <a:gd name="connsiteX86" fmla="*/ 350492 w 438876"/>
                <a:gd name="connsiteY86" fmla="*/ 213706 h 449401"/>
                <a:gd name="connsiteX87" fmla="*/ 355661 w 438876"/>
                <a:gd name="connsiteY87" fmla="*/ 208537 h 449401"/>
                <a:gd name="connsiteX88" fmla="*/ 368785 w 438876"/>
                <a:gd name="connsiteY88" fmla="*/ 230818 h 449401"/>
                <a:gd name="connsiteX89" fmla="*/ 373961 w 438876"/>
                <a:gd name="connsiteY89" fmla="*/ 224453 h 449401"/>
                <a:gd name="connsiteX90" fmla="*/ 375945 w 438876"/>
                <a:gd name="connsiteY90" fmla="*/ 204957 h 449401"/>
                <a:gd name="connsiteX91" fmla="*/ 381121 w 438876"/>
                <a:gd name="connsiteY91" fmla="*/ 199788 h 449401"/>
                <a:gd name="connsiteX92" fmla="*/ 387879 w 438876"/>
                <a:gd name="connsiteY92" fmla="*/ 197003 h 449401"/>
                <a:gd name="connsiteX93" fmla="*/ 400216 w 438876"/>
                <a:gd name="connsiteY93" fmla="*/ 179498 h 449401"/>
                <a:gd name="connsiteX94" fmla="*/ 406180 w 438876"/>
                <a:gd name="connsiteY94" fmla="*/ 156429 h 449401"/>
                <a:gd name="connsiteX95" fmla="*/ 426069 w 438876"/>
                <a:gd name="connsiteY95" fmla="*/ 147673 h 449401"/>
                <a:gd name="connsiteX96" fmla="*/ 430845 w 438876"/>
                <a:gd name="connsiteY96" fmla="*/ 147673 h 449401"/>
                <a:gd name="connsiteX97" fmla="*/ 436809 w 438876"/>
                <a:gd name="connsiteY97" fmla="*/ 132559 h 449401"/>
                <a:gd name="connsiteX98" fmla="*/ 438876 w 438876"/>
                <a:gd name="connsiteY98" fmla="*/ 127706 h 449401"/>
                <a:gd name="connsiteX99" fmla="*/ 438785 w 438876"/>
                <a:gd name="connsiteY99" fmla="*/ 127756 h 449401"/>
                <a:gd name="connsiteX100" fmla="*/ 437209 w 438876"/>
                <a:gd name="connsiteY100" fmla="*/ 128578 h 449401"/>
                <a:gd name="connsiteX101" fmla="*/ 434825 w 438876"/>
                <a:gd name="connsiteY101" fmla="*/ 127784 h 449401"/>
                <a:gd name="connsiteX102" fmla="*/ 430845 w 438876"/>
                <a:gd name="connsiteY102" fmla="*/ 124998 h 449401"/>
                <a:gd name="connsiteX103" fmla="*/ 425675 w 438876"/>
                <a:gd name="connsiteY103" fmla="*/ 124204 h 449401"/>
                <a:gd name="connsiteX104" fmla="*/ 424873 w 438876"/>
                <a:gd name="connsiteY104" fmla="*/ 121025 h 449401"/>
                <a:gd name="connsiteX105" fmla="*/ 428460 w 438876"/>
                <a:gd name="connsiteY105" fmla="*/ 117044 h 449401"/>
                <a:gd name="connsiteX106" fmla="*/ 426020 w 438876"/>
                <a:gd name="connsiteY106" fmla="*/ 112895 h 449401"/>
                <a:gd name="connsiteX107" fmla="*/ 424873 w 438876"/>
                <a:gd name="connsiteY107" fmla="*/ 111474 h 449401"/>
                <a:gd name="connsiteX108" fmla="*/ 421167 w 438876"/>
                <a:gd name="connsiteY108" fmla="*/ 108028 h 449401"/>
                <a:gd name="connsiteX109" fmla="*/ 421167 w 438876"/>
                <a:gd name="connsiteY109" fmla="*/ 108028 h 449401"/>
                <a:gd name="connsiteX110" fmla="*/ 420499 w 438876"/>
                <a:gd name="connsiteY110" fmla="*/ 107500 h 449401"/>
                <a:gd name="connsiteX111" fmla="*/ 418115 w 438876"/>
                <a:gd name="connsiteY111" fmla="*/ 107500 h 449401"/>
                <a:gd name="connsiteX112" fmla="*/ 412945 w 438876"/>
                <a:gd name="connsiteY112" fmla="*/ 111474 h 449401"/>
                <a:gd name="connsiteX113" fmla="*/ 408564 w 438876"/>
                <a:gd name="connsiteY113" fmla="*/ 113865 h 449401"/>
                <a:gd name="connsiteX114" fmla="*/ 405976 w 438876"/>
                <a:gd name="connsiteY114" fmla="*/ 112487 h 449401"/>
                <a:gd name="connsiteX115" fmla="*/ 404189 w 438876"/>
                <a:gd name="connsiteY115" fmla="*/ 111474 h 449401"/>
                <a:gd name="connsiteX116" fmla="*/ 400483 w 438876"/>
                <a:gd name="connsiteY116" fmla="*/ 109582 h 449401"/>
                <a:gd name="connsiteX117" fmla="*/ 398225 w 438876"/>
                <a:gd name="connsiteY117" fmla="*/ 108295 h 449401"/>
                <a:gd name="connsiteX118" fmla="*/ 394498 w 438876"/>
                <a:gd name="connsiteY118" fmla="*/ 110081 h 449401"/>
                <a:gd name="connsiteX119" fmla="*/ 394498 w 438876"/>
                <a:gd name="connsiteY119" fmla="*/ 110081 h 449401"/>
                <a:gd name="connsiteX120" fmla="*/ 394498 w 438876"/>
                <a:gd name="connsiteY120" fmla="*/ 110081 h 449401"/>
                <a:gd name="connsiteX121" fmla="*/ 392655 w 438876"/>
                <a:gd name="connsiteY121" fmla="*/ 111474 h 449401"/>
                <a:gd name="connsiteX122" fmla="*/ 389779 w 438876"/>
                <a:gd name="connsiteY122" fmla="*/ 113408 h 449401"/>
                <a:gd name="connsiteX123" fmla="*/ 389779 w 438876"/>
                <a:gd name="connsiteY123" fmla="*/ 113408 h 449401"/>
                <a:gd name="connsiteX124" fmla="*/ 384300 w 438876"/>
                <a:gd name="connsiteY124" fmla="*/ 117044 h 449401"/>
                <a:gd name="connsiteX125" fmla="*/ 370775 w 438876"/>
                <a:gd name="connsiteY125" fmla="*/ 128578 h 449401"/>
                <a:gd name="connsiteX126" fmla="*/ 361232 w 438876"/>
                <a:gd name="connsiteY126" fmla="*/ 134943 h 449401"/>
                <a:gd name="connsiteX127" fmla="*/ 357539 w 438876"/>
                <a:gd name="connsiteY127" fmla="*/ 136202 h 449401"/>
                <a:gd name="connsiteX128" fmla="*/ 359635 w 438876"/>
                <a:gd name="connsiteY128" fmla="*/ 150064 h 449401"/>
                <a:gd name="connsiteX129" fmla="*/ 323436 w 438876"/>
                <a:gd name="connsiteY129" fmla="*/ 153644 h 449401"/>
                <a:gd name="connsiteX130" fmla="*/ 309517 w 438876"/>
                <a:gd name="connsiteY130" fmla="*/ 147673 h 449401"/>
                <a:gd name="connsiteX131" fmla="*/ 309517 w 438876"/>
                <a:gd name="connsiteY131" fmla="*/ 136209 h 449401"/>
                <a:gd name="connsiteX132" fmla="*/ 306732 w 438876"/>
                <a:gd name="connsiteY132" fmla="*/ 130970 h 449401"/>
                <a:gd name="connsiteX133" fmla="*/ 300367 w 438876"/>
                <a:gd name="connsiteY133" fmla="*/ 134148 h 449401"/>
                <a:gd name="connsiteX134" fmla="*/ 299172 w 438876"/>
                <a:gd name="connsiteY134" fmla="*/ 134022 h 449401"/>
                <a:gd name="connsiteX135" fmla="*/ 299172 w 438876"/>
                <a:gd name="connsiteY135" fmla="*/ 143298 h 449401"/>
                <a:gd name="connsiteX136" fmla="*/ 299172 w 438876"/>
                <a:gd name="connsiteY136" fmla="*/ 158813 h 449401"/>
                <a:gd name="connsiteX137" fmla="*/ 272123 w 438876"/>
                <a:gd name="connsiteY137" fmla="*/ 156429 h 449401"/>
                <a:gd name="connsiteX138" fmla="*/ 258197 w 438876"/>
                <a:gd name="connsiteY138" fmla="*/ 156429 h 449401"/>
                <a:gd name="connsiteX139" fmla="*/ 246663 w 438876"/>
                <a:gd name="connsiteY139" fmla="*/ 143298 h 449401"/>
                <a:gd name="connsiteX140" fmla="*/ 222399 w 438876"/>
                <a:gd name="connsiteY140" fmla="*/ 143298 h 449401"/>
                <a:gd name="connsiteX141" fmla="*/ 177444 w 438876"/>
                <a:gd name="connsiteY141" fmla="*/ 117044 h 449401"/>
                <a:gd name="connsiteX142" fmla="*/ 190434 w 438876"/>
                <a:gd name="connsiteY142" fmla="*/ 92506 h 449401"/>
                <a:gd name="connsiteX143" fmla="*/ 185405 w 438876"/>
                <a:gd name="connsiteY143" fmla="*/ 89594 h 449401"/>
                <a:gd name="connsiteX144" fmla="*/ 175341 w 438876"/>
                <a:gd name="connsiteY144" fmla="*/ 82856 h 449401"/>
                <a:gd name="connsiteX145" fmla="*/ 175341 w 438876"/>
                <a:gd name="connsiteY145" fmla="*/ 82856 h 449401"/>
                <a:gd name="connsiteX146" fmla="*/ 173470 w 438876"/>
                <a:gd name="connsiteY146" fmla="*/ 81640 h 449401"/>
                <a:gd name="connsiteX147" fmla="*/ 170087 w 438876"/>
                <a:gd name="connsiteY147" fmla="*/ 79853 h 449401"/>
                <a:gd name="connsiteX148" fmla="*/ 166704 w 438876"/>
                <a:gd name="connsiteY148" fmla="*/ 78060 h 449401"/>
                <a:gd name="connsiteX149" fmla="*/ 163525 w 438876"/>
                <a:gd name="connsiteY149" fmla="*/ 76273 h 449401"/>
                <a:gd name="connsiteX150" fmla="*/ 160339 w 438876"/>
                <a:gd name="connsiteY150" fmla="*/ 74480 h 449401"/>
                <a:gd name="connsiteX151" fmla="*/ 157013 w 438876"/>
                <a:gd name="connsiteY151" fmla="*/ 70682 h 449401"/>
                <a:gd name="connsiteX152" fmla="*/ 155571 w 438876"/>
                <a:gd name="connsiteY152" fmla="*/ 68910 h 449401"/>
                <a:gd name="connsiteX153" fmla="*/ 155522 w 438876"/>
                <a:gd name="connsiteY153" fmla="*/ 59697 h 449401"/>
                <a:gd name="connsiteX154" fmla="*/ 155571 w 438876"/>
                <a:gd name="connsiteY154" fmla="*/ 58965 h 449401"/>
                <a:gd name="connsiteX155" fmla="*/ 154720 w 438876"/>
                <a:gd name="connsiteY155" fmla="*/ 58367 h 449401"/>
                <a:gd name="connsiteX156" fmla="*/ 152786 w 438876"/>
                <a:gd name="connsiteY156" fmla="*/ 56581 h 449401"/>
                <a:gd name="connsiteX157" fmla="*/ 152786 w 438876"/>
                <a:gd name="connsiteY157" fmla="*/ 51412 h 449401"/>
                <a:gd name="connsiteX158" fmla="*/ 155571 w 438876"/>
                <a:gd name="connsiteY158" fmla="*/ 50610 h 449401"/>
                <a:gd name="connsiteX159" fmla="*/ 160339 w 438876"/>
                <a:gd name="connsiteY159" fmla="*/ 52600 h 449401"/>
                <a:gd name="connsiteX160" fmla="*/ 163124 w 438876"/>
                <a:gd name="connsiteY160" fmla="*/ 51412 h 449401"/>
                <a:gd name="connsiteX161" fmla="*/ 163124 w 438876"/>
                <a:gd name="connsiteY161" fmla="*/ 45047 h 449401"/>
                <a:gd name="connsiteX162" fmla="*/ 161141 w 438876"/>
                <a:gd name="connsiteY162" fmla="*/ 41066 h 449401"/>
                <a:gd name="connsiteX163" fmla="*/ 160023 w 438876"/>
                <a:gd name="connsiteY163" fmla="*/ 39357 h 449401"/>
                <a:gd name="connsiteX164" fmla="*/ 157955 w 438876"/>
                <a:gd name="connsiteY164" fmla="*/ 36291 h 449401"/>
                <a:gd name="connsiteX165" fmla="*/ 157871 w 438876"/>
                <a:gd name="connsiteY165" fmla="*/ 28786 h 449401"/>
                <a:gd name="connsiteX166" fmla="*/ 157955 w 438876"/>
                <a:gd name="connsiteY166" fmla="*/ 27542 h 449401"/>
                <a:gd name="connsiteX167" fmla="*/ 157955 w 438876"/>
                <a:gd name="connsiteY167" fmla="*/ 18392 h 449401"/>
                <a:gd name="connsiteX168" fmla="*/ 155360 w 438876"/>
                <a:gd name="connsiteY168" fmla="*/ 14622 h 449401"/>
                <a:gd name="connsiteX169" fmla="*/ 155360 w 438876"/>
                <a:gd name="connsiteY169" fmla="*/ 14622 h 449401"/>
                <a:gd name="connsiteX170" fmla="*/ 153974 w 438876"/>
                <a:gd name="connsiteY170" fmla="*/ 12821 h 449401"/>
                <a:gd name="connsiteX171" fmla="*/ 142215 w 438876"/>
                <a:gd name="connsiteY171" fmla="*/ 0 h 449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438876" h="449401">
                  <a:moveTo>
                    <a:pt x="142215" y="0"/>
                  </a:moveTo>
                  <a:cubicBezTo>
                    <a:pt x="134838" y="7146"/>
                    <a:pt x="126827" y="13532"/>
                    <a:pt x="121355" y="14411"/>
                  </a:cubicBezTo>
                  <a:cubicBezTo>
                    <a:pt x="115771" y="15311"/>
                    <a:pt x="108140" y="14418"/>
                    <a:pt x="101283" y="13616"/>
                  </a:cubicBezTo>
                  <a:cubicBezTo>
                    <a:pt x="93005" y="12645"/>
                    <a:pt x="85845" y="11801"/>
                    <a:pt x="84762" y="14411"/>
                  </a:cubicBezTo>
                  <a:cubicBezTo>
                    <a:pt x="84354" y="15381"/>
                    <a:pt x="83707" y="16317"/>
                    <a:pt x="83011" y="17315"/>
                  </a:cubicBezTo>
                  <a:cubicBezTo>
                    <a:pt x="80282" y="21261"/>
                    <a:pt x="76829" y="26233"/>
                    <a:pt x="84762" y="38281"/>
                  </a:cubicBezTo>
                  <a:cubicBezTo>
                    <a:pt x="92716" y="50371"/>
                    <a:pt x="98153" y="54724"/>
                    <a:pt x="99876" y="55385"/>
                  </a:cubicBezTo>
                  <a:lnTo>
                    <a:pt x="90726" y="64936"/>
                  </a:lnTo>
                  <a:cubicBezTo>
                    <a:pt x="91788" y="69311"/>
                    <a:pt x="93272" y="78700"/>
                    <a:pt x="90726" y="81246"/>
                  </a:cubicBezTo>
                  <a:cubicBezTo>
                    <a:pt x="87547" y="84425"/>
                    <a:pt x="81182" y="93174"/>
                    <a:pt x="79192" y="95959"/>
                  </a:cubicBezTo>
                  <a:cubicBezTo>
                    <a:pt x="78939" y="96318"/>
                    <a:pt x="78643" y="96733"/>
                    <a:pt x="78313" y="97183"/>
                  </a:cubicBezTo>
                  <a:cubicBezTo>
                    <a:pt x="76118" y="100242"/>
                    <a:pt x="72574" y="105172"/>
                    <a:pt x="70837" y="108295"/>
                  </a:cubicBezTo>
                  <a:cubicBezTo>
                    <a:pt x="69247" y="111157"/>
                    <a:pt x="56651" y="125667"/>
                    <a:pt x="50553" y="132559"/>
                  </a:cubicBezTo>
                  <a:lnTo>
                    <a:pt x="31058" y="132559"/>
                  </a:lnTo>
                  <a:lnTo>
                    <a:pt x="15543" y="147673"/>
                  </a:lnTo>
                  <a:lnTo>
                    <a:pt x="23898" y="156429"/>
                  </a:lnTo>
                  <a:lnTo>
                    <a:pt x="27077" y="170348"/>
                  </a:lnTo>
                  <a:lnTo>
                    <a:pt x="37423" y="181889"/>
                  </a:lnTo>
                  <a:lnTo>
                    <a:pt x="37423" y="194218"/>
                  </a:lnTo>
                  <a:lnTo>
                    <a:pt x="9973" y="194218"/>
                  </a:lnTo>
                  <a:cubicBezTo>
                    <a:pt x="10901" y="196342"/>
                    <a:pt x="12202" y="201061"/>
                    <a:pt x="9973" y="202967"/>
                  </a:cubicBezTo>
                  <a:cubicBezTo>
                    <a:pt x="9255" y="203586"/>
                    <a:pt x="7891" y="204177"/>
                    <a:pt x="6407" y="204824"/>
                  </a:cubicBezTo>
                  <a:cubicBezTo>
                    <a:pt x="2138" y="206680"/>
                    <a:pt x="-3186" y="208994"/>
                    <a:pt x="2419" y="213706"/>
                  </a:cubicBezTo>
                  <a:cubicBezTo>
                    <a:pt x="9973" y="220071"/>
                    <a:pt x="14347" y="221267"/>
                    <a:pt x="17533" y="220472"/>
                  </a:cubicBezTo>
                  <a:cubicBezTo>
                    <a:pt x="20079" y="219832"/>
                    <a:pt x="27611" y="215697"/>
                    <a:pt x="31058" y="213706"/>
                  </a:cubicBezTo>
                  <a:cubicBezTo>
                    <a:pt x="31719" y="216759"/>
                    <a:pt x="31852" y="223180"/>
                    <a:pt x="27077" y="224453"/>
                  </a:cubicBezTo>
                  <a:cubicBezTo>
                    <a:pt x="22309" y="225726"/>
                    <a:pt x="13686" y="226837"/>
                    <a:pt x="9973" y="227231"/>
                  </a:cubicBezTo>
                  <a:cubicBezTo>
                    <a:pt x="9044" y="228694"/>
                    <a:pt x="8221" y="232323"/>
                    <a:pt x="12364" y="235192"/>
                  </a:cubicBezTo>
                  <a:cubicBezTo>
                    <a:pt x="16499" y="238055"/>
                    <a:pt x="23898" y="246199"/>
                    <a:pt x="27077" y="249906"/>
                  </a:cubicBezTo>
                  <a:cubicBezTo>
                    <a:pt x="29602" y="251368"/>
                    <a:pt x="35193" y="254203"/>
                    <a:pt x="37423" y="253886"/>
                  </a:cubicBezTo>
                  <a:cubicBezTo>
                    <a:pt x="39652" y="253570"/>
                    <a:pt x="47100" y="251101"/>
                    <a:pt x="50553" y="249906"/>
                  </a:cubicBezTo>
                  <a:cubicBezTo>
                    <a:pt x="52403" y="246326"/>
                    <a:pt x="56201" y="238772"/>
                    <a:pt x="56517" y="237183"/>
                  </a:cubicBezTo>
                  <a:cubicBezTo>
                    <a:pt x="56834" y="235586"/>
                    <a:pt x="58768" y="229890"/>
                    <a:pt x="59696" y="227231"/>
                  </a:cubicBezTo>
                  <a:lnTo>
                    <a:pt x="63677" y="230818"/>
                  </a:lnTo>
                  <a:cubicBezTo>
                    <a:pt x="62615" y="236782"/>
                    <a:pt x="61532" y="249512"/>
                    <a:pt x="65667" y="252691"/>
                  </a:cubicBezTo>
                  <a:cubicBezTo>
                    <a:pt x="68558" y="254913"/>
                    <a:pt x="66975" y="259871"/>
                    <a:pt x="65365" y="264921"/>
                  </a:cubicBezTo>
                  <a:cubicBezTo>
                    <a:pt x="64092" y="268909"/>
                    <a:pt x="62798" y="272960"/>
                    <a:pt x="63677" y="275766"/>
                  </a:cubicBezTo>
                  <a:cubicBezTo>
                    <a:pt x="64493" y="278368"/>
                    <a:pt x="65372" y="284642"/>
                    <a:pt x="66321" y="291379"/>
                  </a:cubicBezTo>
                  <a:cubicBezTo>
                    <a:pt x="67686" y="301113"/>
                    <a:pt x="69191" y="311839"/>
                    <a:pt x="70837" y="313956"/>
                  </a:cubicBezTo>
                  <a:cubicBezTo>
                    <a:pt x="72539" y="316143"/>
                    <a:pt x="76175" y="323971"/>
                    <a:pt x="79009" y="330096"/>
                  </a:cubicBezTo>
                  <a:cubicBezTo>
                    <a:pt x="80823" y="334000"/>
                    <a:pt x="82307" y="337200"/>
                    <a:pt x="82772" y="337819"/>
                  </a:cubicBezTo>
                  <a:cubicBezTo>
                    <a:pt x="83728" y="339092"/>
                    <a:pt x="91127" y="354796"/>
                    <a:pt x="94707" y="362484"/>
                  </a:cubicBezTo>
                  <a:lnTo>
                    <a:pt x="101466" y="386354"/>
                  </a:lnTo>
                  <a:cubicBezTo>
                    <a:pt x="103990" y="390067"/>
                    <a:pt x="109265" y="398050"/>
                    <a:pt x="110222" y="400279"/>
                  </a:cubicBezTo>
                  <a:cubicBezTo>
                    <a:pt x="111171" y="402502"/>
                    <a:pt x="116720" y="413930"/>
                    <a:pt x="119372" y="419367"/>
                  </a:cubicBezTo>
                  <a:lnTo>
                    <a:pt x="119372" y="431302"/>
                  </a:lnTo>
                  <a:lnTo>
                    <a:pt x="126531" y="445227"/>
                  </a:lnTo>
                  <a:lnTo>
                    <a:pt x="134486" y="449208"/>
                  </a:lnTo>
                  <a:cubicBezTo>
                    <a:pt x="137405" y="449869"/>
                    <a:pt x="144030" y="449208"/>
                    <a:pt x="147215" y="441247"/>
                  </a:cubicBezTo>
                  <a:cubicBezTo>
                    <a:pt x="150950" y="431914"/>
                    <a:pt x="154333" y="429938"/>
                    <a:pt x="156380" y="428749"/>
                  </a:cubicBezTo>
                  <a:cubicBezTo>
                    <a:pt x="156513" y="428665"/>
                    <a:pt x="156640" y="428594"/>
                    <a:pt x="156760" y="428517"/>
                  </a:cubicBezTo>
                  <a:cubicBezTo>
                    <a:pt x="158356" y="427567"/>
                    <a:pt x="163258" y="422025"/>
                    <a:pt x="165515" y="419367"/>
                  </a:cubicBezTo>
                  <a:lnTo>
                    <a:pt x="171881" y="419367"/>
                  </a:lnTo>
                  <a:cubicBezTo>
                    <a:pt x="171086" y="412875"/>
                    <a:pt x="169967" y="398922"/>
                    <a:pt x="171881" y="395103"/>
                  </a:cubicBezTo>
                  <a:cubicBezTo>
                    <a:pt x="173787" y="391284"/>
                    <a:pt x="176389" y="387676"/>
                    <a:pt x="177444" y="386354"/>
                  </a:cubicBezTo>
                  <a:cubicBezTo>
                    <a:pt x="178639" y="380784"/>
                    <a:pt x="180946" y="368933"/>
                    <a:pt x="180630" y="366063"/>
                  </a:cubicBezTo>
                  <a:cubicBezTo>
                    <a:pt x="180517" y="365037"/>
                    <a:pt x="180074" y="363060"/>
                    <a:pt x="179539" y="360669"/>
                  </a:cubicBezTo>
                  <a:cubicBezTo>
                    <a:pt x="178210" y="354726"/>
                    <a:pt x="176311" y="346230"/>
                    <a:pt x="177444" y="343389"/>
                  </a:cubicBezTo>
                  <a:cubicBezTo>
                    <a:pt x="179040" y="339415"/>
                    <a:pt x="183809" y="329864"/>
                    <a:pt x="186994" y="331060"/>
                  </a:cubicBezTo>
                  <a:cubicBezTo>
                    <a:pt x="189540" y="332016"/>
                    <a:pt x="196011" y="328008"/>
                    <a:pt x="198930" y="325891"/>
                  </a:cubicBezTo>
                  <a:cubicBezTo>
                    <a:pt x="203170" y="322044"/>
                    <a:pt x="212932" y="313400"/>
                    <a:pt x="218024" y="309581"/>
                  </a:cubicBezTo>
                  <a:cubicBezTo>
                    <a:pt x="221182" y="307211"/>
                    <a:pt x="225325" y="303167"/>
                    <a:pt x="229277" y="299313"/>
                  </a:cubicBezTo>
                  <a:cubicBezTo>
                    <a:pt x="233286" y="295409"/>
                    <a:pt x="237098" y="291689"/>
                    <a:pt x="239503" y="290085"/>
                  </a:cubicBezTo>
                  <a:cubicBezTo>
                    <a:pt x="241501" y="288756"/>
                    <a:pt x="244124" y="285197"/>
                    <a:pt x="246909" y="281414"/>
                  </a:cubicBezTo>
                  <a:cubicBezTo>
                    <a:pt x="250777" y="276167"/>
                    <a:pt x="254962" y="270491"/>
                    <a:pt x="258197" y="269802"/>
                  </a:cubicBezTo>
                  <a:cubicBezTo>
                    <a:pt x="260258" y="269359"/>
                    <a:pt x="261988" y="269619"/>
                    <a:pt x="263613" y="269872"/>
                  </a:cubicBezTo>
                  <a:cubicBezTo>
                    <a:pt x="266391" y="270294"/>
                    <a:pt x="268859" y="270674"/>
                    <a:pt x="272123" y="267411"/>
                  </a:cubicBezTo>
                  <a:cubicBezTo>
                    <a:pt x="277292" y="262242"/>
                    <a:pt x="280077" y="258662"/>
                    <a:pt x="280478" y="256270"/>
                  </a:cubicBezTo>
                  <a:cubicBezTo>
                    <a:pt x="280612" y="255483"/>
                    <a:pt x="280260" y="254252"/>
                    <a:pt x="279866" y="252859"/>
                  </a:cubicBezTo>
                  <a:cubicBezTo>
                    <a:pt x="279064" y="250060"/>
                    <a:pt x="278087" y="246600"/>
                    <a:pt x="280478" y="244736"/>
                  </a:cubicBezTo>
                  <a:cubicBezTo>
                    <a:pt x="281329" y="244075"/>
                    <a:pt x="282278" y="243182"/>
                    <a:pt x="283312" y="242204"/>
                  </a:cubicBezTo>
                  <a:cubicBezTo>
                    <a:pt x="286597" y="239110"/>
                    <a:pt x="290746" y="235192"/>
                    <a:pt x="295592" y="235192"/>
                  </a:cubicBezTo>
                  <a:lnTo>
                    <a:pt x="309517" y="235192"/>
                  </a:lnTo>
                  <a:lnTo>
                    <a:pt x="313892" y="230818"/>
                  </a:lnTo>
                  <a:lnTo>
                    <a:pt x="306732" y="205752"/>
                  </a:lnTo>
                  <a:lnTo>
                    <a:pt x="306732" y="197003"/>
                  </a:lnTo>
                  <a:lnTo>
                    <a:pt x="303152" y="190638"/>
                  </a:lnTo>
                  <a:lnTo>
                    <a:pt x="306732" y="179498"/>
                  </a:lnTo>
                  <a:lnTo>
                    <a:pt x="309517" y="179498"/>
                  </a:lnTo>
                  <a:lnTo>
                    <a:pt x="299172" y="170348"/>
                  </a:lnTo>
                  <a:lnTo>
                    <a:pt x="306732" y="162393"/>
                  </a:lnTo>
                  <a:lnTo>
                    <a:pt x="323436" y="167963"/>
                  </a:lnTo>
                  <a:lnTo>
                    <a:pt x="330595" y="176713"/>
                  </a:lnTo>
                  <a:lnTo>
                    <a:pt x="362026" y="181889"/>
                  </a:lnTo>
                  <a:lnTo>
                    <a:pt x="355661" y="197003"/>
                  </a:lnTo>
                  <a:lnTo>
                    <a:pt x="347707" y="205752"/>
                  </a:lnTo>
                  <a:lnTo>
                    <a:pt x="350492" y="213706"/>
                  </a:lnTo>
                  <a:lnTo>
                    <a:pt x="355661" y="208537"/>
                  </a:lnTo>
                  <a:lnTo>
                    <a:pt x="368785" y="230818"/>
                  </a:lnTo>
                  <a:cubicBezTo>
                    <a:pt x="369713" y="230016"/>
                    <a:pt x="372048" y="227632"/>
                    <a:pt x="373961" y="224453"/>
                  </a:cubicBezTo>
                  <a:cubicBezTo>
                    <a:pt x="375867" y="221267"/>
                    <a:pt x="376078" y="210127"/>
                    <a:pt x="375945" y="204957"/>
                  </a:cubicBezTo>
                  <a:lnTo>
                    <a:pt x="381121" y="199788"/>
                  </a:lnTo>
                  <a:lnTo>
                    <a:pt x="387879" y="197003"/>
                  </a:lnTo>
                  <a:cubicBezTo>
                    <a:pt x="391460" y="192094"/>
                    <a:pt x="398943" y="181727"/>
                    <a:pt x="400216" y="179498"/>
                  </a:cubicBezTo>
                  <a:cubicBezTo>
                    <a:pt x="401489" y="177268"/>
                    <a:pt x="404724" y="163188"/>
                    <a:pt x="406180" y="156429"/>
                  </a:cubicBezTo>
                  <a:lnTo>
                    <a:pt x="426069" y="147673"/>
                  </a:lnTo>
                  <a:lnTo>
                    <a:pt x="430845" y="147673"/>
                  </a:lnTo>
                  <a:lnTo>
                    <a:pt x="436809" y="132559"/>
                  </a:lnTo>
                  <a:lnTo>
                    <a:pt x="438876" y="127706"/>
                  </a:lnTo>
                  <a:cubicBezTo>
                    <a:pt x="438848" y="127720"/>
                    <a:pt x="438820" y="127741"/>
                    <a:pt x="438785" y="127756"/>
                  </a:cubicBezTo>
                  <a:cubicBezTo>
                    <a:pt x="437934" y="128234"/>
                    <a:pt x="437322" y="128578"/>
                    <a:pt x="437209" y="128578"/>
                  </a:cubicBezTo>
                  <a:cubicBezTo>
                    <a:pt x="436893" y="128578"/>
                    <a:pt x="435487" y="128051"/>
                    <a:pt x="434825" y="127784"/>
                  </a:cubicBezTo>
                  <a:lnTo>
                    <a:pt x="430845" y="124998"/>
                  </a:lnTo>
                  <a:cubicBezTo>
                    <a:pt x="429389" y="124865"/>
                    <a:pt x="426308" y="124520"/>
                    <a:pt x="425675" y="124204"/>
                  </a:cubicBezTo>
                  <a:cubicBezTo>
                    <a:pt x="424873" y="123810"/>
                    <a:pt x="424873" y="121419"/>
                    <a:pt x="424873" y="121025"/>
                  </a:cubicBezTo>
                  <a:cubicBezTo>
                    <a:pt x="424873" y="120624"/>
                    <a:pt x="427658" y="117839"/>
                    <a:pt x="428460" y="117044"/>
                  </a:cubicBezTo>
                  <a:cubicBezTo>
                    <a:pt x="429037" y="116467"/>
                    <a:pt x="427314" y="114428"/>
                    <a:pt x="426020" y="112895"/>
                  </a:cubicBezTo>
                  <a:cubicBezTo>
                    <a:pt x="425528" y="112311"/>
                    <a:pt x="425099" y="111804"/>
                    <a:pt x="424873" y="111474"/>
                  </a:cubicBezTo>
                  <a:cubicBezTo>
                    <a:pt x="424170" y="110419"/>
                    <a:pt x="422841" y="109364"/>
                    <a:pt x="421167" y="108028"/>
                  </a:cubicBezTo>
                  <a:lnTo>
                    <a:pt x="421167" y="108028"/>
                  </a:lnTo>
                  <a:cubicBezTo>
                    <a:pt x="420949" y="107852"/>
                    <a:pt x="420731" y="107676"/>
                    <a:pt x="420499" y="107500"/>
                  </a:cubicBezTo>
                  <a:cubicBezTo>
                    <a:pt x="418909" y="106227"/>
                    <a:pt x="418248" y="106966"/>
                    <a:pt x="418115" y="107500"/>
                  </a:cubicBezTo>
                  <a:cubicBezTo>
                    <a:pt x="416919" y="108429"/>
                    <a:pt x="414218" y="110525"/>
                    <a:pt x="412945" y="111474"/>
                  </a:cubicBezTo>
                  <a:cubicBezTo>
                    <a:pt x="411349" y="112669"/>
                    <a:pt x="409760" y="113865"/>
                    <a:pt x="408564" y="113865"/>
                  </a:cubicBezTo>
                  <a:cubicBezTo>
                    <a:pt x="407910" y="113865"/>
                    <a:pt x="406890" y="113141"/>
                    <a:pt x="405976" y="112487"/>
                  </a:cubicBezTo>
                  <a:cubicBezTo>
                    <a:pt x="405230" y="111959"/>
                    <a:pt x="404548" y="111474"/>
                    <a:pt x="404189" y="111474"/>
                  </a:cubicBezTo>
                  <a:cubicBezTo>
                    <a:pt x="403683" y="111474"/>
                    <a:pt x="402030" y="110496"/>
                    <a:pt x="400483" y="109582"/>
                  </a:cubicBezTo>
                  <a:cubicBezTo>
                    <a:pt x="399625" y="109069"/>
                    <a:pt x="398795" y="108576"/>
                    <a:pt x="398225" y="108295"/>
                  </a:cubicBezTo>
                  <a:cubicBezTo>
                    <a:pt x="397177" y="107767"/>
                    <a:pt x="395778" y="108977"/>
                    <a:pt x="394498" y="110081"/>
                  </a:cubicBezTo>
                  <a:lnTo>
                    <a:pt x="394498" y="110081"/>
                  </a:lnTo>
                  <a:lnTo>
                    <a:pt x="394498" y="110081"/>
                  </a:lnTo>
                  <a:cubicBezTo>
                    <a:pt x="393830" y="110658"/>
                    <a:pt x="393197" y="111207"/>
                    <a:pt x="392655" y="111474"/>
                  </a:cubicBezTo>
                  <a:cubicBezTo>
                    <a:pt x="391966" y="111819"/>
                    <a:pt x="390974" y="112543"/>
                    <a:pt x="389779" y="113408"/>
                  </a:cubicBezTo>
                  <a:lnTo>
                    <a:pt x="389779" y="113408"/>
                  </a:lnTo>
                  <a:cubicBezTo>
                    <a:pt x="388224" y="114540"/>
                    <a:pt x="386325" y="115919"/>
                    <a:pt x="384300" y="117044"/>
                  </a:cubicBezTo>
                  <a:cubicBezTo>
                    <a:pt x="381437" y="118633"/>
                    <a:pt x="374095" y="125399"/>
                    <a:pt x="370775" y="128578"/>
                  </a:cubicBezTo>
                  <a:lnTo>
                    <a:pt x="361232" y="134943"/>
                  </a:lnTo>
                  <a:cubicBezTo>
                    <a:pt x="360381" y="135288"/>
                    <a:pt x="358854" y="135844"/>
                    <a:pt x="357539" y="136202"/>
                  </a:cubicBezTo>
                  <a:lnTo>
                    <a:pt x="359635" y="150064"/>
                  </a:lnTo>
                  <a:lnTo>
                    <a:pt x="323436" y="153644"/>
                  </a:lnTo>
                  <a:lnTo>
                    <a:pt x="309517" y="147673"/>
                  </a:lnTo>
                  <a:lnTo>
                    <a:pt x="309517" y="136209"/>
                  </a:lnTo>
                  <a:cubicBezTo>
                    <a:pt x="308554" y="134535"/>
                    <a:pt x="307421" y="132341"/>
                    <a:pt x="306732" y="130970"/>
                  </a:cubicBezTo>
                  <a:cubicBezTo>
                    <a:pt x="304876" y="132032"/>
                    <a:pt x="301000" y="134148"/>
                    <a:pt x="300367" y="134148"/>
                  </a:cubicBezTo>
                  <a:cubicBezTo>
                    <a:pt x="299939" y="134148"/>
                    <a:pt x="299622" y="134148"/>
                    <a:pt x="299172" y="134022"/>
                  </a:cubicBezTo>
                  <a:lnTo>
                    <a:pt x="299172" y="143298"/>
                  </a:lnTo>
                  <a:lnTo>
                    <a:pt x="299172" y="158813"/>
                  </a:lnTo>
                  <a:lnTo>
                    <a:pt x="272123" y="156429"/>
                  </a:lnTo>
                  <a:lnTo>
                    <a:pt x="258197" y="156429"/>
                  </a:lnTo>
                  <a:lnTo>
                    <a:pt x="246663" y="143298"/>
                  </a:lnTo>
                  <a:lnTo>
                    <a:pt x="222399" y="143298"/>
                  </a:lnTo>
                  <a:lnTo>
                    <a:pt x="177444" y="117044"/>
                  </a:lnTo>
                  <a:lnTo>
                    <a:pt x="190434" y="92506"/>
                  </a:lnTo>
                  <a:cubicBezTo>
                    <a:pt x="188732" y="91641"/>
                    <a:pt x="185975" y="90171"/>
                    <a:pt x="185405" y="89594"/>
                  </a:cubicBezTo>
                  <a:cubicBezTo>
                    <a:pt x="184786" y="88975"/>
                    <a:pt x="178597" y="84973"/>
                    <a:pt x="175341" y="82856"/>
                  </a:cubicBezTo>
                  <a:lnTo>
                    <a:pt x="175341" y="82856"/>
                  </a:lnTo>
                  <a:cubicBezTo>
                    <a:pt x="174419" y="82259"/>
                    <a:pt x="173730" y="81816"/>
                    <a:pt x="173470" y="81640"/>
                  </a:cubicBezTo>
                  <a:cubicBezTo>
                    <a:pt x="172872" y="81246"/>
                    <a:pt x="171479" y="80550"/>
                    <a:pt x="170087" y="79853"/>
                  </a:cubicBezTo>
                  <a:cubicBezTo>
                    <a:pt x="168694" y="79157"/>
                    <a:pt x="167302" y="78461"/>
                    <a:pt x="166704" y="78060"/>
                  </a:cubicBezTo>
                  <a:cubicBezTo>
                    <a:pt x="166113" y="77666"/>
                    <a:pt x="164819" y="76970"/>
                    <a:pt x="163525" y="76273"/>
                  </a:cubicBezTo>
                  <a:cubicBezTo>
                    <a:pt x="162231" y="75577"/>
                    <a:pt x="160937" y="74881"/>
                    <a:pt x="160339" y="74480"/>
                  </a:cubicBezTo>
                  <a:cubicBezTo>
                    <a:pt x="159573" y="73967"/>
                    <a:pt x="158145" y="72138"/>
                    <a:pt x="157013" y="70682"/>
                  </a:cubicBezTo>
                  <a:cubicBezTo>
                    <a:pt x="156387" y="69880"/>
                    <a:pt x="155852" y="69198"/>
                    <a:pt x="155571" y="68910"/>
                  </a:cubicBezTo>
                  <a:cubicBezTo>
                    <a:pt x="154896" y="68242"/>
                    <a:pt x="155360" y="61898"/>
                    <a:pt x="155522" y="59697"/>
                  </a:cubicBezTo>
                  <a:cubicBezTo>
                    <a:pt x="155550" y="59296"/>
                    <a:pt x="155571" y="59028"/>
                    <a:pt x="155571" y="58965"/>
                  </a:cubicBezTo>
                  <a:cubicBezTo>
                    <a:pt x="155571" y="58825"/>
                    <a:pt x="155198" y="58621"/>
                    <a:pt x="154720" y="58367"/>
                  </a:cubicBezTo>
                  <a:cubicBezTo>
                    <a:pt x="153904" y="57931"/>
                    <a:pt x="152786" y="57333"/>
                    <a:pt x="152786" y="56581"/>
                  </a:cubicBezTo>
                  <a:lnTo>
                    <a:pt x="152786" y="51412"/>
                  </a:lnTo>
                  <a:cubicBezTo>
                    <a:pt x="152786" y="50455"/>
                    <a:pt x="154642" y="50483"/>
                    <a:pt x="155571" y="50610"/>
                  </a:cubicBezTo>
                  <a:cubicBezTo>
                    <a:pt x="156366" y="51144"/>
                    <a:pt x="158433" y="52284"/>
                    <a:pt x="160339" y="52600"/>
                  </a:cubicBezTo>
                  <a:cubicBezTo>
                    <a:pt x="162252" y="52917"/>
                    <a:pt x="162991" y="51939"/>
                    <a:pt x="163124" y="51412"/>
                  </a:cubicBezTo>
                  <a:lnTo>
                    <a:pt x="163124" y="45047"/>
                  </a:lnTo>
                  <a:cubicBezTo>
                    <a:pt x="163124" y="44245"/>
                    <a:pt x="161535" y="41467"/>
                    <a:pt x="161141" y="41066"/>
                  </a:cubicBezTo>
                  <a:cubicBezTo>
                    <a:pt x="160972" y="40904"/>
                    <a:pt x="160536" y="40187"/>
                    <a:pt x="160023" y="39357"/>
                  </a:cubicBezTo>
                  <a:cubicBezTo>
                    <a:pt x="159298" y="38182"/>
                    <a:pt x="158419" y="36762"/>
                    <a:pt x="157955" y="36291"/>
                  </a:cubicBezTo>
                  <a:cubicBezTo>
                    <a:pt x="157329" y="35665"/>
                    <a:pt x="157688" y="31093"/>
                    <a:pt x="157871" y="28786"/>
                  </a:cubicBezTo>
                  <a:cubicBezTo>
                    <a:pt x="157920" y="28167"/>
                    <a:pt x="157955" y="27710"/>
                    <a:pt x="157955" y="27542"/>
                  </a:cubicBezTo>
                  <a:lnTo>
                    <a:pt x="157955" y="18392"/>
                  </a:lnTo>
                  <a:cubicBezTo>
                    <a:pt x="157955" y="17864"/>
                    <a:pt x="156541" y="16092"/>
                    <a:pt x="155360" y="14622"/>
                  </a:cubicBezTo>
                  <a:lnTo>
                    <a:pt x="155360" y="14622"/>
                  </a:lnTo>
                  <a:cubicBezTo>
                    <a:pt x="154776" y="13883"/>
                    <a:pt x="154242" y="13222"/>
                    <a:pt x="153974" y="12821"/>
                  </a:cubicBezTo>
                  <a:cubicBezTo>
                    <a:pt x="153377" y="11921"/>
                    <a:pt x="146217" y="4009"/>
                    <a:pt x="142215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8" name="Freihandform: Form 13">
              <a:extLst>
                <a:ext uri="{FF2B5EF4-FFF2-40B4-BE49-F238E27FC236}">
                  <a16:creationId xmlns:a16="http://schemas.microsoft.com/office/drawing/2014/main" id="{FD64333C-D34B-7E4B-87C2-917349664D3B}"/>
                </a:ext>
              </a:extLst>
            </p:cNvPr>
            <p:cNvSpPr/>
            <p:nvPr/>
          </p:nvSpPr>
          <p:spPr>
            <a:xfrm>
              <a:off x="7529478" y="4059812"/>
              <a:ext cx="50117" cy="26655"/>
            </a:xfrm>
            <a:custGeom>
              <a:avLst/>
              <a:gdLst>
                <a:gd name="connsiteX0" fmla="*/ 48022 w 50117"/>
                <a:gd name="connsiteY0" fmla="*/ 9213 h 26655"/>
                <a:gd name="connsiteX1" fmla="*/ 50118 w 50117"/>
                <a:gd name="connsiteY1" fmla="*/ 23075 h 26655"/>
                <a:gd name="connsiteX2" fmla="*/ 13918 w 50117"/>
                <a:gd name="connsiteY2" fmla="*/ 26655 h 26655"/>
                <a:gd name="connsiteX3" fmla="*/ 0 w 50117"/>
                <a:gd name="connsiteY3" fmla="*/ 20684 h 26655"/>
                <a:gd name="connsiteX4" fmla="*/ 0 w 50117"/>
                <a:gd name="connsiteY4" fmla="*/ 9220 h 26655"/>
                <a:gd name="connsiteX5" fmla="*/ 1590 w 50117"/>
                <a:gd name="connsiteY5" fmla="*/ 11541 h 26655"/>
                <a:gd name="connsiteX6" fmla="*/ 5964 w 50117"/>
                <a:gd name="connsiteY6" fmla="*/ 9551 h 26655"/>
                <a:gd name="connsiteX7" fmla="*/ 7061 w 50117"/>
                <a:gd name="connsiteY7" fmla="*/ 8341 h 26655"/>
                <a:gd name="connsiteX8" fmla="*/ 11534 w 50117"/>
                <a:gd name="connsiteY8" fmla="*/ 3981 h 26655"/>
                <a:gd name="connsiteX9" fmla="*/ 12751 w 50117"/>
                <a:gd name="connsiteY9" fmla="*/ 2975 h 26655"/>
                <a:gd name="connsiteX10" fmla="*/ 14320 w 50117"/>
                <a:gd name="connsiteY10" fmla="*/ 1597 h 26655"/>
                <a:gd name="connsiteX11" fmla="*/ 18694 w 50117"/>
                <a:gd name="connsiteY11" fmla="*/ 0 h 26655"/>
                <a:gd name="connsiteX12" fmla="*/ 29834 w 50117"/>
                <a:gd name="connsiteY12" fmla="*/ 1597 h 26655"/>
                <a:gd name="connsiteX13" fmla="*/ 34399 w 50117"/>
                <a:gd name="connsiteY13" fmla="*/ 2363 h 26655"/>
                <a:gd name="connsiteX14" fmla="*/ 38584 w 50117"/>
                <a:gd name="connsiteY14" fmla="*/ 3186 h 26655"/>
                <a:gd name="connsiteX15" fmla="*/ 46144 w 50117"/>
                <a:gd name="connsiteY15" fmla="*/ 9551 h 26655"/>
                <a:gd name="connsiteX16" fmla="*/ 48022 w 50117"/>
                <a:gd name="connsiteY16" fmla="*/ 9213 h 26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0117" h="26655">
                  <a:moveTo>
                    <a:pt x="48022" y="9213"/>
                  </a:moveTo>
                  <a:lnTo>
                    <a:pt x="50118" y="23075"/>
                  </a:lnTo>
                  <a:lnTo>
                    <a:pt x="13918" y="26655"/>
                  </a:lnTo>
                  <a:lnTo>
                    <a:pt x="0" y="20684"/>
                  </a:lnTo>
                  <a:lnTo>
                    <a:pt x="0" y="9220"/>
                  </a:lnTo>
                  <a:cubicBezTo>
                    <a:pt x="703" y="10451"/>
                    <a:pt x="1315" y="11401"/>
                    <a:pt x="1590" y="11541"/>
                  </a:cubicBezTo>
                  <a:cubicBezTo>
                    <a:pt x="2384" y="11935"/>
                    <a:pt x="5169" y="10346"/>
                    <a:pt x="5964" y="9551"/>
                  </a:cubicBezTo>
                  <a:cubicBezTo>
                    <a:pt x="6161" y="9354"/>
                    <a:pt x="6562" y="8904"/>
                    <a:pt x="7061" y="8341"/>
                  </a:cubicBezTo>
                  <a:cubicBezTo>
                    <a:pt x="8552" y="6667"/>
                    <a:pt x="10937" y="3981"/>
                    <a:pt x="11534" y="3981"/>
                  </a:cubicBezTo>
                  <a:cubicBezTo>
                    <a:pt x="11921" y="3981"/>
                    <a:pt x="12315" y="3502"/>
                    <a:pt x="12751" y="2975"/>
                  </a:cubicBezTo>
                  <a:cubicBezTo>
                    <a:pt x="13201" y="2412"/>
                    <a:pt x="13708" y="1801"/>
                    <a:pt x="14320" y="1597"/>
                  </a:cubicBezTo>
                  <a:cubicBezTo>
                    <a:pt x="15276" y="1273"/>
                    <a:pt x="17632" y="401"/>
                    <a:pt x="18694" y="0"/>
                  </a:cubicBezTo>
                  <a:cubicBezTo>
                    <a:pt x="21873" y="267"/>
                    <a:pt x="28561" y="956"/>
                    <a:pt x="29834" y="1597"/>
                  </a:cubicBezTo>
                  <a:cubicBezTo>
                    <a:pt x="30594" y="1976"/>
                    <a:pt x="32535" y="2173"/>
                    <a:pt x="34399" y="2363"/>
                  </a:cubicBezTo>
                  <a:cubicBezTo>
                    <a:pt x="36431" y="2574"/>
                    <a:pt x="38380" y="2771"/>
                    <a:pt x="38584" y="3186"/>
                  </a:cubicBezTo>
                  <a:cubicBezTo>
                    <a:pt x="38984" y="3981"/>
                    <a:pt x="44548" y="9551"/>
                    <a:pt x="46144" y="9551"/>
                  </a:cubicBezTo>
                  <a:cubicBezTo>
                    <a:pt x="46601" y="9551"/>
                    <a:pt x="47276" y="9410"/>
                    <a:pt x="48022" y="92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9" name="Freihandform: Form 14">
              <a:extLst>
                <a:ext uri="{FF2B5EF4-FFF2-40B4-BE49-F238E27FC236}">
                  <a16:creationId xmlns:a16="http://schemas.microsoft.com/office/drawing/2014/main" id="{03533E7C-EC69-5846-8F52-A2F22ABF3CA1}"/>
                </a:ext>
              </a:extLst>
            </p:cNvPr>
            <p:cNvSpPr/>
            <p:nvPr/>
          </p:nvSpPr>
          <p:spPr>
            <a:xfrm>
              <a:off x="7395527" y="4015110"/>
              <a:ext cx="127635" cy="75788"/>
            </a:xfrm>
            <a:custGeom>
              <a:avLst/>
              <a:gdLst>
                <a:gd name="connsiteX0" fmla="*/ 127636 w 127635"/>
                <a:gd name="connsiteY0" fmla="*/ 49857 h 75788"/>
                <a:gd name="connsiteX1" fmla="*/ 124774 w 127635"/>
                <a:gd name="connsiteY1" fmla="*/ 51123 h 75788"/>
                <a:gd name="connsiteX2" fmla="*/ 123578 w 127635"/>
                <a:gd name="connsiteY2" fmla="*/ 50997 h 75788"/>
                <a:gd name="connsiteX3" fmla="*/ 123578 w 127635"/>
                <a:gd name="connsiteY3" fmla="*/ 60273 h 75788"/>
                <a:gd name="connsiteX4" fmla="*/ 123578 w 127635"/>
                <a:gd name="connsiteY4" fmla="*/ 75788 h 75788"/>
                <a:gd name="connsiteX5" fmla="*/ 96529 w 127635"/>
                <a:gd name="connsiteY5" fmla="*/ 73404 h 75788"/>
                <a:gd name="connsiteX6" fmla="*/ 82603 w 127635"/>
                <a:gd name="connsiteY6" fmla="*/ 73404 h 75788"/>
                <a:gd name="connsiteX7" fmla="*/ 71069 w 127635"/>
                <a:gd name="connsiteY7" fmla="*/ 60273 h 75788"/>
                <a:gd name="connsiteX8" fmla="*/ 46805 w 127635"/>
                <a:gd name="connsiteY8" fmla="*/ 60273 h 75788"/>
                <a:gd name="connsiteX9" fmla="*/ 1850 w 127635"/>
                <a:gd name="connsiteY9" fmla="*/ 34019 h 75788"/>
                <a:gd name="connsiteX10" fmla="*/ 14840 w 127635"/>
                <a:gd name="connsiteY10" fmla="*/ 9488 h 75788"/>
                <a:gd name="connsiteX11" fmla="*/ 9804 w 127635"/>
                <a:gd name="connsiteY11" fmla="*/ 6576 h 75788"/>
                <a:gd name="connsiteX12" fmla="*/ 0 w 127635"/>
                <a:gd name="connsiteY12" fmla="*/ 0 h 75788"/>
                <a:gd name="connsiteX13" fmla="*/ 0 w 127635"/>
                <a:gd name="connsiteY13" fmla="*/ 0 h 75788"/>
                <a:gd name="connsiteX14" fmla="*/ 9804 w 127635"/>
                <a:gd name="connsiteY14" fmla="*/ 6569 h 75788"/>
                <a:gd name="connsiteX15" fmla="*/ 15375 w 127635"/>
                <a:gd name="connsiteY15" fmla="*/ 9755 h 75788"/>
                <a:gd name="connsiteX16" fmla="*/ 21739 w 127635"/>
                <a:gd name="connsiteY16" fmla="*/ 7765 h 75788"/>
                <a:gd name="connsiteX17" fmla="*/ 24215 w 127635"/>
                <a:gd name="connsiteY17" fmla="*/ 7244 h 75788"/>
                <a:gd name="connsiteX18" fmla="*/ 27710 w 127635"/>
                <a:gd name="connsiteY18" fmla="*/ 7765 h 75788"/>
                <a:gd name="connsiteX19" fmla="*/ 33639 w 127635"/>
                <a:gd name="connsiteY19" fmla="*/ 10866 h 75788"/>
                <a:gd name="connsiteX20" fmla="*/ 33639 w 127635"/>
                <a:gd name="connsiteY20" fmla="*/ 10866 h 75788"/>
                <a:gd name="connsiteX21" fmla="*/ 33639 w 127635"/>
                <a:gd name="connsiteY21" fmla="*/ 10866 h 75788"/>
                <a:gd name="connsiteX22" fmla="*/ 36860 w 127635"/>
                <a:gd name="connsiteY22" fmla="*/ 12540 h 75788"/>
                <a:gd name="connsiteX23" fmla="*/ 40672 w 127635"/>
                <a:gd name="connsiteY23" fmla="*/ 16092 h 75788"/>
                <a:gd name="connsiteX24" fmla="*/ 41629 w 127635"/>
                <a:gd name="connsiteY24" fmla="*/ 16915 h 75788"/>
                <a:gd name="connsiteX25" fmla="*/ 58909 w 127635"/>
                <a:gd name="connsiteY25" fmla="*/ 28062 h 75788"/>
                <a:gd name="connsiteX26" fmla="*/ 58909 w 127635"/>
                <a:gd name="connsiteY26" fmla="*/ 28062 h 75788"/>
                <a:gd name="connsiteX27" fmla="*/ 58909 w 127635"/>
                <a:gd name="connsiteY27" fmla="*/ 28062 h 75788"/>
                <a:gd name="connsiteX28" fmla="*/ 58909 w 127635"/>
                <a:gd name="connsiteY28" fmla="*/ 28062 h 75788"/>
                <a:gd name="connsiteX29" fmla="*/ 65098 w 127635"/>
                <a:gd name="connsiteY29" fmla="*/ 32029 h 75788"/>
                <a:gd name="connsiteX30" fmla="*/ 70668 w 127635"/>
                <a:gd name="connsiteY30" fmla="*/ 36009 h 75788"/>
                <a:gd name="connsiteX31" fmla="*/ 87379 w 127635"/>
                <a:gd name="connsiteY31" fmla="*/ 43964 h 75788"/>
                <a:gd name="connsiteX32" fmla="*/ 88849 w 127635"/>
                <a:gd name="connsiteY32" fmla="*/ 45145 h 75788"/>
                <a:gd name="connsiteX33" fmla="*/ 94939 w 127635"/>
                <a:gd name="connsiteY33" fmla="*/ 47944 h 75788"/>
                <a:gd name="connsiteX34" fmla="*/ 104483 w 127635"/>
                <a:gd name="connsiteY34" fmla="*/ 49534 h 75788"/>
                <a:gd name="connsiteX35" fmla="*/ 109455 w 127635"/>
                <a:gd name="connsiteY35" fmla="*/ 49935 h 75788"/>
                <a:gd name="connsiteX36" fmla="*/ 114428 w 127635"/>
                <a:gd name="connsiteY36" fmla="*/ 50329 h 75788"/>
                <a:gd name="connsiteX37" fmla="*/ 117860 w 127635"/>
                <a:gd name="connsiteY37" fmla="*/ 50230 h 75788"/>
                <a:gd name="connsiteX38" fmla="*/ 121988 w 127635"/>
                <a:gd name="connsiteY38" fmla="*/ 50329 h 75788"/>
                <a:gd name="connsiteX39" fmla="*/ 124774 w 127635"/>
                <a:gd name="connsiteY39" fmla="*/ 51123 h 75788"/>
                <a:gd name="connsiteX40" fmla="*/ 127636 w 127635"/>
                <a:gd name="connsiteY40" fmla="*/ 49857 h 75788"/>
                <a:gd name="connsiteX41" fmla="*/ 127636 w 127635"/>
                <a:gd name="connsiteY41" fmla="*/ 49857 h 75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27635" h="75788">
                  <a:moveTo>
                    <a:pt x="127636" y="49857"/>
                  </a:moveTo>
                  <a:cubicBezTo>
                    <a:pt x="126300" y="50554"/>
                    <a:pt x="125104" y="51123"/>
                    <a:pt x="124774" y="51123"/>
                  </a:cubicBezTo>
                  <a:cubicBezTo>
                    <a:pt x="124337" y="51123"/>
                    <a:pt x="124028" y="51123"/>
                    <a:pt x="123578" y="50997"/>
                  </a:cubicBezTo>
                  <a:lnTo>
                    <a:pt x="123578" y="60273"/>
                  </a:lnTo>
                  <a:lnTo>
                    <a:pt x="123578" y="75788"/>
                  </a:lnTo>
                  <a:lnTo>
                    <a:pt x="96529" y="73404"/>
                  </a:lnTo>
                  <a:lnTo>
                    <a:pt x="82603" y="73404"/>
                  </a:lnTo>
                  <a:lnTo>
                    <a:pt x="71069" y="60273"/>
                  </a:lnTo>
                  <a:lnTo>
                    <a:pt x="46805" y="60273"/>
                  </a:lnTo>
                  <a:lnTo>
                    <a:pt x="1850" y="34019"/>
                  </a:lnTo>
                  <a:lnTo>
                    <a:pt x="14840" y="9488"/>
                  </a:lnTo>
                  <a:cubicBezTo>
                    <a:pt x="13131" y="8615"/>
                    <a:pt x="10381" y="7146"/>
                    <a:pt x="9804" y="6576"/>
                  </a:cubicBezTo>
                  <a:cubicBezTo>
                    <a:pt x="9199" y="5971"/>
                    <a:pt x="3320" y="2152"/>
                    <a:pt x="0" y="0"/>
                  </a:cubicBezTo>
                  <a:lnTo>
                    <a:pt x="0" y="0"/>
                  </a:lnTo>
                  <a:cubicBezTo>
                    <a:pt x="3320" y="2152"/>
                    <a:pt x="9207" y="5971"/>
                    <a:pt x="9804" y="6569"/>
                  </a:cubicBezTo>
                  <a:cubicBezTo>
                    <a:pt x="10444" y="7209"/>
                    <a:pt x="13785" y="8960"/>
                    <a:pt x="15375" y="9755"/>
                  </a:cubicBezTo>
                  <a:cubicBezTo>
                    <a:pt x="16570" y="9094"/>
                    <a:pt x="19517" y="7765"/>
                    <a:pt x="21739" y="7765"/>
                  </a:cubicBezTo>
                  <a:cubicBezTo>
                    <a:pt x="22780" y="7765"/>
                    <a:pt x="23540" y="7490"/>
                    <a:pt x="24215" y="7244"/>
                  </a:cubicBezTo>
                  <a:cubicBezTo>
                    <a:pt x="25340" y="6836"/>
                    <a:pt x="26212" y="6520"/>
                    <a:pt x="27710" y="7765"/>
                  </a:cubicBezTo>
                  <a:cubicBezTo>
                    <a:pt x="29025" y="8869"/>
                    <a:pt x="31564" y="9966"/>
                    <a:pt x="33639" y="10866"/>
                  </a:cubicBezTo>
                  <a:lnTo>
                    <a:pt x="33639" y="10866"/>
                  </a:lnTo>
                  <a:lnTo>
                    <a:pt x="33639" y="10866"/>
                  </a:lnTo>
                  <a:cubicBezTo>
                    <a:pt x="35313" y="11590"/>
                    <a:pt x="36677" y="12181"/>
                    <a:pt x="36860" y="12540"/>
                  </a:cubicBezTo>
                  <a:cubicBezTo>
                    <a:pt x="37149" y="13124"/>
                    <a:pt x="39350" y="14973"/>
                    <a:pt x="40672" y="16092"/>
                  </a:cubicBezTo>
                  <a:cubicBezTo>
                    <a:pt x="41157" y="16500"/>
                    <a:pt x="41523" y="16809"/>
                    <a:pt x="41629" y="16915"/>
                  </a:cubicBezTo>
                  <a:cubicBezTo>
                    <a:pt x="41903" y="17182"/>
                    <a:pt x="52031" y="23659"/>
                    <a:pt x="58909" y="28062"/>
                  </a:cubicBezTo>
                  <a:lnTo>
                    <a:pt x="58909" y="28062"/>
                  </a:lnTo>
                  <a:lnTo>
                    <a:pt x="58909" y="28062"/>
                  </a:lnTo>
                  <a:lnTo>
                    <a:pt x="58909" y="28062"/>
                  </a:lnTo>
                  <a:cubicBezTo>
                    <a:pt x="62179" y="30158"/>
                    <a:pt x="64718" y="31775"/>
                    <a:pt x="65098" y="32029"/>
                  </a:cubicBezTo>
                  <a:cubicBezTo>
                    <a:pt x="66054" y="32668"/>
                    <a:pt x="69212" y="34947"/>
                    <a:pt x="70668" y="36009"/>
                  </a:cubicBezTo>
                  <a:cubicBezTo>
                    <a:pt x="75577" y="38260"/>
                    <a:pt x="85789" y="43007"/>
                    <a:pt x="87379" y="43964"/>
                  </a:cubicBezTo>
                  <a:cubicBezTo>
                    <a:pt x="87949" y="44308"/>
                    <a:pt x="88392" y="44716"/>
                    <a:pt x="88849" y="45145"/>
                  </a:cubicBezTo>
                  <a:cubicBezTo>
                    <a:pt x="89988" y="46207"/>
                    <a:pt x="91254" y="47375"/>
                    <a:pt x="94939" y="47944"/>
                  </a:cubicBezTo>
                  <a:cubicBezTo>
                    <a:pt x="100109" y="48739"/>
                    <a:pt x="102493" y="49133"/>
                    <a:pt x="104483" y="49534"/>
                  </a:cubicBezTo>
                  <a:cubicBezTo>
                    <a:pt x="105475" y="49731"/>
                    <a:pt x="107465" y="49829"/>
                    <a:pt x="109455" y="49935"/>
                  </a:cubicBezTo>
                  <a:cubicBezTo>
                    <a:pt x="111446" y="50033"/>
                    <a:pt x="113436" y="50132"/>
                    <a:pt x="114428" y="50329"/>
                  </a:cubicBezTo>
                  <a:cubicBezTo>
                    <a:pt x="115307" y="50504"/>
                    <a:pt x="116580" y="50371"/>
                    <a:pt x="117860" y="50230"/>
                  </a:cubicBezTo>
                  <a:cubicBezTo>
                    <a:pt x="119471" y="50061"/>
                    <a:pt x="121102" y="49885"/>
                    <a:pt x="121988" y="50329"/>
                  </a:cubicBezTo>
                  <a:cubicBezTo>
                    <a:pt x="123578" y="51123"/>
                    <a:pt x="123972" y="51123"/>
                    <a:pt x="124774" y="51123"/>
                  </a:cubicBezTo>
                  <a:cubicBezTo>
                    <a:pt x="125104" y="51123"/>
                    <a:pt x="126300" y="50554"/>
                    <a:pt x="127636" y="49857"/>
                  </a:cubicBezTo>
                  <a:lnTo>
                    <a:pt x="127636" y="498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0" name="Freihandform: Form 15">
              <a:extLst>
                <a:ext uri="{FF2B5EF4-FFF2-40B4-BE49-F238E27FC236}">
                  <a16:creationId xmlns:a16="http://schemas.microsoft.com/office/drawing/2014/main" id="{802914C4-82E4-F946-9DE6-DD280B445BD1}"/>
                </a:ext>
              </a:extLst>
            </p:cNvPr>
            <p:cNvSpPr/>
            <p:nvPr/>
          </p:nvSpPr>
          <p:spPr>
            <a:xfrm>
              <a:off x="4353232" y="3983336"/>
              <a:ext cx="462127" cy="302461"/>
            </a:xfrm>
            <a:custGeom>
              <a:avLst/>
              <a:gdLst>
                <a:gd name="connsiteX0" fmla="*/ 32893 w 462127"/>
                <a:gd name="connsiteY0" fmla="*/ 6 h 302461"/>
                <a:gd name="connsiteX1" fmla="*/ 1294 w 462127"/>
                <a:gd name="connsiteY1" fmla="*/ 2510 h 302461"/>
                <a:gd name="connsiteX2" fmla="*/ 112 w 462127"/>
                <a:gd name="connsiteY2" fmla="*/ 4458 h 302461"/>
                <a:gd name="connsiteX3" fmla="*/ 2954 w 462127"/>
                <a:gd name="connsiteY3" fmla="*/ 11181 h 302461"/>
                <a:gd name="connsiteX4" fmla="*/ 3186 w 462127"/>
                <a:gd name="connsiteY4" fmla="*/ 11547 h 302461"/>
                <a:gd name="connsiteX5" fmla="*/ 6730 w 462127"/>
                <a:gd name="connsiteY5" fmla="*/ 15683 h 302461"/>
                <a:gd name="connsiteX6" fmla="*/ 7068 w 462127"/>
                <a:gd name="connsiteY6" fmla="*/ 16597 h 302461"/>
                <a:gd name="connsiteX7" fmla="*/ 7068 w 462127"/>
                <a:gd name="connsiteY7" fmla="*/ 21007 h 302461"/>
                <a:gd name="connsiteX8" fmla="*/ 7314 w 462127"/>
                <a:gd name="connsiteY8" fmla="*/ 21801 h 302461"/>
                <a:gd name="connsiteX9" fmla="*/ 11428 w 462127"/>
                <a:gd name="connsiteY9" fmla="*/ 26809 h 302461"/>
                <a:gd name="connsiteX10" fmla="*/ 11428 w 462127"/>
                <a:gd name="connsiteY10" fmla="*/ 29826 h 302461"/>
                <a:gd name="connsiteX11" fmla="*/ 13770 w 462127"/>
                <a:gd name="connsiteY11" fmla="*/ 31500 h 302461"/>
                <a:gd name="connsiteX12" fmla="*/ 16119 w 462127"/>
                <a:gd name="connsiteY12" fmla="*/ 36529 h 302461"/>
                <a:gd name="connsiteX13" fmla="*/ 16675 w 462127"/>
                <a:gd name="connsiteY13" fmla="*/ 41058 h 302461"/>
                <a:gd name="connsiteX14" fmla="*/ 17210 w 462127"/>
                <a:gd name="connsiteY14" fmla="*/ 41860 h 302461"/>
                <a:gd name="connsiteX15" fmla="*/ 18672 w 462127"/>
                <a:gd name="connsiteY15" fmla="*/ 42908 h 302461"/>
                <a:gd name="connsiteX16" fmla="*/ 19242 w 462127"/>
                <a:gd name="connsiteY16" fmla="*/ 43801 h 302461"/>
                <a:gd name="connsiteX17" fmla="*/ 21823 w 462127"/>
                <a:gd name="connsiteY17" fmla="*/ 52627 h 302461"/>
                <a:gd name="connsiteX18" fmla="*/ 28526 w 462127"/>
                <a:gd name="connsiteY18" fmla="*/ 57656 h 302461"/>
                <a:gd name="connsiteX19" fmla="*/ 34229 w 462127"/>
                <a:gd name="connsiteY19" fmla="*/ 60673 h 302461"/>
                <a:gd name="connsiteX20" fmla="*/ 46298 w 462127"/>
                <a:gd name="connsiteY20" fmla="*/ 76441 h 302461"/>
                <a:gd name="connsiteX21" fmla="*/ 42613 w 462127"/>
                <a:gd name="connsiteY21" fmla="*/ 87167 h 302461"/>
                <a:gd name="connsiteX22" fmla="*/ 33393 w 462127"/>
                <a:gd name="connsiteY22" fmla="*/ 86083 h 302461"/>
                <a:gd name="connsiteX23" fmla="*/ 32218 w 462127"/>
                <a:gd name="connsiteY23" fmla="*/ 86808 h 302461"/>
                <a:gd name="connsiteX24" fmla="*/ 32485 w 462127"/>
                <a:gd name="connsiteY24" fmla="*/ 87406 h 302461"/>
                <a:gd name="connsiteX25" fmla="*/ 39448 w 462127"/>
                <a:gd name="connsiteY25" fmla="*/ 93454 h 302461"/>
                <a:gd name="connsiteX26" fmla="*/ 39926 w 462127"/>
                <a:gd name="connsiteY26" fmla="*/ 94516 h 302461"/>
                <a:gd name="connsiteX27" fmla="*/ 39926 w 462127"/>
                <a:gd name="connsiteY27" fmla="*/ 95480 h 302461"/>
                <a:gd name="connsiteX28" fmla="*/ 40974 w 462127"/>
                <a:gd name="connsiteY28" fmla="*/ 96837 h 302461"/>
                <a:gd name="connsiteX29" fmla="*/ 44596 w 462127"/>
                <a:gd name="connsiteY29" fmla="*/ 97801 h 302461"/>
                <a:gd name="connsiteX30" fmla="*/ 45229 w 462127"/>
                <a:gd name="connsiteY30" fmla="*/ 98166 h 302461"/>
                <a:gd name="connsiteX31" fmla="*/ 47220 w 462127"/>
                <a:gd name="connsiteY31" fmla="*/ 100164 h 302461"/>
                <a:gd name="connsiteX32" fmla="*/ 47409 w 462127"/>
                <a:gd name="connsiteY32" fmla="*/ 100318 h 302461"/>
                <a:gd name="connsiteX33" fmla="*/ 50659 w 462127"/>
                <a:gd name="connsiteY33" fmla="*/ 103603 h 302461"/>
                <a:gd name="connsiteX34" fmla="*/ 55019 w 462127"/>
                <a:gd name="connsiteY34" fmla="*/ 102597 h 302461"/>
                <a:gd name="connsiteX35" fmla="*/ 58311 w 462127"/>
                <a:gd name="connsiteY35" fmla="*/ 101057 h 302461"/>
                <a:gd name="connsiteX36" fmla="*/ 60322 w 462127"/>
                <a:gd name="connsiteY36" fmla="*/ 102147 h 302461"/>
                <a:gd name="connsiteX37" fmla="*/ 61054 w 462127"/>
                <a:gd name="connsiteY37" fmla="*/ 105614 h 302461"/>
                <a:gd name="connsiteX38" fmla="*/ 73129 w 462127"/>
                <a:gd name="connsiteY38" fmla="*/ 114335 h 302461"/>
                <a:gd name="connsiteX39" fmla="*/ 73129 w 462127"/>
                <a:gd name="connsiteY39" fmla="*/ 114335 h 302461"/>
                <a:gd name="connsiteX40" fmla="*/ 76146 w 462127"/>
                <a:gd name="connsiteY40" fmla="*/ 126066 h 302461"/>
                <a:gd name="connsiteX41" fmla="*/ 76962 w 462127"/>
                <a:gd name="connsiteY41" fmla="*/ 137172 h 302461"/>
                <a:gd name="connsiteX42" fmla="*/ 78144 w 462127"/>
                <a:gd name="connsiteY42" fmla="*/ 138142 h 302461"/>
                <a:gd name="connsiteX43" fmla="*/ 79185 w 462127"/>
                <a:gd name="connsiteY43" fmla="*/ 138733 h 302461"/>
                <a:gd name="connsiteX44" fmla="*/ 80430 w 462127"/>
                <a:gd name="connsiteY44" fmla="*/ 140815 h 302461"/>
                <a:gd name="connsiteX45" fmla="*/ 81639 w 462127"/>
                <a:gd name="connsiteY45" fmla="*/ 141497 h 302461"/>
                <a:gd name="connsiteX46" fmla="*/ 82392 w 462127"/>
                <a:gd name="connsiteY46" fmla="*/ 141497 h 302461"/>
                <a:gd name="connsiteX47" fmla="*/ 83602 w 462127"/>
                <a:gd name="connsiteY47" fmla="*/ 142179 h 302461"/>
                <a:gd name="connsiteX48" fmla="*/ 84867 w 462127"/>
                <a:gd name="connsiteY48" fmla="*/ 144177 h 302461"/>
                <a:gd name="connsiteX49" fmla="*/ 87547 w 462127"/>
                <a:gd name="connsiteY49" fmla="*/ 146188 h 302461"/>
                <a:gd name="connsiteX50" fmla="*/ 94257 w 462127"/>
                <a:gd name="connsiteY50" fmla="*/ 151224 h 302461"/>
                <a:gd name="connsiteX51" fmla="*/ 102971 w 462127"/>
                <a:gd name="connsiteY51" fmla="*/ 158932 h 302461"/>
                <a:gd name="connsiteX52" fmla="*/ 106325 w 462127"/>
                <a:gd name="connsiteY52" fmla="*/ 163630 h 302461"/>
                <a:gd name="connsiteX53" fmla="*/ 108674 w 462127"/>
                <a:gd name="connsiteY53" fmla="*/ 168659 h 302461"/>
                <a:gd name="connsiteX54" fmla="*/ 113035 w 462127"/>
                <a:gd name="connsiteY54" fmla="*/ 167315 h 302461"/>
                <a:gd name="connsiteX55" fmla="*/ 116720 w 462127"/>
                <a:gd name="connsiteY55" fmla="*/ 161949 h 302461"/>
                <a:gd name="connsiteX56" fmla="*/ 114378 w 462127"/>
                <a:gd name="connsiteY56" fmla="*/ 157926 h 302461"/>
                <a:gd name="connsiteX57" fmla="*/ 113035 w 462127"/>
                <a:gd name="connsiteY57" fmla="*/ 154241 h 302461"/>
                <a:gd name="connsiteX58" fmla="*/ 108674 w 462127"/>
                <a:gd name="connsiteY58" fmla="*/ 148875 h 302461"/>
                <a:gd name="connsiteX59" fmla="*/ 104110 w 462127"/>
                <a:gd name="connsiteY59" fmla="*/ 145963 h 302461"/>
                <a:gd name="connsiteX60" fmla="*/ 102731 w 462127"/>
                <a:gd name="connsiteY60" fmla="*/ 146722 h 302461"/>
                <a:gd name="connsiteX61" fmla="*/ 100903 w 462127"/>
                <a:gd name="connsiteY61" fmla="*/ 147180 h 302461"/>
                <a:gd name="connsiteX62" fmla="*/ 96936 w 462127"/>
                <a:gd name="connsiteY62" fmla="*/ 141497 h 302461"/>
                <a:gd name="connsiteX63" fmla="*/ 96936 w 462127"/>
                <a:gd name="connsiteY63" fmla="*/ 136131 h 302461"/>
                <a:gd name="connsiteX64" fmla="*/ 94341 w 462127"/>
                <a:gd name="connsiteY64" fmla="*/ 130891 h 302461"/>
                <a:gd name="connsiteX65" fmla="*/ 94200 w 462127"/>
                <a:gd name="connsiteY65" fmla="*/ 130624 h 302461"/>
                <a:gd name="connsiteX66" fmla="*/ 91908 w 462127"/>
                <a:gd name="connsiteY66" fmla="*/ 124730 h 302461"/>
                <a:gd name="connsiteX67" fmla="*/ 90550 w 462127"/>
                <a:gd name="connsiteY67" fmla="*/ 119294 h 302461"/>
                <a:gd name="connsiteX68" fmla="*/ 89305 w 462127"/>
                <a:gd name="connsiteY68" fmla="*/ 118949 h 302461"/>
                <a:gd name="connsiteX69" fmla="*/ 88039 w 462127"/>
                <a:gd name="connsiteY69" fmla="*/ 118513 h 302461"/>
                <a:gd name="connsiteX70" fmla="*/ 87568 w 462127"/>
                <a:gd name="connsiteY70" fmla="*/ 114511 h 302461"/>
                <a:gd name="connsiteX71" fmla="*/ 87484 w 462127"/>
                <a:gd name="connsiteY71" fmla="*/ 114167 h 302461"/>
                <a:gd name="connsiteX72" fmla="*/ 84277 w 462127"/>
                <a:gd name="connsiteY72" fmla="*/ 105832 h 302461"/>
                <a:gd name="connsiteX73" fmla="*/ 84045 w 462127"/>
                <a:gd name="connsiteY73" fmla="*/ 105431 h 302461"/>
                <a:gd name="connsiteX74" fmla="*/ 81344 w 462127"/>
                <a:gd name="connsiteY74" fmla="*/ 102189 h 302461"/>
                <a:gd name="connsiteX75" fmla="*/ 80064 w 462127"/>
                <a:gd name="connsiteY75" fmla="*/ 101676 h 302461"/>
                <a:gd name="connsiteX76" fmla="*/ 77820 w 462127"/>
                <a:gd name="connsiteY76" fmla="*/ 101591 h 302461"/>
                <a:gd name="connsiteX77" fmla="*/ 77152 w 462127"/>
                <a:gd name="connsiteY77" fmla="*/ 97899 h 302461"/>
                <a:gd name="connsiteX78" fmla="*/ 73129 w 462127"/>
                <a:gd name="connsiteY78" fmla="*/ 93876 h 302461"/>
                <a:gd name="connsiteX79" fmla="*/ 69775 w 462127"/>
                <a:gd name="connsiteY79" fmla="*/ 89516 h 302461"/>
                <a:gd name="connsiteX80" fmla="*/ 65414 w 462127"/>
                <a:gd name="connsiteY80" fmla="*/ 81132 h 302461"/>
                <a:gd name="connsiteX81" fmla="*/ 64345 w 462127"/>
                <a:gd name="connsiteY81" fmla="*/ 76132 h 302461"/>
                <a:gd name="connsiteX82" fmla="*/ 63002 w 462127"/>
                <a:gd name="connsiteY82" fmla="*/ 75098 h 302461"/>
                <a:gd name="connsiteX83" fmla="*/ 61054 w 462127"/>
                <a:gd name="connsiteY83" fmla="*/ 75098 h 302461"/>
                <a:gd name="connsiteX84" fmla="*/ 59197 w 462127"/>
                <a:gd name="connsiteY84" fmla="*/ 69654 h 302461"/>
                <a:gd name="connsiteX85" fmla="*/ 57769 w 462127"/>
                <a:gd name="connsiteY85" fmla="*/ 68388 h 302461"/>
                <a:gd name="connsiteX86" fmla="*/ 56799 w 462127"/>
                <a:gd name="connsiteY86" fmla="*/ 68388 h 302461"/>
                <a:gd name="connsiteX87" fmla="*/ 56363 w 462127"/>
                <a:gd name="connsiteY87" fmla="*/ 67952 h 302461"/>
                <a:gd name="connsiteX88" fmla="*/ 55279 w 462127"/>
                <a:gd name="connsiteY88" fmla="*/ 66954 h 302461"/>
                <a:gd name="connsiteX89" fmla="*/ 54351 w 462127"/>
                <a:gd name="connsiteY89" fmla="*/ 64703 h 302461"/>
                <a:gd name="connsiteX90" fmla="*/ 45630 w 462127"/>
                <a:gd name="connsiteY90" fmla="*/ 53971 h 302461"/>
                <a:gd name="connsiteX91" fmla="*/ 42803 w 462127"/>
                <a:gd name="connsiteY91" fmla="*/ 52304 h 302461"/>
                <a:gd name="connsiteX92" fmla="*/ 40545 w 462127"/>
                <a:gd name="connsiteY92" fmla="*/ 51207 h 302461"/>
                <a:gd name="connsiteX93" fmla="*/ 38590 w 462127"/>
                <a:gd name="connsiteY93" fmla="*/ 47599 h 302461"/>
                <a:gd name="connsiteX94" fmla="*/ 36909 w 462127"/>
                <a:gd name="connsiteY94" fmla="*/ 35860 h 302461"/>
                <a:gd name="connsiteX95" fmla="*/ 34680 w 462127"/>
                <a:gd name="connsiteY95" fmla="*/ 30276 h 302461"/>
                <a:gd name="connsiteX96" fmla="*/ 34208 w 462127"/>
                <a:gd name="connsiteY96" fmla="*/ 29186 h 302461"/>
                <a:gd name="connsiteX97" fmla="*/ 33224 w 462127"/>
                <a:gd name="connsiteY97" fmla="*/ 23785 h 302461"/>
                <a:gd name="connsiteX98" fmla="*/ 36909 w 462127"/>
                <a:gd name="connsiteY98" fmla="*/ 17082 h 302461"/>
                <a:gd name="connsiteX99" fmla="*/ 44287 w 462127"/>
                <a:gd name="connsiteY99" fmla="*/ 21443 h 302461"/>
                <a:gd name="connsiteX100" fmla="*/ 47297 w 462127"/>
                <a:gd name="connsiteY100" fmla="*/ 20127 h 302461"/>
                <a:gd name="connsiteX101" fmla="*/ 48886 w 462127"/>
                <a:gd name="connsiteY101" fmla="*/ 19769 h 302461"/>
                <a:gd name="connsiteX102" fmla="*/ 52431 w 462127"/>
                <a:gd name="connsiteY102" fmla="*/ 21098 h 302461"/>
                <a:gd name="connsiteX103" fmla="*/ 53345 w 462127"/>
                <a:gd name="connsiteY103" fmla="*/ 22413 h 302461"/>
                <a:gd name="connsiteX104" fmla="*/ 53345 w 462127"/>
                <a:gd name="connsiteY104" fmla="*/ 22828 h 302461"/>
                <a:gd name="connsiteX105" fmla="*/ 54239 w 462127"/>
                <a:gd name="connsiteY105" fmla="*/ 24136 h 302461"/>
                <a:gd name="connsiteX106" fmla="*/ 60027 w 462127"/>
                <a:gd name="connsiteY106" fmla="*/ 26401 h 302461"/>
                <a:gd name="connsiteX107" fmla="*/ 60913 w 462127"/>
                <a:gd name="connsiteY107" fmla="*/ 27899 h 302461"/>
                <a:gd name="connsiteX108" fmla="*/ 60385 w 462127"/>
                <a:gd name="connsiteY108" fmla="*/ 33181 h 302461"/>
                <a:gd name="connsiteX109" fmla="*/ 62397 w 462127"/>
                <a:gd name="connsiteY109" fmla="*/ 37204 h 302461"/>
                <a:gd name="connsiteX110" fmla="*/ 66420 w 462127"/>
                <a:gd name="connsiteY110" fmla="*/ 46923 h 302461"/>
                <a:gd name="connsiteX111" fmla="*/ 67763 w 462127"/>
                <a:gd name="connsiteY111" fmla="*/ 50616 h 302461"/>
                <a:gd name="connsiteX112" fmla="*/ 73129 w 462127"/>
                <a:gd name="connsiteY112" fmla="*/ 58999 h 302461"/>
                <a:gd name="connsiteX113" fmla="*/ 76146 w 462127"/>
                <a:gd name="connsiteY113" fmla="*/ 66714 h 302461"/>
                <a:gd name="connsiteX114" fmla="*/ 79164 w 462127"/>
                <a:gd name="connsiteY114" fmla="*/ 68388 h 302461"/>
                <a:gd name="connsiteX115" fmla="*/ 82195 w 462127"/>
                <a:gd name="connsiteY115" fmla="*/ 74162 h 302461"/>
                <a:gd name="connsiteX116" fmla="*/ 83510 w 462127"/>
                <a:gd name="connsiteY116" fmla="*/ 75098 h 302461"/>
                <a:gd name="connsiteX117" fmla="*/ 84607 w 462127"/>
                <a:gd name="connsiteY117" fmla="*/ 75647 h 302461"/>
                <a:gd name="connsiteX118" fmla="*/ 89559 w 462127"/>
                <a:gd name="connsiteY118" fmla="*/ 82476 h 302461"/>
                <a:gd name="connsiteX119" fmla="*/ 96936 w 462127"/>
                <a:gd name="connsiteY119" fmla="*/ 84487 h 302461"/>
                <a:gd name="connsiteX120" fmla="*/ 100171 w 462127"/>
                <a:gd name="connsiteY120" fmla="*/ 85303 h 302461"/>
                <a:gd name="connsiteX121" fmla="*/ 100291 w 462127"/>
                <a:gd name="connsiteY121" fmla="*/ 85718 h 302461"/>
                <a:gd name="connsiteX122" fmla="*/ 100291 w 462127"/>
                <a:gd name="connsiteY122" fmla="*/ 91196 h 302461"/>
                <a:gd name="connsiteX123" fmla="*/ 102302 w 462127"/>
                <a:gd name="connsiteY123" fmla="*/ 96556 h 302461"/>
                <a:gd name="connsiteX124" fmla="*/ 108674 w 462127"/>
                <a:gd name="connsiteY124" fmla="*/ 97899 h 302461"/>
                <a:gd name="connsiteX125" fmla="*/ 111023 w 462127"/>
                <a:gd name="connsiteY125" fmla="*/ 104609 h 302461"/>
                <a:gd name="connsiteX126" fmla="*/ 115384 w 462127"/>
                <a:gd name="connsiteY126" fmla="*/ 104609 h 302461"/>
                <a:gd name="connsiteX127" fmla="*/ 119069 w 462127"/>
                <a:gd name="connsiteY127" fmla="*/ 107963 h 302461"/>
                <a:gd name="connsiteX128" fmla="*/ 119069 w 462127"/>
                <a:gd name="connsiteY128" fmla="*/ 113329 h 302461"/>
                <a:gd name="connsiteX129" fmla="*/ 116720 w 462127"/>
                <a:gd name="connsiteY129" fmla="*/ 118021 h 302461"/>
                <a:gd name="connsiteX130" fmla="*/ 119744 w 462127"/>
                <a:gd name="connsiteY130" fmla="*/ 122381 h 302461"/>
                <a:gd name="connsiteX131" fmla="*/ 123507 w 462127"/>
                <a:gd name="connsiteY131" fmla="*/ 122381 h 302461"/>
                <a:gd name="connsiteX132" fmla="*/ 124267 w 462127"/>
                <a:gd name="connsiteY132" fmla="*/ 124224 h 302461"/>
                <a:gd name="connsiteX133" fmla="*/ 123479 w 462127"/>
                <a:gd name="connsiteY133" fmla="*/ 125019 h 302461"/>
                <a:gd name="connsiteX134" fmla="*/ 123915 w 462127"/>
                <a:gd name="connsiteY134" fmla="*/ 126066 h 302461"/>
                <a:gd name="connsiteX135" fmla="*/ 124253 w 462127"/>
                <a:gd name="connsiteY135" fmla="*/ 125968 h 302461"/>
                <a:gd name="connsiteX136" fmla="*/ 125223 w 462127"/>
                <a:gd name="connsiteY136" fmla="*/ 125321 h 302461"/>
                <a:gd name="connsiteX137" fmla="*/ 126925 w 462127"/>
                <a:gd name="connsiteY137" fmla="*/ 125419 h 302461"/>
                <a:gd name="connsiteX138" fmla="*/ 132488 w 462127"/>
                <a:gd name="connsiteY138" fmla="*/ 130195 h 302461"/>
                <a:gd name="connsiteX139" fmla="*/ 133431 w 462127"/>
                <a:gd name="connsiteY139" fmla="*/ 129935 h 302461"/>
                <a:gd name="connsiteX140" fmla="*/ 134486 w 462127"/>
                <a:gd name="connsiteY140" fmla="*/ 129808 h 302461"/>
                <a:gd name="connsiteX141" fmla="*/ 135266 w 462127"/>
                <a:gd name="connsiteY141" fmla="*/ 131060 h 302461"/>
                <a:gd name="connsiteX142" fmla="*/ 135913 w 462127"/>
                <a:gd name="connsiteY142" fmla="*/ 131594 h 302461"/>
                <a:gd name="connsiteX143" fmla="*/ 139191 w 462127"/>
                <a:gd name="connsiteY143" fmla="*/ 134457 h 302461"/>
                <a:gd name="connsiteX144" fmla="*/ 139191 w 462127"/>
                <a:gd name="connsiteY144" fmla="*/ 138438 h 302461"/>
                <a:gd name="connsiteX145" fmla="*/ 139760 w 462127"/>
                <a:gd name="connsiteY145" fmla="*/ 139570 h 302461"/>
                <a:gd name="connsiteX146" fmla="*/ 149586 w 462127"/>
                <a:gd name="connsiteY146" fmla="*/ 147194 h 302461"/>
                <a:gd name="connsiteX147" fmla="*/ 154952 w 462127"/>
                <a:gd name="connsiteY147" fmla="*/ 152560 h 302461"/>
                <a:gd name="connsiteX148" fmla="*/ 162330 w 462127"/>
                <a:gd name="connsiteY148" fmla="*/ 162624 h 302461"/>
                <a:gd name="connsiteX149" fmla="*/ 173400 w 462127"/>
                <a:gd name="connsiteY149" fmla="*/ 176036 h 302461"/>
                <a:gd name="connsiteX150" fmla="*/ 176079 w 462127"/>
                <a:gd name="connsiteY150" fmla="*/ 185763 h 302461"/>
                <a:gd name="connsiteX151" fmla="*/ 180841 w 462127"/>
                <a:gd name="connsiteY151" fmla="*/ 192304 h 302461"/>
                <a:gd name="connsiteX152" fmla="*/ 181361 w 462127"/>
                <a:gd name="connsiteY152" fmla="*/ 193584 h 302461"/>
                <a:gd name="connsiteX153" fmla="*/ 180812 w 462127"/>
                <a:gd name="connsiteY153" fmla="*/ 198465 h 302461"/>
                <a:gd name="connsiteX154" fmla="*/ 180552 w 462127"/>
                <a:gd name="connsiteY154" fmla="*/ 199147 h 302461"/>
                <a:gd name="connsiteX155" fmla="*/ 177971 w 462127"/>
                <a:gd name="connsiteY155" fmla="*/ 202656 h 302461"/>
                <a:gd name="connsiteX156" fmla="*/ 178351 w 462127"/>
                <a:gd name="connsiteY156" fmla="*/ 204675 h 302461"/>
                <a:gd name="connsiteX157" fmla="*/ 179701 w 462127"/>
                <a:gd name="connsiteY157" fmla="*/ 205540 h 302461"/>
                <a:gd name="connsiteX158" fmla="*/ 180165 w 462127"/>
                <a:gd name="connsiteY158" fmla="*/ 207333 h 302461"/>
                <a:gd name="connsiteX159" fmla="*/ 179765 w 462127"/>
                <a:gd name="connsiteY159" fmla="*/ 207896 h 302461"/>
                <a:gd name="connsiteX160" fmla="*/ 175411 w 462127"/>
                <a:gd name="connsiteY160" fmla="*/ 209907 h 302461"/>
                <a:gd name="connsiteX161" fmla="*/ 176079 w 462127"/>
                <a:gd name="connsiteY161" fmla="*/ 213600 h 302461"/>
                <a:gd name="connsiteX162" fmla="*/ 178091 w 462127"/>
                <a:gd name="connsiteY162" fmla="*/ 217953 h 302461"/>
                <a:gd name="connsiteX163" fmla="*/ 184125 w 462127"/>
                <a:gd name="connsiteY163" fmla="*/ 225668 h 302461"/>
                <a:gd name="connsiteX164" fmla="*/ 190497 w 462127"/>
                <a:gd name="connsiteY164" fmla="*/ 229692 h 302461"/>
                <a:gd name="connsiteX165" fmla="*/ 201229 w 462127"/>
                <a:gd name="connsiteY165" fmla="*/ 235733 h 302461"/>
                <a:gd name="connsiteX166" fmla="*/ 206933 w 462127"/>
                <a:gd name="connsiteY166" fmla="*/ 242098 h 302461"/>
                <a:gd name="connsiteX167" fmla="*/ 213305 w 462127"/>
                <a:gd name="connsiteY167" fmla="*/ 245453 h 302461"/>
                <a:gd name="connsiteX168" fmla="*/ 225711 w 462127"/>
                <a:gd name="connsiteY168" fmla="*/ 249813 h 302461"/>
                <a:gd name="connsiteX169" fmla="*/ 229066 w 462127"/>
                <a:gd name="connsiteY169" fmla="*/ 249145 h 302461"/>
                <a:gd name="connsiteX170" fmla="*/ 232752 w 462127"/>
                <a:gd name="connsiteY170" fmla="*/ 249813 h 302461"/>
                <a:gd name="connsiteX171" fmla="*/ 235945 w 462127"/>
                <a:gd name="connsiteY171" fmla="*/ 253555 h 302461"/>
                <a:gd name="connsiteX172" fmla="*/ 236374 w 462127"/>
                <a:gd name="connsiteY172" fmla="*/ 254026 h 302461"/>
                <a:gd name="connsiteX173" fmla="*/ 240467 w 462127"/>
                <a:gd name="connsiteY173" fmla="*/ 256860 h 302461"/>
                <a:gd name="connsiteX174" fmla="*/ 245580 w 462127"/>
                <a:gd name="connsiteY174" fmla="*/ 260686 h 302461"/>
                <a:gd name="connsiteX175" fmla="*/ 246142 w 462127"/>
                <a:gd name="connsiteY175" fmla="*/ 260946 h 302461"/>
                <a:gd name="connsiteX176" fmla="*/ 252873 w 462127"/>
                <a:gd name="connsiteY176" fmla="*/ 262219 h 302461"/>
                <a:gd name="connsiteX177" fmla="*/ 259913 w 462127"/>
                <a:gd name="connsiteY177" fmla="*/ 265912 h 302461"/>
                <a:gd name="connsiteX178" fmla="*/ 265617 w 462127"/>
                <a:gd name="connsiteY178" fmla="*/ 269266 h 302461"/>
                <a:gd name="connsiteX179" fmla="*/ 273663 w 462127"/>
                <a:gd name="connsiteY179" fmla="*/ 271278 h 302461"/>
                <a:gd name="connsiteX180" fmla="*/ 280098 w 462127"/>
                <a:gd name="connsiteY180" fmla="*/ 272241 h 302461"/>
                <a:gd name="connsiteX181" fmla="*/ 281090 w 462127"/>
                <a:gd name="connsiteY181" fmla="*/ 272755 h 302461"/>
                <a:gd name="connsiteX182" fmla="*/ 283537 w 462127"/>
                <a:gd name="connsiteY182" fmla="*/ 275737 h 302461"/>
                <a:gd name="connsiteX183" fmla="*/ 283994 w 462127"/>
                <a:gd name="connsiteY183" fmla="*/ 276110 h 302461"/>
                <a:gd name="connsiteX184" fmla="*/ 287075 w 462127"/>
                <a:gd name="connsiteY184" fmla="*/ 277650 h 302461"/>
                <a:gd name="connsiteX185" fmla="*/ 294579 w 462127"/>
                <a:gd name="connsiteY185" fmla="*/ 280906 h 302461"/>
                <a:gd name="connsiteX186" fmla="*/ 295022 w 462127"/>
                <a:gd name="connsiteY186" fmla="*/ 281019 h 302461"/>
                <a:gd name="connsiteX187" fmla="*/ 305860 w 462127"/>
                <a:gd name="connsiteY187" fmla="*/ 283016 h 302461"/>
                <a:gd name="connsiteX188" fmla="*/ 317591 w 462127"/>
                <a:gd name="connsiteY188" fmla="*/ 285696 h 302461"/>
                <a:gd name="connsiteX189" fmla="*/ 324969 w 462127"/>
                <a:gd name="connsiteY189" fmla="*/ 282678 h 302461"/>
                <a:gd name="connsiteX190" fmla="*/ 333022 w 462127"/>
                <a:gd name="connsiteY190" fmla="*/ 279661 h 302461"/>
                <a:gd name="connsiteX191" fmla="*/ 343079 w 462127"/>
                <a:gd name="connsiteY191" fmla="*/ 277650 h 302461"/>
                <a:gd name="connsiteX192" fmla="*/ 354149 w 462127"/>
                <a:gd name="connsiteY192" fmla="*/ 281673 h 302461"/>
                <a:gd name="connsiteX193" fmla="*/ 367561 w 462127"/>
                <a:gd name="connsiteY193" fmla="*/ 291730 h 302461"/>
                <a:gd name="connsiteX194" fmla="*/ 377879 w 462127"/>
                <a:gd name="connsiteY194" fmla="*/ 302047 h 302461"/>
                <a:gd name="connsiteX195" fmla="*/ 380249 w 462127"/>
                <a:gd name="connsiteY195" fmla="*/ 301400 h 302461"/>
                <a:gd name="connsiteX196" fmla="*/ 381311 w 462127"/>
                <a:gd name="connsiteY196" fmla="*/ 297434 h 302461"/>
                <a:gd name="connsiteX197" fmla="*/ 380136 w 462127"/>
                <a:gd name="connsiteY197" fmla="*/ 292532 h 302461"/>
                <a:gd name="connsiteX198" fmla="*/ 380136 w 462127"/>
                <a:gd name="connsiteY198" fmla="*/ 290942 h 302461"/>
                <a:gd name="connsiteX199" fmla="*/ 386930 w 462127"/>
                <a:gd name="connsiteY199" fmla="*/ 280308 h 302461"/>
                <a:gd name="connsiteX200" fmla="*/ 388119 w 462127"/>
                <a:gd name="connsiteY200" fmla="*/ 279661 h 302461"/>
                <a:gd name="connsiteX201" fmla="*/ 405723 w 462127"/>
                <a:gd name="connsiteY201" fmla="*/ 279661 h 302461"/>
                <a:gd name="connsiteX202" fmla="*/ 407129 w 462127"/>
                <a:gd name="connsiteY202" fmla="*/ 278255 h 302461"/>
                <a:gd name="connsiteX203" fmla="*/ 407129 w 462127"/>
                <a:gd name="connsiteY203" fmla="*/ 276011 h 302461"/>
                <a:gd name="connsiteX204" fmla="*/ 406946 w 462127"/>
                <a:gd name="connsiteY204" fmla="*/ 275315 h 302461"/>
                <a:gd name="connsiteX205" fmla="*/ 404787 w 462127"/>
                <a:gd name="connsiteY205" fmla="*/ 272284 h 302461"/>
                <a:gd name="connsiteX206" fmla="*/ 401432 w 462127"/>
                <a:gd name="connsiteY206" fmla="*/ 268591 h 302461"/>
                <a:gd name="connsiteX207" fmla="*/ 395728 w 462127"/>
                <a:gd name="connsiteY207" fmla="*/ 264238 h 302461"/>
                <a:gd name="connsiteX208" fmla="*/ 394160 w 462127"/>
                <a:gd name="connsiteY208" fmla="*/ 262810 h 302461"/>
                <a:gd name="connsiteX209" fmla="*/ 395138 w 462127"/>
                <a:gd name="connsiteY209" fmla="*/ 260545 h 302461"/>
                <a:gd name="connsiteX210" fmla="*/ 397009 w 462127"/>
                <a:gd name="connsiteY210" fmla="*/ 260545 h 302461"/>
                <a:gd name="connsiteX211" fmla="*/ 398415 w 462127"/>
                <a:gd name="connsiteY211" fmla="*/ 259139 h 302461"/>
                <a:gd name="connsiteX212" fmla="*/ 398415 w 462127"/>
                <a:gd name="connsiteY212" fmla="*/ 252563 h 302461"/>
                <a:gd name="connsiteX213" fmla="*/ 399822 w 462127"/>
                <a:gd name="connsiteY213" fmla="*/ 251156 h 302461"/>
                <a:gd name="connsiteX214" fmla="*/ 424817 w 462127"/>
                <a:gd name="connsiteY214" fmla="*/ 251156 h 302461"/>
                <a:gd name="connsiteX215" fmla="*/ 425591 w 462127"/>
                <a:gd name="connsiteY215" fmla="*/ 250917 h 302461"/>
                <a:gd name="connsiteX216" fmla="*/ 426899 w 462127"/>
                <a:gd name="connsiteY216" fmla="*/ 250052 h 302461"/>
                <a:gd name="connsiteX217" fmla="*/ 427680 w 462127"/>
                <a:gd name="connsiteY217" fmla="*/ 249813 h 302461"/>
                <a:gd name="connsiteX218" fmla="*/ 431112 w 462127"/>
                <a:gd name="connsiteY218" fmla="*/ 249813 h 302461"/>
                <a:gd name="connsiteX219" fmla="*/ 432343 w 462127"/>
                <a:gd name="connsiteY219" fmla="*/ 249074 h 302461"/>
                <a:gd name="connsiteX220" fmla="*/ 435986 w 462127"/>
                <a:gd name="connsiteY220" fmla="*/ 242358 h 302461"/>
                <a:gd name="connsiteX221" fmla="*/ 436970 w 462127"/>
                <a:gd name="connsiteY221" fmla="*/ 241648 h 302461"/>
                <a:gd name="connsiteX222" fmla="*/ 439361 w 462127"/>
                <a:gd name="connsiteY222" fmla="*/ 241212 h 302461"/>
                <a:gd name="connsiteX223" fmla="*/ 440318 w 462127"/>
                <a:gd name="connsiteY223" fmla="*/ 240536 h 302461"/>
                <a:gd name="connsiteX224" fmla="*/ 440726 w 462127"/>
                <a:gd name="connsiteY224" fmla="*/ 239847 h 302461"/>
                <a:gd name="connsiteX225" fmla="*/ 443645 w 462127"/>
                <a:gd name="connsiteY225" fmla="*/ 240550 h 302461"/>
                <a:gd name="connsiteX226" fmla="*/ 444017 w 462127"/>
                <a:gd name="connsiteY226" fmla="*/ 241767 h 302461"/>
                <a:gd name="connsiteX227" fmla="*/ 444601 w 462127"/>
                <a:gd name="connsiteY227" fmla="*/ 242569 h 302461"/>
                <a:gd name="connsiteX228" fmla="*/ 447337 w 462127"/>
                <a:gd name="connsiteY228" fmla="*/ 242245 h 302461"/>
                <a:gd name="connsiteX229" fmla="*/ 450847 w 462127"/>
                <a:gd name="connsiteY229" fmla="*/ 229459 h 302461"/>
                <a:gd name="connsiteX230" fmla="*/ 450305 w 462127"/>
                <a:gd name="connsiteY230" fmla="*/ 228939 h 302461"/>
                <a:gd name="connsiteX231" fmla="*/ 449827 w 462127"/>
                <a:gd name="connsiteY231" fmla="*/ 228285 h 302461"/>
                <a:gd name="connsiteX232" fmla="*/ 451796 w 462127"/>
                <a:gd name="connsiteY232" fmla="*/ 225549 h 302461"/>
                <a:gd name="connsiteX233" fmla="*/ 450650 w 462127"/>
                <a:gd name="connsiteY233" fmla="*/ 223320 h 302461"/>
                <a:gd name="connsiteX234" fmla="*/ 449538 w 462127"/>
                <a:gd name="connsiteY234" fmla="*/ 221034 h 302461"/>
                <a:gd name="connsiteX235" fmla="*/ 451543 w 462127"/>
                <a:gd name="connsiteY235" fmla="*/ 218530 h 302461"/>
                <a:gd name="connsiteX236" fmla="*/ 451803 w 462127"/>
                <a:gd name="connsiteY236" fmla="*/ 217995 h 302461"/>
                <a:gd name="connsiteX237" fmla="*/ 453343 w 462127"/>
                <a:gd name="connsiteY237" fmla="*/ 211856 h 302461"/>
                <a:gd name="connsiteX238" fmla="*/ 453575 w 462127"/>
                <a:gd name="connsiteY238" fmla="*/ 211363 h 302461"/>
                <a:gd name="connsiteX239" fmla="*/ 459110 w 462127"/>
                <a:gd name="connsiteY239" fmla="*/ 203873 h 302461"/>
                <a:gd name="connsiteX240" fmla="*/ 462128 w 462127"/>
                <a:gd name="connsiteY240" fmla="*/ 198169 h 302461"/>
                <a:gd name="connsiteX241" fmla="*/ 459518 w 462127"/>
                <a:gd name="connsiteY241" fmla="*/ 192114 h 302461"/>
                <a:gd name="connsiteX242" fmla="*/ 458351 w 462127"/>
                <a:gd name="connsiteY242" fmla="*/ 191572 h 302461"/>
                <a:gd name="connsiteX243" fmla="*/ 456424 w 462127"/>
                <a:gd name="connsiteY243" fmla="*/ 192803 h 302461"/>
                <a:gd name="connsiteX244" fmla="*/ 451733 w 462127"/>
                <a:gd name="connsiteY244" fmla="*/ 192803 h 302461"/>
                <a:gd name="connsiteX245" fmla="*/ 443349 w 462127"/>
                <a:gd name="connsiteY245" fmla="*/ 190124 h 302461"/>
                <a:gd name="connsiteX246" fmla="*/ 438989 w 462127"/>
                <a:gd name="connsiteY246" fmla="*/ 191460 h 302461"/>
                <a:gd name="connsiteX247" fmla="*/ 431949 w 462127"/>
                <a:gd name="connsiteY247" fmla="*/ 193478 h 302461"/>
                <a:gd name="connsiteX248" fmla="*/ 421554 w 462127"/>
                <a:gd name="connsiteY248" fmla="*/ 194146 h 302461"/>
                <a:gd name="connsiteX249" fmla="*/ 414176 w 462127"/>
                <a:gd name="connsiteY249" fmla="*/ 197164 h 302461"/>
                <a:gd name="connsiteX250" fmla="*/ 407804 w 462127"/>
                <a:gd name="connsiteY250" fmla="*/ 203873 h 302461"/>
                <a:gd name="connsiteX251" fmla="*/ 405807 w 462127"/>
                <a:gd name="connsiteY251" fmla="*/ 217855 h 302461"/>
                <a:gd name="connsiteX252" fmla="*/ 405533 w 462127"/>
                <a:gd name="connsiteY252" fmla="*/ 218642 h 302461"/>
                <a:gd name="connsiteX253" fmla="*/ 403296 w 462127"/>
                <a:gd name="connsiteY253" fmla="*/ 221716 h 302461"/>
                <a:gd name="connsiteX254" fmla="*/ 403050 w 462127"/>
                <a:gd name="connsiteY254" fmla="*/ 222300 h 302461"/>
                <a:gd name="connsiteX255" fmla="*/ 402192 w 462127"/>
                <a:gd name="connsiteY255" fmla="*/ 227174 h 302461"/>
                <a:gd name="connsiteX256" fmla="*/ 401707 w 462127"/>
                <a:gd name="connsiteY256" fmla="*/ 228011 h 302461"/>
                <a:gd name="connsiteX257" fmla="*/ 394055 w 462127"/>
                <a:gd name="connsiteY257" fmla="*/ 233714 h 302461"/>
                <a:gd name="connsiteX258" fmla="*/ 394055 w 462127"/>
                <a:gd name="connsiteY258" fmla="*/ 236738 h 302461"/>
                <a:gd name="connsiteX259" fmla="*/ 394055 w 462127"/>
                <a:gd name="connsiteY259" fmla="*/ 239756 h 302461"/>
                <a:gd name="connsiteX260" fmla="*/ 389694 w 462127"/>
                <a:gd name="connsiteY260" fmla="*/ 242773 h 302461"/>
                <a:gd name="connsiteX261" fmla="*/ 381979 w 462127"/>
                <a:gd name="connsiteY261" fmla="*/ 239081 h 302461"/>
                <a:gd name="connsiteX262" fmla="*/ 374271 w 462127"/>
                <a:gd name="connsiteY262" fmla="*/ 239081 h 302461"/>
                <a:gd name="connsiteX263" fmla="*/ 371268 w 462127"/>
                <a:gd name="connsiteY263" fmla="*/ 240762 h 302461"/>
                <a:gd name="connsiteX264" fmla="*/ 370431 w 462127"/>
                <a:gd name="connsiteY264" fmla="*/ 241155 h 302461"/>
                <a:gd name="connsiteX265" fmla="*/ 360183 w 462127"/>
                <a:gd name="connsiteY265" fmla="*/ 242773 h 302461"/>
                <a:gd name="connsiteX266" fmla="*/ 354817 w 462127"/>
                <a:gd name="connsiteY266" fmla="*/ 244784 h 302461"/>
                <a:gd name="connsiteX267" fmla="*/ 343079 w 462127"/>
                <a:gd name="connsiteY267" fmla="*/ 245790 h 302461"/>
                <a:gd name="connsiteX268" fmla="*/ 339056 w 462127"/>
                <a:gd name="connsiteY268" fmla="*/ 241092 h 302461"/>
                <a:gd name="connsiteX269" fmla="*/ 335033 w 462127"/>
                <a:gd name="connsiteY269" fmla="*/ 237744 h 302461"/>
                <a:gd name="connsiteX270" fmla="*/ 323633 w 462127"/>
                <a:gd name="connsiteY270" fmla="*/ 235395 h 302461"/>
                <a:gd name="connsiteX271" fmla="*/ 314961 w 462127"/>
                <a:gd name="connsiteY271" fmla="*/ 220422 h 302461"/>
                <a:gd name="connsiteX272" fmla="*/ 314912 w 462127"/>
                <a:gd name="connsiteY272" fmla="*/ 220302 h 302461"/>
                <a:gd name="connsiteX273" fmla="*/ 306528 w 462127"/>
                <a:gd name="connsiteY273" fmla="*/ 208564 h 302461"/>
                <a:gd name="connsiteX274" fmla="*/ 297477 w 462127"/>
                <a:gd name="connsiteY274" fmla="*/ 192135 h 302461"/>
                <a:gd name="connsiteX275" fmla="*/ 293447 w 462127"/>
                <a:gd name="connsiteY275" fmla="*/ 175030 h 302461"/>
                <a:gd name="connsiteX276" fmla="*/ 294452 w 462127"/>
                <a:gd name="connsiteY276" fmla="*/ 172013 h 302461"/>
                <a:gd name="connsiteX277" fmla="*/ 295458 w 462127"/>
                <a:gd name="connsiteY277" fmla="*/ 163630 h 302461"/>
                <a:gd name="connsiteX278" fmla="*/ 294452 w 462127"/>
                <a:gd name="connsiteY278" fmla="*/ 151554 h 302461"/>
                <a:gd name="connsiteX279" fmla="*/ 295458 w 462127"/>
                <a:gd name="connsiteY279" fmla="*/ 141159 h 302461"/>
                <a:gd name="connsiteX280" fmla="*/ 296471 w 462127"/>
                <a:gd name="connsiteY280" fmla="*/ 134119 h 302461"/>
                <a:gd name="connsiteX281" fmla="*/ 297477 w 462127"/>
                <a:gd name="connsiteY281" fmla="*/ 128753 h 302461"/>
                <a:gd name="connsiteX282" fmla="*/ 301830 w 462127"/>
                <a:gd name="connsiteY282" fmla="*/ 124392 h 302461"/>
                <a:gd name="connsiteX283" fmla="*/ 303335 w 462127"/>
                <a:gd name="connsiteY283" fmla="*/ 119195 h 302461"/>
                <a:gd name="connsiteX284" fmla="*/ 301992 w 462127"/>
                <a:gd name="connsiteY284" fmla="*/ 117669 h 302461"/>
                <a:gd name="connsiteX285" fmla="*/ 294452 w 462127"/>
                <a:gd name="connsiteY285" fmla="*/ 117015 h 302461"/>
                <a:gd name="connsiteX286" fmla="*/ 286407 w 462127"/>
                <a:gd name="connsiteY286" fmla="*/ 113998 h 302461"/>
                <a:gd name="connsiteX287" fmla="*/ 279367 w 462127"/>
                <a:gd name="connsiteY287" fmla="*/ 111311 h 302461"/>
                <a:gd name="connsiteX288" fmla="*/ 274000 w 462127"/>
                <a:gd name="connsiteY288" fmla="*/ 108631 h 302461"/>
                <a:gd name="connsiteX289" fmla="*/ 271989 w 462127"/>
                <a:gd name="connsiteY289" fmla="*/ 105614 h 302461"/>
                <a:gd name="connsiteX290" fmla="*/ 269978 w 462127"/>
                <a:gd name="connsiteY290" fmla="*/ 100916 h 302461"/>
                <a:gd name="connsiteX291" fmla="*/ 269302 w 462127"/>
                <a:gd name="connsiteY291" fmla="*/ 95550 h 302461"/>
                <a:gd name="connsiteX292" fmla="*/ 267966 w 462127"/>
                <a:gd name="connsiteY292" fmla="*/ 90184 h 302461"/>
                <a:gd name="connsiteX293" fmla="*/ 263606 w 462127"/>
                <a:gd name="connsiteY293" fmla="*/ 86498 h 302461"/>
                <a:gd name="connsiteX294" fmla="*/ 256896 w 462127"/>
                <a:gd name="connsiteY294" fmla="*/ 78453 h 302461"/>
                <a:gd name="connsiteX295" fmla="*/ 253211 w 462127"/>
                <a:gd name="connsiteY295" fmla="*/ 70737 h 302461"/>
                <a:gd name="connsiteX296" fmla="*/ 250862 w 462127"/>
                <a:gd name="connsiteY296" fmla="*/ 64028 h 302461"/>
                <a:gd name="connsiteX297" fmla="*/ 244490 w 462127"/>
                <a:gd name="connsiteY297" fmla="*/ 57656 h 302461"/>
                <a:gd name="connsiteX298" fmla="*/ 241135 w 462127"/>
                <a:gd name="connsiteY298" fmla="*/ 54976 h 302461"/>
                <a:gd name="connsiteX299" fmla="*/ 237836 w 462127"/>
                <a:gd name="connsiteY299" fmla="*/ 52276 h 302461"/>
                <a:gd name="connsiteX300" fmla="*/ 236943 w 462127"/>
                <a:gd name="connsiteY300" fmla="*/ 51959 h 302461"/>
                <a:gd name="connsiteX301" fmla="*/ 231746 w 462127"/>
                <a:gd name="connsiteY301" fmla="*/ 51959 h 302461"/>
                <a:gd name="connsiteX302" fmla="*/ 227892 w 462127"/>
                <a:gd name="connsiteY302" fmla="*/ 50567 h 302461"/>
                <a:gd name="connsiteX303" fmla="*/ 225726 w 462127"/>
                <a:gd name="connsiteY303" fmla="*/ 50763 h 302461"/>
                <a:gd name="connsiteX304" fmla="*/ 225128 w 462127"/>
                <a:gd name="connsiteY304" fmla="*/ 51467 h 302461"/>
                <a:gd name="connsiteX305" fmla="*/ 224059 w 462127"/>
                <a:gd name="connsiteY305" fmla="*/ 51959 h 302461"/>
                <a:gd name="connsiteX306" fmla="*/ 220894 w 462127"/>
                <a:gd name="connsiteY306" fmla="*/ 51959 h 302461"/>
                <a:gd name="connsiteX307" fmla="*/ 219628 w 462127"/>
                <a:gd name="connsiteY307" fmla="*/ 52754 h 302461"/>
                <a:gd name="connsiteX308" fmla="*/ 215415 w 462127"/>
                <a:gd name="connsiteY308" fmla="*/ 61468 h 302461"/>
                <a:gd name="connsiteX309" fmla="*/ 215148 w 462127"/>
                <a:gd name="connsiteY309" fmla="*/ 61855 h 302461"/>
                <a:gd name="connsiteX310" fmla="*/ 212630 w 462127"/>
                <a:gd name="connsiteY310" fmla="*/ 65034 h 302461"/>
                <a:gd name="connsiteX311" fmla="*/ 204683 w 462127"/>
                <a:gd name="connsiteY311" fmla="*/ 62741 h 302461"/>
                <a:gd name="connsiteX312" fmla="*/ 204493 w 462127"/>
                <a:gd name="connsiteY312" fmla="*/ 62621 h 302461"/>
                <a:gd name="connsiteX313" fmla="*/ 200561 w 462127"/>
                <a:gd name="connsiteY313" fmla="*/ 59667 h 302461"/>
                <a:gd name="connsiteX314" fmla="*/ 196869 w 462127"/>
                <a:gd name="connsiteY314" fmla="*/ 57656 h 302461"/>
                <a:gd name="connsiteX315" fmla="*/ 191503 w 462127"/>
                <a:gd name="connsiteY315" fmla="*/ 53971 h 302461"/>
                <a:gd name="connsiteX316" fmla="*/ 190166 w 462127"/>
                <a:gd name="connsiteY316" fmla="*/ 49610 h 302461"/>
                <a:gd name="connsiteX317" fmla="*/ 188486 w 462127"/>
                <a:gd name="connsiteY317" fmla="*/ 43576 h 302461"/>
                <a:gd name="connsiteX318" fmla="*/ 186136 w 462127"/>
                <a:gd name="connsiteY318" fmla="*/ 40559 h 302461"/>
                <a:gd name="connsiteX319" fmla="*/ 185504 w 462127"/>
                <a:gd name="connsiteY319" fmla="*/ 38118 h 302461"/>
                <a:gd name="connsiteX320" fmla="*/ 185060 w 462127"/>
                <a:gd name="connsiteY320" fmla="*/ 37126 h 302461"/>
                <a:gd name="connsiteX321" fmla="*/ 182114 w 462127"/>
                <a:gd name="connsiteY321" fmla="*/ 34187 h 302461"/>
                <a:gd name="connsiteX322" fmla="*/ 177422 w 462127"/>
                <a:gd name="connsiteY322" fmla="*/ 31838 h 302461"/>
                <a:gd name="connsiteX323" fmla="*/ 174068 w 462127"/>
                <a:gd name="connsiteY323" fmla="*/ 28483 h 302461"/>
                <a:gd name="connsiteX324" fmla="*/ 170375 w 462127"/>
                <a:gd name="connsiteY324" fmla="*/ 25128 h 302461"/>
                <a:gd name="connsiteX325" fmla="*/ 164679 w 462127"/>
                <a:gd name="connsiteY325" fmla="*/ 19094 h 302461"/>
                <a:gd name="connsiteX326" fmla="*/ 161380 w 462127"/>
                <a:gd name="connsiteY326" fmla="*/ 16020 h 302461"/>
                <a:gd name="connsiteX327" fmla="*/ 160501 w 462127"/>
                <a:gd name="connsiteY327" fmla="*/ 15767 h 302461"/>
                <a:gd name="connsiteX328" fmla="*/ 137172 w 462127"/>
                <a:gd name="connsiteY328" fmla="*/ 17012 h 302461"/>
                <a:gd name="connsiteX329" fmla="*/ 135836 w 462127"/>
                <a:gd name="connsiteY329" fmla="*/ 18411 h 302461"/>
                <a:gd name="connsiteX330" fmla="*/ 135836 w 462127"/>
                <a:gd name="connsiteY330" fmla="*/ 22378 h 302461"/>
                <a:gd name="connsiteX331" fmla="*/ 134429 w 462127"/>
                <a:gd name="connsiteY331" fmla="*/ 23785 h 302461"/>
                <a:gd name="connsiteX332" fmla="*/ 92182 w 462127"/>
                <a:gd name="connsiteY332" fmla="*/ 23785 h 302461"/>
                <a:gd name="connsiteX333" fmla="*/ 91654 w 462127"/>
                <a:gd name="connsiteY333" fmla="*/ 23686 h 302461"/>
                <a:gd name="connsiteX334" fmla="*/ 33533 w 462127"/>
                <a:gd name="connsiteY334" fmla="*/ 104 h 302461"/>
                <a:gd name="connsiteX335" fmla="*/ 32893 w 462127"/>
                <a:gd name="connsiteY335" fmla="*/ 6 h 302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</a:cxnLst>
              <a:rect l="l" t="t" r="r" b="b"/>
              <a:pathLst>
                <a:path w="462127" h="302461">
                  <a:moveTo>
                    <a:pt x="32893" y="6"/>
                  </a:moveTo>
                  <a:lnTo>
                    <a:pt x="1294" y="2510"/>
                  </a:lnTo>
                  <a:cubicBezTo>
                    <a:pt x="337" y="2580"/>
                    <a:pt x="-261" y="3572"/>
                    <a:pt x="112" y="4458"/>
                  </a:cubicBezTo>
                  <a:lnTo>
                    <a:pt x="2954" y="11181"/>
                  </a:lnTo>
                  <a:cubicBezTo>
                    <a:pt x="3010" y="11315"/>
                    <a:pt x="3087" y="11435"/>
                    <a:pt x="3186" y="11547"/>
                  </a:cubicBezTo>
                  <a:lnTo>
                    <a:pt x="6730" y="15683"/>
                  </a:lnTo>
                  <a:cubicBezTo>
                    <a:pt x="6948" y="15936"/>
                    <a:pt x="7068" y="16259"/>
                    <a:pt x="7068" y="16597"/>
                  </a:cubicBezTo>
                  <a:lnTo>
                    <a:pt x="7068" y="21007"/>
                  </a:lnTo>
                  <a:cubicBezTo>
                    <a:pt x="7068" y="21288"/>
                    <a:pt x="7152" y="21569"/>
                    <a:pt x="7314" y="21801"/>
                  </a:cubicBezTo>
                  <a:cubicBezTo>
                    <a:pt x="8615" y="23665"/>
                    <a:pt x="10922" y="26809"/>
                    <a:pt x="11428" y="26809"/>
                  </a:cubicBezTo>
                  <a:cubicBezTo>
                    <a:pt x="12096" y="26809"/>
                    <a:pt x="11428" y="28483"/>
                    <a:pt x="11428" y="29826"/>
                  </a:cubicBezTo>
                  <a:cubicBezTo>
                    <a:pt x="11428" y="31162"/>
                    <a:pt x="12765" y="31162"/>
                    <a:pt x="13770" y="31500"/>
                  </a:cubicBezTo>
                  <a:cubicBezTo>
                    <a:pt x="14776" y="31838"/>
                    <a:pt x="16119" y="34187"/>
                    <a:pt x="16119" y="36529"/>
                  </a:cubicBezTo>
                  <a:cubicBezTo>
                    <a:pt x="16119" y="38118"/>
                    <a:pt x="16443" y="39982"/>
                    <a:pt x="16675" y="41058"/>
                  </a:cubicBezTo>
                  <a:cubicBezTo>
                    <a:pt x="16745" y="41381"/>
                    <a:pt x="16942" y="41670"/>
                    <a:pt x="17210" y="41860"/>
                  </a:cubicBezTo>
                  <a:lnTo>
                    <a:pt x="18672" y="42908"/>
                  </a:lnTo>
                  <a:cubicBezTo>
                    <a:pt x="18975" y="43119"/>
                    <a:pt x="19172" y="43435"/>
                    <a:pt x="19242" y="43801"/>
                  </a:cubicBezTo>
                  <a:cubicBezTo>
                    <a:pt x="19748" y="46431"/>
                    <a:pt x="20825" y="51129"/>
                    <a:pt x="21823" y="52627"/>
                  </a:cubicBezTo>
                  <a:cubicBezTo>
                    <a:pt x="23159" y="54639"/>
                    <a:pt x="27858" y="56320"/>
                    <a:pt x="28526" y="57656"/>
                  </a:cubicBezTo>
                  <a:cubicBezTo>
                    <a:pt x="29201" y="58999"/>
                    <a:pt x="32218" y="58999"/>
                    <a:pt x="34229" y="60673"/>
                  </a:cubicBezTo>
                  <a:cubicBezTo>
                    <a:pt x="36241" y="62354"/>
                    <a:pt x="45968" y="75098"/>
                    <a:pt x="46298" y="76441"/>
                  </a:cubicBezTo>
                  <a:cubicBezTo>
                    <a:pt x="46636" y="77778"/>
                    <a:pt x="44962" y="84487"/>
                    <a:pt x="42613" y="87167"/>
                  </a:cubicBezTo>
                  <a:cubicBezTo>
                    <a:pt x="40974" y="89037"/>
                    <a:pt x="36332" y="87483"/>
                    <a:pt x="33393" y="86083"/>
                  </a:cubicBezTo>
                  <a:cubicBezTo>
                    <a:pt x="32858" y="85830"/>
                    <a:pt x="32218" y="86217"/>
                    <a:pt x="32218" y="86808"/>
                  </a:cubicBezTo>
                  <a:cubicBezTo>
                    <a:pt x="32218" y="87040"/>
                    <a:pt x="32317" y="87258"/>
                    <a:pt x="32485" y="87406"/>
                  </a:cubicBezTo>
                  <a:lnTo>
                    <a:pt x="39448" y="93454"/>
                  </a:lnTo>
                  <a:cubicBezTo>
                    <a:pt x="39750" y="93721"/>
                    <a:pt x="39926" y="94108"/>
                    <a:pt x="39926" y="94516"/>
                  </a:cubicBezTo>
                  <a:lnTo>
                    <a:pt x="39926" y="95480"/>
                  </a:lnTo>
                  <a:cubicBezTo>
                    <a:pt x="39926" y="96113"/>
                    <a:pt x="40355" y="96675"/>
                    <a:pt x="40974" y="96837"/>
                  </a:cubicBezTo>
                  <a:lnTo>
                    <a:pt x="44596" y="97801"/>
                  </a:lnTo>
                  <a:cubicBezTo>
                    <a:pt x="44835" y="97864"/>
                    <a:pt x="45053" y="97991"/>
                    <a:pt x="45229" y="98166"/>
                  </a:cubicBezTo>
                  <a:lnTo>
                    <a:pt x="47220" y="100164"/>
                  </a:lnTo>
                  <a:cubicBezTo>
                    <a:pt x="47276" y="100220"/>
                    <a:pt x="47339" y="100269"/>
                    <a:pt x="47409" y="100318"/>
                  </a:cubicBezTo>
                  <a:cubicBezTo>
                    <a:pt x="48556" y="101134"/>
                    <a:pt x="50659" y="102822"/>
                    <a:pt x="50659" y="103603"/>
                  </a:cubicBezTo>
                  <a:cubicBezTo>
                    <a:pt x="50659" y="104405"/>
                    <a:pt x="53563" y="103265"/>
                    <a:pt x="55019" y="102597"/>
                  </a:cubicBezTo>
                  <a:lnTo>
                    <a:pt x="58311" y="101057"/>
                  </a:lnTo>
                  <a:cubicBezTo>
                    <a:pt x="59176" y="100656"/>
                    <a:pt x="60181" y="101205"/>
                    <a:pt x="60322" y="102147"/>
                  </a:cubicBezTo>
                  <a:cubicBezTo>
                    <a:pt x="60568" y="103729"/>
                    <a:pt x="60871" y="105424"/>
                    <a:pt x="61054" y="105614"/>
                  </a:cubicBezTo>
                  <a:cubicBezTo>
                    <a:pt x="61391" y="105952"/>
                    <a:pt x="70780" y="112654"/>
                    <a:pt x="73129" y="114335"/>
                  </a:cubicBezTo>
                  <a:lnTo>
                    <a:pt x="73129" y="114335"/>
                  </a:lnTo>
                  <a:cubicBezTo>
                    <a:pt x="75478" y="116009"/>
                    <a:pt x="77152" y="124055"/>
                    <a:pt x="76146" y="126066"/>
                  </a:cubicBezTo>
                  <a:cubicBezTo>
                    <a:pt x="75415" y="127536"/>
                    <a:pt x="76294" y="133571"/>
                    <a:pt x="76962" y="137172"/>
                  </a:cubicBezTo>
                  <a:cubicBezTo>
                    <a:pt x="77068" y="137734"/>
                    <a:pt x="77567" y="138142"/>
                    <a:pt x="78144" y="138142"/>
                  </a:cubicBezTo>
                  <a:cubicBezTo>
                    <a:pt x="78566" y="138142"/>
                    <a:pt x="78960" y="138367"/>
                    <a:pt x="79185" y="138733"/>
                  </a:cubicBezTo>
                  <a:lnTo>
                    <a:pt x="80430" y="140815"/>
                  </a:lnTo>
                  <a:cubicBezTo>
                    <a:pt x="80683" y="141237"/>
                    <a:pt x="81147" y="141497"/>
                    <a:pt x="81639" y="141497"/>
                  </a:cubicBezTo>
                  <a:lnTo>
                    <a:pt x="82392" y="141497"/>
                  </a:lnTo>
                  <a:cubicBezTo>
                    <a:pt x="82884" y="141497"/>
                    <a:pt x="83341" y="141757"/>
                    <a:pt x="83602" y="142179"/>
                  </a:cubicBezTo>
                  <a:cubicBezTo>
                    <a:pt x="83988" y="142805"/>
                    <a:pt x="84488" y="143614"/>
                    <a:pt x="84867" y="144177"/>
                  </a:cubicBezTo>
                  <a:cubicBezTo>
                    <a:pt x="85402" y="144985"/>
                    <a:pt x="86879" y="145857"/>
                    <a:pt x="87547" y="146188"/>
                  </a:cubicBezTo>
                  <a:cubicBezTo>
                    <a:pt x="89784" y="147644"/>
                    <a:pt x="94257" y="150682"/>
                    <a:pt x="94257" y="151224"/>
                  </a:cubicBezTo>
                  <a:cubicBezTo>
                    <a:pt x="94257" y="151892"/>
                    <a:pt x="102302" y="157926"/>
                    <a:pt x="102971" y="158932"/>
                  </a:cubicBezTo>
                  <a:cubicBezTo>
                    <a:pt x="103646" y="159938"/>
                    <a:pt x="106325" y="162624"/>
                    <a:pt x="106325" y="163630"/>
                  </a:cubicBezTo>
                  <a:cubicBezTo>
                    <a:pt x="106325" y="164636"/>
                    <a:pt x="107001" y="167990"/>
                    <a:pt x="108674" y="168659"/>
                  </a:cubicBezTo>
                  <a:cubicBezTo>
                    <a:pt x="110348" y="169327"/>
                    <a:pt x="112029" y="167653"/>
                    <a:pt x="113035" y="167315"/>
                  </a:cubicBezTo>
                  <a:cubicBezTo>
                    <a:pt x="114041" y="166985"/>
                    <a:pt x="116720" y="163292"/>
                    <a:pt x="116720" y="161949"/>
                  </a:cubicBezTo>
                  <a:cubicBezTo>
                    <a:pt x="116720" y="160613"/>
                    <a:pt x="116720" y="158601"/>
                    <a:pt x="114378" y="157926"/>
                  </a:cubicBezTo>
                  <a:cubicBezTo>
                    <a:pt x="112029" y="157258"/>
                    <a:pt x="113035" y="154909"/>
                    <a:pt x="113035" y="154241"/>
                  </a:cubicBezTo>
                  <a:cubicBezTo>
                    <a:pt x="113035" y="153566"/>
                    <a:pt x="109680" y="150549"/>
                    <a:pt x="108674" y="148875"/>
                  </a:cubicBezTo>
                  <a:cubicBezTo>
                    <a:pt x="108034" y="147806"/>
                    <a:pt x="105791" y="146666"/>
                    <a:pt x="104110" y="145963"/>
                  </a:cubicBezTo>
                  <a:cubicBezTo>
                    <a:pt x="103519" y="145717"/>
                    <a:pt x="102858" y="146090"/>
                    <a:pt x="102731" y="146722"/>
                  </a:cubicBezTo>
                  <a:cubicBezTo>
                    <a:pt x="102563" y="147587"/>
                    <a:pt x="101465" y="147869"/>
                    <a:pt x="100903" y="147180"/>
                  </a:cubicBezTo>
                  <a:cubicBezTo>
                    <a:pt x="99102" y="144950"/>
                    <a:pt x="96936" y="142123"/>
                    <a:pt x="96936" y="141497"/>
                  </a:cubicBezTo>
                  <a:cubicBezTo>
                    <a:pt x="96936" y="140491"/>
                    <a:pt x="97611" y="138480"/>
                    <a:pt x="96936" y="136131"/>
                  </a:cubicBezTo>
                  <a:cubicBezTo>
                    <a:pt x="96423" y="134330"/>
                    <a:pt x="95044" y="131967"/>
                    <a:pt x="94341" y="130891"/>
                  </a:cubicBezTo>
                  <a:cubicBezTo>
                    <a:pt x="94285" y="130807"/>
                    <a:pt x="94236" y="130715"/>
                    <a:pt x="94200" y="130624"/>
                  </a:cubicBezTo>
                  <a:lnTo>
                    <a:pt x="91908" y="124730"/>
                  </a:lnTo>
                  <a:lnTo>
                    <a:pt x="90550" y="119294"/>
                  </a:lnTo>
                  <a:cubicBezTo>
                    <a:pt x="90410" y="118731"/>
                    <a:pt x="89713" y="118541"/>
                    <a:pt x="89305" y="118949"/>
                  </a:cubicBezTo>
                  <a:cubicBezTo>
                    <a:pt x="88862" y="119385"/>
                    <a:pt x="88110" y="119125"/>
                    <a:pt x="88039" y="118513"/>
                  </a:cubicBezTo>
                  <a:lnTo>
                    <a:pt x="87568" y="114511"/>
                  </a:lnTo>
                  <a:cubicBezTo>
                    <a:pt x="87554" y="114391"/>
                    <a:pt x="87526" y="114279"/>
                    <a:pt x="87484" y="114167"/>
                  </a:cubicBezTo>
                  <a:lnTo>
                    <a:pt x="84277" y="105832"/>
                  </a:lnTo>
                  <a:cubicBezTo>
                    <a:pt x="84220" y="105685"/>
                    <a:pt x="84143" y="105551"/>
                    <a:pt x="84045" y="105431"/>
                  </a:cubicBezTo>
                  <a:lnTo>
                    <a:pt x="81344" y="102189"/>
                  </a:lnTo>
                  <a:cubicBezTo>
                    <a:pt x="81034" y="101816"/>
                    <a:pt x="80549" y="101634"/>
                    <a:pt x="80064" y="101676"/>
                  </a:cubicBezTo>
                  <a:cubicBezTo>
                    <a:pt x="79234" y="101753"/>
                    <a:pt x="78214" y="101788"/>
                    <a:pt x="77820" y="101591"/>
                  </a:cubicBezTo>
                  <a:cubicBezTo>
                    <a:pt x="77152" y="101254"/>
                    <a:pt x="77820" y="97899"/>
                    <a:pt x="77152" y="97899"/>
                  </a:cubicBezTo>
                  <a:cubicBezTo>
                    <a:pt x="76484" y="97899"/>
                    <a:pt x="74135" y="95219"/>
                    <a:pt x="73129" y="93876"/>
                  </a:cubicBezTo>
                  <a:cubicBezTo>
                    <a:pt x="72124" y="92533"/>
                    <a:pt x="73129" y="91196"/>
                    <a:pt x="69775" y="89516"/>
                  </a:cubicBezTo>
                  <a:cubicBezTo>
                    <a:pt x="66420" y="87842"/>
                    <a:pt x="65752" y="83481"/>
                    <a:pt x="65414" y="81132"/>
                  </a:cubicBezTo>
                  <a:cubicBezTo>
                    <a:pt x="65210" y="79669"/>
                    <a:pt x="64711" y="77574"/>
                    <a:pt x="64345" y="76132"/>
                  </a:cubicBezTo>
                  <a:cubicBezTo>
                    <a:pt x="64190" y="75520"/>
                    <a:pt x="63635" y="75098"/>
                    <a:pt x="63002" y="75098"/>
                  </a:cubicBezTo>
                  <a:lnTo>
                    <a:pt x="61054" y="75098"/>
                  </a:lnTo>
                  <a:cubicBezTo>
                    <a:pt x="60160" y="75098"/>
                    <a:pt x="59513" y="71982"/>
                    <a:pt x="59197" y="69654"/>
                  </a:cubicBezTo>
                  <a:cubicBezTo>
                    <a:pt x="59098" y="68937"/>
                    <a:pt x="58494" y="68388"/>
                    <a:pt x="57769" y="68388"/>
                  </a:cubicBezTo>
                  <a:lnTo>
                    <a:pt x="56799" y="68388"/>
                  </a:lnTo>
                  <a:cubicBezTo>
                    <a:pt x="56559" y="68388"/>
                    <a:pt x="56363" y="68191"/>
                    <a:pt x="56363" y="67952"/>
                  </a:cubicBezTo>
                  <a:cubicBezTo>
                    <a:pt x="56363" y="67544"/>
                    <a:pt x="55610" y="67200"/>
                    <a:pt x="55279" y="66954"/>
                  </a:cubicBezTo>
                  <a:cubicBezTo>
                    <a:pt x="54935" y="66693"/>
                    <a:pt x="54590" y="66039"/>
                    <a:pt x="54351" y="64703"/>
                  </a:cubicBezTo>
                  <a:cubicBezTo>
                    <a:pt x="53676" y="61011"/>
                    <a:pt x="47979" y="56650"/>
                    <a:pt x="45630" y="53971"/>
                  </a:cubicBezTo>
                  <a:cubicBezTo>
                    <a:pt x="44610" y="52803"/>
                    <a:pt x="43612" y="52374"/>
                    <a:pt x="42803" y="52304"/>
                  </a:cubicBezTo>
                  <a:cubicBezTo>
                    <a:pt x="41959" y="52226"/>
                    <a:pt x="40939" y="51959"/>
                    <a:pt x="40545" y="51207"/>
                  </a:cubicBezTo>
                  <a:cubicBezTo>
                    <a:pt x="39997" y="50152"/>
                    <a:pt x="39272" y="48801"/>
                    <a:pt x="38590" y="47599"/>
                  </a:cubicBezTo>
                  <a:cubicBezTo>
                    <a:pt x="37247" y="45250"/>
                    <a:pt x="36909" y="39546"/>
                    <a:pt x="36909" y="35860"/>
                  </a:cubicBezTo>
                  <a:cubicBezTo>
                    <a:pt x="36909" y="33350"/>
                    <a:pt x="35615" y="31310"/>
                    <a:pt x="34680" y="30276"/>
                  </a:cubicBezTo>
                  <a:cubicBezTo>
                    <a:pt x="34405" y="29974"/>
                    <a:pt x="34229" y="29594"/>
                    <a:pt x="34208" y="29186"/>
                  </a:cubicBezTo>
                  <a:cubicBezTo>
                    <a:pt x="34145" y="27941"/>
                    <a:pt x="33892" y="25796"/>
                    <a:pt x="33224" y="23785"/>
                  </a:cubicBezTo>
                  <a:cubicBezTo>
                    <a:pt x="32218" y="20768"/>
                    <a:pt x="35903" y="17082"/>
                    <a:pt x="36909" y="17082"/>
                  </a:cubicBezTo>
                  <a:cubicBezTo>
                    <a:pt x="37915" y="17082"/>
                    <a:pt x="42950" y="20768"/>
                    <a:pt x="44287" y="21443"/>
                  </a:cubicBezTo>
                  <a:cubicBezTo>
                    <a:pt x="45117" y="21858"/>
                    <a:pt x="46397" y="20965"/>
                    <a:pt x="47297" y="20127"/>
                  </a:cubicBezTo>
                  <a:cubicBezTo>
                    <a:pt x="47726" y="19727"/>
                    <a:pt x="48338" y="19565"/>
                    <a:pt x="48886" y="19769"/>
                  </a:cubicBezTo>
                  <a:lnTo>
                    <a:pt x="52431" y="21098"/>
                  </a:lnTo>
                  <a:cubicBezTo>
                    <a:pt x="52980" y="21302"/>
                    <a:pt x="53345" y="21830"/>
                    <a:pt x="53345" y="22413"/>
                  </a:cubicBezTo>
                  <a:lnTo>
                    <a:pt x="53345" y="22828"/>
                  </a:lnTo>
                  <a:cubicBezTo>
                    <a:pt x="53345" y="23405"/>
                    <a:pt x="53697" y="23925"/>
                    <a:pt x="54239" y="24136"/>
                  </a:cubicBezTo>
                  <a:lnTo>
                    <a:pt x="60027" y="26401"/>
                  </a:lnTo>
                  <a:cubicBezTo>
                    <a:pt x="60632" y="26640"/>
                    <a:pt x="60997" y="27259"/>
                    <a:pt x="60913" y="27899"/>
                  </a:cubicBezTo>
                  <a:cubicBezTo>
                    <a:pt x="60681" y="29728"/>
                    <a:pt x="60385" y="32302"/>
                    <a:pt x="60385" y="33181"/>
                  </a:cubicBezTo>
                  <a:cubicBezTo>
                    <a:pt x="60385" y="34517"/>
                    <a:pt x="61054" y="35523"/>
                    <a:pt x="62397" y="37204"/>
                  </a:cubicBezTo>
                  <a:cubicBezTo>
                    <a:pt x="63740" y="38878"/>
                    <a:pt x="66420" y="44912"/>
                    <a:pt x="66420" y="46923"/>
                  </a:cubicBezTo>
                  <a:cubicBezTo>
                    <a:pt x="66420" y="48942"/>
                    <a:pt x="67095" y="48942"/>
                    <a:pt x="67763" y="50616"/>
                  </a:cubicBezTo>
                  <a:cubicBezTo>
                    <a:pt x="68431" y="52290"/>
                    <a:pt x="72124" y="57656"/>
                    <a:pt x="73129" y="58999"/>
                  </a:cubicBezTo>
                  <a:cubicBezTo>
                    <a:pt x="74135" y="60343"/>
                    <a:pt x="75809" y="65709"/>
                    <a:pt x="76146" y="66714"/>
                  </a:cubicBezTo>
                  <a:cubicBezTo>
                    <a:pt x="76484" y="67720"/>
                    <a:pt x="77820" y="67720"/>
                    <a:pt x="79164" y="68388"/>
                  </a:cubicBezTo>
                  <a:cubicBezTo>
                    <a:pt x="80092" y="68852"/>
                    <a:pt x="81414" y="72010"/>
                    <a:pt x="82195" y="74162"/>
                  </a:cubicBezTo>
                  <a:cubicBezTo>
                    <a:pt x="82392" y="74718"/>
                    <a:pt x="82919" y="75098"/>
                    <a:pt x="83510" y="75098"/>
                  </a:cubicBezTo>
                  <a:cubicBezTo>
                    <a:pt x="83939" y="75098"/>
                    <a:pt x="84347" y="75302"/>
                    <a:pt x="84607" y="75647"/>
                  </a:cubicBezTo>
                  <a:cubicBezTo>
                    <a:pt x="86063" y="77602"/>
                    <a:pt x="88588" y="81013"/>
                    <a:pt x="89559" y="82476"/>
                  </a:cubicBezTo>
                  <a:cubicBezTo>
                    <a:pt x="90902" y="84487"/>
                    <a:pt x="93919" y="84487"/>
                    <a:pt x="96936" y="84487"/>
                  </a:cubicBezTo>
                  <a:cubicBezTo>
                    <a:pt x="98948" y="84487"/>
                    <a:pt x="99855" y="84951"/>
                    <a:pt x="100171" y="85303"/>
                  </a:cubicBezTo>
                  <a:cubicBezTo>
                    <a:pt x="100270" y="85415"/>
                    <a:pt x="100291" y="85570"/>
                    <a:pt x="100291" y="85718"/>
                  </a:cubicBezTo>
                  <a:lnTo>
                    <a:pt x="100291" y="91196"/>
                  </a:lnTo>
                  <a:cubicBezTo>
                    <a:pt x="100291" y="93208"/>
                    <a:pt x="101297" y="95550"/>
                    <a:pt x="102302" y="96556"/>
                  </a:cubicBezTo>
                  <a:cubicBezTo>
                    <a:pt x="103308" y="97561"/>
                    <a:pt x="107001" y="97899"/>
                    <a:pt x="108674" y="97899"/>
                  </a:cubicBezTo>
                  <a:cubicBezTo>
                    <a:pt x="110348" y="97899"/>
                    <a:pt x="110348" y="102928"/>
                    <a:pt x="111023" y="104609"/>
                  </a:cubicBezTo>
                  <a:cubicBezTo>
                    <a:pt x="111692" y="106282"/>
                    <a:pt x="114709" y="104609"/>
                    <a:pt x="115384" y="104609"/>
                  </a:cubicBezTo>
                  <a:cubicBezTo>
                    <a:pt x="116052" y="104609"/>
                    <a:pt x="118401" y="106620"/>
                    <a:pt x="119069" y="107963"/>
                  </a:cubicBezTo>
                  <a:cubicBezTo>
                    <a:pt x="119744" y="109300"/>
                    <a:pt x="119069" y="112654"/>
                    <a:pt x="119069" y="113329"/>
                  </a:cubicBezTo>
                  <a:cubicBezTo>
                    <a:pt x="119069" y="113998"/>
                    <a:pt x="116720" y="116677"/>
                    <a:pt x="116720" y="118021"/>
                  </a:cubicBezTo>
                  <a:cubicBezTo>
                    <a:pt x="116720" y="119364"/>
                    <a:pt x="119407" y="122381"/>
                    <a:pt x="119744" y="122381"/>
                  </a:cubicBezTo>
                  <a:lnTo>
                    <a:pt x="123507" y="122381"/>
                  </a:lnTo>
                  <a:cubicBezTo>
                    <a:pt x="124464" y="122381"/>
                    <a:pt x="124949" y="123542"/>
                    <a:pt x="124267" y="124224"/>
                  </a:cubicBezTo>
                  <a:lnTo>
                    <a:pt x="123479" y="125019"/>
                  </a:lnTo>
                  <a:cubicBezTo>
                    <a:pt x="123085" y="125405"/>
                    <a:pt x="123366" y="126066"/>
                    <a:pt x="123915" y="126066"/>
                  </a:cubicBezTo>
                  <a:cubicBezTo>
                    <a:pt x="124035" y="126066"/>
                    <a:pt x="124154" y="126031"/>
                    <a:pt x="124253" y="125968"/>
                  </a:cubicBezTo>
                  <a:lnTo>
                    <a:pt x="125223" y="125321"/>
                  </a:lnTo>
                  <a:cubicBezTo>
                    <a:pt x="125751" y="124969"/>
                    <a:pt x="126440" y="125011"/>
                    <a:pt x="126925" y="125419"/>
                  </a:cubicBezTo>
                  <a:lnTo>
                    <a:pt x="132488" y="130195"/>
                  </a:lnTo>
                  <a:cubicBezTo>
                    <a:pt x="132812" y="130469"/>
                    <a:pt x="133297" y="130329"/>
                    <a:pt x="133431" y="129935"/>
                  </a:cubicBezTo>
                  <a:cubicBezTo>
                    <a:pt x="133585" y="129463"/>
                    <a:pt x="134225" y="129386"/>
                    <a:pt x="134486" y="129808"/>
                  </a:cubicBezTo>
                  <a:lnTo>
                    <a:pt x="135266" y="131060"/>
                  </a:lnTo>
                  <a:cubicBezTo>
                    <a:pt x="135421" y="131306"/>
                    <a:pt x="135646" y="131489"/>
                    <a:pt x="135913" y="131594"/>
                  </a:cubicBezTo>
                  <a:cubicBezTo>
                    <a:pt x="137207" y="132136"/>
                    <a:pt x="139191" y="133247"/>
                    <a:pt x="139191" y="134457"/>
                  </a:cubicBezTo>
                  <a:lnTo>
                    <a:pt x="139191" y="138438"/>
                  </a:lnTo>
                  <a:cubicBezTo>
                    <a:pt x="139191" y="138888"/>
                    <a:pt x="139402" y="139303"/>
                    <a:pt x="139760" y="139570"/>
                  </a:cubicBezTo>
                  <a:cubicBezTo>
                    <a:pt x="142939" y="141933"/>
                    <a:pt x="148580" y="146188"/>
                    <a:pt x="149586" y="147194"/>
                  </a:cubicBezTo>
                  <a:cubicBezTo>
                    <a:pt x="150929" y="148537"/>
                    <a:pt x="154284" y="152229"/>
                    <a:pt x="154952" y="152560"/>
                  </a:cubicBezTo>
                  <a:cubicBezTo>
                    <a:pt x="155620" y="152897"/>
                    <a:pt x="160986" y="160943"/>
                    <a:pt x="162330" y="162624"/>
                  </a:cubicBezTo>
                  <a:cubicBezTo>
                    <a:pt x="163673" y="164298"/>
                    <a:pt x="172724" y="174025"/>
                    <a:pt x="173400" y="176036"/>
                  </a:cubicBezTo>
                  <a:cubicBezTo>
                    <a:pt x="174068" y="178048"/>
                    <a:pt x="175411" y="182408"/>
                    <a:pt x="176079" y="185763"/>
                  </a:cubicBezTo>
                  <a:cubicBezTo>
                    <a:pt x="176550" y="188133"/>
                    <a:pt x="179160" y="190862"/>
                    <a:pt x="180841" y="192304"/>
                  </a:cubicBezTo>
                  <a:cubicBezTo>
                    <a:pt x="181213" y="192627"/>
                    <a:pt x="181410" y="193099"/>
                    <a:pt x="181361" y="193584"/>
                  </a:cubicBezTo>
                  <a:lnTo>
                    <a:pt x="180812" y="198465"/>
                  </a:lnTo>
                  <a:cubicBezTo>
                    <a:pt x="180791" y="198711"/>
                    <a:pt x="180700" y="198943"/>
                    <a:pt x="180552" y="199147"/>
                  </a:cubicBezTo>
                  <a:lnTo>
                    <a:pt x="177971" y="202656"/>
                  </a:lnTo>
                  <a:cubicBezTo>
                    <a:pt x="177493" y="203318"/>
                    <a:pt x="177669" y="204239"/>
                    <a:pt x="178351" y="204675"/>
                  </a:cubicBezTo>
                  <a:lnTo>
                    <a:pt x="179701" y="205540"/>
                  </a:lnTo>
                  <a:cubicBezTo>
                    <a:pt x="180313" y="205927"/>
                    <a:pt x="180538" y="206714"/>
                    <a:pt x="180165" y="207333"/>
                  </a:cubicBezTo>
                  <a:cubicBezTo>
                    <a:pt x="180018" y="207579"/>
                    <a:pt x="179870" y="207790"/>
                    <a:pt x="179765" y="207896"/>
                  </a:cubicBezTo>
                  <a:cubicBezTo>
                    <a:pt x="179434" y="208234"/>
                    <a:pt x="176079" y="208902"/>
                    <a:pt x="175411" y="209907"/>
                  </a:cubicBezTo>
                  <a:cubicBezTo>
                    <a:pt x="174870" y="210709"/>
                    <a:pt x="175629" y="212700"/>
                    <a:pt x="176079" y="213600"/>
                  </a:cubicBezTo>
                  <a:cubicBezTo>
                    <a:pt x="176529" y="214605"/>
                    <a:pt x="177556" y="216884"/>
                    <a:pt x="178091" y="217953"/>
                  </a:cubicBezTo>
                  <a:cubicBezTo>
                    <a:pt x="178759" y="219297"/>
                    <a:pt x="183119" y="224325"/>
                    <a:pt x="184125" y="225668"/>
                  </a:cubicBezTo>
                  <a:cubicBezTo>
                    <a:pt x="185131" y="227012"/>
                    <a:pt x="189161" y="228686"/>
                    <a:pt x="190497" y="229692"/>
                  </a:cubicBezTo>
                  <a:cubicBezTo>
                    <a:pt x="191840" y="230697"/>
                    <a:pt x="199886" y="234720"/>
                    <a:pt x="201229" y="235733"/>
                  </a:cubicBezTo>
                  <a:cubicBezTo>
                    <a:pt x="202573" y="236738"/>
                    <a:pt x="206258" y="241092"/>
                    <a:pt x="206933" y="242098"/>
                  </a:cubicBezTo>
                  <a:cubicBezTo>
                    <a:pt x="207601" y="243110"/>
                    <a:pt x="210619" y="244447"/>
                    <a:pt x="213305" y="245453"/>
                  </a:cubicBezTo>
                  <a:cubicBezTo>
                    <a:pt x="215985" y="246458"/>
                    <a:pt x="224368" y="249145"/>
                    <a:pt x="225711" y="249813"/>
                  </a:cubicBezTo>
                  <a:cubicBezTo>
                    <a:pt x="227055" y="250488"/>
                    <a:pt x="228060" y="249813"/>
                    <a:pt x="229066" y="249145"/>
                  </a:cubicBezTo>
                  <a:cubicBezTo>
                    <a:pt x="230072" y="248470"/>
                    <a:pt x="231408" y="249475"/>
                    <a:pt x="232752" y="249813"/>
                  </a:cubicBezTo>
                  <a:cubicBezTo>
                    <a:pt x="233750" y="250066"/>
                    <a:pt x="235206" y="252253"/>
                    <a:pt x="235945" y="253555"/>
                  </a:cubicBezTo>
                  <a:cubicBezTo>
                    <a:pt x="236050" y="253737"/>
                    <a:pt x="236198" y="253899"/>
                    <a:pt x="236374" y="254026"/>
                  </a:cubicBezTo>
                  <a:cubicBezTo>
                    <a:pt x="237576" y="254870"/>
                    <a:pt x="239721" y="256361"/>
                    <a:pt x="240467" y="256860"/>
                  </a:cubicBezTo>
                  <a:cubicBezTo>
                    <a:pt x="241226" y="257366"/>
                    <a:pt x="244047" y="259512"/>
                    <a:pt x="245580" y="260686"/>
                  </a:cubicBezTo>
                  <a:cubicBezTo>
                    <a:pt x="245742" y="260813"/>
                    <a:pt x="245938" y="260904"/>
                    <a:pt x="246142" y="260946"/>
                  </a:cubicBezTo>
                  <a:cubicBezTo>
                    <a:pt x="248358" y="261410"/>
                    <a:pt x="252360" y="262219"/>
                    <a:pt x="252873" y="262219"/>
                  </a:cubicBezTo>
                  <a:cubicBezTo>
                    <a:pt x="253408" y="262219"/>
                    <a:pt x="257789" y="264681"/>
                    <a:pt x="259913" y="265912"/>
                  </a:cubicBezTo>
                  <a:cubicBezTo>
                    <a:pt x="261594" y="266917"/>
                    <a:pt x="265082" y="268999"/>
                    <a:pt x="265617" y="269266"/>
                  </a:cubicBezTo>
                  <a:cubicBezTo>
                    <a:pt x="266285" y="269597"/>
                    <a:pt x="271651" y="270603"/>
                    <a:pt x="273663" y="271278"/>
                  </a:cubicBezTo>
                  <a:cubicBezTo>
                    <a:pt x="275098" y="271756"/>
                    <a:pt x="278248" y="272094"/>
                    <a:pt x="280098" y="272241"/>
                  </a:cubicBezTo>
                  <a:cubicBezTo>
                    <a:pt x="280485" y="272269"/>
                    <a:pt x="280844" y="272452"/>
                    <a:pt x="281090" y="272755"/>
                  </a:cubicBezTo>
                  <a:lnTo>
                    <a:pt x="283537" y="275737"/>
                  </a:lnTo>
                  <a:cubicBezTo>
                    <a:pt x="283657" y="275892"/>
                    <a:pt x="283819" y="276018"/>
                    <a:pt x="283994" y="276110"/>
                  </a:cubicBezTo>
                  <a:lnTo>
                    <a:pt x="287075" y="277650"/>
                  </a:lnTo>
                  <a:lnTo>
                    <a:pt x="294579" y="280906"/>
                  </a:lnTo>
                  <a:cubicBezTo>
                    <a:pt x="294720" y="280969"/>
                    <a:pt x="294868" y="281012"/>
                    <a:pt x="295022" y="281019"/>
                  </a:cubicBezTo>
                  <a:cubicBezTo>
                    <a:pt x="297800" y="281265"/>
                    <a:pt x="303511" y="281968"/>
                    <a:pt x="305860" y="283016"/>
                  </a:cubicBezTo>
                  <a:cubicBezTo>
                    <a:pt x="308877" y="284352"/>
                    <a:pt x="314912" y="285696"/>
                    <a:pt x="317591" y="285696"/>
                  </a:cubicBezTo>
                  <a:cubicBezTo>
                    <a:pt x="320278" y="285696"/>
                    <a:pt x="323633" y="283016"/>
                    <a:pt x="324969" y="282678"/>
                  </a:cubicBezTo>
                  <a:cubicBezTo>
                    <a:pt x="326312" y="282341"/>
                    <a:pt x="332016" y="279661"/>
                    <a:pt x="333022" y="279661"/>
                  </a:cubicBezTo>
                  <a:cubicBezTo>
                    <a:pt x="334028" y="279661"/>
                    <a:pt x="340062" y="277312"/>
                    <a:pt x="343079" y="277650"/>
                  </a:cubicBezTo>
                  <a:cubicBezTo>
                    <a:pt x="346096" y="277980"/>
                    <a:pt x="350457" y="279661"/>
                    <a:pt x="354149" y="281673"/>
                  </a:cubicBezTo>
                  <a:cubicBezTo>
                    <a:pt x="357834" y="283684"/>
                    <a:pt x="365212" y="289388"/>
                    <a:pt x="367561" y="291730"/>
                  </a:cubicBezTo>
                  <a:lnTo>
                    <a:pt x="377879" y="302047"/>
                  </a:lnTo>
                  <a:cubicBezTo>
                    <a:pt x="378652" y="302821"/>
                    <a:pt x="379974" y="302455"/>
                    <a:pt x="380249" y="301400"/>
                  </a:cubicBezTo>
                  <a:cubicBezTo>
                    <a:pt x="380593" y="300050"/>
                    <a:pt x="380994" y="298524"/>
                    <a:pt x="381311" y="297434"/>
                  </a:cubicBezTo>
                  <a:cubicBezTo>
                    <a:pt x="381747" y="295915"/>
                    <a:pt x="380889" y="293854"/>
                    <a:pt x="380136" y="292532"/>
                  </a:cubicBezTo>
                  <a:cubicBezTo>
                    <a:pt x="379848" y="292032"/>
                    <a:pt x="379834" y="291420"/>
                    <a:pt x="380136" y="290942"/>
                  </a:cubicBezTo>
                  <a:lnTo>
                    <a:pt x="386930" y="280308"/>
                  </a:lnTo>
                  <a:cubicBezTo>
                    <a:pt x="387190" y="279907"/>
                    <a:pt x="387633" y="279661"/>
                    <a:pt x="388119" y="279661"/>
                  </a:cubicBezTo>
                  <a:lnTo>
                    <a:pt x="405723" y="279661"/>
                  </a:lnTo>
                  <a:cubicBezTo>
                    <a:pt x="406503" y="279661"/>
                    <a:pt x="407129" y="279028"/>
                    <a:pt x="407129" y="278255"/>
                  </a:cubicBezTo>
                  <a:lnTo>
                    <a:pt x="407129" y="276011"/>
                  </a:lnTo>
                  <a:cubicBezTo>
                    <a:pt x="407129" y="275765"/>
                    <a:pt x="407066" y="275526"/>
                    <a:pt x="406946" y="275315"/>
                  </a:cubicBezTo>
                  <a:cubicBezTo>
                    <a:pt x="406426" y="274443"/>
                    <a:pt x="405490" y="272994"/>
                    <a:pt x="404787" y="272284"/>
                  </a:cubicBezTo>
                  <a:cubicBezTo>
                    <a:pt x="403774" y="271278"/>
                    <a:pt x="403106" y="268929"/>
                    <a:pt x="401432" y="268591"/>
                  </a:cubicBezTo>
                  <a:cubicBezTo>
                    <a:pt x="399751" y="268261"/>
                    <a:pt x="397072" y="265243"/>
                    <a:pt x="395728" y="264238"/>
                  </a:cubicBezTo>
                  <a:cubicBezTo>
                    <a:pt x="395292" y="263907"/>
                    <a:pt x="394723" y="263380"/>
                    <a:pt x="394160" y="262810"/>
                  </a:cubicBezTo>
                  <a:cubicBezTo>
                    <a:pt x="393302" y="261952"/>
                    <a:pt x="393935" y="260545"/>
                    <a:pt x="395138" y="260545"/>
                  </a:cubicBezTo>
                  <a:lnTo>
                    <a:pt x="397009" y="260545"/>
                  </a:lnTo>
                  <a:cubicBezTo>
                    <a:pt x="397782" y="260545"/>
                    <a:pt x="398415" y="259913"/>
                    <a:pt x="398415" y="259139"/>
                  </a:cubicBezTo>
                  <a:lnTo>
                    <a:pt x="398415" y="252563"/>
                  </a:lnTo>
                  <a:cubicBezTo>
                    <a:pt x="398415" y="251782"/>
                    <a:pt x="399041" y="251156"/>
                    <a:pt x="399822" y="251156"/>
                  </a:cubicBezTo>
                  <a:lnTo>
                    <a:pt x="424817" y="251156"/>
                  </a:lnTo>
                  <a:cubicBezTo>
                    <a:pt x="425091" y="251156"/>
                    <a:pt x="425366" y="251072"/>
                    <a:pt x="425591" y="250917"/>
                  </a:cubicBezTo>
                  <a:lnTo>
                    <a:pt x="426899" y="250052"/>
                  </a:lnTo>
                  <a:cubicBezTo>
                    <a:pt x="427131" y="249897"/>
                    <a:pt x="427398" y="249813"/>
                    <a:pt x="427680" y="249813"/>
                  </a:cubicBezTo>
                  <a:lnTo>
                    <a:pt x="431112" y="249813"/>
                  </a:lnTo>
                  <a:cubicBezTo>
                    <a:pt x="431625" y="249813"/>
                    <a:pt x="432096" y="249532"/>
                    <a:pt x="432343" y="249074"/>
                  </a:cubicBezTo>
                  <a:lnTo>
                    <a:pt x="435986" y="242358"/>
                  </a:lnTo>
                  <a:cubicBezTo>
                    <a:pt x="436190" y="241985"/>
                    <a:pt x="436548" y="241718"/>
                    <a:pt x="436970" y="241648"/>
                  </a:cubicBezTo>
                  <a:lnTo>
                    <a:pt x="439361" y="241212"/>
                  </a:lnTo>
                  <a:cubicBezTo>
                    <a:pt x="439762" y="241134"/>
                    <a:pt x="440114" y="240895"/>
                    <a:pt x="440318" y="240536"/>
                  </a:cubicBezTo>
                  <a:lnTo>
                    <a:pt x="440726" y="239847"/>
                  </a:lnTo>
                  <a:cubicBezTo>
                    <a:pt x="441457" y="238609"/>
                    <a:pt x="443420" y="239130"/>
                    <a:pt x="443645" y="240550"/>
                  </a:cubicBezTo>
                  <a:cubicBezTo>
                    <a:pt x="443736" y="241155"/>
                    <a:pt x="443863" y="241605"/>
                    <a:pt x="444017" y="241767"/>
                  </a:cubicBezTo>
                  <a:cubicBezTo>
                    <a:pt x="444165" y="241915"/>
                    <a:pt x="444369" y="242203"/>
                    <a:pt x="444601" y="242569"/>
                  </a:cubicBezTo>
                  <a:cubicBezTo>
                    <a:pt x="445283" y="243666"/>
                    <a:pt x="446999" y="243490"/>
                    <a:pt x="447337" y="242245"/>
                  </a:cubicBezTo>
                  <a:lnTo>
                    <a:pt x="450847" y="229459"/>
                  </a:lnTo>
                  <a:cubicBezTo>
                    <a:pt x="450938" y="229129"/>
                    <a:pt x="450628" y="228833"/>
                    <a:pt x="450305" y="228939"/>
                  </a:cubicBezTo>
                  <a:cubicBezTo>
                    <a:pt x="449911" y="229073"/>
                    <a:pt x="449581" y="228622"/>
                    <a:pt x="449827" y="228285"/>
                  </a:cubicBezTo>
                  <a:lnTo>
                    <a:pt x="451796" y="225549"/>
                  </a:lnTo>
                  <a:cubicBezTo>
                    <a:pt x="452471" y="224621"/>
                    <a:pt x="451796" y="223320"/>
                    <a:pt x="450650" y="223320"/>
                  </a:cubicBezTo>
                  <a:cubicBezTo>
                    <a:pt x="449468" y="223320"/>
                    <a:pt x="448800" y="221955"/>
                    <a:pt x="449538" y="221034"/>
                  </a:cubicBezTo>
                  <a:lnTo>
                    <a:pt x="451543" y="218530"/>
                  </a:lnTo>
                  <a:cubicBezTo>
                    <a:pt x="451669" y="218375"/>
                    <a:pt x="451754" y="218192"/>
                    <a:pt x="451803" y="217995"/>
                  </a:cubicBezTo>
                  <a:lnTo>
                    <a:pt x="453343" y="211856"/>
                  </a:lnTo>
                  <a:cubicBezTo>
                    <a:pt x="453386" y="211673"/>
                    <a:pt x="453463" y="211511"/>
                    <a:pt x="453575" y="211363"/>
                  </a:cubicBezTo>
                  <a:lnTo>
                    <a:pt x="459110" y="203873"/>
                  </a:lnTo>
                  <a:cubicBezTo>
                    <a:pt x="460116" y="202642"/>
                    <a:pt x="462128" y="199780"/>
                    <a:pt x="462128" y="198169"/>
                  </a:cubicBezTo>
                  <a:cubicBezTo>
                    <a:pt x="462128" y="196756"/>
                    <a:pt x="460573" y="193858"/>
                    <a:pt x="459518" y="192114"/>
                  </a:cubicBezTo>
                  <a:cubicBezTo>
                    <a:pt x="459265" y="191706"/>
                    <a:pt x="458815" y="191453"/>
                    <a:pt x="458351" y="191572"/>
                  </a:cubicBezTo>
                  <a:cubicBezTo>
                    <a:pt x="457732" y="191727"/>
                    <a:pt x="456965" y="192086"/>
                    <a:pt x="456424" y="192803"/>
                  </a:cubicBezTo>
                  <a:cubicBezTo>
                    <a:pt x="455418" y="194146"/>
                    <a:pt x="452738" y="192803"/>
                    <a:pt x="451733" y="192803"/>
                  </a:cubicBezTo>
                  <a:cubicBezTo>
                    <a:pt x="450727" y="192803"/>
                    <a:pt x="444355" y="191460"/>
                    <a:pt x="443349" y="190124"/>
                  </a:cubicBezTo>
                  <a:cubicBezTo>
                    <a:pt x="442344" y="188780"/>
                    <a:pt x="441338" y="190792"/>
                    <a:pt x="438989" y="191460"/>
                  </a:cubicBezTo>
                  <a:cubicBezTo>
                    <a:pt x="436640" y="192135"/>
                    <a:pt x="432954" y="193141"/>
                    <a:pt x="431949" y="193478"/>
                  </a:cubicBezTo>
                  <a:cubicBezTo>
                    <a:pt x="430943" y="193809"/>
                    <a:pt x="423565" y="193809"/>
                    <a:pt x="421554" y="194146"/>
                  </a:cubicBezTo>
                  <a:cubicBezTo>
                    <a:pt x="419535" y="194484"/>
                    <a:pt x="417193" y="196826"/>
                    <a:pt x="414176" y="197164"/>
                  </a:cubicBezTo>
                  <a:cubicBezTo>
                    <a:pt x="411152" y="197501"/>
                    <a:pt x="409478" y="201187"/>
                    <a:pt x="407804" y="203873"/>
                  </a:cubicBezTo>
                  <a:cubicBezTo>
                    <a:pt x="406510" y="205941"/>
                    <a:pt x="405940" y="213790"/>
                    <a:pt x="405807" y="217855"/>
                  </a:cubicBezTo>
                  <a:cubicBezTo>
                    <a:pt x="405793" y="218143"/>
                    <a:pt x="405701" y="218418"/>
                    <a:pt x="405533" y="218642"/>
                  </a:cubicBezTo>
                  <a:lnTo>
                    <a:pt x="403296" y="221716"/>
                  </a:lnTo>
                  <a:cubicBezTo>
                    <a:pt x="403170" y="221892"/>
                    <a:pt x="403085" y="222089"/>
                    <a:pt x="403050" y="222300"/>
                  </a:cubicBezTo>
                  <a:lnTo>
                    <a:pt x="402192" y="227174"/>
                  </a:lnTo>
                  <a:cubicBezTo>
                    <a:pt x="402136" y="227504"/>
                    <a:pt x="401960" y="227799"/>
                    <a:pt x="401707" y="228011"/>
                  </a:cubicBezTo>
                  <a:cubicBezTo>
                    <a:pt x="399555" y="229783"/>
                    <a:pt x="395567" y="232962"/>
                    <a:pt x="394055" y="233714"/>
                  </a:cubicBezTo>
                  <a:cubicBezTo>
                    <a:pt x="392043" y="234720"/>
                    <a:pt x="394055" y="236401"/>
                    <a:pt x="394055" y="236738"/>
                  </a:cubicBezTo>
                  <a:cubicBezTo>
                    <a:pt x="394055" y="237069"/>
                    <a:pt x="394385" y="239081"/>
                    <a:pt x="394055" y="239756"/>
                  </a:cubicBezTo>
                  <a:cubicBezTo>
                    <a:pt x="393717" y="240424"/>
                    <a:pt x="390700" y="241767"/>
                    <a:pt x="389694" y="242773"/>
                  </a:cubicBezTo>
                  <a:cubicBezTo>
                    <a:pt x="388688" y="243779"/>
                    <a:pt x="384996" y="240086"/>
                    <a:pt x="381979" y="239081"/>
                  </a:cubicBezTo>
                  <a:cubicBezTo>
                    <a:pt x="378962" y="238075"/>
                    <a:pt x="375607" y="239081"/>
                    <a:pt x="374271" y="239081"/>
                  </a:cubicBezTo>
                  <a:cubicBezTo>
                    <a:pt x="373349" y="239081"/>
                    <a:pt x="372048" y="240058"/>
                    <a:pt x="371268" y="240762"/>
                  </a:cubicBezTo>
                  <a:cubicBezTo>
                    <a:pt x="371035" y="240972"/>
                    <a:pt x="370747" y="241113"/>
                    <a:pt x="370431" y="241155"/>
                  </a:cubicBezTo>
                  <a:cubicBezTo>
                    <a:pt x="367477" y="241514"/>
                    <a:pt x="361956" y="242267"/>
                    <a:pt x="360183" y="242773"/>
                  </a:cubicBezTo>
                  <a:cubicBezTo>
                    <a:pt x="357834" y="243441"/>
                    <a:pt x="357166" y="244447"/>
                    <a:pt x="354817" y="244784"/>
                  </a:cubicBezTo>
                  <a:cubicBezTo>
                    <a:pt x="352468" y="245122"/>
                    <a:pt x="344422" y="245790"/>
                    <a:pt x="343079" y="245790"/>
                  </a:cubicBezTo>
                  <a:cubicBezTo>
                    <a:pt x="341736" y="245790"/>
                    <a:pt x="340399" y="241092"/>
                    <a:pt x="339056" y="241092"/>
                  </a:cubicBezTo>
                  <a:cubicBezTo>
                    <a:pt x="337713" y="241092"/>
                    <a:pt x="336039" y="238075"/>
                    <a:pt x="335033" y="237744"/>
                  </a:cubicBezTo>
                  <a:cubicBezTo>
                    <a:pt x="334028" y="237407"/>
                    <a:pt x="326650" y="236063"/>
                    <a:pt x="323633" y="235395"/>
                  </a:cubicBezTo>
                  <a:cubicBezTo>
                    <a:pt x="320672" y="234734"/>
                    <a:pt x="315791" y="222497"/>
                    <a:pt x="314961" y="220422"/>
                  </a:cubicBezTo>
                  <a:lnTo>
                    <a:pt x="314912" y="220302"/>
                  </a:lnTo>
                  <a:cubicBezTo>
                    <a:pt x="314244" y="218628"/>
                    <a:pt x="307196" y="209907"/>
                    <a:pt x="306528" y="208564"/>
                  </a:cubicBezTo>
                  <a:cubicBezTo>
                    <a:pt x="305860" y="207228"/>
                    <a:pt x="299151" y="195152"/>
                    <a:pt x="297477" y="192135"/>
                  </a:cubicBezTo>
                  <a:cubicBezTo>
                    <a:pt x="295796" y="189118"/>
                    <a:pt x="293447" y="176374"/>
                    <a:pt x="293447" y="175030"/>
                  </a:cubicBezTo>
                  <a:cubicBezTo>
                    <a:pt x="293447" y="173687"/>
                    <a:pt x="294452" y="173357"/>
                    <a:pt x="294452" y="172013"/>
                  </a:cubicBezTo>
                  <a:cubicBezTo>
                    <a:pt x="294452" y="170670"/>
                    <a:pt x="295458" y="165979"/>
                    <a:pt x="295458" y="163630"/>
                  </a:cubicBezTo>
                  <a:cubicBezTo>
                    <a:pt x="295458" y="161281"/>
                    <a:pt x="295458" y="153566"/>
                    <a:pt x="294452" y="151554"/>
                  </a:cubicBezTo>
                  <a:cubicBezTo>
                    <a:pt x="293447" y="149543"/>
                    <a:pt x="295458" y="142165"/>
                    <a:pt x="295458" y="141159"/>
                  </a:cubicBezTo>
                  <a:cubicBezTo>
                    <a:pt x="295458" y="140154"/>
                    <a:pt x="296133" y="135463"/>
                    <a:pt x="296471" y="134119"/>
                  </a:cubicBezTo>
                  <a:cubicBezTo>
                    <a:pt x="296802" y="132776"/>
                    <a:pt x="296802" y="131102"/>
                    <a:pt x="297477" y="128753"/>
                  </a:cubicBezTo>
                  <a:cubicBezTo>
                    <a:pt x="298145" y="126404"/>
                    <a:pt x="300494" y="126742"/>
                    <a:pt x="301830" y="124392"/>
                  </a:cubicBezTo>
                  <a:cubicBezTo>
                    <a:pt x="302618" y="123014"/>
                    <a:pt x="303096" y="120834"/>
                    <a:pt x="303335" y="119195"/>
                  </a:cubicBezTo>
                  <a:cubicBezTo>
                    <a:pt x="303455" y="118386"/>
                    <a:pt x="302808" y="117683"/>
                    <a:pt x="301992" y="117669"/>
                  </a:cubicBezTo>
                  <a:cubicBezTo>
                    <a:pt x="299425" y="117627"/>
                    <a:pt x="295775" y="117451"/>
                    <a:pt x="294452" y="117015"/>
                  </a:cubicBezTo>
                  <a:cubicBezTo>
                    <a:pt x="292441" y="116347"/>
                    <a:pt x="287412" y="114666"/>
                    <a:pt x="286407" y="113998"/>
                  </a:cubicBezTo>
                  <a:cubicBezTo>
                    <a:pt x="285401" y="113329"/>
                    <a:pt x="281041" y="112324"/>
                    <a:pt x="279367" y="111311"/>
                  </a:cubicBezTo>
                  <a:cubicBezTo>
                    <a:pt x="277686" y="110305"/>
                    <a:pt x="274338" y="109300"/>
                    <a:pt x="274000" y="108631"/>
                  </a:cubicBezTo>
                  <a:cubicBezTo>
                    <a:pt x="273663" y="107963"/>
                    <a:pt x="272995" y="106620"/>
                    <a:pt x="271989" y="105614"/>
                  </a:cubicBezTo>
                  <a:cubicBezTo>
                    <a:pt x="270983" y="104609"/>
                    <a:pt x="270983" y="102928"/>
                    <a:pt x="269978" y="100916"/>
                  </a:cubicBezTo>
                  <a:cubicBezTo>
                    <a:pt x="268972" y="98905"/>
                    <a:pt x="269640" y="98574"/>
                    <a:pt x="269302" y="95550"/>
                  </a:cubicBezTo>
                  <a:cubicBezTo>
                    <a:pt x="268972" y="92533"/>
                    <a:pt x="268634" y="92202"/>
                    <a:pt x="267966" y="90184"/>
                  </a:cubicBezTo>
                  <a:cubicBezTo>
                    <a:pt x="267291" y="88172"/>
                    <a:pt x="265279" y="88172"/>
                    <a:pt x="263606" y="86498"/>
                  </a:cubicBezTo>
                  <a:cubicBezTo>
                    <a:pt x="261925" y="84825"/>
                    <a:pt x="258907" y="80795"/>
                    <a:pt x="256896" y="78453"/>
                  </a:cubicBezTo>
                  <a:cubicBezTo>
                    <a:pt x="254885" y="76104"/>
                    <a:pt x="254547" y="73086"/>
                    <a:pt x="253211" y="70737"/>
                  </a:cubicBezTo>
                  <a:cubicBezTo>
                    <a:pt x="251867" y="68388"/>
                    <a:pt x="251530" y="65034"/>
                    <a:pt x="250862" y="64028"/>
                  </a:cubicBezTo>
                  <a:cubicBezTo>
                    <a:pt x="250327" y="63226"/>
                    <a:pt x="246389" y="59449"/>
                    <a:pt x="244490" y="57656"/>
                  </a:cubicBezTo>
                  <a:lnTo>
                    <a:pt x="241135" y="54976"/>
                  </a:lnTo>
                  <a:lnTo>
                    <a:pt x="237836" y="52276"/>
                  </a:lnTo>
                  <a:cubicBezTo>
                    <a:pt x="237583" y="52072"/>
                    <a:pt x="237274" y="51959"/>
                    <a:pt x="236943" y="51959"/>
                  </a:cubicBezTo>
                  <a:lnTo>
                    <a:pt x="231746" y="51959"/>
                  </a:lnTo>
                  <a:cubicBezTo>
                    <a:pt x="230318" y="51959"/>
                    <a:pt x="228904" y="51263"/>
                    <a:pt x="227892" y="50567"/>
                  </a:cubicBezTo>
                  <a:cubicBezTo>
                    <a:pt x="227217" y="50102"/>
                    <a:pt x="226260" y="50138"/>
                    <a:pt x="225726" y="50763"/>
                  </a:cubicBezTo>
                  <a:lnTo>
                    <a:pt x="225128" y="51467"/>
                  </a:lnTo>
                  <a:cubicBezTo>
                    <a:pt x="224860" y="51776"/>
                    <a:pt x="224467" y="51959"/>
                    <a:pt x="224059" y="51959"/>
                  </a:cubicBezTo>
                  <a:lnTo>
                    <a:pt x="220894" y="51959"/>
                  </a:lnTo>
                  <a:cubicBezTo>
                    <a:pt x="220352" y="51959"/>
                    <a:pt x="219860" y="52269"/>
                    <a:pt x="219628" y="52754"/>
                  </a:cubicBezTo>
                  <a:lnTo>
                    <a:pt x="215415" y="61468"/>
                  </a:lnTo>
                  <a:cubicBezTo>
                    <a:pt x="215352" y="61608"/>
                    <a:pt x="215260" y="61735"/>
                    <a:pt x="215148" y="61855"/>
                  </a:cubicBezTo>
                  <a:cubicBezTo>
                    <a:pt x="214423" y="62593"/>
                    <a:pt x="213129" y="64042"/>
                    <a:pt x="212630" y="65034"/>
                  </a:cubicBezTo>
                  <a:cubicBezTo>
                    <a:pt x="212102" y="66096"/>
                    <a:pt x="207179" y="63979"/>
                    <a:pt x="204683" y="62741"/>
                  </a:cubicBezTo>
                  <a:cubicBezTo>
                    <a:pt x="204619" y="62706"/>
                    <a:pt x="204549" y="62663"/>
                    <a:pt x="204493" y="62621"/>
                  </a:cubicBezTo>
                  <a:cubicBezTo>
                    <a:pt x="203227" y="61700"/>
                    <a:pt x="200821" y="59935"/>
                    <a:pt x="200561" y="59667"/>
                  </a:cubicBezTo>
                  <a:cubicBezTo>
                    <a:pt x="200224" y="59337"/>
                    <a:pt x="198212" y="58331"/>
                    <a:pt x="196869" y="57656"/>
                  </a:cubicBezTo>
                  <a:cubicBezTo>
                    <a:pt x="195526" y="56988"/>
                    <a:pt x="192178" y="54976"/>
                    <a:pt x="191503" y="53971"/>
                  </a:cubicBezTo>
                  <a:cubicBezTo>
                    <a:pt x="190835" y="52965"/>
                    <a:pt x="190166" y="51621"/>
                    <a:pt x="190166" y="49610"/>
                  </a:cubicBezTo>
                  <a:cubicBezTo>
                    <a:pt x="190166" y="47599"/>
                    <a:pt x="189161" y="44581"/>
                    <a:pt x="188486" y="43576"/>
                  </a:cubicBezTo>
                  <a:cubicBezTo>
                    <a:pt x="187817" y="42570"/>
                    <a:pt x="186812" y="41895"/>
                    <a:pt x="186136" y="40559"/>
                  </a:cubicBezTo>
                  <a:cubicBezTo>
                    <a:pt x="185743" y="39757"/>
                    <a:pt x="185567" y="38793"/>
                    <a:pt x="185504" y="38118"/>
                  </a:cubicBezTo>
                  <a:cubicBezTo>
                    <a:pt x="185461" y="37745"/>
                    <a:pt x="185321" y="37387"/>
                    <a:pt x="185060" y="37126"/>
                  </a:cubicBezTo>
                  <a:lnTo>
                    <a:pt x="182114" y="34187"/>
                  </a:lnTo>
                  <a:cubicBezTo>
                    <a:pt x="180777" y="32843"/>
                    <a:pt x="178759" y="32506"/>
                    <a:pt x="177422" y="31838"/>
                  </a:cubicBezTo>
                  <a:cubicBezTo>
                    <a:pt x="176079" y="31162"/>
                    <a:pt x="174736" y="29488"/>
                    <a:pt x="174068" y="28483"/>
                  </a:cubicBezTo>
                  <a:cubicBezTo>
                    <a:pt x="173400" y="27477"/>
                    <a:pt x="171381" y="25803"/>
                    <a:pt x="170375" y="25128"/>
                  </a:cubicBezTo>
                  <a:cubicBezTo>
                    <a:pt x="169370" y="24460"/>
                    <a:pt x="165009" y="20099"/>
                    <a:pt x="164679" y="19094"/>
                  </a:cubicBezTo>
                  <a:cubicBezTo>
                    <a:pt x="164439" y="18376"/>
                    <a:pt x="162576" y="16885"/>
                    <a:pt x="161380" y="16020"/>
                  </a:cubicBezTo>
                  <a:cubicBezTo>
                    <a:pt x="161127" y="15837"/>
                    <a:pt x="160817" y="15746"/>
                    <a:pt x="160501" y="15767"/>
                  </a:cubicBezTo>
                  <a:lnTo>
                    <a:pt x="137172" y="17012"/>
                  </a:lnTo>
                  <a:cubicBezTo>
                    <a:pt x="136420" y="17047"/>
                    <a:pt x="135836" y="17666"/>
                    <a:pt x="135836" y="18411"/>
                  </a:cubicBezTo>
                  <a:lnTo>
                    <a:pt x="135836" y="22378"/>
                  </a:lnTo>
                  <a:cubicBezTo>
                    <a:pt x="135836" y="23159"/>
                    <a:pt x="135210" y="23785"/>
                    <a:pt x="134429" y="23785"/>
                  </a:cubicBezTo>
                  <a:lnTo>
                    <a:pt x="92182" y="23785"/>
                  </a:lnTo>
                  <a:cubicBezTo>
                    <a:pt x="91999" y="23785"/>
                    <a:pt x="91823" y="23750"/>
                    <a:pt x="91654" y="23686"/>
                  </a:cubicBezTo>
                  <a:lnTo>
                    <a:pt x="33533" y="104"/>
                  </a:lnTo>
                  <a:cubicBezTo>
                    <a:pt x="33329" y="20"/>
                    <a:pt x="33111" y="-15"/>
                    <a:pt x="32893" y="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1" name="Freihandform: Form 16">
              <a:extLst>
                <a:ext uri="{FF2B5EF4-FFF2-40B4-BE49-F238E27FC236}">
                  <a16:creationId xmlns:a16="http://schemas.microsoft.com/office/drawing/2014/main" id="{2BBB0E06-A2B0-7948-B5B1-64A907619B61}"/>
                </a:ext>
              </a:extLst>
            </p:cNvPr>
            <p:cNvSpPr/>
            <p:nvPr/>
          </p:nvSpPr>
          <p:spPr>
            <a:xfrm>
              <a:off x="4733147" y="4234143"/>
              <a:ext cx="56073" cy="66361"/>
            </a:xfrm>
            <a:custGeom>
              <a:avLst/>
              <a:gdLst>
                <a:gd name="connsiteX0" fmla="*/ 80 w 56073"/>
                <a:gd name="connsiteY0" fmla="*/ 52464 h 66361"/>
                <a:gd name="connsiteX1" fmla="*/ 333 w 56073"/>
                <a:gd name="connsiteY1" fmla="*/ 50594 h 66361"/>
                <a:gd name="connsiteX2" fmla="*/ 333 w 56073"/>
                <a:gd name="connsiteY2" fmla="*/ 50594 h 66361"/>
                <a:gd name="connsiteX3" fmla="*/ 1395 w 56073"/>
                <a:gd name="connsiteY3" fmla="*/ 46627 h 66361"/>
                <a:gd name="connsiteX4" fmla="*/ 221 w 56073"/>
                <a:gd name="connsiteY4" fmla="*/ 41725 h 66361"/>
                <a:gd name="connsiteX5" fmla="*/ 228 w 56073"/>
                <a:gd name="connsiteY5" fmla="*/ 40135 h 66361"/>
                <a:gd name="connsiteX6" fmla="*/ 7015 w 56073"/>
                <a:gd name="connsiteY6" fmla="*/ 29502 h 66361"/>
                <a:gd name="connsiteX7" fmla="*/ 8203 w 56073"/>
                <a:gd name="connsiteY7" fmla="*/ 28854 h 66361"/>
                <a:gd name="connsiteX8" fmla="*/ 25807 w 56073"/>
                <a:gd name="connsiteY8" fmla="*/ 28854 h 66361"/>
                <a:gd name="connsiteX9" fmla="*/ 27214 w 56073"/>
                <a:gd name="connsiteY9" fmla="*/ 27448 h 66361"/>
                <a:gd name="connsiteX10" fmla="*/ 27214 w 56073"/>
                <a:gd name="connsiteY10" fmla="*/ 25204 h 66361"/>
                <a:gd name="connsiteX11" fmla="*/ 27031 w 56073"/>
                <a:gd name="connsiteY11" fmla="*/ 24508 h 66361"/>
                <a:gd name="connsiteX12" fmla="*/ 24871 w 56073"/>
                <a:gd name="connsiteY12" fmla="*/ 21477 h 66361"/>
                <a:gd name="connsiteX13" fmla="*/ 23901 w 56073"/>
                <a:gd name="connsiteY13" fmla="*/ 20112 h 66361"/>
                <a:gd name="connsiteX14" fmla="*/ 21517 w 56073"/>
                <a:gd name="connsiteY14" fmla="*/ 17784 h 66361"/>
                <a:gd name="connsiteX15" fmla="*/ 17353 w 56073"/>
                <a:gd name="connsiteY15" fmla="*/ 14781 h 66361"/>
                <a:gd name="connsiteX16" fmla="*/ 15813 w 56073"/>
                <a:gd name="connsiteY16" fmla="*/ 13431 h 66361"/>
                <a:gd name="connsiteX17" fmla="*/ 14245 w 56073"/>
                <a:gd name="connsiteY17" fmla="*/ 12003 h 66361"/>
                <a:gd name="connsiteX18" fmla="*/ 15222 w 56073"/>
                <a:gd name="connsiteY18" fmla="*/ 9739 h 66361"/>
                <a:gd name="connsiteX19" fmla="*/ 17093 w 56073"/>
                <a:gd name="connsiteY19" fmla="*/ 9739 h 66361"/>
                <a:gd name="connsiteX20" fmla="*/ 18500 w 56073"/>
                <a:gd name="connsiteY20" fmla="*/ 8332 h 66361"/>
                <a:gd name="connsiteX21" fmla="*/ 18500 w 56073"/>
                <a:gd name="connsiteY21" fmla="*/ 1756 h 66361"/>
                <a:gd name="connsiteX22" fmla="*/ 19906 w 56073"/>
                <a:gd name="connsiteY22" fmla="*/ 349 h 66361"/>
                <a:gd name="connsiteX23" fmla="*/ 44902 w 56073"/>
                <a:gd name="connsiteY23" fmla="*/ 349 h 66361"/>
                <a:gd name="connsiteX24" fmla="*/ 45675 w 56073"/>
                <a:gd name="connsiteY24" fmla="*/ 110 h 66361"/>
                <a:gd name="connsiteX25" fmla="*/ 45675 w 56073"/>
                <a:gd name="connsiteY25" fmla="*/ 110 h 66361"/>
                <a:gd name="connsiteX26" fmla="*/ 46695 w 56073"/>
                <a:gd name="connsiteY26" fmla="*/ 659 h 66361"/>
                <a:gd name="connsiteX27" fmla="*/ 46695 w 56073"/>
                <a:gd name="connsiteY27" fmla="*/ 31548 h 66361"/>
                <a:gd name="connsiteX28" fmla="*/ 48102 w 56073"/>
                <a:gd name="connsiteY28" fmla="*/ 32990 h 66361"/>
                <a:gd name="connsiteX29" fmla="*/ 55135 w 56073"/>
                <a:gd name="connsiteY29" fmla="*/ 34713 h 66361"/>
                <a:gd name="connsiteX30" fmla="*/ 55135 w 56073"/>
                <a:gd name="connsiteY30" fmla="*/ 34713 h 66361"/>
                <a:gd name="connsiteX31" fmla="*/ 55859 w 56073"/>
                <a:gd name="connsiteY31" fmla="*/ 38159 h 66361"/>
                <a:gd name="connsiteX32" fmla="*/ 46695 w 56073"/>
                <a:gd name="connsiteY32" fmla="*/ 45614 h 66361"/>
                <a:gd name="connsiteX33" fmla="*/ 46744 w 56073"/>
                <a:gd name="connsiteY33" fmla="*/ 46965 h 66361"/>
                <a:gd name="connsiteX34" fmla="*/ 45640 w 56073"/>
                <a:gd name="connsiteY34" fmla="*/ 55812 h 66361"/>
                <a:gd name="connsiteX35" fmla="*/ 35442 w 56073"/>
                <a:gd name="connsiteY35" fmla="*/ 63197 h 66361"/>
                <a:gd name="connsiteX36" fmla="*/ 30871 w 56073"/>
                <a:gd name="connsiteY36" fmla="*/ 66362 h 66361"/>
                <a:gd name="connsiteX37" fmla="*/ 28733 w 56073"/>
                <a:gd name="connsiteY37" fmla="*/ 65694 h 66361"/>
                <a:gd name="connsiteX38" fmla="*/ 22431 w 56073"/>
                <a:gd name="connsiteY38" fmla="*/ 64252 h 66361"/>
                <a:gd name="connsiteX39" fmla="*/ 19962 w 56073"/>
                <a:gd name="connsiteY39" fmla="*/ 64273 h 66361"/>
                <a:gd name="connsiteX40" fmla="*/ 11881 w 56073"/>
                <a:gd name="connsiteY40" fmla="*/ 63197 h 66361"/>
                <a:gd name="connsiteX41" fmla="*/ 6255 w 56073"/>
                <a:gd name="connsiteY41" fmla="*/ 58977 h 66361"/>
                <a:gd name="connsiteX42" fmla="*/ 467 w 56073"/>
                <a:gd name="connsiteY42" fmla="*/ 53203 h 66361"/>
                <a:gd name="connsiteX43" fmla="*/ 178 w 56073"/>
                <a:gd name="connsiteY43" fmla="*/ 52732 h 66361"/>
                <a:gd name="connsiteX44" fmla="*/ 80 w 56073"/>
                <a:gd name="connsiteY44" fmla="*/ 52464 h 6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073" h="66361">
                  <a:moveTo>
                    <a:pt x="80" y="52464"/>
                  </a:moveTo>
                  <a:cubicBezTo>
                    <a:pt x="-138" y="51874"/>
                    <a:pt x="171" y="51205"/>
                    <a:pt x="333" y="50594"/>
                  </a:cubicBezTo>
                  <a:lnTo>
                    <a:pt x="333" y="50594"/>
                  </a:lnTo>
                  <a:cubicBezTo>
                    <a:pt x="678" y="49243"/>
                    <a:pt x="1079" y="47717"/>
                    <a:pt x="1395" y="46627"/>
                  </a:cubicBezTo>
                  <a:cubicBezTo>
                    <a:pt x="1831" y="45108"/>
                    <a:pt x="973" y="43047"/>
                    <a:pt x="221" y="41725"/>
                  </a:cubicBezTo>
                  <a:cubicBezTo>
                    <a:pt x="-68" y="41226"/>
                    <a:pt x="-82" y="40614"/>
                    <a:pt x="228" y="40135"/>
                  </a:cubicBezTo>
                  <a:lnTo>
                    <a:pt x="7015" y="29502"/>
                  </a:lnTo>
                  <a:cubicBezTo>
                    <a:pt x="7275" y="29101"/>
                    <a:pt x="7718" y="28854"/>
                    <a:pt x="8203" y="28854"/>
                  </a:cubicBezTo>
                  <a:lnTo>
                    <a:pt x="25807" y="28854"/>
                  </a:lnTo>
                  <a:cubicBezTo>
                    <a:pt x="26588" y="28854"/>
                    <a:pt x="27214" y="28222"/>
                    <a:pt x="27214" y="27448"/>
                  </a:cubicBezTo>
                  <a:lnTo>
                    <a:pt x="27214" y="25204"/>
                  </a:lnTo>
                  <a:cubicBezTo>
                    <a:pt x="27214" y="24958"/>
                    <a:pt x="27150" y="24719"/>
                    <a:pt x="27031" y="24508"/>
                  </a:cubicBezTo>
                  <a:cubicBezTo>
                    <a:pt x="26510" y="23636"/>
                    <a:pt x="25575" y="22187"/>
                    <a:pt x="24871" y="21477"/>
                  </a:cubicBezTo>
                  <a:cubicBezTo>
                    <a:pt x="24527" y="21132"/>
                    <a:pt x="24225" y="20633"/>
                    <a:pt x="23901" y="20112"/>
                  </a:cubicBezTo>
                  <a:cubicBezTo>
                    <a:pt x="23289" y="19107"/>
                    <a:pt x="22621" y="18010"/>
                    <a:pt x="21517" y="17784"/>
                  </a:cubicBezTo>
                  <a:cubicBezTo>
                    <a:pt x="20349" y="17552"/>
                    <a:pt x="18703" y="16026"/>
                    <a:pt x="17353" y="14781"/>
                  </a:cubicBezTo>
                  <a:cubicBezTo>
                    <a:pt x="16762" y="14233"/>
                    <a:pt x="16221" y="13733"/>
                    <a:pt x="15813" y="13431"/>
                  </a:cubicBezTo>
                  <a:cubicBezTo>
                    <a:pt x="15377" y="13100"/>
                    <a:pt x="14807" y="12573"/>
                    <a:pt x="14245" y="12003"/>
                  </a:cubicBezTo>
                  <a:cubicBezTo>
                    <a:pt x="13387" y="11145"/>
                    <a:pt x="14020" y="9739"/>
                    <a:pt x="15222" y="9739"/>
                  </a:cubicBezTo>
                  <a:lnTo>
                    <a:pt x="17093" y="9739"/>
                  </a:lnTo>
                  <a:cubicBezTo>
                    <a:pt x="17867" y="9739"/>
                    <a:pt x="18500" y="9106"/>
                    <a:pt x="18500" y="8332"/>
                  </a:cubicBezTo>
                  <a:lnTo>
                    <a:pt x="18500" y="1756"/>
                  </a:lnTo>
                  <a:cubicBezTo>
                    <a:pt x="18500" y="975"/>
                    <a:pt x="19126" y="349"/>
                    <a:pt x="19906" y="349"/>
                  </a:cubicBezTo>
                  <a:lnTo>
                    <a:pt x="44902" y="349"/>
                  </a:lnTo>
                  <a:cubicBezTo>
                    <a:pt x="45176" y="349"/>
                    <a:pt x="45450" y="265"/>
                    <a:pt x="45675" y="110"/>
                  </a:cubicBezTo>
                  <a:lnTo>
                    <a:pt x="45675" y="110"/>
                  </a:lnTo>
                  <a:cubicBezTo>
                    <a:pt x="46111" y="-178"/>
                    <a:pt x="46695" y="132"/>
                    <a:pt x="46695" y="659"/>
                  </a:cubicBezTo>
                  <a:lnTo>
                    <a:pt x="46695" y="31548"/>
                  </a:lnTo>
                  <a:cubicBezTo>
                    <a:pt x="46695" y="32322"/>
                    <a:pt x="47321" y="32955"/>
                    <a:pt x="48102" y="32990"/>
                  </a:cubicBezTo>
                  <a:cubicBezTo>
                    <a:pt x="50634" y="33109"/>
                    <a:pt x="54199" y="33546"/>
                    <a:pt x="55135" y="34713"/>
                  </a:cubicBezTo>
                  <a:lnTo>
                    <a:pt x="55135" y="34713"/>
                  </a:lnTo>
                  <a:cubicBezTo>
                    <a:pt x="55606" y="35304"/>
                    <a:pt x="56478" y="37737"/>
                    <a:pt x="55859" y="38159"/>
                  </a:cubicBezTo>
                  <a:cubicBezTo>
                    <a:pt x="51386" y="41190"/>
                    <a:pt x="46695" y="44630"/>
                    <a:pt x="46695" y="45614"/>
                  </a:cubicBezTo>
                  <a:cubicBezTo>
                    <a:pt x="46695" y="45917"/>
                    <a:pt x="46716" y="46388"/>
                    <a:pt x="46744" y="46965"/>
                  </a:cubicBezTo>
                  <a:cubicBezTo>
                    <a:pt x="46864" y="49729"/>
                    <a:pt x="47096" y="54940"/>
                    <a:pt x="45640" y="55812"/>
                  </a:cubicBezTo>
                  <a:cubicBezTo>
                    <a:pt x="43882" y="56867"/>
                    <a:pt x="36849" y="61439"/>
                    <a:pt x="35442" y="63197"/>
                  </a:cubicBezTo>
                  <a:cubicBezTo>
                    <a:pt x="34036" y="64955"/>
                    <a:pt x="32629" y="66362"/>
                    <a:pt x="30871" y="66362"/>
                  </a:cubicBezTo>
                  <a:cubicBezTo>
                    <a:pt x="30217" y="66362"/>
                    <a:pt x="29556" y="66066"/>
                    <a:pt x="28733" y="65694"/>
                  </a:cubicBezTo>
                  <a:cubicBezTo>
                    <a:pt x="27354" y="65082"/>
                    <a:pt x="25512" y="64252"/>
                    <a:pt x="22431" y="64252"/>
                  </a:cubicBezTo>
                  <a:cubicBezTo>
                    <a:pt x="21573" y="64252"/>
                    <a:pt x="20750" y="64266"/>
                    <a:pt x="19962" y="64273"/>
                  </a:cubicBezTo>
                  <a:cubicBezTo>
                    <a:pt x="16221" y="64322"/>
                    <a:pt x="13330" y="64357"/>
                    <a:pt x="11881" y="63197"/>
                  </a:cubicBezTo>
                  <a:cubicBezTo>
                    <a:pt x="10123" y="61790"/>
                    <a:pt x="7310" y="59680"/>
                    <a:pt x="6255" y="58977"/>
                  </a:cubicBezTo>
                  <a:cubicBezTo>
                    <a:pt x="5446" y="58435"/>
                    <a:pt x="2176" y="55024"/>
                    <a:pt x="467" y="53203"/>
                  </a:cubicBezTo>
                  <a:cubicBezTo>
                    <a:pt x="340" y="53069"/>
                    <a:pt x="242" y="52908"/>
                    <a:pt x="178" y="52732"/>
                  </a:cubicBezTo>
                  <a:cubicBezTo>
                    <a:pt x="143" y="52647"/>
                    <a:pt x="115" y="52556"/>
                    <a:pt x="80" y="5246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2" name="Freihandform: Form 17">
              <a:extLst>
                <a:ext uri="{FF2B5EF4-FFF2-40B4-BE49-F238E27FC236}">
                  <a16:creationId xmlns:a16="http://schemas.microsoft.com/office/drawing/2014/main" id="{7B6198D9-BF60-AC46-9142-D945C6A6D811}"/>
                </a:ext>
              </a:extLst>
            </p:cNvPr>
            <p:cNvSpPr/>
            <p:nvPr/>
          </p:nvSpPr>
          <p:spPr>
            <a:xfrm>
              <a:off x="4779374" y="4222437"/>
              <a:ext cx="19809" cy="44386"/>
            </a:xfrm>
            <a:custGeom>
              <a:avLst/>
              <a:gdLst>
                <a:gd name="connsiteX0" fmla="*/ 15942 w 19809"/>
                <a:gd name="connsiteY0" fmla="*/ 15473 h 44386"/>
                <a:gd name="connsiteX1" fmla="*/ 19810 w 19809"/>
                <a:gd name="connsiteY1" fmla="*/ 4220 h 44386"/>
                <a:gd name="connsiteX2" fmla="*/ 15942 w 19809"/>
                <a:gd name="connsiteY2" fmla="*/ 0 h 44386"/>
                <a:gd name="connsiteX3" fmla="*/ 11370 w 19809"/>
                <a:gd name="connsiteY3" fmla="*/ 2813 h 44386"/>
                <a:gd name="connsiteX4" fmla="*/ 6095 w 19809"/>
                <a:gd name="connsiteY4" fmla="*/ 10198 h 44386"/>
                <a:gd name="connsiteX5" fmla="*/ 469 w 19809"/>
                <a:gd name="connsiteY5" fmla="*/ 11253 h 44386"/>
                <a:gd name="connsiteX6" fmla="*/ 469 w 19809"/>
                <a:gd name="connsiteY6" fmla="*/ 33759 h 44386"/>
                <a:gd name="connsiteX7" fmla="*/ 1524 w 19809"/>
                <a:gd name="connsiteY7" fmla="*/ 44308 h 44386"/>
                <a:gd name="connsiteX8" fmla="*/ 8205 w 19809"/>
                <a:gd name="connsiteY8" fmla="*/ 39033 h 44386"/>
                <a:gd name="connsiteX9" fmla="*/ 15942 w 19809"/>
                <a:gd name="connsiteY9" fmla="*/ 32704 h 44386"/>
                <a:gd name="connsiteX10" fmla="*/ 15942 w 19809"/>
                <a:gd name="connsiteY10" fmla="*/ 15473 h 4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809" h="44386">
                  <a:moveTo>
                    <a:pt x="15942" y="15473"/>
                  </a:moveTo>
                  <a:cubicBezTo>
                    <a:pt x="15660" y="12378"/>
                    <a:pt x="18403" y="6681"/>
                    <a:pt x="19810" y="4220"/>
                  </a:cubicBezTo>
                  <a:cubicBezTo>
                    <a:pt x="17348" y="4220"/>
                    <a:pt x="17700" y="0"/>
                    <a:pt x="15942" y="0"/>
                  </a:cubicBezTo>
                  <a:cubicBezTo>
                    <a:pt x="14183" y="0"/>
                    <a:pt x="13832" y="2462"/>
                    <a:pt x="11370" y="2813"/>
                  </a:cubicBezTo>
                  <a:cubicBezTo>
                    <a:pt x="8909" y="3165"/>
                    <a:pt x="6799" y="9495"/>
                    <a:pt x="6095" y="10198"/>
                  </a:cubicBezTo>
                  <a:cubicBezTo>
                    <a:pt x="5392" y="10901"/>
                    <a:pt x="1524" y="10901"/>
                    <a:pt x="469" y="11253"/>
                  </a:cubicBezTo>
                  <a:cubicBezTo>
                    <a:pt x="-586" y="11605"/>
                    <a:pt x="469" y="30945"/>
                    <a:pt x="469" y="33759"/>
                  </a:cubicBezTo>
                  <a:cubicBezTo>
                    <a:pt x="469" y="36572"/>
                    <a:pt x="469" y="43605"/>
                    <a:pt x="1524" y="44308"/>
                  </a:cubicBezTo>
                  <a:cubicBezTo>
                    <a:pt x="2579" y="45012"/>
                    <a:pt x="6095" y="40792"/>
                    <a:pt x="8205" y="39033"/>
                  </a:cubicBezTo>
                  <a:cubicBezTo>
                    <a:pt x="10315" y="37275"/>
                    <a:pt x="13480" y="34814"/>
                    <a:pt x="15942" y="32704"/>
                  </a:cubicBezTo>
                  <a:cubicBezTo>
                    <a:pt x="18403" y="30594"/>
                    <a:pt x="16293" y="19341"/>
                    <a:pt x="15942" y="1547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3" name="Freihandform: Form 18">
              <a:extLst>
                <a:ext uri="{FF2B5EF4-FFF2-40B4-BE49-F238E27FC236}">
                  <a16:creationId xmlns:a16="http://schemas.microsoft.com/office/drawing/2014/main" id="{9331E87F-1D55-3349-B956-8EA75DEBF404}"/>
                </a:ext>
              </a:extLst>
            </p:cNvPr>
            <p:cNvSpPr/>
            <p:nvPr/>
          </p:nvSpPr>
          <p:spPr>
            <a:xfrm>
              <a:off x="4767183" y="4290198"/>
              <a:ext cx="35746" cy="18394"/>
            </a:xfrm>
            <a:custGeom>
              <a:avLst/>
              <a:gdLst>
                <a:gd name="connsiteX0" fmla="*/ 4220 w 35746"/>
                <a:gd name="connsiteY0" fmla="*/ 13120 h 18394"/>
                <a:gd name="connsiteX1" fmla="*/ 0 w 35746"/>
                <a:gd name="connsiteY1" fmla="*/ 8900 h 18394"/>
                <a:gd name="connsiteX2" fmla="*/ 9846 w 35746"/>
                <a:gd name="connsiteY2" fmla="*/ 812 h 18394"/>
                <a:gd name="connsiteX3" fmla="*/ 14066 w 35746"/>
                <a:gd name="connsiteY3" fmla="*/ 812 h 18394"/>
                <a:gd name="connsiteX4" fmla="*/ 18989 w 35746"/>
                <a:gd name="connsiteY4" fmla="*/ 3977 h 18394"/>
                <a:gd name="connsiteX5" fmla="*/ 25319 w 35746"/>
                <a:gd name="connsiteY5" fmla="*/ 8900 h 18394"/>
                <a:gd name="connsiteX6" fmla="*/ 30594 w 35746"/>
                <a:gd name="connsiteY6" fmla="*/ 6087 h 18394"/>
                <a:gd name="connsiteX7" fmla="*/ 35165 w 35746"/>
                <a:gd name="connsiteY7" fmla="*/ 8900 h 18394"/>
                <a:gd name="connsiteX8" fmla="*/ 35517 w 35746"/>
                <a:gd name="connsiteY8" fmla="*/ 15582 h 18394"/>
                <a:gd name="connsiteX9" fmla="*/ 30594 w 35746"/>
                <a:gd name="connsiteY9" fmla="*/ 18395 h 18394"/>
                <a:gd name="connsiteX10" fmla="*/ 16879 w 35746"/>
                <a:gd name="connsiteY10" fmla="*/ 15582 h 18394"/>
                <a:gd name="connsiteX11" fmla="*/ 4220 w 35746"/>
                <a:gd name="connsiteY11" fmla="*/ 13120 h 1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746" h="18394">
                  <a:moveTo>
                    <a:pt x="4220" y="13120"/>
                  </a:moveTo>
                  <a:cubicBezTo>
                    <a:pt x="1407" y="12839"/>
                    <a:pt x="232" y="10187"/>
                    <a:pt x="0" y="8900"/>
                  </a:cubicBezTo>
                  <a:cubicBezTo>
                    <a:pt x="1055" y="7845"/>
                    <a:pt x="7385" y="2219"/>
                    <a:pt x="9846" y="812"/>
                  </a:cubicBezTo>
                  <a:cubicBezTo>
                    <a:pt x="12308" y="-595"/>
                    <a:pt x="12659" y="109"/>
                    <a:pt x="14066" y="812"/>
                  </a:cubicBezTo>
                  <a:cubicBezTo>
                    <a:pt x="15473" y="1515"/>
                    <a:pt x="17583" y="2922"/>
                    <a:pt x="18989" y="3977"/>
                  </a:cubicBezTo>
                  <a:cubicBezTo>
                    <a:pt x="20396" y="5032"/>
                    <a:pt x="22506" y="7845"/>
                    <a:pt x="25319" y="8900"/>
                  </a:cubicBezTo>
                  <a:cubicBezTo>
                    <a:pt x="28132" y="9955"/>
                    <a:pt x="29890" y="6439"/>
                    <a:pt x="30594" y="6087"/>
                  </a:cubicBezTo>
                  <a:cubicBezTo>
                    <a:pt x="31297" y="5735"/>
                    <a:pt x="34110" y="7845"/>
                    <a:pt x="35165" y="8900"/>
                  </a:cubicBezTo>
                  <a:cubicBezTo>
                    <a:pt x="36220" y="9955"/>
                    <a:pt x="35517" y="14527"/>
                    <a:pt x="35517" y="15582"/>
                  </a:cubicBezTo>
                  <a:cubicBezTo>
                    <a:pt x="35517" y="16636"/>
                    <a:pt x="32704" y="18395"/>
                    <a:pt x="30594" y="18395"/>
                  </a:cubicBezTo>
                  <a:cubicBezTo>
                    <a:pt x="28484" y="18395"/>
                    <a:pt x="18989" y="16988"/>
                    <a:pt x="16879" y="15582"/>
                  </a:cubicBezTo>
                  <a:cubicBezTo>
                    <a:pt x="14769" y="14175"/>
                    <a:pt x="7736" y="13472"/>
                    <a:pt x="4220" y="1312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4" name="Freihandform: Form 19">
              <a:extLst>
                <a:ext uri="{FF2B5EF4-FFF2-40B4-BE49-F238E27FC236}">
                  <a16:creationId xmlns:a16="http://schemas.microsoft.com/office/drawing/2014/main" id="{C31CB0A3-E716-AF48-B18E-57128B241D5B}"/>
                </a:ext>
              </a:extLst>
            </p:cNvPr>
            <p:cNvSpPr/>
            <p:nvPr/>
          </p:nvSpPr>
          <p:spPr>
            <a:xfrm>
              <a:off x="4773681" y="4265029"/>
              <a:ext cx="97179" cy="47431"/>
            </a:xfrm>
            <a:custGeom>
              <a:avLst/>
              <a:gdLst>
                <a:gd name="connsiteX0" fmla="*/ 0 w 97179"/>
                <a:gd name="connsiteY0" fmla="*/ 28273 h 47431"/>
                <a:gd name="connsiteX1" fmla="*/ 70 w 97179"/>
                <a:gd name="connsiteY1" fmla="*/ 28358 h 47431"/>
                <a:gd name="connsiteX2" fmla="*/ 1477 w 97179"/>
                <a:gd name="connsiteY2" fmla="*/ 27261 h 47431"/>
                <a:gd name="connsiteX3" fmla="*/ 0 w 97179"/>
                <a:gd name="connsiteY3" fmla="*/ 28273 h 47431"/>
                <a:gd name="connsiteX4" fmla="*/ 3861 w 97179"/>
                <a:gd name="connsiteY4" fmla="*/ 25699 h 47431"/>
                <a:gd name="connsiteX5" fmla="*/ 6984 w 97179"/>
                <a:gd name="connsiteY5" fmla="*/ 25664 h 47431"/>
                <a:gd name="connsiteX6" fmla="*/ 6984 w 97179"/>
                <a:gd name="connsiteY6" fmla="*/ 25664 h 47431"/>
                <a:gd name="connsiteX7" fmla="*/ 7568 w 97179"/>
                <a:gd name="connsiteY7" fmla="*/ 25981 h 47431"/>
                <a:gd name="connsiteX8" fmla="*/ 12491 w 97179"/>
                <a:gd name="connsiteY8" fmla="*/ 29145 h 47431"/>
                <a:gd name="connsiteX9" fmla="*/ 13968 w 97179"/>
                <a:gd name="connsiteY9" fmla="*/ 30496 h 47431"/>
                <a:gd name="connsiteX10" fmla="*/ 18820 w 97179"/>
                <a:gd name="connsiteY10" fmla="*/ 34069 h 47431"/>
                <a:gd name="connsiteX11" fmla="*/ 23378 w 97179"/>
                <a:gd name="connsiteY11" fmla="*/ 31987 h 47431"/>
                <a:gd name="connsiteX12" fmla="*/ 24095 w 97179"/>
                <a:gd name="connsiteY12" fmla="*/ 31255 h 47431"/>
                <a:gd name="connsiteX13" fmla="*/ 28667 w 97179"/>
                <a:gd name="connsiteY13" fmla="*/ 34069 h 47431"/>
                <a:gd name="connsiteX14" fmla="*/ 29096 w 97179"/>
                <a:gd name="connsiteY14" fmla="*/ 39632 h 47431"/>
                <a:gd name="connsiteX15" fmla="*/ 29096 w 97179"/>
                <a:gd name="connsiteY15" fmla="*/ 39632 h 47431"/>
                <a:gd name="connsiteX16" fmla="*/ 29068 w 97179"/>
                <a:gd name="connsiteY16" fmla="*/ 39892 h 47431"/>
                <a:gd name="connsiteX17" fmla="*/ 34293 w 97179"/>
                <a:gd name="connsiteY17" fmla="*/ 41453 h 47431"/>
                <a:gd name="connsiteX18" fmla="*/ 34490 w 97179"/>
                <a:gd name="connsiteY18" fmla="*/ 42635 h 47431"/>
                <a:gd name="connsiteX19" fmla="*/ 37106 w 97179"/>
                <a:gd name="connsiteY19" fmla="*/ 47431 h 47431"/>
                <a:gd name="connsiteX20" fmla="*/ 43436 w 97179"/>
                <a:gd name="connsiteY20" fmla="*/ 45321 h 47431"/>
                <a:gd name="connsiteX21" fmla="*/ 45546 w 97179"/>
                <a:gd name="connsiteY21" fmla="*/ 37937 h 47431"/>
                <a:gd name="connsiteX22" fmla="*/ 49766 w 97179"/>
                <a:gd name="connsiteY22" fmla="*/ 33717 h 47431"/>
                <a:gd name="connsiteX23" fmla="*/ 55435 w 97179"/>
                <a:gd name="connsiteY23" fmla="*/ 31185 h 47431"/>
                <a:gd name="connsiteX24" fmla="*/ 57854 w 97179"/>
                <a:gd name="connsiteY24" fmla="*/ 30904 h 47431"/>
                <a:gd name="connsiteX25" fmla="*/ 58037 w 97179"/>
                <a:gd name="connsiteY25" fmla="*/ 32282 h 47431"/>
                <a:gd name="connsiteX26" fmla="*/ 58037 w 97179"/>
                <a:gd name="connsiteY26" fmla="*/ 32282 h 47431"/>
                <a:gd name="connsiteX27" fmla="*/ 58909 w 97179"/>
                <a:gd name="connsiteY27" fmla="*/ 33717 h 47431"/>
                <a:gd name="connsiteX28" fmla="*/ 59563 w 97179"/>
                <a:gd name="connsiteY28" fmla="*/ 33794 h 47431"/>
                <a:gd name="connsiteX29" fmla="*/ 62074 w 97179"/>
                <a:gd name="connsiteY29" fmla="*/ 32662 h 47431"/>
                <a:gd name="connsiteX30" fmla="*/ 66645 w 97179"/>
                <a:gd name="connsiteY30" fmla="*/ 27036 h 47431"/>
                <a:gd name="connsiteX31" fmla="*/ 67658 w 97179"/>
                <a:gd name="connsiteY31" fmla="*/ 25066 h 47431"/>
                <a:gd name="connsiteX32" fmla="*/ 67658 w 97179"/>
                <a:gd name="connsiteY32" fmla="*/ 25066 h 47431"/>
                <a:gd name="connsiteX33" fmla="*/ 69810 w 97179"/>
                <a:gd name="connsiteY33" fmla="*/ 22112 h 47431"/>
                <a:gd name="connsiteX34" fmla="*/ 71238 w 97179"/>
                <a:gd name="connsiteY34" fmla="*/ 20425 h 47431"/>
                <a:gd name="connsiteX35" fmla="*/ 74030 w 97179"/>
                <a:gd name="connsiteY35" fmla="*/ 18596 h 47431"/>
                <a:gd name="connsiteX36" fmla="*/ 76921 w 97179"/>
                <a:gd name="connsiteY36" fmla="*/ 19630 h 47431"/>
                <a:gd name="connsiteX37" fmla="*/ 78250 w 97179"/>
                <a:gd name="connsiteY37" fmla="*/ 20354 h 47431"/>
                <a:gd name="connsiteX38" fmla="*/ 80550 w 97179"/>
                <a:gd name="connsiteY38" fmla="*/ 20453 h 47431"/>
                <a:gd name="connsiteX39" fmla="*/ 82470 w 97179"/>
                <a:gd name="connsiteY39" fmla="*/ 20354 h 47431"/>
                <a:gd name="connsiteX40" fmla="*/ 84608 w 97179"/>
                <a:gd name="connsiteY40" fmla="*/ 20755 h 47431"/>
                <a:gd name="connsiteX41" fmla="*/ 88448 w 97179"/>
                <a:gd name="connsiteY41" fmla="*/ 20354 h 47431"/>
                <a:gd name="connsiteX42" fmla="*/ 91866 w 97179"/>
                <a:gd name="connsiteY42" fmla="*/ 18005 h 47431"/>
                <a:gd name="connsiteX43" fmla="*/ 91866 w 97179"/>
                <a:gd name="connsiteY43" fmla="*/ 18005 h 47431"/>
                <a:gd name="connsiteX44" fmla="*/ 93371 w 97179"/>
                <a:gd name="connsiteY44" fmla="*/ 17189 h 47431"/>
                <a:gd name="connsiteX45" fmla="*/ 94813 w 97179"/>
                <a:gd name="connsiteY45" fmla="*/ 16134 h 47431"/>
                <a:gd name="connsiteX46" fmla="*/ 94813 w 97179"/>
                <a:gd name="connsiteY46" fmla="*/ 16134 h 47431"/>
                <a:gd name="connsiteX47" fmla="*/ 96887 w 97179"/>
                <a:gd name="connsiteY47" fmla="*/ 15079 h 47431"/>
                <a:gd name="connsiteX48" fmla="*/ 90206 w 97179"/>
                <a:gd name="connsiteY48" fmla="*/ 11211 h 47431"/>
                <a:gd name="connsiteX49" fmla="*/ 85283 w 97179"/>
                <a:gd name="connsiteY49" fmla="*/ 7343 h 47431"/>
                <a:gd name="connsiteX50" fmla="*/ 85149 w 97179"/>
                <a:gd name="connsiteY50" fmla="*/ 6499 h 47431"/>
                <a:gd name="connsiteX51" fmla="*/ 83173 w 97179"/>
                <a:gd name="connsiteY51" fmla="*/ 4178 h 47431"/>
                <a:gd name="connsiteX52" fmla="*/ 75788 w 97179"/>
                <a:gd name="connsiteY52" fmla="*/ 2771 h 47431"/>
                <a:gd name="connsiteX53" fmla="*/ 71280 w 97179"/>
                <a:gd name="connsiteY53" fmla="*/ 2961 h 47431"/>
                <a:gd name="connsiteX54" fmla="*/ 66645 w 97179"/>
                <a:gd name="connsiteY54" fmla="*/ 2771 h 47431"/>
                <a:gd name="connsiteX55" fmla="*/ 66068 w 97179"/>
                <a:gd name="connsiteY55" fmla="*/ 2328 h 47431"/>
                <a:gd name="connsiteX56" fmla="*/ 66068 w 97179"/>
                <a:gd name="connsiteY56" fmla="*/ 2328 h 47431"/>
                <a:gd name="connsiteX57" fmla="*/ 61370 w 97179"/>
                <a:gd name="connsiteY57" fmla="*/ 310 h 47431"/>
                <a:gd name="connsiteX58" fmla="*/ 59204 w 97179"/>
                <a:gd name="connsiteY58" fmla="*/ 134 h 47431"/>
                <a:gd name="connsiteX59" fmla="*/ 55744 w 97179"/>
                <a:gd name="connsiteY59" fmla="*/ 310 h 47431"/>
                <a:gd name="connsiteX60" fmla="*/ 53416 w 97179"/>
                <a:gd name="connsiteY60" fmla="*/ 880 h 47431"/>
                <a:gd name="connsiteX61" fmla="*/ 49766 w 97179"/>
                <a:gd name="connsiteY61" fmla="*/ 1717 h 47431"/>
                <a:gd name="connsiteX62" fmla="*/ 39216 w 97179"/>
                <a:gd name="connsiteY62" fmla="*/ 2771 h 47431"/>
                <a:gd name="connsiteX63" fmla="*/ 30425 w 97179"/>
                <a:gd name="connsiteY63" fmla="*/ 2771 h 47431"/>
                <a:gd name="connsiteX64" fmla="*/ 27035 w 97179"/>
                <a:gd name="connsiteY64" fmla="*/ 2385 h 47431"/>
                <a:gd name="connsiteX65" fmla="*/ 23744 w 97179"/>
                <a:gd name="connsiteY65" fmla="*/ 2771 h 47431"/>
                <a:gd name="connsiteX66" fmla="*/ 21859 w 97179"/>
                <a:gd name="connsiteY66" fmla="*/ 3615 h 47431"/>
                <a:gd name="connsiteX67" fmla="*/ 19524 w 97179"/>
                <a:gd name="connsiteY67" fmla="*/ 4178 h 47431"/>
                <a:gd name="connsiteX68" fmla="*/ 15381 w 97179"/>
                <a:gd name="connsiteY68" fmla="*/ 5641 h 47431"/>
                <a:gd name="connsiteX69" fmla="*/ 15325 w 97179"/>
                <a:gd name="connsiteY69" fmla="*/ 7273 h 47431"/>
                <a:gd name="connsiteX70" fmla="*/ 6161 w 97179"/>
                <a:gd name="connsiteY70" fmla="*/ 14728 h 47431"/>
                <a:gd name="connsiteX71" fmla="*/ 6210 w 97179"/>
                <a:gd name="connsiteY71" fmla="*/ 16078 h 47431"/>
                <a:gd name="connsiteX72" fmla="*/ 6210 w 97179"/>
                <a:gd name="connsiteY72" fmla="*/ 16078 h 47431"/>
                <a:gd name="connsiteX73" fmla="*/ 6210 w 97179"/>
                <a:gd name="connsiteY73" fmla="*/ 16078 h 47431"/>
                <a:gd name="connsiteX74" fmla="*/ 5106 w 97179"/>
                <a:gd name="connsiteY74" fmla="*/ 24926 h 47431"/>
                <a:gd name="connsiteX75" fmla="*/ 3861 w 97179"/>
                <a:gd name="connsiteY75" fmla="*/ 25699 h 47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97179" h="47431">
                  <a:moveTo>
                    <a:pt x="0" y="28273"/>
                  </a:moveTo>
                  <a:lnTo>
                    <a:pt x="70" y="28358"/>
                  </a:lnTo>
                  <a:cubicBezTo>
                    <a:pt x="563" y="27964"/>
                    <a:pt x="1034" y="27598"/>
                    <a:pt x="1477" y="27261"/>
                  </a:cubicBezTo>
                  <a:cubicBezTo>
                    <a:pt x="992" y="27584"/>
                    <a:pt x="492" y="27929"/>
                    <a:pt x="0" y="28273"/>
                  </a:cubicBezTo>
                  <a:close/>
                  <a:moveTo>
                    <a:pt x="3861" y="25699"/>
                  </a:moveTo>
                  <a:cubicBezTo>
                    <a:pt x="5535" y="24848"/>
                    <a:pt x="6091" y="25158"/>
                    <a:pt x="6984" y="25664"/>
                  </a:cubicBezTo>
                  <a:lnTo>
                    <a:pt x="6984" y="25664"/>
                  </a:lnTo>
                  <a:cubicBezTo>
                    <a:pt x="7160" y="25763"/>
                    <a:pt x="7350" y="25875"/>
                    <a:pt x="7568" y="25981"/>
                  </a:cubicBezTo>
                  <a:cubicBezTo>
                    <a:pt x="8974" y="26684"/>
                    <a:pt x="11084" y="28090"/>
                    <a:pt x="12491" y="29145"/>
                  </a:cubicBezTo>
                  <a:cubicBezTo>
                    <a:pt x="12920" y="29469"/>
                    <a:pt x="13412" y="29947"/>
                    <a:pt x="13968" y="30496"/>
                  </a:cubicBezTo>
                  <a:cubicBezTo>
                    <a:pt x="15248" y="31748"/>
                    <a:pt x="16865" y="33337"/>
                    <a:pt x="18820" y="34069"/>
                  </a:cubicBezTo>
                  <a:cubicBezTo>
                    <a:pt x="20937" y="34863"/>
                    <a:pt x="22456" y="33070"/>
                    <a:pt x="23378" y="31987"/>
                  </a:cubicBezTo>
                  <a:cubicBezTo>
                    <a:pt x="23680" y="31628"/>
                    <a:pt x="23919" y="31340"/>
                    <a:pt x="24095" y="31255"/>
                  </a:cubicBezTo>
                  <a:cubicBezTo>
                    <a:pt x="24799" y="30904"/>
                    <a:pt x="27612" y="33014"/>
                    <a:pt x="28667" y="34069"/>
                  </a:cubicBezTo>
                  <a:cubicBezTo>
                    <a:pt x="29490" y="34891"/>
                    <a:pt x="29243" y="37866"/>
                    <a:pt x="29096" y="39632"/>
                  </a:cubicBezTo>
                  <a:lnTo>
                    <a:pt x="29096" y="39632"/>
                  </a:lnTo>
                  <a:cubicBezTo>
                    <a:pt x="29089" y="39723"/>
                    <a:pt x="29075" y="39815"/>
                    <a:pt x="29068" y="39892"/>
                  </a:cubicBezTo>
                  <a:cubicBezTo>
                    <a:pt x="31719" y="40265"/>
                    <a:pt x="34131" y="40799"/>
                    <a:pt x="34293" y="41453"/>
                  </a:cubicBezTo>
                  <a:cubicBezTo>
                    <a:pt x="34364" y="41742"/>
                    <a:pt x="34420" y="42157"/>
                    <a:pt x="34490" y="42635"/>
                  </a:cubicBezTo>
                  <a:cubicBezTo>
                    <a:pt x="34743" y="44527"/>
                    <a:pt x="35144" y="47431"/>
                    <a:pt x="37106" y="47431"/>
                  </a:cubicBezTo>
                  <a:cubicBezTo>
                    <a:pt x="39568" y="47431"/>
                    <a:pt x="42381" y="47080"/>
                    <a:pt x="43436" y="45321"/>
                  </a:cubicBezTo>
                  <a:cubicBezTo>
                    <a:pt x="44491" y="43563"/>
                    <a:pt x="45194" y="40047"/>
                    <a:pt x="45546" y="37937"/>
                  </a:cubicBezTo>
                  <a:cubicBezTo>
                    <a:pt x="45898" y="35827"/>
                    <a:pt x="46953" y="33717"/>
                    <a:pt x="49766" y="33717"/>
                  </a:cubicBezTo>
                  <a:cubicBezTo>
                    <a:pt x="52333" y="32915"/>
                    <a:pt x="54169" y="31895"/>
                    <a:pt x="55435" y="31185"/>
                  </a:cubicBezTo>
                  <a:cubicBezTo>
                    <a:pt x="56954" y="30341"/>
                    <a:pt x="57664" y="29947"/>
                    <a:pt x="57854" y="30904"/>
                  </a:cubicBezTo>
                  <a:cubicBezTo>
                    <a:pt x="57959" y="31431"/>
                    <a:pt x="58002" y="31888"/>
                    <a:pt x="58037" y="32282"/>
                  </a:cubicBezTo>
                  <a:lnTo>
                    <a:pt x="58037" y="32282"/>
                  </a:lnTo>
                  <a:cubicBezTo>
                    <a:pt x="58121" y="33196"/>
                    <a:pt x="58170" y="33717"/>
                    <a:pt x="58909" y="33717"/>
                  </a:cubicBezTo>
                  <a:cubicBezTo>
                    <a:pt x="59155" y="33717"/>
                    <a:pt x="59366" y="33759"/>
                    <a:pt x="59563" y="33794"/>
                  </a:cubicBezTo>
                  <a:cubicBezTo>
                    <a:pt x="60203" y="33914"/>
                    <a:pt x="60730" y="34005"/>
                    <a:pt x="62074" y="32662"/>
                  </a:cubicBezTo>
                  <a:cubicBezTo>
                    <a:pt x="63832" y="30904"/>
                    <a:pt x="65239" y="29497"/>
                    <a:pt x="66645" y="27036"/>
                  </a:cubicBezTo>
                  <a:cubicBezTo>
                    <a:pt x="67088" y="26255"/>
                    <a:pt x="67391" y="25622"/>
                    <a:pt x="67658" y="25066"/>
                  </a:cubicBezTo>
                  <a:lnTo>
                    <a:pt x="67658" y="25066"/>
                  </a:lnTo>
                  <a:cubicBezTo>
                    <a:pt x="68228" y="23871"/>
                    <a:pt x="68607" y="23076"/>
                    <a:pt x="69810" y="22112"/>
                  </a:cubicBezTo>
                  <a:cubicBezTo>
                    <a:pt x="70450" y="21599"/>
                    <a:pt x="70858" y="20994"/>
                    <a:pt x="71238" y="20425"/>
                  </a:cubicBezTo>
                  <a:cubicBezTo>
                    <a:pt x="71899" y="19447"/>
                    <a:pt x="72469" y="18596"/>
                    <a:pt x="74030" y="18596"/>
                  </a:cubicBezTo>
                  <a:cubicBezTo>
                    <a:pt x="75549" y="18596"/>
                    <a:pt x="76266" y="19130"/>
                    <a:pt x="76921" y="19630"/>
                  </a:cubicBezTo>
                  <a:cubicBezTo>
                    <a:pt x="77328" y="19932"/>
                    <a:pt x="77715" y="20221"/>
                    <a:pt x="78250" y="20354"/>
                  </a:cubicBezTo>
                  <a:cubicBezTo>
                    <a:pt x="79122" y="20572"/>
                    <a:pt x="79720" y="20523"/>
                    <a:pt x="80550" y="20453"/>
                  </a:cubicBezTo>
                  <a:cubicBezTo>
                    <a:pt x="81063" y="20403"/>
                    <a:pt x="81661" y="20354"/>
                    <a:pt x="82470" y="20354"/>
                  </a:cubicBezTo>
                  <a:cubicBezTo>
                    <a:pt x="83187" y="20354"/>
                    <a:pt x="83904" y="20558"/>
                    <a:pt x="84608" y="20755"/>
                  </a:cubicBezTo>
                  <a:cubicBezTo>
                    <a:pt x="85972" y="21142"/>
                    <a:pt x="87287" y="21515"/>
                    <a:pt x="88448" y="20354"/>
                  </a:cubicBezTo>
                  <a:cubicBezTo>
                    <a:pt x="89678" y="19123"/>
                    <a:pt x="90740" y="18582"/>
                    <a:pt x="91866" y="18005"/>
                  </a:cubicBezTo>
                  <a:lnTo>
                    <a:pt x="91866" y="18005"/>
                  </a:lnTo>
                  <a:cubicBezTo>
                    <a:pt x="92351" y="17759"/>
                    <a:pt x="92843" y="17506"/>
                    <a:pt x="93371" y="17189"/>
                  </a:cubicBezTo>
                  <a:cubicBezTo>
                    <a:pt x="94039" y="16788"/>
                    <a:pt x="94454" y="16437"/>
                    <a:pt x="94813" y="16134"/>
                  </a:cubicBezTo>
                  <a:lnTo>
                    <a:pt x="94813" y="16134"/>
                  </a:lnTo>
                  <a:cubicBezTo>
                    <a:pt x="95382" y="15649"/>
                    <a:pt x="95797" y="15297"/>
                    <a:pt x="96887" y="15079"/>
                  </a:cubicBezTo>
                  <a:cubicBezTo>
                    <a:pt x="98646" y="14728"/>
                    <a:pt x="91964" y="11914"/>
                    <a:pt x="90206" y="11211"/>
                  </a:cubicBezTo>
                  <a:cubicBezTo>
                    <a:pt x="88448" y="10508"/>
                    <a:pt x="85634" y="8398"/>
                    <a:pt x="85283" y="7343"/>
                  </a:cubicBezTo>
                  <a:cubicBezTo>
                    <a:pt x="85191" y="7076"/>
                    <a:pt x="85170" y="6787"/>
                    <a:pt x="85149" y="6499"/>
                  </a:cubicBezTo>
                  <a:cubicBezTo>
                    <a:pt x="85086" y="5627"/>
                    <a:pt x="85016" y="4706"/>
                    <a:pt x="83173" y="4178"/>
                  </a:cubicBezTo>
                  <a:cubicBezTo>
                    <a:pt x="80711" y="3475"/>
                    <a:pt x="78953" y="3123"/>
                    <a:pt x="75788" y="2771"/>
                  </a:cubicBezTo>
                  <a:cubicBezTo>
                    <a:pt x="74424" y="2617"/>
                    <a:pt x="72799" y="2793"/>
                    <a:pt x="71280" y="2961"/>
                  </a:cubicBezTo>
                  <a:cubicBezTo>
                    <a:pt x="69269" y="3172"/>
                    <a:pt x="67447" y="3369"/>
                    <a:pt x="66645" y="2771"/>
                  </a:cubicBezTo>
                  <a:cubicBezTo>
                    <a:pt x="66455" y="2631"/>
                    <a:pt x="66265" y="2476"/>
                    <a:pt x="66068" y="2328"/>
                  </a:cubicBezTo>
                  <a:lnTo>
                    <a:pt x="66068" y="2328"/>
                  </a:lnTo>
                  <a:cubicBezTo>
                    <a:pt x="64838" y="1358"/>
                    <a:pt x="63494" y="310"/>
                    <a:pt x="61370" y="310"/>
                  </a:cubicBezTo>
                  <a:cubicBezTo>
                    <a:pt x="60470" y="310"/>
                    <a:pt x="59809" y="219"/>
                    <a:pt x="59204" y="134"/>
                  </a:cubicBezTo>
                  <a:cubicBezTo>
                    <a:pt x="58163" y="-14"/>
                    <a:pt x="57305" y="-133"/>
                    <a:pt x="55744" y="310"/>
                  </a:cubicBezTo>
                  <a:cubicBezTo>
                    <a:pt x="54513" y="662"/>
                    <a:pt x="54070" y="753"/>
                    <a:pt x="53416" y="880"/>
                  </a:cubicBezTo>
                  <a:cubicBezTo>
                    <a:pt x="52755" y="1013"/>
                    <a:pt x="51876" y="1189"/>
                    <a:pt x="49766" y="1717"/>
                  </a:cubicBezTo>
                  <a:cubicBezTo>
                    <a:pt x="45546" y="2771"/>
                    <a:pt x="43084" y="2771"/>
                    <a:pt x="39216" y="2771"/>
                  </a:cubicBezTo>
                  <a:lnTo>
                    <a:pt x="30425" y="2771"/>
                  </a:lnTo>
                  <a:cubicBezTo>
                    <a:pt x="29061" y="2771"/>
                    <a:pt x="27956" y="2560"/>
                    <a:pt x="27035" y="2385"/>
                  </a:cubicBezTo>
                  <a:cubicBezTo>
                    <a:pt x="25593" y="2103"/>
                    <a:pt x="24602" y="1913"/>
                    <a:pt x="23744" y="2771"/>
                  </a:cubicBezTo>
                  <a:cubicBezTo>
                    <a:pt x="22970" y="3545"/>
                    <a:pt x="22520" y="3573"/>
                    <a:pt x="21859" y="3615"/>
                  </a:cubicBezTo>
                  <a:cubicBezTo>
                    <a:pt x="21317" y="3658"/>
                    <a:pt x="20635" y="3700"/>
                    <a:pt x="19524" y="4178"/>
                  </a:cubicBezTo>
                  <a:cubicBezTo>
                    <a:pt x="18785" y="4495"/>
                    <a:pt x="17231" y="5029"/>
                    <a:pt x="15381" y="5641"/>
                  </a:cubicBezTo>
                  <a:cubicBezTo>
                    <a:pt x="15571" y="6365"/>
                    <a:pt x="15627" y="7069"/>
                    <a:pt x="15325" y="7273"/>
                  </a:cubicBezTo>
                  <a:cubicBezTo>
                    <a:pt x="10852" y="10304"/>
                    <a:pt x="6161" y="13743"/>
                    <a:pt x="6161" y="14728"/>
                  </a:cubicBezTo>
                  <a:cubicBezTo>
                    <a:pt x="6161" y="15030"/>
                    <a:pt x="6182" y="15501"/>
                    <a:pt x="6210" y="16078"/>
                  </a:cubicBezTo>
                  <a:lnTo>
                    <a:pt x="6210" y="16078"/>
                  </a:lnTo>
                  <a:lnTo>
                    <a:pt x="6210" y="16078"/>
                  </a:lnTo>
                  <a:cubicBezTo>
                    <a:pt x="6330" y="18842"/>
                    <a:pt x="6562" y="24054"/>
                    <a:pt x="5106" y="24926"/>
                  </a:cubicBezTo>
                  <a:cubicBezTo>
                    <a:pt x="4818" y="25101"/>
                    <a:pt x="4389" y="25369"/>
                    <a:pt x="3861" y="25699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5" name="Freihandform: Form 20">
              <a:extLst>
                <a:ext uri="{FF2B5EF4-FFF2-40B4-BE49-F238E27FC236}">
                  <a16:creationId xmlns:a16="http://schemas.microsoft.com/office/drawing/2014/main" id="{D3FF93DB-AC02-8048-8ECF-473BDDC47B67}"/>
                </a:ext>
              </a:extLst>
            </p:cNvPr>
            <p:cNvSpPr/>
            <p:nvPr/>
          </p:nvSpPr>
          <p:spPr>
            <a:xfrm>
              <a:off x="4807948" y="4279764"/>
              <a:ext cx="64146" cy="68565"/>
            </a:xfrm>
            <a:custGeom>
              <a:avLst/>
              <a:gdLst>
                <a:gd name="connsiteX0" fmla="*/ 2840 w 64146"/>
                <a:gd name="connsiteY0" fmla="*/ 32697 h 68565"/>
                <a:gd name="connsiteX1" fmla="*/ 2840 w 64146"/>
                <a:gd name="connsiteY1" fmla="*/ 32697 h 68565"/>
                <a:gd name="connsiteX2" fmla="*/ 26 w 64146"/>
                <a:gd name="connsiteY2" fmla="*/ 36565 h 68565"/>
                <a:gd name="connsiteX3" fmla="*/ 4113 w 64146"/>
                <a:gd name="connsiteY3" fmla="*/ 40820 h 68565"/>
                <a:gd name="connsiteX4" fmla="*/ 7763 w 64146"/>
                <a:gd name="connsiteY4" fmla="*/ 44301 h 68565"/>
                <a:gd name="connsiteX5" fmla="*/ 18312 w 64146"/>
                <a:gd name="connsiteY5" fmla="*/ 54499 h 68565"/>
                <a:gd name="connsiteX6" fmla="*/ 27104 w 64146"/>
                <a:gd name="connsiteY6" fmla="*/ 62939 h 68565"/>
                <a:gd name="connsiteX7" fmla="*/ 33433 w 64146"/>
                <a:gd name="connsiteY7" fmla="*/ 62939 h 68565"/>
                <a:gd name="connsiteX8" fmla="*/ 39074 w 64146"/>
                <a:gd name="connsiteY8" fmla="*/ 65499 h 68565"/>
                <a:gd name="connsiteX9" fmla="*/ 39411 w 64146"/>
                <a:gd name="connsiteY9" fmla="*/ 65752 h 68565"/>
                <a:gd name="connsiteX10" fmla="*/ 42028 w 64146"/>
                <a:gd name="connsiteY10" fmla="*/ 63916 h 68565"/>
                <a:gd name="connsiteX11" fmla="*/ 42576 w 64146"/>
                <a:gd name="connsiteY11" fmla="*/ 62939 h 68565"/>
                <a:gd name="connsiteX12" fmla="*/ 48906 w 64146"/>
                <a:gd name="connsiteY12" fmla="*/ 66455 h 68565"/>
                <a:gd name="connsiteX13" fmla="*/ 54884 w 64146"/>
                <a:gd name="connsiteY13" fmla="*/ 68565 h 68565"/>
                <a:gd name="connsiteX14" fmla="*/ 56291 w 64146"/>
                <a:gd name="connsiteY14" fmla="*/ 64697 h 68565"/>
                <a:gd name="connsiteX15" fmla="*/ 56291 w 64146"/>
                <a:gd name="connsiteY15" fmla="*/ 61181 h 68565"/>
                <a:gd name="connsiteX16" fmla="*/ 56818 w 64146"/>
                <a:gd name="connsiteY16" fmla="*/ 58719 h 68565"/>
                <a:gd name="connsiteX17" fmla="*/ 57346 w 64146"/>
                <a:gd name="connsiteY17" fmla="*/ 56257 h 68565"/>
                <a:gd name="connsiteX18" fmla="*/ 57296 w 64146"/>
                <a:gd name="connsiteY18" fmla="*/ 55090 h 68565"/>
                <a:gd name="connsiteX19" fmla="*/ 57346 w 64146"/>
                <a:gd name="connsiteY19" fmla="*/ 48169 h 68565"/>
                <a:gd name="connsiteX20" fmla="*/ 58337 w 64146"/>
                <a:gd name="connsiteY20" fmla="*/ 43851 h 68565"/>
                <a:gd name="connsiteX21" fmla="*/ 58752 w 64146"/>
                <a:gd name="connsiteY21" fmla="*/ 42895 h 68565"/>
                <a:gd name="connsiteX22" fmla="*/ 58907 w 64146"/>
                <a:gd name="connsiteY22" fmla="*/ 38752 h 68565"/>
                <a:gd name="connsiteX23" fmla="*/ 58752 w 64146"/>
                <a:gd name="connsiteY23" fmla="*/ 36565 h 68565"/>
                <a:gd name="connsiteX24" fmla="*/ 58752 w 64146"/>
                <a:gd name="connsiteY24" fmla="*/ 26719 h 68565"/>
                <a:gd name="connsiteX25" fmla="*/ 61917 w 64146"/>
                <a:gd name="connsiteY25" fmla="*/ 20389 h 68565"/>
                <a:gd name="connsiteX26" fmla="*/ 63148 w 64146"/>
                <a:gd name="connsiteY26" fmla="*/ 13370 h 68565"/>
                <a:gd name="connsiteX27" fmla="*/ 64027 w 64146"/>
                <a:gd name="connsiteY27" fmla="*/ 3861 h 68565"/>
                <a:gd name="connsiteX28" fmla="*/ 62867 w 64146"/>
                <a:gd name="connsiteY28" fmla="*/ 0 h 68565"/>
                <a:gd name="connsiteX29" fmla="*/ 62621 w 64146"/>
                <a:gd name="connsiteY29" fmla="*/ 345 h 68565"/>
                <a:gd name="connsiteX30" fmla="*/ 60546 w 64146"/>
                <a:gd name="connsiteY30" fmla="*/ 1400 h 68565"/>
                <a:gd name="connsiteX31" fmla="*/ 60546 w 64146"/>
                <a:gd name="connsiteY31" fmla="*/ 1400 h 68565"/>
                <a:gd name="connsiteX32" fmla="*/ 59104 w 64146"/>
                <a:gd name="connsiteY32" fmla="*/ 2455 h 68565"/>
                <a:gd name="connsiteX33" fmla="*/ 57599 w 64146"/>
                <a:gd name="connsiteY33" fmla="*/ 3270 h 68565"/>
                <a:gd name="connsiteX34" fmla="*/ 57599 w 64146"/>
                <a:gd name="connsiteY34" fmla="*/ 3270 h 68565"/>
                <a:gd name="connsiteX35" fmla="*/ 54181 w 64146"/>
                <a:gd name="connsiteY35" fmla="*/ 5619 h 68565"/>
                <a:gd name="connsiteX36" fmla="*/ 50341 w 64146"/>
                <a:gd name="connsiteY36" fmla="*/ 6020 h 68565"/>
                <a:gd name="connsiteX37" fmla="*/ 48203 w 64146"/>
                <a:gd name="connsiteY37" fmla="*/ 5619 h 68565"/>
                <a:gd name="connsiteX38" fmla="*/ 46283 w 64146"/>
                <a:gd name="connsiteY38" fmla="*/ 5718 h 68565"/>
                <a:gd name="connsiteX39" fmla="*/ 43983 w 64146"/>
                <a:gd name="connsiteY39" fmla="*/ 5619 h 68565"/>
                <a:gd name="connsiteX40" fmla="*/ 42654 w 64146"/>
                <a:gd name="connsiteY40" fmla="*/ 4895 h 68565"/>
                <a:gd name="connsiteX41" fmla="*/ 39763 w 64146"/>
                <a:gd name="connsiteY41" fmla="*/ 3861 h 68565"/>
                <a:gd name="connsiteX42" fmla="*/ 36971 w 64146"/>
                <a:gd name="connsiteY42" fmla="*/ 5690 h 68565"/>
                <a:gd name="connsiteX43" fmla="*/ 36971 w 64146"/>
                <a:gd name="connsiteY43" fmla="*/ 5690 h 68565"/>
                <a:gd name="connsiteX44" fmla="*/ 35543 w 64146"/>
                <a:gd name="connsiteY44" fmla="*/ 7378 h 68565"/>
                <a:gd name="connsiteX45" fmla="*/ 33391 w 64146"/>
                <a:gd name="connsiteY45" fmla="*/ 10332 h 68565"/>
                <a:gd name="connsiteX46" fmla="*/ 33391 w 64146"/>
                <a:gd name="connsiteY46" fmla="*/ 10332 h 68565"/>
                <a:gd name="connsiteX47" fmla="*/ 33391 w 64146"/>
                <a:gd name="connsiteY47" fmla="*/ 10332 h 68565"/>
                <a:gd name="connsiteX48" fmla="*/ 32378 w 64146"/>
                <a:gd name="connsiteY48" fmla="*/ 12301 h 68565"/>
                <a:gd name="connsiteX49" fmla="*/ 27807 w 64146"/>
                <a:gd name="connsiteY49" fmla="*/ 17927 h 68565"/>
                <a:gd name="connsiteX50" fmla="*/ 27807 w 64146"/>
                <a:gd name="connsiteY50" fmla="*/ 17927 h 68565"/>
                <a:gd name="connsiteX51" fmla="*/ 25296 w 64146"/>
                <a:gd name="connsiteY51" fmla="*/ 19060 h 68565"/>
                <a:gd name="connsiteX52" fmla="*/ 24642 w 64146"/>
                <a:gd name="connsiteY52" fmla="*/ 18982 h 68565"/>
                <a:gd name="connsiteX53" fmla="*/ 23770 w 64146"/>
                <a:gd name="connsiteY53" fmla="*/ 17547 h 68565"/>
                <a:gd name="connsiteX54" fmla="*/ 23770 w 64146"/>
                <a:gd name="connsiteY54" fmla="*/ 17547 h 68565"/>
                <a:gd name="connsiteX55" fmla="*/ 23770 w 64146"/>
                <a:gd name="connsiteY55" fmla="*/ 17547 h 68565"/>
                <a:gd name="connsiteX56" fmla="*/ 23587 w 64146"/>
                <a:gd name="connsiteY56" fmla="*/ 16169 h 68565"/>
                <a:gd name="connsiteX57" fmla="*/ 21168 w 64146"/>
                <a:gd name="connsiteY57" fmla="*/ 16450 h 68565"/>
                <a:gd name="connsiteX58" fmla="*/ 21168 w 64146"/>
                <a:gd name="connsiteY58" fmla="*/ 16450 h 68565"/>
                <a:gd name="connsiteX59" fmla="*/ 15499 w 64146"/>
                <a:gd name="connsiteY59" fmla="*/ 18982 h 68565"/>
                <a:gd name="connsiteX60" fmla="*/ 11279 w 64146"/>
                <a:gd name="connsiteY60" fmla="*/ 23202 h 68565"/>
                <a:gd name="connsiteX61" fmla="*/ 9169 w 64146"/>
                <a:gd name="connsiteY61" fmla="*/ 30587 h 68565"/>
                <a:gd name="connsiteX62" fmla="*/ 2840 w 64146"/>
                <a:gd name="connsiteY62" fmla="*/ 32697 h 68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4146" h="68565">
                  <a:moveTo>
                    <a:pt x="2840" y="32697"/>
                  </a:moveTo>
                  <a:lnTo>
                    <a:pt x="2840" y="32697"/>
                  </a:lnTo>
                  <a:cubicBezTo>
                    <a:pt x="1785" y="33280"/>
                    <a:pt x="-255" y="34877"/>
                    <a:pt x="26" y="36565"/>
                  </a:cubicBezTo>
                  <a:cubicBezTo>
                    <a:pt x="216" y="37718"/>
                    <a:pt x="2193" y="39287"/>
                    <a:pt x="4113" y="40820"/>
                  </a:cubicBezTo>
                  <a:cubicBezTo>
                    <a:pt x="5716" y="42093"/>
                    <a:pt x="7285" y="43345"/>
                    <a:pt x="7763" y="44301"/>
                  </a:cubicBezTo>
                  <a:cubicBezTo>
                    <a:pt x="8818" y="46411"/>
                    <a:pt x="13038" y="50631"/>
                    <a:pt x="18312" y="54499"/>
                  </a:cubicBezTo>
                  <a:cubicBezTo>
                    <a:pt x="22532" y="57594"/>
                    <a:pt x="25929" y="61413"/>
                    <a:pt x="27104" y="62939"/>
                  </a:cubicBezTo>
                  <a:lnTo>
                    <a:pt x="33433" y="62939"/>
                  </a:lnTo>
                  <a:cubicBezTo>
                    <a:pt x="35705" y="62939"/>
                    <a:pt x="37674" y="64437"/>
                    <a:pt x="39074" y="65499"/>
                  </a:cubicBezTo>
                  <a:cubicBezTo>
                    <a:pt x="39193" y="65583"/>
                    <a:pt x="39306" y="65668"/>
                    <a:pt x="39411" y="65752"/>
                  </a:cubicBezTo>
                  <a:cubicBezTo>
                    <a:pt x="40558" y="66617"/>
                    <a:pt x="41240" y="65365"/>
                    <a:pt x="42028" y="63916"/>
                  </a:cubicBezTo>
                  <a:cubicBezTo>
                    <a:pt x="42204" y="63593"/>
                    <a:pt x="42386" y="63262"/>
                    <a:pt x="42576" y="62939"/>
                  </a:cubicBezTo>
                  <a:cubicBezTo>
                    <a:pt x="43631" y="61181"/>
                    <a:pt x="48203" y="65400"/>
                    <a:pt x="48906" y="66455"/>
                  </a:cubicBezTo>
                  <a:cubicBezTo>
                    <a:pt x="49609" y="67510"/>
                    <a:pt x="51368" y="68565"/>
                    <a:pt x="54884" y="68565"/>
                  </a:cubicBezTo>
                  <a:cubicBezTo>
                    <a:pt x="57697" y="68565"/>
                    <a:pt x="56994" y="65984"/>
                    <a:pt x="56291" y="64697"/>
                  </a:cubicBezTo>
                  <a:lnTo>
                    <a:pt x="56291" y="61181"/>
                  </a:lnTo>
                  <a:cubicBezTo>
                    <a:pt x="56291" y="60653"/>
                    <a:pt x="56551" y="59689"/>
                    <a:pt x="56818" y="58719"/>
                  </a:cubicBezTo>
                  <a:cubicBezTo>
                    <a:pt x="57079" y="57755"/>
                    <a:pt x="57346" y="56785"/>
                    <a:pt x="57346" y="56257"/>
                  </a:cubicBezTo>
                  <a:cubicBezTo>
                    <a:pt x="57346" y="56004"/>
                    <a:pt x="57325" y="55603"/>
                    <a:pt x="57296" y="55090"/>
                  </a:cubicBezTo>
                  <a:cubicBezTo>
                    <a:pt x="57219" y="53500"/>
                    <a:pt x="57079" y="50835"/>
                    <a:pt x="57346" y="48169"/>
                  </a:cubicBezTo>
                  <a:cubicBezTo>
                    <a:pt x="57620" y="45427"/>
                    <a:pt x="57894" y="44822"/>
                    <a:pt x="58337" y="43851"/>
                  </a:cubicBezTo>
                  <a:cubicBezTo>
                    <a:pt x="58464" y="43584"/>
                    <a:pt x="58598" y="43281"/>
                    <a:pt x="58752" y="42895"/>
                  </a:cubicBezTo>
                  <a:cubicBezTo>
                    <a:pt x="59224" y="41720"/>
                    <a:pt x="59062" y="40236"/>
                    <a:pt x="58907" y="38752"/>
                  </a:cubicBezTo>
                  <a:cubicBezTo>
                    <a:pt x="58830" y="38014"/>
                    <a:pt x="58752" y="37268"/>
                    <a:pt x="58752" y="36565"/>
                  </a:cubicBezTo>
                  <a:lnTo>
                    <a:pt x="58752" y="26719"/>
                  </a:lnTo>
                  <a:cubicBezTo>
                    <a:pt x="58752" y="25312"/>
                    <a:pt x="60159" y="22147"/>
                    <a:pt x="61917" y="20389"/>
                  </a:cubicBezTo>
                  <a:cubicBezTo>
                    <a:pt x="62895" y="19411"/>
                    <a:pt x="63000" y="16809"/>
                    <a:pt x="63148" y="13370"/>
                  </a:cubicBezTo>
                  <a:cubicBezTo>
                    <a:pt x="63260" y="10606"/>
                    <a:pt x="63401" y="7300"/>
                    <a:pt x="64027" y="3861"/>
                  </a:cubicBezTo>
                  <a:cubicBezTo>
                    <a:pt x="64400" y="1822"/>
                    <a:pt x="63865" y="640"/>
                    <a:pt x="62867" y="0"/>
                  </a:cubicBezTo>
                  <a:cubicBezTo>
                    <a:pt x="62965" y="169"/>
                    <a:pt x="62902" y="288"/>
                    <a:pt x="62621" y="345"/>
                  </a:cubicBezTo>
                  <a:cubicBezTo>
                    <a:pt x="61530" y="563"/>
                    <a:pt x="61116" y="914"/>
                    <a:pt x="60546" y="1400"/>
                  </a:cubicBezTo>
                  <a:lnTo>
                    <a:pt x="60546" y="1400"/>
                  </a:lnTo>
                  <a:cubicBezTo>
                    <a:pt x="60187" y="1702"/>
                    <a:pt x="59772" y="2054"/>
                    <a:pt x="59104" y="2455"/>
                  </a:cubicBezTo>
                  <a:cubicBezTo>
                    <a:pt x="58577" y="2771"/>
                    <a:pt x="58084" y="3024"/>
                    <a:pt x="57599" y="3270"/>
                  </a:cubicBezTo>
                  <a:lnTo>
                    <a:pt x="57599" y="3270"/>
                  </a:lnTo>
                  <a:cubicBezTo>
                    <a:pt x="56474" y="3847"/>
                    <a:pt x="55412" y="4389"/>
                    <a:pt x="54181" y="5619"/>
                  </a:cubicBezTo>
                  <a:cubicBezTo>
                    <a:pt x="53020" y="6780"/>
                    <a:pt x="51705" y="6407"/>
                    <a:pt x="50341" y="6020"/>
                  </a:cubicBezTo>
                  <a:cubicBezTo>
                    <a:pt x="49638" y="5823"/>
                    <a:pt x="48920" y="5619"/>
                    <a:pt x="48203" y="5619"/>
                  </a:cubicBezTo>
                  <a:cubicBezTo>
                    <a:pt x="47394" y="5619"/>
                    <a:pt x="46796" y="5669"/>
                    <a:pt x="46283" y="5718"/>
                  </a:cubicBezTo>
                  <a:cubicBezTo>
                    <a:pt x="45453" y="5788"/>
                    <a:pt x="44855" y="5837"/>
                    <a:pt x="43983" y="5619"/>
                  </a:cubicBezTo>
                  <a:cubicBezTo>
                    <a:pt x="43448" y="5486"/>
                    <a:pt x="43062" y="5197"/>
                    <a:pt x="42654" y="4895"/>
                  </a:cubicBezTo>
                  <a:cubicBezTo>
                    <a:pt x="42000" y="4396"/>
                    <a:pt x="41282" y="3861"/>
                    <a:pt x="39763" y="3861"/>
                  </a:cubicBezTo>
                  <a:cubicBezTo>
                    <a:pt x="38202" y="3861"/>
                    <a:pt x="37632" y="4712"/>
                    <a:pt x="36971" y="5690"/>
                  </a:cubicBezTo>
                  <a:lnTo>
                    <a:pt x="36971" y="5690"/>
                  </a:lnTo>
                  <a:cubicBezTo>
                    <a:pt x="36591" y="6259"/>
                    <a:pt x="36183" y="6864"/>
                    <a:pt x="35543" y="7378"/>
                  </a:cubicBezTo>
                  <a:cubicBezTo>
                    <a:pt x="34341" y="8341"/>
                    <a:pt x="33961" y="9136"/>
                    <a:pt x="33391" y="10332"/>
                  </a:cubicBezTo>
                  <a:lnTo>
                    <a:pt x="33391" y="10332"/>
                  </a:lnTo>
                  <a:lnTo>
                    <a:pt x="33391" y="10332"/>
                  </a:lnTo>
                  <a:cubicBezTo>
                    <a:pt x="33124" y="10887"/>
                    <a:pt x="32821" y="11520"/>
                    <a:pt x="32378" y="12301"/>
                  </a:cubicBezTo>
                  <a:cubicBezTo>
                    <a:pt x="30972" y="14762"/>
                    <a:pt x="29565" y="16169"/>
                    <a:pt x="27807" y="17927"/>
                  </a:cubicBezTo>
                  <a:lnTo>
                    <a:pt x="27807" y="17927"/>
                  </a:lnTo>
                  <a:cubicBezTo>
                    <a:pt x="26464" y="19270"/>
                    <a:pt x="25936" y="19179"/>
                    <a:pt x="25296" y="19060"/>
                  </a:cubicBezTo>
                  <a:cubicBezTo>
                    <a:pt x="25099" y="19017"/>
                    <a:pt x="24888" y="18982"/>
                    <a:pt x="24642" y="18982"/>
                  </a:cubicBezTo>
                  <a:cubicBezTo>
                    <a:pt x="23904" y="18982"/>
                    <a:pt x="23854" y="18462"/>
                    <a:pt x="23770" y="17547"/>
                  </a:cubicBezTo>
                  <a:lnTo>
                    <a:pt x="23770" y="17547"/>
                  </a:lnTo>
                  <a:lnTo>
                    <a:pt x="23770" y="17547"/>
                  </a:lnTo>
                  <a:cubicBezTo>
                    <a:pt x="23735" y="17154"/>
                    <a:pt x="23693" y="16696"/>
                    <a:pt x="23587" y="16169"/>
                  </a:cubicBezTo>
                  <a:cubicBezTo>
                    <a:pt x="23397" y="15212"/>
                    <a:pt x="22687" y="15606"/>
                    <a:pt x="21168" y="16450"/>
                  </a:cubicBezTo>
                  <a:lnTo>
                    <a:pt x="21168" y="16450"/>
                  </a:lnTo>
                  <a:cubicBezTo>
                    <a:pt x="19902" y="17161"/>
                    <a:pt x="18066" y="18181"/>
                    <a:pt x="15499" y="18982"/>
                  </a:cubicBezTo>
                  <a:cubicBezTo>
                    <a:pt x="12686" y="18982"/>
                    <a:pt x="11631" y="21092"/>
                    <a:pt x="11279" y="23202"/>
                  </a:cubicBezTo>
                  <a:cubicBezTo>
                    <a:pt x="10928" y="25312"/>
                    <a:pt x="10224" y="28828"/>
                    <a:pt x="9169" y="30587"/>
                  </a:cubicBezTo>
                  <a:cubicBezTo>
                    <a:pt x="8114" y="32345"/>
                    <a:pt x="5301" y="32697"/>
                    <a:pt x="2840" y="32697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6" name="Freihandform: Form 21">
              <a:extLst>
                <a:ext uri="{FF2B5EF4-FFF2-40B4-BE49-F238E27FC236}">
                  <a16:creationId xmlns:a16="http://schemas.microsoft.com/office/drawing/2014/main" id="{E4DF804F-4D5C-7548-A566-66870B861AF4}"/>
                </a:ext>
              </a:extLst>
            </p:cNvPr>
            <p:cNvSpPr/>
            <p:nvPr/>
          </p:nvSpPr>
          <p:spPr>
            <a:xfrm>
              <a:off x="4832882" y="4342253"/>
              <a:ext cx="49291" cy="45813"/>
            </a:xfrm>
            <a:custGeom>
              <a:avLst/>
              <a:gdLst>
                <a:gd name="connsiteX0" fmla="*/ 45775 w 49291"/>
                <a:gd name="connsiteY0" fmla="*/ 29989 h 45813"/>
                <a:gd name="connsiteX1" fmla="*/ 49292 w 49291"/>
                <a:gd name="connsiteY1" fmla="*/ 25417 h 45813"/>
                <a:gd name="connsiteX2" fmla="*/ 32061 w 49291"/>
                <a:gd name="connsiteY2" fmla="*/ 6076 h 45813"/>
                <a:gd name="connsiteX3" fmla="*/ 25028 w 49291"/>
                <a:gd name="connsiteY3" fmla="*/ 4670 h 45813"/>
                <a:gd name="connsiteX4" fmla="*/ 17995 w 49291"/>
                <a:gd name="connsiteY4" fmla="*/ 450 h 45813"/>
                <a:gd name="connsiteX5" fmla="*/ 13423 w 49291"/>
                <a:gd name="connsiteY5" fmla="*/ 2560 h 45813"/>
                <a:gd name="connsiteX6" fmla="*/ 2522 w 49291"/>
                <a:gd name="connsiteY6" fmla="*/ 450 h 45813"/>
                <a:gd name="connsiteX7" fmla="*/ 2522 w 49291"/>
                <a:gd name="connsiteY7" fmla="*/ 6076 h 45813"/>
                <a:gd name="connsiteX8" fmla="*/ 60 w 49291"/>
                <a:gd name="connsiteY8" fmla="*/ 12054 h 45813"/>
                <a:gd name="connsiteX9" fmla="*/ 6742 w 49291"/>
                <a:gd name="connsiteY9" fmla="*/ 22252 h 45813"/>
                <a:gd name="connsiteX10" fmla="*/ 12017 w 49291"/>
                <a:gd name="connsiteY10" fmla="*/ 22252 h 45813"/>
                <a:gd name="connsiteX11" fmla="*/ 12017 w 49291"/>
                <a:gd name="connsiteY11" fmla="*/ 18384 h 45813"/>
                <a:gd name="connsiteX12" fmla="*/ 12017 w 49291"/>
                <a:gd name="connsiteY12" fmla="*/ 16274 h 45813"/>
                <a:gd name="connsiteX13" fmla="*/ 15885 w 49291"/>
                <a:gd name="connsiteY13" fmla="*/ 19439 h 45813"/>
                <a:gd name="connsiteX14" fmla="*/ 19753 w 49291"/>
                <a:gd name="connsiteY14" fmla="*/ 24362 h 45813"/>
                <a:gd name="connsiteX15" fmla="*/ 29599 w 49291"/>
                <a:gd name="connsiteY15" fmla="*/ 29285 h 45813"/>
                <a:gd name="connsiteX16" fmla="*/ 38391 w 49291"/>
                <a:gd name="connsiteY16" fmla="*/ 38428 h 45813"/>
                <a:gd name="connsiteX17" fmla="*/ 45775 w 49291"/>
                <a:gd name="connsiteY17" fmla="*/ 45813 h 45813"/>
                <a:gd name="connsiteX18" fmla="*/ 45775 w 49291"/>
                <a:gd name="connsiteY18" fmla="*/ 29989 h 45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291" h="45813">
                  <a:moveTo>
                    <a:pt x="45775" y="29989"/>
                  </a:moveTo>
                  <a:cubicBezTo>
                    <a:pt x="45775" y="27175"/>
                    <a:pt x="46479" y="25417"/>
                    <a:pt x="49292" y="25417"/>
                  </a:cubicBezTo>
                  <a:cubicBezTo>
                    <a:pt x="43898" y="18968"/>
                    <a:pt x="32905" y="6076"/>
                    <a:pt x="32061" y="6076"/>
                  </a:cubicBezTo>
                  <a:cubicBezTo>
                    <a:pt x="31006" y="6076"/>
                    <a:pt x="26434" y="5021"/>
                    <a:pt x="25028" y="4670"/>
                  </a:cubicBezTo>
                  <a:cubicBezTo>
                    <a:pt x="23621" y="4318"/>
                    <a:pt x="19753" y="-1660"/>
                    <a:pt x="17995" y="450"/>
                  </a:cubicBezTo>
                  <a:cubicBezTo>
                    <a:pt x="16237" y="2560"/>
                    <a:pt x="14478" y="4318"/>
                    <a:pt x="13423" y="2560"/>
                  </a:cubicBezTo>
                  <a:cubicBezTo>
                    <a:pt x="12368" y="801"/>
                    <a:pt x="4280" y="801"/>
                    <a:pt x="2522" y="450"/>
                  </a:cubicBezTo>
                  <a:cubicBezTo>
                    <a:pt x="764" y="98"/>
                    <a:pt x="2170" y="4670"/>
                    <a:pt x="2522" y="6076"/>
                  </a:cubicBezTo>
                  <a:cubicBezTo>
                    <a:pt x="2874" y="7483"/>
                    <a:pt x="764" y="10648"/>
                    <a:pt x="60" y="12054"/>
                  </a:cubicBezTo>
                  <a:cubicBezTo>
                    <a:pt x="-643" y="13461"/>
                    <a:pt x="4984" y="20846"/>
                    <a:pt x="6742" y="22252"/>
                  </a:cubicBezTo>
                  <a:cubicBezTo>
                    <a:pt x="8500" y="23659"/>
                    <a:pt x="10962" y="22252"/>
                    <a:pt x="12017" y="22252"/>
                  </a:cubicBezTo>
                  <a:cubicBezTo>
                    <a:pt x="12861" y="22252"/>
                    <a:pt x="12368" y="19671"/>
                    <a:pt x="12017" y="18384"/>
                  </a:cubicBezTo>
                  <a:cubicBezTo>
                    <a:pt x="11313" y="17681"/>
                    <a:pt x="10329" y="16274"/>
                    <a:pt x="12017" y="16274"/>
                  </a:cubicBezTo>
                  <a:cubicBezTo>
                    <a:pt x="14127" y="16274"/>
                    <a:pt x="14830" y="18384"/>
                    <a:pt x="15885" y="19439"/>
                  </a:cubicBezTo>
                  <a:cubicBezTo>
                    <a:pt x="16940" y="20494"/>
                    <a:pt x="18346" y="22604"/>
                    <a:pt x="19753" y="24362"/>
                  </a:cubicBezTo>
                  <a:cubicBezTo>
                    <a:pt x="21160" y="26120"/>
                    <a:pt x="26786" y="27527"/>
                    <a:pt x="29599" y="29285"/>
                  </a:cubicBezTo>
                  <a:cubicBezTo>
                    <a:pt x="32413" y="31044"/>
                    <a:pt x="36632" y="35615"/>
                    <a:pt x="38391" y="38428"/>
                  </a:cubicBezTo>
                  <a:cubicBezTo>
                    <a:pt x="39797" y="40679"/>
                    <a:pt x="43898" y="44287"/>
                    <a:pt x="45775" y="45813"/>
                  </a:cubicBezTo>
                  <a:lnTo>
                    <a:pt x="45775" y="2998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7" name="Freihandform: Form 22">
              <a:extLst>
                <a:ext uri="{FF2B5EF4-FFF2-40B4-BE49-F238E27FC236}">
                  <a16:creationId xmlns:a16="http://schemas.microsoft.com/office/drawing/2014/main" id="{DC83237D-A8A8-C140-A18F-B86F1269568D}"/>
                </a:ext>
              </a:extLst>
            </p:cNvPr>
            <p:cNvSpPr/>
            <p:nvPr/>
          </p:nvSpPr>
          <p:spPr>
            <a:xfrm>
              <a:off x="4879009" y="4367585"/>
              <a:ext cx="86949" cy="35250"/>
            </a:xfrm>
            <a:custGeom>
              <a:avLst/>
              <a:gdLst>
                <a:gd name="connsiteX0" fmla="*/ 75254 w 86949"/>
                <a:gd name="connsiteY0" fmla="*/ 5360 h 35250"/>
                <a:gd name="connsiteX1" fmla="*/ 85452 w 86949"/>
                <a:gd name="connsiteY1" fmla="*/ 14503 h 35250"/>
                <a:gd name="connsiteX2" fmla="*/ 84045 w 86949"/>
                <a:gd name="connsiteY2" fmla="*/ 18722 h 35250"/>
                <a:gd name="connsiteX3" fmla="*/ 86858 w 86949"/>
                <a:gd name="connsiteY3" fmla="*/ 23294 h 35250"/>
                <a:gd name="connsiteX4" fmla="*/ 85452 w 86949"/>
                <a:gd name="connsiteY4" fmla="*/ 28569 h 35250"/>
                <a:gd name="connsiteX5" fmla="*/ 81935 w 86949"/>
                <a:gd name="connsiteY5" fmla="*/ 31030 h 35250"/>
                <a:gd name="connsiteX6" fmla="*/ 79474 w 86949"/>
                <a:gd name="connsiteY6" fmla="*/ 32085 h 35250"/>
                <a:gd name="connsiteX7" fmla="*/ 75957 w 86949"/>
                <a:gd name="connsiteY7" fmla="*/ 35250 h 35250"/>
                <a:gd name="connsiteX8" fmla="*/ 74199 w 86949"/>
                <a:gd name="connsiteY8" fmla="*/ 32085 h 35250"/>
                <a:gd name="connsiteX9" fmla="*/ 72089 w 86949"/>
                <a:gd name="connsiteY9" fmla="*/ 26459 h 35250"/>
                <a:gd name="connsiteX10" fmla="*/ 72089 w 86949"/>
                <a:gd name="connsiteY10" fmla="*/ 21536 h 35250"/>
                <a:gd name="connsiteX11" fmla="*/ 68572 w 86949"/>
                <a:gd name="connsiteY11" fmla="*/ 17668 h 35250"/>
                <a:gd name="connsiteX12" fmla="*/ 63297 w 86949"/>
                <a:gd name="connsiteY12" fmla="*/ 10986 h 35250"/>
                <a:gd name="connsiteX13" fmla="*/ 55561 w 86949"/>
                <a:gd name="connsiteY13" fmla="*/ 7821 h 35250"/>
                <a:gd name="connsiteX14" fmla="*/ 51693 w 86949"/>
                <a:gd name="connsiteY14" fmla="*/ 9931 h 35250"/>
                <a:gd name="connsiteX15" fmla="*/ 44660 w 86949"/>
                <a:gd name="connsiteY15" fmla="*/ 17668 h 35250"/>
                <a:gd name="connsiteX16" fmla="*/ 36220 w 86949"/>
                <a:gd name="connsiteY16" fmla="*/ 20481 h 35250"/>
                <a:gd name="connsiteX17" fmla="*/ 42198 w 86949"/>
                <a:gd name="connsiteY17" fmla="*/ 28569 h 35250"/>
                <a:gd name="connsiteX18" fmla="*/ 43605 w 86949"/>
                <a:gd name="connsiteY18" fmla="*/ 32789 h 35250"/>
                <a:gd name="connsiteX19" fmla="*/ 35517 w 86949"/>
                <a:gd name="connsiteY19" fmla="*/ 35250 h 35250"/>
                <a:gd name="connsiteX20" fmla="*/ 31649 w 86949"/>
                <a:gd name="connsiteY20" fmla="*/ 32085 h 35250"/>
                <a:gd name="connsiteX21" fmla="*/ 27429 w 86949"/>
                <a:gd name="connsiteY21" fmla="*/ 27162 h 35250"/>
                <a:gd name="connsiteX22" fmla="*/ 24616 w 86949"/>
                <a:gd name="connsiteY22" fmla="*/ 28569 h 35250"/>
                <a:gd name="connsiteX23" fmla="*/ 19693 w 86949"/>
                <a:gd name="connsiteY23" fmla="*/ 23294 h 35250"/>
                <a:gd name="connsiteX24" fmla="*/ 11956 w 86949"/>
                <a:gd name="connsiteY24" fmla="*/ 20481 h 35250"/>
                <a:gd name="connsiteX25" fmla="*/ 0 w 86949"/>
                <a:gd name="connsiteY25" fmla="*/ 19426 h 35250"/>
                <a:gd name="connsiteX26" fmla="*/ 0 w 86949"/>
                <a:gd name="connsiteY26" fmla="*/ 4656 h 35250"/>
                <a:gd name="connsiteX27" fmla="*/ 3868 w 86949"/>
                <a:gd name="connsiteY27" fmla="*/ 85 h 35250"/>
                <a:gd name="connsiteX28" fmla="*/ 8440 w 86949"/>
                <a:gd name="connsiteY28" fmla="*/ 6415 h 35250"/>
                <a:gd name="connsiteX29" fmla="*/ 22506 w 86949"/>
                <a:gd name="connsiteY29" fmla="*/ 11689 h 35250"/>
                <a:gd name="connsiteX30" fmla="*/ 37275 w 86949"/>
                <a:gd name="connsiteY30" fmla="*/ 7821 h 35250"/>
                <a:gd name="connsiteX31" fmla="*/ 45715 w 86949"/>
                <a:gd name="connsiteY31" fmla="*/ 2898 h 35250"/>
                <a:gd name="connsiteX32" fmla="*/ 58023 w 86949"/>
                <a:gd name="connsiteY32" fmla="*/ 85 h 35250"/>
                <a:gd name="connsiteX33" fmla="*/ 75254 w 86949"/>
                <a:gd name="connsiteY33" fmla="*/ 5360 h 3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86949" h="35250">
                  <a:moveTo>
                    <a:pt x="75254" y="5360"/>
                  </a:moveTo>
                  <a:cubicBezTo>
                    <a:pt x="78419" y="6415"/>
                    <a:pt x="82638" y="12041"/>
                    <a:pt x="85452" y="14503"/>
                  </a:cubicBezTo>
                  <a:cubicBezTo>
                    <a:pt x="84980" y="15558"/>
                    <a:pt x="84045" y="17879"/>
                    <a:pt x="84045" y="18722"/>
                  </a:cubicBezTo>
                  <a:cubicBezTo>
                    <a:pt x="84045" y="19777"/>
                    <a:pt x="86507" y="21536"/>
                    <a:pt x="86858" y="23294"/>
                  </a:cubicBezTo>
                  <a:cubicBezTo>
                    <a:pt x="87210" y="25052"/>
                    <a:pt x="86507" y="26459"/>
                    <a:pt x="85452" y="28569"/>
                  </a:cubicBezTo>
                  <a:cubicBezTo>
                    <a:pt x="84397" y="30679"/>
                    <a:pt x="82638" y="30679"/>
                    <a:pt x="81935" y="31030"/>
                  </a:cubicBezTo>
                  <a:cubicBezTo>
                    <a:pt x="81232" y="31382"/>
                    <a:pt x="79825" y="32085"/>
                    <a:pt x="79474" y="32085"/>
                  </a:cubicBezTo>
                  <a:cubicBezTo>
                    <a:pt x="79122" y="32085"/>
                    <a:pt x="77012" y="35250"/>
                    <a:pt x="75957" y="35250"/>
                  </a:cubicBezTo>
                  <a:cubicBezTo>
                    <a:pt x="75113" y="35250"/>
                    <a:pt x="74431" y="33140"/>
                    <a:pt x="74199" y="32085"/>
                  </a:cubicBezTo>
                  <a:cubicBezTo>
                    <a:pt x="73495" y="30447"/>
                    <a:pt x="72089" y="27022"/>
                    <a:pt x="72089" y="26459"/>
                  </a:cubicBezTo>
                  <a:lnTo>
                    <a:pt x="72089" y="21536"/>
                  </a:lnTo>
                  <a:cubicBezTo>
                    <a:pt x="72089" y="19777"/>
                    <a:pt x="69627" y="18722"/>
                    <a:pt x="68572" y="17668"/>
                  </a:cubicBezTo>
                  <a:cubicBezTo>
                    <a:pt x="67517" y="16613"/>
                    <a:pt x="64704" y="12744"/>
                    <a:pt x="63297" y="10986"/>
                  </a:cubicBezTo>
                  <a:cubicBezTo>
                    <a:pt x="61891" y="9228"/>
                    <a:pt x="58023" y="7821"/>
                    <a:pt x="55561" y="7821"/>
                  </a:cubicBezTo>
                  <a:cubicBezTo>
                    <a:pt x="53100" y="7821"/>
                    <a:pt x="52045" y="9228"/>
                    <a:pt x="51693" y="9931"/>
                  </a:cubicBezTo>
                  <a:cubicBezTo>
                    <a:pt x="51412" y="10494"/>
                    <a:pt x="46889" y="15325"/>
                    <a:pt x="44660" y="17668"/>
                  </a:cubicBezTo>
                  <a:lnTo>
                    <a:pt x="36220" y="20481"/>
                  </a:lnTo>
                  <a:cubicBezTo>
                    <a:pt x="37859" y="22710"/>
                    <a:pt x="41354" y="27443"/>
                    <a:pt x="42198" y="28569"/>
                  </a:cubicBezTo>
                  <a:cubicBezTo>
                    <a:pt x="43042" y="29694"/>
                    <a:pt x="43485" y="31853"/>
                    <a:pt x="43605" y="32789"/>
                  </a:cubicBezTo>
                  <a:cubicBezTo>
                    <a:pt x="41263" y="33611"/>
                    <a:pt x="36361" y="35250"/>
                    <a:pt x="35517" y="35250"/>
                  </a:cubicBezTo>
                  <a:cubicBezTo>
                    <a:pt x="34462" y="35250"/>
                    <a:pt x="32000" y="32789"/>
                    <a:pt x="31649" y="32085"/>
                  </a:cubicBezTo>
                  <a:cubicBezTo>
                    <a:pt x="31367" y="31523"/>
                    <a:pt x="28716" y="28569"/>
                    <a:pt x="27429" y="27162"/>
                  </a:cubicBezTo>
                  <a:lnTo>
                    <a:pt x="24616" y="28569"/>
                  </a:lnTo>
                  <a:cubicBezTo>
                    <a:pt x="23912" y="28920"/>
                    <a:pt x="20044" y="24349"/>
                    <a:pt x="19693" y="23294"/>
                  </a:cubicBezTo>
                  <a:cubicBezTo>
                    <a:pt x="19341" y="22239"/>
                    <a:pt x="14769" y="20832"/>
                    <a:pt x="11956" y="20481"/>
                  </a:cubicBezTo>
                  <a:cubicBezTo>
                    <a:pt x="9706" y="20200"/>
                    <a:pt x="3045" y="19658"/>
                    <a:pt x="0" y="19426"/>
                  </a:cubicBezTo>
                  <a:lnTo>
                    <a:pt x="0" y="4656"/>
                  </a:lnTo>
                  <a:cubicBezTo>
                    <a:pt x="0" y="718"/>
                    <a:pt x="2581" y="-35"/>
                    <a:pt x="3868" y="85"/>
                  </a:cubicBezTo>
                  <a:cubicBezTo>
                    <a:pt x="4339" y="1020"/>
                    <a:pt x="5908" y="3601"/>
                    <a:pt x="8440" y="6415"/>
                  </a:cubicBezTo>
                  <a:cubicBezTo>
                    <a:pt x="11605" y="9931"/>
                    <a:pt x="19693" y="10283"/>
                    <a:pt x="22506" y="11689"/>
                  </a:cubicBezTo>
                  <a:cubicBezTo>
                    <a:pt x="25319" y="13096"/>
                    <a:pt x="35517" y="8525"/>
                    <a:pt x="37275" y="7821"/>
                  </a:cubicBezTo>
                  <a:cubicBezTo>
                    <a:pt x="39033" y="7118"/>
                    <a:pt x="42550" y="5360"/>
                    <a:pt x="45715" y="2898"/>
                  </a:cubicBezTo>
                  <a:cubicBezTo>
                    <a:pt x="48880" y="437"/>
                    <a:pt x="54858" y="-267"/>
                    <a:pt x="58023" y="85"/>
                  </a:cubicBezTo>
                  <a:cubicBezTo>
                    <a:pt x="61188" y="437"/>
                    <a:pt x="72089" y="4305"/>
                    <a:pt x="75254" y="536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8" name="Freihandform: Form 23">
              <a:extLst>
                <a:ext uri="{FF2B5EF4-FFF2-40B4-BE49-F238E27FC236}">
                  <a16:creationId xmlns:a16="http://schemas.microsoft.com/office/drawing/2014/main" id="{26EF43A6-A4AE-4C4C-974A-DCFF5CF2232F}"/>
                </a:ext>
              </a:extLst>
            </p:cNvPr>
            <p:cNvSpPr/>
            <p:nvPr/>
          </p:nvSpPr>
          <p:spPr>
            <a:xfrm>
              <a:off x="4939707" y="4321604"/>
              <a:ext cx="182410" cy="260574"/>
            </a:xfrm>
            <a:custGeom>
              <a:avLst/>
              <a:gdLst>
                <a:gd name="connsiteX0" fmla="*/ 1192 w 182410"/>
                <a:gd name="connsiteY0" fmla="*/ 174771 h 260574"/>
                <a:gd name="connsiteX1" fmla="*/ 17720 w 182410"/>
                <a:gd name="connsiteY1" fmla="*/ 182508 h 260574"/>
                <a:gd name="connsiteX2" fmla="*/ 31083 w 182410"/>
                <a:gd name="connsiteY2" fmla="*/ 190947 h 260574"/>
                <a:gd name="connsiteX3" fmla="*/ 39135 w 182410"/>
                <a:gd name="connsiteY3" fmla="*/ 189534 h 260574"/>
                <a:gd name="connsiteX4" fmla="*/ 43039 w 182410"/>
                <a:gd name="connsiteY4" fmla="*/ 189189 h 260574"/>
                <a:gd name="connsiteX5" fmla="*/ 55698 w 182410"/>
                <a:gd name="connsiteY5" fmla="*/ 194816 h 260574"/>
                <a:gd name="connsiteX6" fmla="*/ 66951 w 182410"/>
                <a:gd name="connsiteY6" fmla="*/ 200442 h 260574"/>
                <a:gd name="connsiteX7" fmla="*/ 72683 w 182410"/>
                <a:gd name="connsiteY7" fmla="*/ 205668 h 260574"/>
                <a:gd name="connsiteX8" fmla="*/ 78907 w 182410"/>
                <a:gd name="connsiteY8" fmla="*/ 211343 h 260574"/>
                <a:gd name="connsiteX9" fmla="*/ 82009 w 182410"/>
                <a:gd name="connsiteY9" fmla="*/ 214747 h 260574"/>
                <a:gd name="connsiteX10" fmla="*/ 85940 w 182410"/>
                <a:gd name="connsiteY10" fmla="*/ 219431 h 260574"/>
                <a:gd name="connsiteX11" fmla="*/ 91919 w 182410"/>
                <a:gd name="connsiteY11" fmla="*/ 229278 h 260574"/>
                <a:gd name="connsiteX12" fmla="*/ 92432 w 182410"/>
                <a:gd name="connsiteY12" fmla="*/ 230072 h 260574"/>
                <a:gd name="connsiteX13" fmla="*/ 98248 w 182410"/>
                <a:gd name="connsiteY13" fmla="*/ 231036 h 260574"/>
                <a:gd name="connsiteX14" fmla="*/ 110205 w 182410"/>
                <a:gd name="connsiteY14" fmla="*/ 231036 h 260574"/>
                <a:gd name="connsiteX15" fmla="*/ 118293 w 182410"/>
                <a:gd name="connsiteY15" fmla="*/ 231036 h 260574"/>
                <a:gd name="connsiteX16" fmla="*/ 131304 w 182410"/>
                <a:gd name="connsiteY16" fmla="*/ 233497 h 260574"/>
                <a:gd name="connsiteX17" fmla="*/ 138688 w 182410"/>
                <a:gd name="connsiteY17" fmla="*/ 237014 h 260574"/>
                <a:gd name="connsiteX18" fmla="*/ 134820 w 182410"/>
                <a:gd name="connsiteY18" fmla="*/ 244750 h 260574"/>
                <a:gd name="connsiteX19" fmla="*/ 131304 w 182410"/>
                <a:gd name="connsiteY19" fmla="*/ 251783 h 260574"/>
                <a:gd name="connsiteX20" fmla="*/ 138688 w 182410"/>
                <a:gd name="connsiteY20" fmla="*/ 260575 h 260574"/>
                <a:gd name="connsiteX21" fmla="*/ 141150 w 182410"/>
                <a:gd name="connsiteY21" fmla="*/ 251783 h 260574"/>
                <a:gd name="connsiteX22" fmla="*/ 147128 w 182410"/>
                <a:gd name="connsiteY22" fmla="*/ 237014 h 260574"/>
                <a:gd name="connsiteX23" fmla="*/ 147219 w 182410"/>
                <a:gd name="connsiteY23" fmla="*/ 231092 h 260574"/>
                <a:gd name="connsiteX24" fmla="*/ 147128 w 182410"/>
                <a:gd name="connsiteY24" fmla="*/ 227168 h 260574"/>
                <a:gd name="connsiteX25" fmla="*/ 147128 w 182410"/>
                <a:gd name="connsiteY25" fmla="*/ 214156 h 260574"/>
                <a:gd name="connsiteX26" fmla="*/ 145370 w 182410"/>
                <a:gd name="connsiteY26" fmla="*/ 203255 h 260574"/>
                <a:gd name="connsiteX27" fmla="*/ 142444 w 182410"/>
                <a:gd name="connsiteY27" fmla="*/ 200210 h 260574"/>
                <a:gd name="connsiteX28" fmla="*/ 138688 w 182410"/>
                <a:gd name="connsiteY28" fmla="*/ 194816 h 260574"/>
                <a:gd name="connsiteX29" fmla="*/ 141150 w 182410"/>
                <a:gd name="connsiteY29" fmla="*/ 187719 h 260574"/>
                <a:gd name="connsiteX30" fmla="*/ 147128 w 182410"/>
                <a:gd name="connsiteY30" fmla="*/ 187719 h 260574"/>
                <a:gd name="connsiteX31" fmla="*/ 148725 w 182410"/>
                <a:gd name="connsiteY31" fmla="*/ 185750 h 260574"/>
                <a:gd name="connsiteX32" fmla="*/ 149590 w 182410"/>
                <a:gd name="connsiteY32" fmla="*/ 182508 h 260574"/>
                <a:gd name="connsiteX33" fmla="*/ 145187 w 182410"/>
                <a:gd name="connsiteY33" fmla="*/ 176811 h 260574"/>
                <a:gd name="connsiteX34" fmla="*/ 142205 w 182410"/>
                <a:gd name="connsiteY34" fmla="*/ 173365 h 260574"/>
                <a:gd name="connsiteX35" fmla="*/ 141410 w 182410"/>
                <a:gd name="connsiteY35" fmla="*/ 172120 h 260574"/>
                <a:gd name="connsiteX36" fmla="*/ 145370 w 182410"/>
                <a:gd name="connsiteY36" fmla="*/ 168442 h 260574"/>
                <a:gd name="connsiteX37" fmla="*/ 172799 w 182410"/>
                <a:gd name="connsiteY37" fmla="*/ 168442 h 260574"/>
                <a:gd name="connsiteX38" fmla="*/ 177722 w 182410"/>
                <a:gd name="connsiteY38" fmla="*/ 165628 h 260574"/>
                <a:gd name="connsiteX39" fmla="*/ 179121 w 182410"/>
                <a:gd name="connsiteY39" fmla="*/ 163666 h 260574"/>
                <a:gd name="connsiteX40" fmla="*/ 180887 w 182410"/>
                <a:gd name="connsiteY40" fmla="*/ 155782 h 260574"/>
                <a:gd name="connsiteX41" fmla="*/ 178066 w 182410"/>
                <a:gd name="connsiteY41" fmla="*/ 154509 h 260574"/>
                <a:gd name="connsiteX42" fmla="*/ 174909 w 182410"/>
                <a:gd name="connsiteY42" fmla="*/ 151211 h 260574"/>
                <a:gd name="connsiteX43" fmla="*/ 180887 w 182410"/>
                <a:gd name="connsiteY43" fmla="*/ 144178 h 260574"/>
                <a:gd name="connsiteX44" fmla="*/ 180887 w 182410"/>
                <a:gd name="connsiteY44" fmla="*/ 140661 h 260574"/>
                <a:gd name="connsiteX45" fmla="*/ 178636 w 182410"/>
                <a:gd name="connsiteY45" fmla="*/ 138875 h 260574"/>
                <a:gd name="connsiteX46" fmla="*/ 174909 w 182410"/>
                <a:gd name="connsiteY46" fmla="*/ 132925 h 260574"/>
                <a:gd name="connsiteX47" fmla="*/ 174909 w 182410"/>
                <a:gd name="connsiteY47" fmla="*/ 114990 h 260574"/>
                <a:gd name="connsiteX48" fmla="*/ 177490 w 182410"/>
                <a:gd name="connsiteY48" fmla="*/ 111305 h 260574"/>
                <a:gd name="connsiteX49" fmla="*/ 180887 w 182410"/>
                <a:gd name="connsiteY49" fmla="*/ 105847 h 260574"/>
                <a:gd name="connsiteX50" fmla="*/ 181759 w 182410"/>
                <a:gd name="connsiteY50" fmla="*/ 100917 h 260574"/>
                <a:gd name="connsiteX51" fmla="*/ 180887 w 182410"/>
                <a:gd name="connsiteY51" fmla="*/ 97056 h 260574"/>
                <a:gd name="connsiteX52" fmla="*/ 167876 w 182410"/>
                <a:gd name="connsiteY52" fmla="*/ 97056 h 260574"/>
                <a:gd name="connsiteX53" fmla="*/ 155568 w 182410"/>
                <a:gd name="connsiteY53" fmla="*/ 97056 h 260574"/>
                <a:gd name="connsiteX54" fmla="*/ 149590 w 182410"/>
                <a:gd name="connsiteY54" fmla="*/ 99518 h 260574"/>
                <a:gd name="connsiteX55" fmla="*/ 142564 w 182410"/>
                <a:gd name="connsiteY55" fmla="*/ 90860 h 260574"/>
                <a:gd name="connsiteX56" fmla="*/ 142205 w 182410"/>
                <a:gd name="connsiteY56" fmla="*/ 90375 h 260574"/>
                <a:gd name="connsiteX57" fmla="*/ 141699 w 182410"/>
                <a:gd name="connsiteY57" fmla="*/ 89615 h 260574"/>
                <a:gd name="connsiteX58" fmla="*/ 135875 w 182410"/>
                <a:gd name="connsiteY58" fmla="*/ 86155 h 260574"/>
                <a:gd name="connsiteX59" fmla="*/ 128308 w 182410"/>
                <a:gd name="connsiteY59" fmla="*/ 86077 h 260574"/>
                <a:gd name="connsiteX60" fmla="*/ 124974 w 182410"/>
                <a:gd name="connsiteY60" fmla="*/ 86155 h 260574"/>
                <a:gd name="connsiteX61" fmla="*/ 121113 w 182410"/>
                <a:gd name="connsiteY61" fmla="*/ 86598 h 260574"/>
                <a:gd name="connsiteX62" fmla="*/ 113018 w 182410"/>
                <a:gd name="connsiteY62" fmla="*/ 86155 h 260574"/>
                <a:gd name="connsiteX63" fmla="*/ 108390 w 182410"/>
                <a:gd name="connsiteY63" fmla="*/ 83335 h 260574"/>
                <a:gd name="connsiteX64" fmla="*/ 105281 w 182410"/>
                <a:gd name="connsiteY64" fmla="*/ 81583 h 260574"/>
                <a:gd name="connsiteX65" fmla="*/ 102426 w 182410"/>
                <a:gd name="connsiteY65" fmla="*/ 80022 h 260574"/>
                <a:gd name="connsiteX66" fmla="*/ 98248 w 182410"/>
                <a:gd name="connsiteY66" fmla="*/ 76309 h 260574"/>
                <a:gd name="connsiteX67" fmla="*/ 102468 w 182410"/>
                <a:gd name="connsiteY67" fmla="*/ 72440 h 260574"/>
                <a:gd name="connsiteX68" fmla="*/ 102553 w 182410"/>
                <a:gd name="connsiteY68" fmla="*/ 69276 h 260574"/>
                <a:gd name="connsiteX69" fmla="*/ 102468 w 182410"/>
                <a:gd name="connsiteY69" fmla="*/ 67166 h 260574"/>
                <a:gd name="connsiteX70" fmla="*/ 100478 w 182410"/>
                <a:gd name="connsiteY70" fmla="*/ 64578 h 260574"/>
                <a:gd name="connsiteX71" fmla="*/ 98248 w 182410"/>
                <a:gd name="connsiteY71" fmla="*/ 61539 h 260574"/>
                <a:gd name="connsiteX72" fmla="*/ 91919 w 182410"/>
                <a:gd name="connsiteY72" fmla="*/ 51341 h 260574"/>
                <a:gd name="connsiteX73" fmla="*/ 89401 w 182410"/>
                <a:gd name="connsiteY73" fmla="*/ 48324 h 260574"/>
                <a:gd name="connsiteX74" fmla="*/ 89105 w 182410"/>
                <a:gd name="connsiteY74" fmla="*/ 45012 h 260574"/>
                <a:gd name="connsiteX75" fmla="*/ 91919 w 182410"/>
                <a:gd name="connsiteY75" fmla="*/ 32704 h 260574"/>
                <a:gd name="connsiteX76" fmla="*/ 94043 w 182410"/>
                <a:gd name="connsiteY76" fmla="*/ 30024 h 260574"/>
                <a:gd name="connsiteX77" fmla="*/ 98248 w 182410"/>
                <a:gd name="connsiteY77" fmla="*/ 25671 h 260574"/>
                <a:gd name="connsiteX78" fmla="*/ 104100 w 182410"/>
                <a:gd name="connsiteY78" fmla="*/ 18363 h 260574"/>
                <a:gd name="connsiteX79" fmla="*/ 105281 w 182410"/>
                <a:gd name="connsiteY79" fmla="*/ 16528 h 260574"/>
                <a:gd name="connsiteX80" fmla="*/ 109916 w 182410"/>
                <a:gd name="connsiteY80" fmla="*/ 12505 h 260574"/>
                <a:gd name="connsiteX81" fmla="*/ 113018 w 182410"/>
                <a:gd name="connsiteY81" fmla="*/ 9495 h 260574"/>
                <a:gd name="connsiteX82" fmla="*/ 117167 w 182410"/>
                <a:gd name="connsiteY82" fmla="*/ 8397 h 260574"/>
                <a:gd name="connsiteX83" fmla="*/ 122512 w 182410"/>
                <a:gd name="connsiteY83" fmla="*/ 6681 h 260574"/>
                <a:gd name="connsiteX84" fmla="*/ 122555 w 182410"/>
                <a:gd name="connsiteY84" fmla="*/ 5591 h 260574"/>
                <a:gd name="connsiteX85" fmla="*/ 118293 w 182410"/>
                <a:gd name="connsiteY85" fmla="*/ 0 h 260574"/>
                <a:gd name="connsiteX86" fmla="*/ 105281 w 182410"/>
                <a:gd name="connsiteY86" fmla="*/ 6681 h 260574"/>
                <a:gd name="connsiteX87" fmla="*/ 91919 w 182410"/>
                <a:gd name="connsiteY87" fmla="*/ 16528 h 260574"/>
                <a:gd name="connsiteX88" fmla="*/ 80666 w 182410"/>
                <a:gd name="connsiteY88" fmla="*/ 16528 h 260574"/>
                <a:gd name="connsiteX89" fmla="*/ 79519 w 182410"/>
                <a:gd name="connsiteY89" fmla="*/ 17400 h 260574"/>
                <a:gd name="connsiteX90" fmla="*/ 73633 w 182410"/>
                <a:gd name="connsiteY90" fmla="*/ 20044 h 260574"/>
                <a:gd name="connsiteX91" fmla="*/ 58512 w 182410"/>
                <a:gd name="connsiteY91" fmla="*/ 23912 h 260574"/>
                <a:gd name="connsiteX92" fmla="*/ 57274 w 182410"/>
                <a:gd name="connsiteY92" fmla="*/ 26311 h 260574"/>
                <a:gd name="connsiteX93" fmla="*/ 55698 w 182410"/>
                <a:gd name="connsiteY93" fmla="*/ 29187 h 260574"/>
                <a:gd name="connsiteX94" fmla="*/ 54418 w 182410"/>
                <a:gd name="connsiteY94" fmla="*/ 34160 h 260574"/>
                <a:gd name="connsiteX95" fmla="*/ 53588 w 182410"/>
                <a:gd name="connsiteY95" fmla="*/ 38330 h 260574"/>
                <a:gd name="connsiteX96" fmla="*/ 52864 w 182410"/>
                <a:gd name="connsiteY96" fmla="*/ 40883 h 260574"/>
                <a:gd name="connsiteX97" fmla="*/ 50072 w 182410"/>
                <a:gd name="connsiteY97" fmla="*/ 48176 h 260574"/>
                <a:gd name="connsiteX98" fmla="*/ 43039 w 182410"/>
                <a:gd name="connsiteY98" fmla="*/ 51341 h 260574"/>
                <a:gd name="connsiteX99" fmla="*/ 41281 w 182410"/>
                <a:gd name="connsiteY99" fmla="*/ 55561 h 260574"/>
                <a:gd name="connsiteX100" fmla="*/ 39297 w 182410"/>
                <a:gd name="connsiteY100" fmla="*/ 58388 h 260574"/>
                <a:gd name="connsiteX101" fmla="*/ 36709 w 182410"/>
                <a:gd name="connsiteY101" fmla="*/ 61539 h 260574"/>
                <a:gd name="connsiteX102" fmla="*/ 35767 w 182410"/>
                <a:gd name="connsiteY102" fmla="*/ 63086 h 260574"/>
                <a:gd name="connsiteX103" fmla="*/ 34951 w 182410"/>
                <a:gd name="connsiteY103" fmla="*/ 65407 h 260574"/>
                <a:gd name="connsiteX104" fmla="*/ 31083 w 182410"/>
                <a:gd name="connsiteY104" fmla="*/ 70331 h 260574"/>
                <a:gd name="connsiteX105" fmla="*/ 23452 w 182410"/>
                <a:gd name="connsiteY105" fmla="*/ 64008 h 260574"/>
                <a:gd name="connsiteX106" fmla="*/ 23346 w 182410"/>
                <a:gd name="connsiteY106" fmla="*/ 64704 h 260574"/>
                <a:gd name="connsiteX107" fmla="*/ 24507 w 182410"/>
                <a:gd name="connsiteY107" fmla="*/ 66589 h 260574"/>
                <a:gd name="connsiteX108" fmla="*/ 26160 w 182410"/>
                <a:gd name="connsiteY108" fmla="*/ 69276 h 260574"/>
                <a:gd name="connsiteX109" fmla="*/ 24753 w 182410"/>
                <a:gd name="connsiteY109" fmla="*/ 74550 h 260574"/>
                <a:gd name="connsiteX110" fmla="*/ 21841 w 182410"/>
                <a:gd name="connsiteY110" fmla="*/ 76801 h 260574"/>
                <a:gd name="connsiteX111" fmla="*/ 21236 w 182410"/>
                <a:gd name="connsiteY111" fmla="*/ 77012 h 260574"/>
                <a:gd name="connsiteX112" fmla="*/ 18775 w 182410"/>
                <a:gd name="connsiteY112" fmla="*/ 78067 h 260574"/>
                <a:gd name="connsiteX113" fmla="*/ 18177 w 182410"/>
                <a:gd name="connsiteY113" fmla="*/ 78615 h 260574"/>
                <a:gd name="connsiteX114" fmla="*/ 23346 w 182410"/>
                <a:gd name="connsiteY114" fmla="*/ 90375 h 260574"/>
                <a:gd name="connsiteX115" fmla="*/ 25456 w 182410"/>
                <a:gd name="connsiteY115" fmla="*/ 107606 h 260574"/>
                <a:gd name="connsiteX116" fmla="*/ 25456 w 182410"/>
                <a:gd name="connsiteY116" fmla="*/ 114990 h 260574"/>
                <a:gd name="connsiteX117" fmla="*/ 25456 w 182410"/>
                <a:gd name="connsiteY117" fmla="*/ 123078 h 260574"/>
                <a:gd name="connsiteX118" fmla="*/ 25456 w 182410"/>
                <a:gd name="connsiteY118" fmla="*/ 130463 h 260574"/>
                <a:gd name="connsiteX119" fmla="*/ 26399 w 182410"/>
                <a:gd name="connsiteY119" fmla="*/ 132777 h 260574"/>
                <a:gd name="connsiteX120" fmla="*/ 27566 w 182410"/>
                <a:gd name="connsiteY120" fmla="*/ 136793 h 260574"/>
                <a:gd name="connsiteX121" fmla="*/ 27411 w 182410"/>
                <a:gd name="connsiteY121" fmla="*/ 139100 h 260574"/>
                <a:gd name="connsiteX122" fmla="*/ 25456 w 182410"/>
                <a:gd name="connsiteY122" fmla="*/ 144178 h 260574"/>
                <a:gd name="connsiteX123" fmla="*/ 23276 w 182410"/>
                <a:gd name="connsiteY123" fmla="*/ 145563 h 260574"/>
                <a:gd name="connsiteX124" fmla="*/ 21236 w 182410"/>
                <a:gd name="connsiteY124" fmla="*/ 147694 h 260574"/>
                <a:gd name="connsiteX125" fmla="*/ 19872 w 182410"/>
                <a:gd name="connsiteY125" fmla="*/ 149635 h 260574"/>
                <a:gd name="connsiteX126" fmla="*/ 18775 w 182410"/>
                <a:gd name="connsiteY126" fmla="*/ 151211 h 260574"/>
                <a:gd name="connsiteX127" fmla="*/ 16602 w 182410"/>
                <a:gd name="connsiteY127" fmla="*/ 152139 h 260574"/>
                <a:gd name="connsiteX128" fmla="*/ 12797 w 182410"/>
                <a:gd name="connsiteY128" fmla="*/ 153672 h 260574"/>
                <a:gd name="connsiteX129" fmla="*/ 5918 w 182410"/>
                <a:gd name="connsiteY129" fmla="*/ 163961 h 260574"/>
                <a:gd name="connsiteX130" fmla="*/ 5060 w 182410"/>
                <a:gd name="connsiteY130" fmla="*/ 165628 h 260574"/>
                <a:gd name="connsiteX131" fmla="*/ 137 w 182410"/>
                <a:gd name="connsiteY131" fmla="*/ 169497 h 260574"/>
                <a:gd name="connsiteX132" fmla="*/ 102 w 182410"/>
                <a:gd name="connsiteY132" fmla="*/ 171325 h 260574"/>
                <a:gd name="connsiteX133" fmla="*/ 1192 w 182410"/>
                <a:gd name="connsiteY133" fmla="*/ 174771 h 260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182410" h="260574">
                  <a:moveTo>
                    <a:pt x="1192" y="174771"/>
                  </a:moveTo>
                  <a:cubicBezTo>
                    <a:pt x="2950" y="174771"/>
                    <a:pt x="15962" y="179695"/>
                    <a:pt x="17720" y="182508"/>
                  </a:cubicBezTo>
                  <a:cubicBezTo>
                    <a:pt x="19478" y="185321"/>
                    <a:pt x="24753" y="190244"/>
                    <a:pt x="31083" y="190947"/>
                  </a:cubicBezTo>
                  <a:cubicBezTo>
                    <a:pt x="34444" y="191320"/>
                    <a:pt x="37110" y="190307"/>
                    <a:pt x="39135" y="189534"/>
                  </a:cubicBezTo>
                  <a:cubicBezTo>
                    <a:pt x="40929" y="188852"/>
                    <a:pt x="42216" y="188366"/>
                    <a:pt x="43039" y="189189"/>
                  </a:cubicBezTo>
                  <a:cubicBezTo>
                    <a:pt x="44797" y="190947"/>
                    <a:pt x="50775" y="194112"/>
                    <a:pt x="55698" y="194816"/>
                  </a:cubicBezTo>
                  <a:cubicBezTo>
                    <a:pt x="60621" y="195519"/>
                    <a:pt x="66248" y="198684"/>
                    <a:pt x="66951" y="200442"/>
                  </a:cubicBezTo>
                  <a:cubicBezTo>
                    <a:pt x="67296" y="201307"/>
                    <a:pt x="69954" y="203459"/>
                    <a:pt x="72683" y="205668"/>
                  </a:cubicBezTo>
                  <a:cubicBezTo>
                    <a:pt x="75489" y="207939"/>
                    <a:pt x="78373" y="210274"/>
                    <a:pt x="78907" y="211343"/>
                  </a:cubicBezTo>
                  <a:cubicBezTo>
                    <a:pt x="79372" y="212272"/>
                    <a:pt x="80659" y="213474"/>
                    <a:pt x="82009" y="214747"/>
                  </a:cubicBezTo>
                  <a:cubicBezTo>
                    <a:pt x="83725" y="216351"/>
                    <a:pt x="85547" y="218053"/>
                    <a:pt x="85940" y="219431"/>
                  </a:cubicBezTo>
                  <a:cubicBezTo>
                    <a:pt x="86644" y="221893"/>
                    <a:pt x="90512" y="228223"/>
                    <a:pt x="91919" y="229278"/>
                  </a:cubicBezTo>
                  <a:cubicBezTo>
                    <a:pt x="92312" y="229573"/>
                    <a:pt x="92376" y="229840"/>
                    <a:pt x="92432" y="230072"/>
                  </a:cubicBezTo>
                  <a:cubicBezTo>
                    <a:pt x="92580" y="230670"/>
                    <a:pt x="92664" y="231036"/>
                    <a:pt x="98248" y="231036"/>
                  </a:cubicBezTo>
                  <a:lnTo>
                    <a:pt x="110205" y="231036"/>
                  </a:lnTo>
                  <a:lnTo>
                    <a:pt x="118293" y="231036"/>
                  </a:lnTo>
                  <a:cubicBezTo>
                    <a:pt x="121457" y="231036"/>
                    <a:pt x="128490" y="232794"/>
                    <a:pt x="131304" y="233497"/>
                  </a:cubicBezTo>
                  <a:cubicBezTo>
                    <a:pt x="133554" y="234060"/>
                    <a:pt x="137162" y="236078"/>
                    <a:pt x="138688" y="237014"/>
                  </a:cubicBezTo>
                  <a:lnTo>
                    <a:pt x="134820" y="244750"/>
                  </a:lnTo>
                  <a:cubicBezTo>
                    <a:pt x="133646" y="246509"/>
                    <a:pt x="131304" y="250377"/>
                    <a:pt x="131304" y="251783"/>
                  </a:cubicBezTo>
                  <a:cubicBezTo>
                    <a:pt x="131304" y="253190"/>
                    <a:pt x="136227" y="258233"/>
                    <a:pt x="138688" y="260575"/>
                  </a:cubicBezTo>
                  <a:cubicBezTo>
                    <a:pt x="139272" y="257642"/>
                    <a:pt x="140587" y="251783"/>
                    <a:pt x="141150" y="251783"/>
                  </a:cubicBezTo>
                  <a:cubicBezTo>
                    <a:pt x="141853" y="251783"/>
                    <a:pt x="146776" y="240530"/>
                    <a:pt x="147128" y="237014"/>
                  </a:cubicBezTo>
                  <a:cubicBezTo>
                    <a:pt x="147353" y="234770"/>
                    <a:pt x="147290" y="233103"/>
                    <a:pt x="147219" y="231092"/>
                  </a:cubicBezTo>
                  <a:cubicBezTo>
                    <a:pt x="147177" y="229953"/>
                    <a:pt x="147128" y="228701"/>
                    <a:pt x="147128" y="227168"/>
                  </a:cubicBezTo>
                  <a:lnTo>
                    <a:pt x="147128" y="214156"/>
                  </a:lnTo>
                  <a:cubicBezTo>
                    <a:pt x="147128" y="211343"/>
                    <a:pt x="146776" y="206068"/>
                    <a:pt x="145370" y="203255"/>
                  </a:cubicBezTo>
                  <a:cubicBezTo>
                    <a:pt x="144814" y="202137"/>
                    <a:pt x="143647" y="201195"/>
                    <a:pt x="142444" y="200210"/>
                  </a:cubicBezTo>
                  <a:cubicBezTo>
                    <a:pt x="140608" y="198719"/>
                    <a:pt x="138688" y="197151"/>
                    <a:pt x="138688" y="194816"/>
                  </a:cubicBezTo>
                  <a:cubicBezTo>
                    <a:pt x="138688" y="191721"/>
                    <a:pt x="140327" y="188795"/>
                    <a:pt x="141150" y="187719"/>
                  </a:cubicBezTo>
                  <a:cubicBezTo>
                    <a:pt x="142557" y="188641"/>
                    <a:pt x="145721" y="189921"/>
                    <a:pt x="147128" y="187719"/>
                  </a:cubicBezTo>
                  <a:cubicBezTo>
                    <a:pt x="147726" y="186791"/>
                    <a:pt x="148274" y="186214"/>
                    <a:pt x="148725" y="185750"/>
                  </a:cubicBezTo>
                  <a:cubicBezTo>
                    <a:pt x="149597" y="184843"/>
                    <a:pt x="150054" y="184371"/>
                    <a:pt x="149590" y="182508"/>
                  </a:cubicBezTo>
                  <a:cubicBezTo>
                    <a:pt x="149175" y="180855"/>
                    <a:pt x="147072" y="178724"/>
                    <a:pt x="145187" y="176811"/>
                  </a:cubicBezTo>
                  <a:cubicBezTo>
                    <a:pt x="143858" y="175468"/>
                    <a:pt x="142641" y="174237"/>
                    <a:pt x="142205" y="173365"/>
                  </a:cubicBezTo>
                  <a:cubicBezTo>
                    <a:pt x="142008" y="172964"/>
                    <a:pt x="141706" y="172542"/>
                    <a:pt x="141410" y="172120"/>
                  </a:cubicBezTo>
                  <a:cubicBezTo>
                    <a:pt x="140116" y="170291"/>
                    <a:pt x="138808" y="168442"/>
                    <a:pt x="145370" y="168442"/>
                  </a:cubicBezTo>
                  <a:lnTo>
                    <a:pt x="172799" y="168442"/>
                  </a:lnTo>
                  <a:cubicBezTo>
                    <a:pt x="173031" y="168090"/>
                    <a:pt x="174346" y="167035"/>
                    <a:pt x="177722" y="165628"/>
                  </a:cubicBezTo>
                  <a:cubicBezTo>
                    <a:pt x="178221" y="164925"/>
                    <a:pt x="178685" y="164271"/>
                    <a:pt x="179121" y="163666"/>
                  </a:cubicBezTo>
                  <a:cubicBezTo>
                    <a:pt x="182364" y="159158"/>
                    <a:pt x="183679" y="157336"/>
                    <a:pt x="180887" y="155782"/>
                  </a:cubicBezTo>
                  <a:cubicBezTo>
                    <a:pt x="179958" y="155269"/>
                    <a:pt x="178974" y="154875"/>
                    <a:pt x="178066" y="154509"/>
                  </a:cubicBezTo>
                  <a:cubicBezTo>
                    <a:pt x="175879" y="153637"/>
                    <a:pt x="174163" y="152955"/>
                    <a:pt x="174909" y="151211"/>
                  </a:cubicBezTo>
                  <a:cubicBezTo>
                    <a:pt x="175753" y="149241"/>
                    <a:pt x="179248" y="145704"/>
                    <a:pt x="180887" y="144178"/>
                  </a:cubicBezTo>
                  <a:cubicBezTo>
                    <a:pt x="181942" y="143945"/>
                    <a:pt x="183419" y="142912"/>
                    <a:pt x="180887" y="140661"/>
                  </a:cubicBezTo>
                  <a:cubicBezTo>
                    <a:pt x="180099" y="139965"/>
                    <a:pt x="179339" y="139395"/>
                    <a:pt x="178636" y="138875"/>
                  </a:cubicBezTo>
                  <a:cubicBezTo>
                    <a:pt x="176498" y="137285"/>
                    <a:pt x="174909" y="136097"/>
                    <a:pt x="174909" y="132925"/>
                  </a:cubicBezTo>
                  <a:lnTo>
                    <a:pt x="174909" y="114990"/>
                  </a:lnTo>
                  <a:cubicBezTo>
                    <a:pt x="174909" y="113556"/>
                    <a:pt x="176139" y="112480"/>
                    <a:pt x="177490" y="111305"/>
                  </a:cubicBezTo>
                  <a:cubicBezTo>
                    <a:pt x="179107" y="109899"/>
                    <a:pt x="180887" y="108344"/>
                    <a:pt x="180887" y="105847"/>
                  </a:cubicBezTo>
                  <a:cubicBezTo>
                    <a:pt x="180887" y="104075"/>
                    <a:pt x="181358" y="102359"/>
                    <a:pt x="181759" y="100917"/>
                  </a:cubicBezTo>
                  <a:cubicBezTo>
                    <a:pt x="182392" y="98639"/>
                    <a:pt x="182828" y="97056"/>
                    <a:pt x="180887" y="97056"/>
                  </a:cubicBezTo>
                  <a:lnTo>
                    <a:pt x="167876" y="97056"/>
                  </a:lnTo>
                  <a:lnTo>
                    <a:pt x="155568" y="97056"/>
                  </a:lnTo>
                  <a:cubicBezTo>
                    <a:pt x="154393" y="98695"/>
                    <a:pt x="151559" y="101487"/>
                    <a:pt x="149590" y="99518"/>
                  </a:cubicBezTo>
                  <a:cubicBezTo>
                    <a:pt x="147353" y="97281"/>
                    <a:pt x="143963" y="92731"/>
                    <a:pt x="142564" y="90860"/>
                  </a:cubicBezTo>
                  <a:cubicBezTo>
                    <a:pt x="142423" y="90670"/>
                    <a:pt x="142303" y="90501"/>
                    <a:pt x="142205" y="90375"/>
                  </a:cubicBezTo>
                  <a:cubicBezTo>
                    <a:pt x="142029" y="90143"/>
                    <a:pt x="141867" y="89889"/>
                    <a:pt x="141699" y="89615"/>
                  </a:cubicBezTo>
                  <a:cubicBezTo>
                    <a:pt x="140819" y="88216"/>
                    <a:pt x="139701" y="86450"/>
                    <a:pt x="135875" y="86155"/>
                  </a:cubicBezTo>
                  <a:cubicBezTo>
                    <a:pt x="132809" y="85916"/>
                    <a:pt x="130537" y="86000"/>
                    <a:pt x="128308" y="86077"/>
                  </a:cubicBezTo>
                  <a:cubicBezTo>
                    <a:pt x="127217" y="86120"/>
                    <a:pt x="126134" y="86155"/>
                    <a:pt x="124974" y="86155"/>
                  </a:cubicBezTo>
                  <a:cubicBezTo>
                    <a:pt x="123849" y="86155"/>
                    <a:pt x="122512" y="86373"/>
                    <a:pt x="121113" y="86598"/>
                  </a:cubicBezTo>
                  <a:cubicBezTo>
                    <a:pt x="118145" y="87069"/>
                    <a:pt x="114931" y="87590"/>
                    <a:pt x="113018" y="86155"/>
                  </a:cubicBezTo>
                  <a:cubicBezTo>
                    <a:pt x="111323" y="84882"/>
                    <a:pt x="109881" y="84122"/>
                    <a:pt x="108390" y="83335"/>
                  </a:cubicBezTo>
                  <a:cubicBezTo>
                    <a:pt x="107405" y="82814"/>
                    <a:pt x="106400" y="82280"/>
                    <a:pt x="105281" y="81583"/>
                  </a:cubicBezTo>
                  <a:cubicBezTo>
                    <a:pt x="104508" y="81105"/>
                    <a:pt x="103474" y="80571"/>
                    <a:pt x="102426" y="80022"/>
                  </a:cubicBezTo>
                  <a:cubicBezTo>
                    <a:pt x="99634" y="78580"/>
                    <a:pt x="96715" y="77075"/>
                    <a:pt x="98248" y="76309"/>
                  </a:cubicBezTo>
                  <a:cubicBezTo>
                    <a:pt x="100358" y="75254"/>
                    <a:pt x="102117" y="73847"/>
                    <a:pt x="102468" y="72440"/>
                  </a:cubicBezTo>
                  <a:cubicBezTo>
                    <a:pt x="102693" y="71533"/>
                    <a:pt x="102630" y="70478"/>
                    <a:pt x="102553" y="69276"/>
                  </a:cubicBezTo>
                  <a:cubicBezTo>
                    <a:pt x="102510" y="68615"/>
                    <a:pt x="102468" y="67911"/>
                    <a:pt x="102468" y="67166"/>
                  </a:cubicBezTo>
                  <a:cubicBezTo>
                    <a:pt x="102468" y="66153"/>
                    <a:pt x="101491" y="65379"/>
                    <a:pt x="100478" y="64578"/>
                  </a:cubicBezTo>
                  <a:cubicBezTo>
                    <a:pt x="99388" y="63720"/>
                    <a:pt x="98248" y="62819"/>
                    <a:pt x="98248" y="61539"/>
                  </a:cubicBezTo>
                  <a:cubicBezTo>
                    <a:pt x="98248" y="59078"/>
                    <a:pt x="94732" y="54506"/>
                    <a:pt x="91919" y="51341"/>
                  </a:cubicBezTo>
                  <a:cubicBezTo>
                    <a:pt x="90435" y="49674"/>
                    <a:pt x="89731" y="49077"/>
                    <a:pt x="89401" y="48324"/>
                  </a:cubicBezTo>
                  <a:cubicBezTo>
                    <a:pt x="89105" y="47649"/>
                    <a:pt x="89105" y="46840"/>
                    <a:pt x="89105" y="45012"/>
                  </a:cubicBezTo>
                  <a:cubicBezTo>
                    <a:pt x="89105" y="41143"/>
                    <a:pt x="89457" y="35869"/>
                    <a:pt x="91919" y="32704"/>
                  </a:cubicBezTo>
                  <a:cubicBezTo>
                    <a:pt x="92931" y="31403"/>
                    <a:pt x="93466" y="30692"/>
                    <a:pt x="94043" y="30024"/>
                  </a:cubicBezTo>
                  <a:cubicBezTo>
                    <a:pt x="94865" y="29054"/>
                    <a:pt x="95766" y="28153"/>
                    <a:pt x="98248" y="25671"/>
                  </a:cubicBezTo>
                  <a:cubicBezTo>
                    <a:pt x="101589" y="22330"/>
                    <a:pt x="102721" y="20536"/>
                    <a:pt x="104100" y="18363"/>
                  </a:cubicBezTo>
                  <a:cubicBezTo>
                    <a:pt x="104459" y="17787"/>
                    <a:pt x="104838" y="17189"/>
                    <a:pt x="105281" y="16528"/>
                  </a:cubicBezTo>
                  <a:cubicBezTo>
                    <a:pt x="106329" y="14952"/>
                    <a:pt x="108249" y="13637"/>
                    <a:pt x="109916" y="12505"/>
                  </a:cubicBezTo>
                  <a:cubicBezTo>
                    <a:pt x="111597" y="11351"/>
                    <a:pt x="113018" y="10381"/>
                    <a:pt x="113018" y="9495"/>
                  </a:cubicBezTo>
                  <a:cubicBezTo>
                    <a:pt x="113018" y="8686"/>
                    <a:pt x="115008" y="8545"/>
                    <a:pt x="117167" y="8397"/>
                  </a:cubicBezTo>
                  <a:cubicBezTo>
                    <a:pt x="119720" y="8215"/>
                    <a:pt x="122512" y="8018"/>
                    <a:pt x="122512" y="6681"/>
                  </a:cubicBezTo>
                  <a:cubicBezTo>
                    <a:pt x="122512" y="6344"/>
                    <a:pt x="122533" y="5978"/>
                    <a:pt x="122555" y="5591"/>
                  </a:cubicBezTo>
                  <a:cubicBezTo>
                    <a:pt x="122681" y="3151"/>
                    <a:pt x="122850" y="0"/>
                    <a:pt x="118293" y="0"/>
                  </a:cubicBezTo>
                  <a:cubicBezTo>
                    <a:pt x="113018" y="0"/>
                    <a:pt x="105281" y="3868"/>
                    <a:pt x="105281" y="6681"/>
                  </a:cubicBezTo>
                  <a:cubicBezTo>
                    <a:pt x="105281" y="9495"/>
                    <a:pt x="94732" y="16528"/>
                    <a:pt x="91919" y="16528"/>
                  </a:cubicBezTo>
                  <a:lnTo>
                    <a:pt x="80666" y="16528"/>
                  </a:lnTo>
                  <a:cubicBezTo>
                    <a:pt x="80061" y="16528"/>
                    <a:pt x="79829" y="16900"/>
                    <a:pt x="79519" y="17400"/>
                  </a:cubicBezTo>
                  <a:cubicBezTo>
                    <a:pt x="78922" y="18370"/>
                    <a:pt x="78021" y="19812"/>
                    <a:pt x="73633" y="20044"/>
                  </a:cubicBezTo>
                  <a:cubicBezTo>
                    <a:pt x="66951" y="20396"/>
                    <a:pt x="59215" y="22154"/>
                    <a:pt x="58512" y="23912"/>
                  </a:cubicBezTo>
                  <a:cubicBezTo>
                    <a:pt x="58132" y="24855"/>
                    <a:pt x="57759" y="25495"/>
                    <a:pt x="57274" y="26311"/>
                  </a:cubicBezTo>
                  <a:cubicBezTo>
                    <a:pt x="56852" y="27028"/>
                    <a:pt x="56352" y="27879"/>
                    <a:pt x="55698" y="29187"/>
                  </a:cubicBezTo>
                  <a:cubicBezTo>
                    <a:pt x="54890" y="30798"/>
                    <a:pt x="54665" y="32415"/>
                    <a:pt x="54418" y="34160"/>
                  </a:cubicBezTo>
                  <a:cubicBezTo>
                    <a:pt x="54235" y="35461"/>
                    <a:pt x="54038" y="36832"/>
                    <a:pt x="53588" y="38330"/>
                  </a:cubicBezTo>
                  <a:cubicBezTo>
                    <a:pt x="53349" y="39125"/>
                    <a:pt x="53110" y="39997"/>
                    <a:pt x="52864" y="40883"/>
                  </a:cubicBezTo>
                  <a:cubicBezTo>
                    <a:pt x="52034" y="43900"/>
                    <a:pt x="51162" y="47086"/>
                    <a:pt x="50072" y="48176"/>
                  </a:cubicBezTo>
                  <a:cubicBezTo>
                    <a:pt x="48947" y="49302"/>
                    <a:pt x="44917" y="50757"/>
                    <a:pt x="43039" y="51341"/>
                  </a:cubicBezTo>
                  <a:cubicBezTo>
                    <a:pt x="42919" y="52277"/>
                    <a:pt x="42406" y="54436"/>
                    <a:pt x="41281" y="55561"/>
                  </a:cubicBezTo>
                  <a:cubicBezTo>
                    <a:pt x="40697" y="56145"/>
                    <a:pt x="39993" y="57270"/>
                    <a:pt x="39297" y="58388"/>
                  </a:cubicBezTo>
                  <a:cubicBezTo>
                    <a:pt x="38306" y="59971"/>
                    <a:pt x="37328" y="61539"/>
                    <a:pt x="36709" y="61539"/>
                  </a:cubicBezTo>
                  <a:cubicBezTo>
                    <a:pt x="36118" y="61539"/>
                    <a:pt x="35971" y="62200"/>
                    <a:pt x="35767" y="63086"/>
                  </a:cubicBezTo>
                  <a:cubicBezTo>
                    <a:pt x="35605" y="63790"/>
                    <a:pt x="35415" y="64634"/>
                    <a:pt x="34951" y="65407"/>
                  </a:cubicBezTo>
                  <a:cubicBezTo>
                    <a:pt x="34107" y="66814"/>
                    <a:pt x="32018" y="69276"/>
                    <a:pt x="31083" y="70331"/>
                  </a:cubicBezTo>
                  <a:lnTo>
                    <a:pt x="23452" y="64008"/>
                  </a:lnTo>
                  <a:cubicBezTo>
                    <a:pt x="23389" y="64289"/>
                    <a:pt x="23346" y="64528"/>
                    <a:pt x="23346" y="64704"/>
                  </a:cubicBezTo>
                  <a:cubicBezTo>
                    <a:pt x="23346" y="65203"/>
                    <a:pt x="23888" y="65850"/>
                    <a:pt x="24507" y="66589"/>
                  </a:cubicBezTo>
                  <a:cubicBezTo>
                    <a:pt x="25196" y="67412"/>
                    <a:pt x="25977" y="68347"/>
                    <a:pt x="26160" y="69276"/>
                  </a:cubicBezTo>
                  <a:cubicBezTo>
                    <a:pt x="26511" y="71034"/>
                    <a:pt x="25808" y="72440"/>
                    <a:pt x="24753" y="74550"/>
                  </a:cubicBezTo>
                  <a:cubicBezTo>
                    <a:pt x="23930" y="76189"/>
                    <a:pt x="22685" y="76555"/>
                    <a:pt x="21841" y="76801"/>
                  </a:cubicBezTo>
                  <a:cubicBezTo>
                    <a:pt x="21602" y="76871"/>
                    <a:pt x="21391" y="76934"/>
                    <a:pt x="21236" y="77012"/>
                  </a:cubicBezTo>
                  <a:cubicBezTo>
                    <a:pt x="20533" y="77364"/>
                    <a:pt x="19126" y="78067"/>
                    <a:pt x="18775" y="78067"/>
                  </a:cubicBezTo>
                  <a:cubicBezTo>
                    <a:pt x="18683" y="78067"/>
                    <a:pt x="18465" y="78285"/>
                    <a:pt x="18177" y="78615"/>
                  </a:cubicBezTo>
                  <a:cubicBezTo>
                    <a:pt x="18845" y="82216"/>
                    <a:pt x="20343" y="86809"/>
                    <a:pt x="23346" y="90375"/>
                  </a:cubicBezTo>
                  <a:cubicBezTo>
                    <a:pt x="27847" y="95720"/>
                    <a:pt x="26631" y="104089"/>
                    <a:pt x="25456" y="107606"/>
                  </a:cubicBezTo>
                  <a:lnTo>
                    <a:pt x="25456" y="114990"/>
                  </a:lnTo>
                  <a:lnTo>
                    <a:pt x="25456" y="123078"/>
                  </a:lnTo>
                  <a:lnTo>
                    <a:pt x="25456" y="130463"/>
                  </a:lnTo>
                  <a:cubicBezTo>
                    <a:pt x="25456" y="131518"/>
                    <a:pt x="25913" y="132123"/>
                    <a:pt x="26399" y="132777"/>
                  </a:cubicBezTo>
                  <a:cubicBezTo>
                    <a:pt x="27053" y="133642"/>
                    <a:pt x="27763" y="134585"/>
                    <a:pt x="27566" y="136793"/>
                  </a:cubicBezTo>
                  <a:cubicBezTo>
                    <a:pt x="27496" y="137588"/>
                    <a:pt x="27454" y="138361"/>
                    <a:pt x="27411" y="139100"/>
                  </a:cubicBezTo>
                  <a:cubicBezTo>
                    <a:pt x="27257" y="141955"/>
                    <a:pt x="27137" y="144178"/>
                    <a:pt x="25456" y="144178"/>
                  </a:cubicBezTo>
                  <a:cubicBezTo>
                    <a:pt x="24254" y="144178"/>
                    <a:pt x="23853" y="144747"/>
                    <a:pt x="23276" y="145563"/>
                  </a:cubicBezTo>
                  <a:cubicBezTo>
                    <a:pt x="22833" y="146175"/>
                    <a:pt x="22298" y="146935"/>
                    <a:pt x="21236" y="147694"/>
                  </a:cubicBezTo>
                  <a:cubicBezTo>
                    <a:pt x="19956" y="148608"/>
                    <a:pt x="19914" y="149143"/>
                    <a:pt x="19872" y="149635"/>
                  </a:cubicBezTo>
                  <a:cubicBezTo>
                    <a:pt x="19830" y="150099"/>
                    <a:pt x="19788" y="150536"/>
                    <a:pt x="18775" y="151211"/>
                  </a:cubicBezTo>
                  <a:cubicBezTo>
                    <a:pt x="17790" y="151865"/>
                    <a:pt x="17270" y="151984"/>
                    <a:pt x="16602" y="152139"/>
                  </a:cubicBezTo>
                  <a:cubicBezTo>
                    <a:pt x="15828" y="152322"/>
                    <a:pt x="14864" y="152547"/>
                    <a:pt x="12797" y="153672"/>
                  </a:cubicBezTo>
                  <a:cubicBezTo>
                    <a:pt x="9927" y="155234"/>
                    <a:pt x="7255" y="161057"/>
                    <a:pt x="5918" y="163961"/>
                  </a:cubicBezTo>
                  <a:cubicBezTo>
                    <a:pt x="5454" y="164974"/>
                    <a:pt x="5152" y="165628"/>
                    <a:pt x="5060" y="165628"/>
                  </a:cubicBezTo>
                  <a:cubicBezTo>
                    <a:pt x="4709" y="165628"/>
                    <a:pt x="-214" y="168090"/>
                    <a:pt x="137" y="169497"/>
                  </a:cubicBezTo>
                  <a:cubicBezTo>
                    <a:pt x="250" y="169954"/>
                    <a:pt x="179" y="170622"/>
                    <a:pt x="102" y="171325"/>
                  </a:cubicBezTo>
                  <a:cubicBezTo>
                    <a:pt x="-53" y="172795"/>
                    <a:pt x="-229" y="174434"/>
                    <a:pt x="1192" y="17477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9" name="Freihandform: Form 24">
              <a:extLst>
                <a:ext uri="{FF2B5EF4-FFF2-40B4-BE49-F238E27FC236}">
                  <a16:creationId xmlns:a16="http://schemas.microsoft.com/office/drawing/2014/main" id="{B74637BB-C56B-7F46-AD9E-FD3BFFC66908}"/>
                </a:ext>
              </a:extLst>
            </p:cNvPr>
            <p:cNvSpPr/>
            <p:nvPr/>
          </p:nvSpPr>
          <p:spPr>
            <a:xfrm>
              <a:off x="5028813" y="4335318"/>
              <a:ext cx="209233" cy="168441"/>
            </a:xfrm>
            <a:custGeom>
              <a:avLst/>
              <a:gdLst>
                <a:gd name="connsiteX0" fmla="*/ 90909 w 209233"/>
                <a:gd name="connsiteY0" fmla="*/ 148707 h 168441"/>
                <a:gd name="connsiteX1" fmla="*/ 91781 w 209233"/>
                <a:gd name="connsiteY1" fmla="*/ 142068 h 168441"/>
                <a:gd name="connsiteX2" fmla="*/ 88961 w 209233"/>
                <a:gd name="connsiteY2" fmla="*/ 140795 h 168441"/>
                <a:gd name="connsiteX3" fmla="*/ 85803 w 209233"/>
                <a:gd name="connsiteY3" fmla="*/ 137496 h 168441"/>
                <a:gd name="connsiteX4" fmla="*/ 91781 w 209233"/>
                <a:gd name="connsiteY4" fmla="*/ 130463 h 168441"/>
                <a:gd name="connsiteX5" fmla="*/ 91781 w 209233"/>
                <a:gd name="connsiteY5" fmla="*/ 126947 h 168441"/>
                <a:gd name="connsiteX6" fmla="*/ 89531 w 209233"/>
                <a:gd name="connsiteY6" fmla="*/ 125160 h 168441"/>
                <a:gd name="connsiteX7" fmla="*/ 89531 w 209233"/>
                <a:gd name="connsiteY7" fmla="*/ 125160 h 168441"/>
                <a:gd name="connsiteX8" fmla="*/ 85803 w 209233"/>
                <a:gd name="connsiteY8" fmla="*/ 119210 h 168441"/>
                <a:gd name="connsiteX9" fmla="*/ 85803 w 209233"/>
                <a:gd name="connsiteY9" fmla="*/ 101276 h 168441"/>
                <a:gd name="connsiteX10" fmla="*/ 88384 w 209233"/>
                <a:gd name="connsiteY10" fmla="*/ 97591 h 168441"/>
                <a:gd name="connsiteX11" fmla="*/ 91781 w 209233"/>
                <a:gd name="connsiteY11" fmla="*/ 92133 h 168441"/>
                <a:gd name="connsiteX12" fmla="*/ 92653 w 209233"/>
                <a:gd name="connsiteY12" fmla="*/ 87210 h 168441"/>
                <a:gd name="connsiteX13" fmla="*/ 92653 w 209233"/>
                <a:gd name="connsiteY13" fmla="*/ 87203 h 168441"/>
                <a:gd name="connsiteX14" fmla="*/ 91781 w 209233"/>
                <a:gd name="connsiteY14" fmla="*/ 83342 h 168441"/>
                <a:gd name="connsiteX15" fmla="*/ 78770 w 209233"/>
                <a:gd name="connsiteY15" fmla="*/ 83342 h 168441"/>
                <a:gd name="connsiteX16" fmla="*/ 66462 w 209233"/>
                <a:gd name="connsiteY16" fmla="*/ 83342 h 168441"/>
                <a:gd name="connsiteX17" fmla="*/ 60484 w 209233"/>
                <a:gd name="connsiteY17" fmla="*/ 85803 h 168441"/>
                <a:gd name="connsiteX18" fmla="*/ 53458 w 209233"/>
                <a:gd name="connsiteY18" fmla="*/ 77146 h 168441"/>
                <a:gd name="connsiteX19" fmla="*/ 53458 w 209233"/>
                <a:gd name="connsiteY19" fmla="*/ 77146 h 168441"/>
                <a:gd name="connsiteX20" fmla="*/ 53458 w 209233"/>
                <a:gd name="connsiteY20" fmla="*/ 77138 h 168441"/>
                <a:gd name="connsiteX21" fmla="*/ 53100 w 209233"/>
                <a:gd name="connsiteY21" fmla="*/ 76660 h 168441"/>
                <a:gd name="connsiteX22" fmla="*/ 52593 w 209233"/>
                <a:gd name="connsiteY22" fmla="*/ 75901 h 168441"/>
                <a:gd name="connsiteX23" fmla="*/ 52593 w 209233"/>
                <a:gd name="connsiteY23" fmla="*/ 75901 h 168441"/>
                <a:gd name="connsiteX24" fmla="*/ 46770 w 209233"/>
                <a:gd name="connsiteY24" fmla="*/ 72440 h 168441"/>
                <a:gd name="connsiteX25" fmla="*/ 39202 w 209233"/>
                <a:gd name="connsiteY25" fmla="*/ 72363 h 168441"/>
                <a:gd name="connsiteX26" fmla="*/ 35869 w 209233"/>
                <a:gd name="connsiteY26" fmla="*/ 72440 h 168441"/>
                <a:gd name="connsiteX27" fmla="*/ 32007 w 209233"/>
                <a:gd name="connsiteY27" fmla="*/ 72883 h 168441"/>
                <a:gd name="connsiteX28" fmla="*/ 23912 w 209233"/>
                <a:gd name="connsiteY28" fmla="*/ 72440 h 168441"/>
                <a:gd name="connsiteX29" fmla="*/ 19285 w 209233"/>
                <a:gd name="connsiteY29" fmla="*/ 69620 h 168441"/>
                <a:gd name="connsiteX30" fmla="*/ 16176 w 209233"/>
                <a:gd name="connsiteY30" fmla="*/ 67869 h 168441"/>
                <a:gd name="connsiteX31" fmla="*/ 13321 w 209233"/>
                <a:gd name="connsiteY31" fmla="*/ 66308 h 168441"/>
                <a:gd name="connsiteX32" fmla="*/ 13321 w 209233"/>
                <a:gd name="connsiteY32" fmla="*/ 66308 h 168441"/>
                <a:gd name="connsiteX33" fmla="*/ 9143 w 209233"/>
                <a:gd name="connsiteY33" fmla="*/ 62594 h 168441"/>
                <a:gd name="connsiteX34" fmla="*/ 13363 w 209233"/>
                <a:gd name="connsiteY34" fmla="*/ 58726 h 168441"/>
                <a:gd name="connsiteX35" fmla="*/ 13447 w 209233"/>
                <a:gd name="connsiteY35" fmla="*/ 55561 h 168441"/>
                <a:gd name="connsiteX36" fmla="*/ 13363 w 209233"/>
                <a:gd name="connsiteY36" fmla="*/ 53451 h 168441"/>
                <a:gd name="connsiteX37" fmla="*/ 11372 w 209233"/>
                <a:gd name="connsiteY37" fmla="*/ 50863 h 168441"/>
                <a:gd name="connsiteX38" fmla="*/ 9143 w 209233"/>
                <a:gd name="connsiteY38" fmla="*/ 47825 h 168441"/>
                <a:gd name="connsiteX39" fmla="*/ 2813 w 209233"/>
                <a:gd name="connsiteY39" fmla="*/ 37627 h 168441"/>
                <a:gd name="connsiteX40" fmla="*/ 1702 w 209233"/>
                <a:gd name="connsiteY40" fmla="*/ 36410 h 168441"/>
                <a:gd name="connsiteX41" fmla="*/ 295 w 209233"/>
                <a:gd name="connsiteY41" fmla="*/ 34610 h 168441"/>
                <a:gd name="connsiteX42" fmla="*/ 0 w 209233"/>
                <a:gd name="connsiteY42" fmla="*/ 31297 h 168441"/>
                <a:gd name="connsiteX43" fmla="*/ 2813 w 209233"/>
                <a:gd name="connsiteY43" fmla="*/ 18989 h 168441"/>
                <a:gd name="connsiteX44" fmla="*/ 3334 w 209233"/>
                <a:gd name="connsiteY44" fmla="*/ 18321 h 168441"/>
                <a:gd name="connsiteX45" fmla="*/ 4937 w 209233"/>
                <a:gd name="connsiteY45" fmla="*/ 16310 h 168441"/>
                <a:gd name="connsiteX46" fmla="*/ 9143 w 209233"/>
                <a:gd name="connsiteY46" fmla="*/ 11956 h 168441"/>
                <a:gd name="connsiteX47" fmla="*/ 14995 w 209233"/>
                <a:gd name="connsiteY47" fmla="*/ 4649 h 168441"/>
                <a:gd name="connsiteX48" fmla="*/ 16176 w 209233"/>
                <a:gd name="connsiteY48" fmla="*/ 2813 h 168441"/>
                <a:gd name="connsiteX49" fmla="*/ 17147 w 209233"/>
                <a:gd name="connsiteY49" fmla="*/ 1639 h 168441"/>
                <a:gd name="connsiteX50" fmla="*/ 23209 w 209233"/>
                <a:gd name="connsiteY50" fmla="*/ 9846 h 168441"/>
                <a:gd name="connsiteX51" fmla="*/ 20515 w 209233"/>
                <a:gd name="connsiteY51" fmla="*/ 19686 h 168441"/>
                <a:gd name="connsiteX52" fmla="*/ 18638 w 209233"/>
                <a:gd name="connsiteY52" fmla="*/ 26374 h 168441"/>
                <a:gd name="connsiteX53" fmla="*/ 29539 w 209233"/>
                <a:gd name="connsiteY53" fmla="*/ 38682 h 168441"/>
                <a:gd name="connsiteX54" fmla="*/ 33407 w 209233"/>
                <a:gd name="connsiteY54" fmla="*/ 28836 h 168441"/>
                <a:gd name="connsiteX55" fmla="*/ 31649 w 209233"/>
                <a:gd name="connsiteY55" fmla="*/ 11253 h 168441"/>
                <a:gd name="connsiteX56" fmla="*/ 34771 w 209233"/>
                <a:gd name="connsiteY56" fmla="*/ 9101 h 168441"/>
                <a:gd name="connsiteX57" fmla="*/ 52748 w 209233"/>
                <a:gd name="connsiteY57" fmla="*/ 0 h 168441"/>
                <a:gd name="connsiteX58" fmla="*/ 71034 w 209233"/>
                <a:gd name="connsiteY58" fmla="*/ 4923 h 168441"/>
                <a:gd name="connsiteX59" fmla="*/ 73629 w 209233"/>
                <a:gd name="connsiteY59" fmla="*/ 9052 h 168441"/>
                <a:gd name="connsiteX60" fmla="*/ 80528 w 209233"/>
                <a:gd name="connsiteY60" fmla="*/ 16528 h 168441"/>
                <a:gd name="connsiteX61" fmla="*/ 96247 w 209233"/>
                <a:gd name="connsiteY61" fmla="*/ 16591 h 168441"/>
                <a:gd name="connsiteX62" fmla="*/ 101628 w 209233"/>
                <a:gd name="connsiteY62" fmla="*/ 16528 h 168441"/>
                <a:gd name="connsiteX63" fmla="*/ 113267 w 209233"/>
                <a:gd name="connsiteY63" fmla="*/ 19742 h 168441"/>
                <a:gd name="connsiteX64" fmla="*/ 124133 w 209233"/>
                <a:gd name="connsiteY64" fmla="*/ 22857 h 168441"/>
                <a:gd name="connsiteX65" fmla="*/ 124935 w 209233"/>
                <a:gd name="connsiteY65" fmla="*/ 22914 h 168441"/>
                <a:gd name="connsiteX66" fmla="*/ 138903 w 209233"/>
                <a:gd name="connsiteY66" fmla="*/ 20044 h 168441"/>
                <a:gd name="connsiteX67" fmla="*/ 156837 w 209233"/>
                <a:gd name="connsiteY67" fmla="*/ 16528 h 168441"/>
                <a:gd name="connsiteX68" fmla="*/ 163364 w 209233"/>
                <a:gd name="connsiteY68" fmla="*/ 18616 h 168441"/>
                <a:gd name="connsiteX69" fmla="*/ 167387 w 209233"/>
                <a:gd name="connsiteY69" fmla="*/ 20044 h 168441"/>
                <a:gd name="connsiteX70" fmla="*/ 172619 w 209233"/>
                <a:gd name="connsiteY70" fmla="*/ 23026 h 168441"/>
                <a:gd name="connsiteX71" fmla="*/ 178640 w 209233"/>
                <a:gd name="connsiteY71" fmla="*/ 26374 h 168441"/>
                <a:gd name="connsiteX72" fmla="*/ 190244 w 209233"/>
                <a:gd name="connsiteY72" fmla="*/ 33759 h 168441"/>
                <a:gd name="connsiteX73" fmla="*/ 194464 w 209233"/>
                <a:gd name="connsiteY73" fmla="*/ 43957 h 168441"/>
                <a:gd name="connsiteX74" fmla="*/ 202552 w 209233"/>
                <a:gd name="connsiteY74" fmla="*/ 47473 h 168441"/>
                <a:gd name="connsiteX75" fmla="*/ 209233 w 209233"/>
                <a:gd name="connsiteY75" fmla="*/ 49231 h 168441"/>
                <a:gd name="connsiteX76" fmla="*/ 202552 w 209233"/>
                <a:gd name="connsiteY76" fmla="*/ 55209 h 168441"/>
                <a:gd name="connsiteX77" fmla="*/ 200984 w 209233"/>
                <a:gd name="connsiteY77" fmla="*/ 57221 h 168441"/>
                <a:gd name="connsiteX78" fmla="*/ 198684 w 209233"/>
                <a:gd name="connsiteY78" fmla="*/ 60484 h 168441"/>
                <a:gd name="connsiteX79" fmla="*/ 198684 w 209233"/>
                <a:gd name="connsiteY79" fmla="*/ 68572 h 168441"/>
                <a:gd name="connsiteX80" fmla="*/ 198684 w 209233"/>
                <a:gd name="connsiteY80" fmla="*/ 73495 h 168441"/>
                <a:gd name="connsiteX81" fmla="*/ 190244 w 209233"/>
                <a:gd name="connsiteY81" fmla="*/ 78067 h 168441"/>
                <a:gd name="connsiteX82" fmla="*/ 187783 w 209233"/>
                <a:gd name="connsiteY82" fmla="*/ 83342 h 168441"/>
                <a:gd name="connsiteX83" fmla="*/ 187783 w 209233"/>
                <a:gd name="connsiteY83" fmla="*/ 88968 h 168441"/>
                <a:gd name="connsiteX84" fmla="*/ 194464 w 209233"/>
                <a:gd name="connsiteY84" fmla="*/ 101628 h 168441"/>
                <a:gd name="connsiteX85" fmla="*/ 187783 w 209233"/>
                <a:gd name="connsiteY85" fmla="*/ 112881 h 168441"/>
                <a:gd name="connsiteX86" fmla="*/ 171255 w 209233"/>
                <a:gd name="connsiteY86" fmla="*/ 117100 h 168441"/>
                <a:gd name="connsiteX87" fmla="*/ 166986 w 209233"/>
                <a:gd name="connsiteY87" fmla="*/ 119084 h 168441"/>
                <a:gd name="connsiteX88" fmla="*/ 156837 w 209233"/>
                <a:gd name="connsiteY88" fmla="*/ 122375 h 168441"/>
                <a:gd name="connsiteX89" fmla="*/ 149066 w 209233"/>
                <a:gd name="connsiteY89" fmla="*/ 120779 h 168441"/>
                <a:gd name="connsiteX90" fmla="*/ 146639 w 209233"/>
                <a:gd name="connsiteY90" fmla="*/ 120265 h 168441"/>
                <a:gd name="connsiteX91" fmla="*/ 143221 w 209233"/>
                <a:gd name="connsiteY91" fmla="*/ 119041 h 168441"/>
                <a:gd name="connsiteX92" fmla="*/ 133628 w 209233"/>
                <a:gd name="connsiteY92" fmla="*/ 117100 h 168441"/>
                <a:gd name="connsiteX93" fmla="*/ 138903 w 209233"/>
                <a:gd name="connsiteY93" fmla="*/ 133980 h 168441"/>
                <a:gd name="connsiteX94" fmla="*/ 146639 w 209233"/>
                <a:gd name="connsiteY94" fmla="*/ 142068 h 168441"/>
                <a:gd name="connsiteX95" fmla="*/ 152617 w 209233"/>
                <a:gd name="connsiteY95" fmla="*/ 147342 h 168441"/>
                <a:gd name="connsiteX96" fmla="*/ 141716 w 209233"/>
                <a:gd name="connsiteY96" fmla="*/ 155782 h 168441"/>
                <a:gd name="connsiteX97" fmla="*/ 133628 w 209233"/>
                <a:gd name="connsiteY97" fmla="*/ 161409 h 168441"/>
                <a:gd name="connsiteX98" fmla="*/ 124133 w 209233"/>
                <a:gd name="connsiteY98" fmla="*/ 164573 h 168441"/>
                <a:gd name="connsiteX99" fmla="*/ 116749 w 209233"/>
                <a:gd name="connsiteY99" fmla="*/ 168442 h 168441"/>
                <a:gd name="connsiteX100" fmla="*/ 109716 w 209233"/>
                <a:gd name="connsiteY100" fmla="*/ 168442 h 168441"/>
                <a:gd name="connsiteX101" fmla="*/ 101628 w 209233"/>
                <a:gd name="connsiteY101" fmla="*/ 161409 h 168441"/>
                <a:gd name="connsiteX102" fmla="*/ 94243 w 209233"/>
                <a:gd name="connsiteY102" fmla="*/ 152617 h 168441"/>
                <a:gd name="connsiteX103" fmla="*/ 90909 w 209233"/>
                <a:gd name="connsiteY103" fmla="*/ 148707 h 16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09233" h="168441">
                  <a:moveTo>
                    <a:pt x="90909" y="148707"/>
                  </a:moveTo>
                  <a:cubicBezTo>
                    <a:pt x="93476" y="145092"/>
                    <a:pt x="94299" y="143467"/>
                    <a:pt x="91781" y="142068"/>
                  </a:cubicBezTo>
                  <a:cubicBezTo>
                    <a:pt x="90853" y="141554"/>
                    <a:pt x="89868" y="141160"/>
                    <a:pt x="88961" y="140795"/>
                  </a:cubicBezTo>
                  <a:cubicBezTo>
                    <a:pt x="86774" y="139923"/>
                    <a:pt x="85058" y="139240"/>
                    <a:pt x="85803" y="137496"/>
                  </a:cubicBezTo>
                  <a:cubicBezTo>
                    <a:pt x="86647" y="135527"/>
                    <a:pt x="90143" y="131989"/>
                    <a:pt x="91781" y="130463"/>
                  </a:cubicBezTo>
                  <a:cubicBezTo>
                    <a:pt x="92836" y="130231"/>
                    <a:pt x="94313" y="129197"/>
                    <a:pt x="91781" y="126947"/>
                  </a:cubicBezTo>
                  <a:cubicBezTo>
                    <a:pt x="90994" y="126250"/>
                    <a:pt x="90234" y="125681"/>
                    <a:pt x="89531" y="125160"/>
                  </a:cubicBezTo>
                  <a:lnTo>
                    <a:pt x="89531" y="125160"/>
                  </a:lnTo>
                  <a:cubicBezTo>
                    <a:pt x="87393" y="123571"/>
                    <a:pt x="85803" y="122382"/>
                    <a:pt x="85803" y="119210"/>
                  </a:cubicBezTo>
                  <a:lnTo>
                    <a:pt x="85803" y="101276"/>
                  </a:lnTo>
                  <a:cubicBezTo>
                    <a:pt x="85803" y="99841"/>
                    <a:pt x="87034" y="98765"/>
                    <a:pt x="88384" y="97591"/>
                  </a:cubicBezTo>
                  <a:cubicBezTo>
                    <a:pt x="90002" y="96184"/>
                    <a:pt x="91781" y="94630"/>
                    <a:pt x="91781" y="92133"/>
                  </a:cubicBezTo>
                  <a:cubicBezTo>
                    <a:pt x="91781" y="90361"/>
                    <a:pt x="92253" y="88645"/>
                    <a:pt x="92653" y="87210"/>
                  </a:cubicBezTo>
                  <a:lnTo>
                    <a:pt x="92653" y="87203"/>
                  </a:lnTo>
                  <a:cubicBezTo>
                    <a:pt x="93286" y="84924"/>
                    <a:pt x="93722" y="83342"/>
                    <a:pt x="91781" y="83342"/>
                  </a:cubicBezTo>
                  <a:lnTo>
                    <a:pt x="78770" y="83342"/>
                  </a:lnTo>
                  <a:lnTo>
                    <a:pt x="66462" y="83342"/>
                  </a:lnTo>
                  <a:cubicBezTo>
                    <a:pt x="65288" y="84980"/>
                    <a:pt x="62454" y="87773"/>
                    <a:pt x="60484" y="85803"/>
                  </a:cubicBezTo>
                  <a:cubicBezTo>
                    <a:pt x="58248" y="83567"/>
                    <a:pt x="54858" y="79016"/>
                    <a:pt x="53458" y="77146"/>
                  </a:cubicBezTo>
                  <a:lnTo>
                    <a:pt x="53458" y="77146"/>
                  </a:lnTo>
                  <a:lnTo>
                    <a:pt x="53458" y="77138"/>
                  </a:lnTo>
                  <a:cubicBezTo>
                    <a:pt x="53318" y="76949"/>
                    <a:pt x="53198" y="76787"/>
                    <a:pt x="53100" y="76660"/>
                  </a:cubicBezTo>
                  <a:cubicBezTo>
                    <a:pt x="52924" y="76428"/>
                    <a:pt x="52762" y="76175"/>
                    <a:pt x="52593" y="75901"/>
                  </a:cubicBezTo>
                  <a:lnTo>
                    <a:pt x="52593" y="75901"/>
                  </a:lnTo>
                  <a:cubicBezTo>
                    <a:pt x="51714" y="74501"/>
                    <a:pt x="50596" y="72736"/>
                    <a:pt x="46770" y="72440"/>
                  </a:cubicBezTo>
                  <a:cubicBezTo>
                    <a:pt x="43703" y="72201"/>
                    <a:pt x="41432" y="72286"/>
                    <a:pt x="39202" y="72363"/>
                  </a:cubicBezTo>
                  <a:cubicBezTo>
                    <a:pt x="38112" y="72405"/>
                    <a:pt x="37029" y="72440"/>
                    <a:pt x="35869" y="72440"/>
                  </a:cubicBezTo>
                  <a:cubicBezTo>
                    <a:pt x="34743" y="72440"/>
                    <a:pt x="33407" y="72659"/>
                    <a:pt x="32007" y="72883"/>
                  </a:cubicBezTo>
                  <a:cubicBezTo>
                    <a:pt x="29040" y="73355"/>
                    <a:pt x="25825" y="73875"/>
                    <a:pt x="23912" y="72440"/>
                  </a:cubicBezTo>
                  <a:cubicBezTo>
                    <a:pt x="22217" y="71167"/>
                    <a:pt x="20776" y="70408"/>
                    <a:pt x="19285" y="69620"/>
                  </a:cubicBezTo>
                  <a:cubicBezTo>
                    <a:pt x="18300" y="69100"/>
                    <a:pt x="17294" y="68565"/>
                    <a:pt x="16176" y="67869"/>
                  </a:cubicBezTo>
                  <a:cubicBezTo>
                    <a:pt x="15402" y="67391"/>
                    <a:pt x="14376" y="66856"/>
                    <a:pt x="13321" y="66308"/>
                  </a:cubicBezTo>
                  <a:lnTo>
                    <a:pt x="13321" y="66308"/>
                  </a:lnTo>
                  <a:cubicBezTo>
                    <a:pt x="10528" y="64866"/>
                    <a:pt x="7610" y="63361"/>
                    <a:pt x="9143" y="62594"/>
                  </a:cubicBezTo>
                  <a:cubicBezTo>
                    <a:pt x="11253" y="61539"/>
                    <a:pt x="13011" y="60133"/>
                    <a:pt x="13363" y="58726"/>
                  </a:cubicBezTo>
                  <a:cubicBezTo>
                    <a:pt x="13588" y="57819"/>
                    <a:pt x="13525" y="56764"/>
                    <a:pt x="13447" y="55561"/>
                  </a:cubicBezTo>
                  <a:cubicBezTo>
                    <a:pt x="13405" y="54900"/>
                    <a:pt x="13363" y="54197"/>
                    <a:pt x="13363" y="53451"/>
                  </a:cubicBezTo>
                  <a:cubicBezTo>
                    <a:pt x="13363" y="52438"/>
                    <a:pt x="12385" y="51665"/>
                    <a:pt x="11372" y="50863"/>
                  </a:cubicBezTo>
                  <a:cubicBezTo>
                    <a:pt x="10282" y="50005"/>
                    <a:pt x="9143" y="49105"/>
                    <a:pt x="9143" y="47825"/>
                  </a:cubicBezTo>
                  <a:cubicBezTo>
                    <a:pt x="9143" y="45363"/>
                    <a:pt x="5626" y="40792"/>
                    <a:pt x="2813" y="37627"/>
                  </a:cubicBezTo>
                  <a:cubicBezTo>
                    <a:pt x="2377" y="37142"/>
                    <a:pt x="2012" y="36748"/>
                    <a:pt x="1702" y="36410"/>
                  </a:cubicBezTo>
                  <a:cubicBezTo>
                    <a:pt x="950" y="35594"/>
                    <a:pt x="535" y="35144"/>
                    <a:pt x="295" y="34610"/>
                  </a:cubicBezTo>
                  <a:cubicBezTo>
                    <a:pt x="0" y="33934"/>
                    <a:pt x="0" y="33126"/>
                    <a:pt x="0" y="31297"/>
                  </a:cubicBezTo>
                  <a:cubicBezTo>
                    <a:pt x="0" y="27429"/>
                    <a:pt x="352" y="22154"/>
                    <a:pt x="2813" y="18989"/>
                  </a:cubicBezTo>
                  <a:cubicBezTo>
                    <a:pt x="3003" y="18743"/>
                    <a:pt x="3172" y="18525"/>
                    <a:pt x="3334" y="18321"/>
                  </a:cubicBezTo>
                  <a:cubicBezTo>
                    <a:pt x="4030" y="17428"/>
                    <a:pt x="4466" y="16858"/>
                    <a:pt x="4937" y="16310"/>
                  </a:cubicBezTo>
                  <a:cubicBezTo>
                    <a:pt x="5760" y="15339"/>
                    <a:pt x="6660" y="14439"/>
                    <a:pt x="9143" y="11956"/>
                  </a:cubicBezTo>
                  <a:cubicBezTo>
                    <a:pt x="12484" y="8615"/>
                    <a:pt x="13616" y="6822"/>
                    <a:pt x="14995" y="4649"/>
                  </a:cubicBezTo>
                  <a:cubicBezTo>
                    <a:pt x="15353" y="4072"/>
                    <a:pt x="15733" y="3474"/>
                    <a:pt x="16176" y="2813"/>
                  </a:cubicBezTo>
                  <a:cubicBezTo>
                    <a:pt x="16450" y="2405"/>
                    <a:pt x="16781" y="2019"/>
                    <a:pt x="17147" y="1639"/>
                  </a:cubicBezTo>
                  <a:cubicBezTo>
                    <a:pt x="19897" y="3559"/>
                    <a:pt x="23005" y="6555"/>
                    <a:pt x="23209" y="9846"/>
                  </a:cubicBezTo>
                  <a:cubicBezTo>
                    <a:pt x="23399" y="12863"/>
                    <a:pt x="21866" y="16485"/>
                    <a:pt x="20515" y="19686"/>
                  </a:cubicBezTo>
                  <a:cubicBezTo>
                    <a:pt x="19348" y="22456"/>
                    <a:pt x="18314" y="24904"/>
                    <a:pt x="18638" y="26374"/>
                  </a:cubicBezTo>
                  <a:cubicBezTo>
                    <a:pt x="19341" y="29539"/>
                    <a:pt x="24616" y="40792"/>
                    <a:pt x="29539" y="38682"/>
                  </a:cubicBezTo>
                  <a:cubicBezTo>
                    <a:pt x="34462" y="36572"/>
                    <a:pt x="37275" y="33759"/>
                    <a:pt x="33407" y="28836"/>
                  </a:cubicBezTo>
                  <a:cubicBezTo>
                    <a:pt x="29539" y="23912"/>
                    <a:pt x="23912" y="16528"/>
                    <a:pt x="31649" y="11253"/>
                  </a:cubicBezTo>
                  <a:cubicBezTo>
                    <a:pt x="32690" y="10543"/>
                    <a:pt x="33738" y="9818"/>
                    <a:pt x="34771" y="9101"/>
                  </a:cubicBezTo>
                  <a:cubicBezTo>
                    <a:pt x="41432" y="4473"/>
                    <a:pt x="47881" y="0"/>
                    <a:pt x="52748" y="0"/>
                  </a:cubicBezTo>
                  <a:cubicBezTo>
                    <a:pt x="58374" y="0"/>
                    <a:pt x="68572" y="2813"/>
                    <a:pt x="71034" y="4923"/>
                  </a:cubicBezTo>
                  <a:cubicBezTo>
                    <a:pt x="71899" y="5662"/>
                    <a:pt x="72715" y="7265"/>
                    <a:pt x="73629" y="9052"/>
                  </a:cubicBezTo>
                  <a:cubicBezTo>
                    <a:pt x="75324" y="12364"/>
                    <a:pt x="77328" y="16303"/>
                    <a:pt x="80528" y="16528"/>
                  </a:cubicBezTo>
                  <a:cubicBezTo>
                    <a:pt x="84031" y="16781"/>
                    <a:pt x="90916" y="16675"/>
                    <a:pt x="96247" y="16591"/>
                  </a:cubicBezTo>
                  <a:cubicBezTo>
                    <a:pt x="98406" y="16556"/>
                    <a:pt x="100306" y="16528"/>
                    <a:pt x="101628" y="16528"/>
                  </a:cubicBezTo>
                  <a:cubicBezTo>
                    <a:pt x="104005" y="16528"/>
                    <a:pt x="108654" y="18138"/>
                    <a:pt x="113267" y="19742"/>
                  </a:cubicBezTo>
                  <a:cubicBezTo>
                    <a:pt x="117536" y="21219"/>
                    <a:pt x="121770" y="22689"/>
                    <a:pt x="124133" y="22857"/>
                  </a:cubicBezTo>
                  <a:cubicBezTo>
                    <a:pt x="124408" y="22879"/>
                    <a:pt x="124675" y="22900"/>
                    <a:pt x="124935" y="22914"/>
                  </a:cubicBezTo>
                  <a:cubicBezTo>
                    <a:pt x="129239" y="23237"/>
                    <a:pt x="130941" y="23364"/>
                    <a:pt x="138903" y="20044"/>
                  </a:cubicBezTo>
                  <a:cubicBezTo>
                    <a:pt x="147342" y="16528"/>
                    <a:pt x="153321" y="16528"/>
                    <a:pt x="156837" y="16528"/>
                  </a:cubicBezTo>
                  <a:cubicBezTo>
                    <a:pt x="158820" y="16528"/>
                    <a:pt x="161247" y="17646"/>
                    <a:pt x="163364" y="18616"/>
                  </a:cubicBezTo>
                  <a:cubicBezTo>
                    <a:pt x="165010" y="19376"/>
                    <a:pt x="166465" y="20044"/>
                    <a:pt x="167387" y="20044"/>
                  </a:cubicBezTo>
                  <a:cubicBezTo>
                    <a:pt x="168399" y="20044"/>
                    <a:pt x="170474" y="21507"/>
                    <a:pt x="172619" y="23026"/>
                  </a:cubicBezTo>
                  <a:cubicBezTo>
                    <a:pt x="174947" y="24665"/>
                    <a:pt x="177360" y="26374"/>
                    <a:pt x="178640" y="26374"/>
                  </a:cubicBezTo>
                  <a:cubicBezTo>
                    <a:pt x="181101" y="26374"/>
                    <a:pt x="189189" y="28836"/>
                    <a:pt x="190244" y="33759"/>
                  </a:cubicBezTo>
                  <a:cubicBezTo>
                    <a:pt x="191299" y="38682"/>
                    <a:pt x="193057" y="42198"/>
                    <a:pt x="194464" y="43957"/>
                  </a:cubicBezTo>
                  <a:cubicBezTo>
                    <a:pt x="195589" y="45363"/>
                    <a:pt x="200323" y="46889"/>
                    <a:pt x="202552" y="47473"/>
                  </a:cubicBezTo>
                  <a:lnTo>
                    <a:pt x="209233" y="49231"/>
                  </a:lnTo>
                  <a:cubicBezTo>
                    <a:pt x="207004" y="50870"/>
                    <a:pt x="202552" y="54366"/>
                    <a:pt x="202552" y="55209"/>
                  </a:cubicBezTo>
                  <a:cubicBezTo>
                    <a:pt x="202552" y="55667"/>
                    <a:pt x="201813" y="56398"/>
                    <a:pt x="200984" y="57221"/>
                  </a:cubicBezTo>
                  <a:cubicBezTo>
                    <a:pt x="199915" y="58276"/>
                    <a:pt x="198684" y="59493"/>
                    <a:pt x="198684" y="60484"/>
                  </a:cubicBezTo>
                  <a:lnTo>
                    <a:pt x="198684" y="68572"/>
                  </a:lnTo>
                  <a:lnTo>
                    <a:pt x="198684" y="73495"/>
                  </a:lnTo>
                  <a:lnTo>
                    <a:pt x="190244" y="78067"/>
                  </a:lnTo>
                  <a:lnTo>
                    <a:pt x="187783" y="83342"/>
                  </a:lnTo>
                  <a:lnTo>
                    <a:pt x="187783" y="88968"/>
                  </a:lnTo>
                  <a:cubicBezTo>
                    <a:pt x="190012" y="92253"/>
                    <a:pt x="194464" y="99377"/>
                    <a:pt x="194464" y="101628"/>
                  </a:cubicBezTo>
                  <a:cubicBezTo>
                    <a:pt x="194464" y="104441"/>
                    <a:pt x="193409" y="111826"/>
                    <a:pt x="187783" y="112881"/>
                  </a:cubicBezTo>
                  <a:cubicBezTo>
                    <a:pt x="182156" y="113935"/>
                    <a:pt x="175123" y="115694"/>
                    <a:pt x="171255" y="117100"/>
                  </a:cubicBezTo>
                  <a:cubicBezTo>
                    <a:pt x="170052" y="117536"/>
                    <a:pt x="168568" y="118282"/>
                    <a:pt x="166986" y="119084"/>
                  </a:cubicBezTo>
                  <a:cubicBezTo>
                    <a:pt x="163497" y="120842"/>
                    <a:pt x="159503" y="122860"/>
                    <a:pt x="156837" y="122375"/>
                  </a:cubicBezTo>
                  <a:cubicBezTo>
                    <a:pt x="154200" y="121897"/>
                    <a:pt x="151239" y="121257"/>
                    <a:pt x="149066" y="120779"/>
                  </a:cubicBezTo>
                  <a:cubicBezTo>
                    <a:pt x="148046" y="120561"/>
                    <a:pt x="147202" y="120378"/>
                    <a:pt x="146639" y="120265"/>
                  </a:cubicBezTo>
                  <a:cubicBezTo>
                    <a:pt x="146168" y="120174"/>
                    <a:pt x="144853" y="119667"/>
                    <a:pt x="143221" y="119041"/>
                  </a:cubicBezTo>
                  <a:cubicBezTo>
                    <a:pt x="138804" y="117354"/>
                    <a:pt x="132088" y="114786"/>
                    <a:pt x="133628" y="117100"/>
                  </a:cubicBezTo>
                  <a:cubicBezTo>
                    <a:pt x="135738" y="120265"/>
                    <a:pt x="138903" y="130111"/>
                    <a:pt x="138903" y="133980"/>
                  </a:cubicBezTo>
                  <a:cubicBezTo>
                    <a:pt x="138903" y="137848"/>
                    <a:pt x="143826" y="141013"/>
                    <a:pt x="146639" y="142068"/>
                  </a:cubicBezTo>
                  <a:cubicBezTo>
                    <a:pt x="149452" y="143123"/>
                    <a:pt x="155431" y="145584"/>
                    <a:pt x="152617" y="147342"/>
                  </a:cubicBezTo>
                  <a:cubicBezTo>
                    <a:pt x="149804" y="149101"/>
                    <a:pt x="142068" y="154024"/>
                    <a:pt x="141716" y="155782"/>
                  </a:cubicBezTo>
                  <a:cubicBezTo>
                    <a:pt x="141364" y="157540"/>
                    <a:pt x="136090" y="161409"/>
                    <a:pt x="133628" y="161409"/>
                  </a:cubicBezTo>
                  <a:cubicBezTo>
                    <a:pt x="131659" y="161409"/>
                    <a:pt x="126475" y="163518"/>
                    <a:pt x="124133" y="164573"/>
                  </a:cubicBezTo>
                  <a:cubicBezTo>
                    <a:pt x="122727" y="165861"/>
                    <a:pt x="119281" y="168442"/>
                    <a:pt x="116749" y="168442"/>
                  </a:cubicBezTo>
                  <a:lnTo>
                    <a:pt x="109716" y="168442"/>
                  </a:lnTo>
                  <a:cubicBezTo>
                    <a:pt x="107746" y="168442"/>
                    <a:pt x="103505" y="163751"/>
                    <a:pt x="101628" y="161409"/>
                  </a:cubicBezTo>
                  <a:lnTo>
                    <a:pt x="94243" y="152617"/>
                  </a:lnTo>
                  <a:cubicBezTo>
                    <a:pt x="93385" y="151513"/>
                    <a:pt x="92224" y="150128"/>
                    <a:pt x="90909" y="148707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0" name="Freihandform: Form 25">
              <a:extLst>
                <a:ext uri="{FF2B5EF4-FFF2-40B4-BE49-F238E27FC236}">
                  <a16:creationId xmlns:a16="http://schemas.microsoft.com/office/drawing/2014/main" id="{22962D19-0681-7546-9D8C-020B5A1B0FFF}"/>
                </a:ext>
              </a:extLst>
            </p:cNvPr>
            <p:cNvSpPr/>
            <p:nvPr/>
          </p:nvSpPr>
          <p:spPr>
            <a:xfrm>
              <a:off x="5020293" y="4435775"/>
              <a:ext cx="606329" cy="638069"/>
            </a:xfrm>
            <a:custGeom>
              <a:avLst/>
              <a:gdLst>
                <a:gd name="connsiteX0" fmla="*/ 58103 w 606329"/>
                <a:gd name="connsiteY0" fmla="*/ 146404 h 638069"/>
                <a:gd name="connsiteX1" fmla="*/ 56253 w 606329"/>
                <a:gd name="connsiteY1" fmla="*/ 144589 h 638069"/>
                <a:gd name="connsiteX2" fmla="*/ 56345 w 606329"/>
                <a:gd name="connsiteY2" fmla="*/ 148865 h 638069"/>
                <a:gd name="connsiteX3" fmla="*/ 53032 w 606329"/>
                <a:gd name="connsiteY3" fmla="*/ 149083 h 638069"/>
                <a:gd name="connsiteX4" fmla="*/ 48960 w 606329"/>
                <a:gd name="connsiteY4" fmla="*/ 148865 h 638069"/>
                <a:gd name="connsiteX5" fmla="*/ 43678 w 606329"/>
                <a:gd name="connsiteY5" fmla="*/ 149744 h 638069"/>
                <a:gd name="connsiteX6" fmla="*/ 37707 w 606329"/>
                <a:gd name="connsiteY6" fmla="*/ 150623 h 638069"/>
                <a:gd name="connsiteX7" fmla="*/ 33438 w 606329"/>
                <a:gd name="connsiteY7" fmla="*/ 151643 h 638069"/>
                <a:gd name="connsiteX8" fmla="*/ 30322 w 606329"/>
                <a:gd name="connsiteY8" fmla="*/ 152030 h 638069"/>
                <a:gd name="connsiteX9" fmla="*/ 26975 w 606329"/>
                <a:gd name="connsiteY9" fmla="*/ 153507 h 638069"/>
                <a:gd name="connsiteX10" fmla="*/ 23641 w 606329"/>
                <a:gd name="connsiteY10" fmla="*/ 155898 h 638069"/>
                <a:gd name="connsiteX11" fmla="*/ 20167 w 606329"/>
                <a:gd name="connsiteY11" fmla="*/ 158578 h 638069"/>
                <a:gd name="connsiteX12" fmla="*/ 18718 w 606329"/>
                <a:gd name="connsiteY12" fmla="*/ 160118 h 638069"/>
                <a:gd name="connsiteX13" fmla="*/ 16847 w 606329"/>
                <a:gd name="connsiteY13" fmla="*/ 162474 h 638069"/>
                <a:gd name="connsiteX14" fmla="*/ 16256 w 606329"/>
                <a:gd name="connsiteY14" fmla="*/ 163635 h 638069"/>
                <a:gd name="connsiteX15" fmla="*/ 14372 w 606329"/>
                <a:gd name="connsiteY15" fmla="*/ 167214 h 638069"/>
                <a:gd name="connsiteX16" fmla="*/ 12740 w 606329"/>
                <a:gd name="connsiteY16" fmla="*/ 170668 h 638069"/>
                <a:gd name="connsiteX17" fmla="*/ 11537 w 606329"/>
                <a:gd name="connsiteY17" fmla="*/ 172953 h 638069"/>
                <a:gd name="connsiteX18" fmla="*/ 9927 w 606329"/>
                <a:gd name="connsiteY18" fmla="*/ 176997 h 638069"/>
                <a:gd name="connsiteX19" fmla="*/ 8632 w 606329"/>
                <a:gd name="connsiteY19" fmla="*/ 180633 h 638069"/>
                <a:gd name="connsiteX20" fmla="*/ 7113 w 606329"/>
                <a:gd name="connsiteY20" fmla="*/ 185085 h 638069"/>
                <a:gd name="connsiteX21" fmla="*/ 5440 w 606329"/>
                <a:gd name="connsiteY21" fmla="*/ 188278 h 638069"/>
                <a:gd name="connsiteX22" fmla="*/ 4300 w 606329"/>
                <a:gd name="connsiteY22" fmla="*/ 189305 h 638069"/>
                <a:gd name="connsiteX23" fmla="*/ 2675 w 606329"/>
                <a:gd name="connsiteY23" fmla="*/ 191106 h 638069"/>
                <a:gd name="connsiteX24" fmla="*/ 784 w 606329"/>
                <a:gd name="connsiteY24" fmla="*/ 193173 h 638069"/>
                <a:gd name="connsiteX25" fmla="*/ 362 w 606329"/>
                <a:gd name="connsiteY25" fmla="*/ 196184 h 638069"/>
                <a:gd name="connsiteX26" fmla="*/ 362 w 606329"/>
                <a:gd name="connsiteY26" fmla="*/ 196184 h 638069"/>
                <a:gd name="connsiteX27" fmla="*/ 784 w 606329"/>
                <a:gd name="connsiteY27" fmla="*/ 197745 h 638069"/>
                <a:gd name="connsiteX28" fmla="*/ 784 w 606329"/>
                <a:gd name="connsiteY28" fmla="*/ 203723 h 638069"/>
                <a:gd name="connsiteX29" fmla="*/ 4631 w 606329"/>
                <a:gd name="connsiteY29" fmla="*/ 209743 h 638069"/>
                <a:gd name="connsiteX30" fmla="*/ 8168 w 606329"/>
                <a:gd name="connsiteY30" fmla="*/ 214273 h 638069"/>
                <a:gd name="connsiteX31" fmla="*/ 10982 w 606329"/>
                <a:gd name="connsiteY31" fmla="*/ 221306 h 638069"/>
                <a:gd name="connsiteX32" fmla="*/ 11059 w 606329"/>
                <a:gd name="connsiteY32" fmla="*/ 222769 h 638069"/>
                <a:gd name="connsiteX33" fmla="*/ 10982 w 606329"/>
                <a:gd name="connsiteY33" fmla="*/ 226229 h 638069"/>
                <a:gd name="connsiteX34" fmla="*/ 11734 w 606329"/>
                <a:gd name="connsiteY34" fmla="*/ 229295 h 638069"/>
                <a:gd name="connsiteX35" fmla="*/ 12740 w 606329"/>
                <a:gd name="connsiteY35" fmla="*/ 230800 h 638069"/>
                <a:gd name="connsiteX36" fmla="*/ 16355 w 606329"/>
                <a:gd name="connsiteY36" fmla="*/ 231940 h 638069"/>
                <a:gd name="connsiteX37" fmla="*/ 21179 w 606329"/>
                <a:gd name="connsiteY37" fmla="*/ 232558 h 638069"/>
                <a:gd name="connsiteX38" fmla="*/ 24893 w 606329"/>
                <a:gd name="connsiteY38" fmla="*/ 234971 h 638069"/>
                <a:gd name="connsiteX39" fmla="*/ 26454 w 606329"/>
                <a:gd name="connsiteY39" fmla="*/ 236427 h 638069"/>
                <a:gd name="connsiteX40" fmla="*/ 35949 w 606329"/>
                <a:gd name="connsiteY40" fmla="*/ 236427 h 638069"/>
                <a:gd name="connsiteX41" fmla="*/ 40872 w 606329"/>
                <a:gd name="connsiteY41" fmla="*/ 233965 h 638069"/>
                <a:gd name="connsiteX42" fmla="*/ 43770 w 606329"/>
                <a:gd name="connsiteY42" fmla="*/ 233402 h 638069"/>
                <a:gd name="connsiteX43" fmla="*/ 47553 w 606329"/>
                <a:gd name="connsiteY43" fmla="*/ 232558 h 638069"/>
                <a:gd name="connsiteX44" fmla="*/ 50423 w 606329"/>
                <a:gd name="connsiteY44" fmla="*/ 234408 h 638069"/>
                <a:gd name="connsiteX45" fmla="*/ 50367 w 606329"/>
                <a:gd name="connsiteY45" fmla="*/ 235020 h 638069"/>
                <a:gd name="connsiteX46" fmla="*/ 50367 w 606329"/>
                <a:gd name="connsiteY46" fmla="*/ 240295 h 638069"/>
                <a:gd name="connsiteX47" fmla="*/ 50367 w 606329"/>
                <a:gd name="connsiteY47" fmla="*/ 246273 h 638069"/>
                <a:gd name="connsiteX48" fmla="*/ 50514 w 606329"/>
                <a:gd name="connsiteY48" fmla="*/ 249782 h 638069"/>
                <a:gd name="connsiteX49" fmla="*/ 50894 w 606329"/>
                <a:gd name="connsiteY49" fmla="*/ 251027 h 638069"/>
                <a:gd name="connsiteX50" fmla="*/ 51070 w 606329"/>
                <a:gd name="connsiteY50" fmla="*/ 251548 h 638069"/>
                <a:gd name="connsiteX51" fmla="*/ 58103 w 606329"/>
                <a:gd name="connsiteY51" fmla="*/ 254713 h 638069"/>
                <a:gd name="connsiteX52" fmla="*/ 67949 w 606329"/>
                <a:gd name="connsiteY52" fmla="*/ 254713 h 638069"/>
                <a:gd name="connsiteX53" fmla="*/ 75531 w 606329"/>
                <a:gd name="connsiteY53" fmla="*/ 254016 h 638069"/>
                <a:gd name="connsiteX54" fmla="*/ 80257 w 606329"/>
                <a:gd name="connsiteY54" fmla="*/ 253306 h 638069"/>
                <a:gd name="connsiteX55" fmla="*/ 87135 w 606329"/>
                <a:gd name="connsiteY55" fmla="*/ 250781 h 638069"/>
                <a:gd name="connsiteX56" fmla="*/ 89400 w 606329"/>
                <a:gd name="connsiteY56" fmla="*/ 249438 h 638069"/>
                <a:gd name="connsiteX57" fmla="*/ 99950 w 606329"/>
                <a:gd name="connsiteY57" fmla="*/ 243460 h 638069"/>
                <a:gd name="connsiteX58" fmla="*/ 105224 w 606329"/>
                <a:gd name="connsiteY58" fmla="*/ 237833 h 638069"/>
                <a:gd name="connsiteX59" fmla="*/ 107995 w 606329"/>
                <a:gd name="connsiteY59" fmla="*/ 235653 h 638069"/>
                <a:gd name="connsiteX60" fmla="*/ 109093 w 606329"/>
                <a:gd name="connsiteY60" fmla="*/ 235020 h 638069"/>
                <a:gd name="connsiteX61" fmla="*/ 121401 w 606329"/>
                <a:gd name="connsiteY61" fmla="*/ 233965 h 638069"/>
                <a:gd name="connsiteX62" fmla="*/ 126696 w 606329"/>
                <a:gd name="connsiteY62" fmla="*/ 233620 h 638069"/>
                <a:gd name="connsiteX63" fmla="*/ 129840 w 606329"/>
                <a:gd name="connsiteY63" fmla="*/ 233965 h 638069"/>
                <a:gd name="connsiteX64" fmla="*/ 130431 w 606329"/>
                <a:gd name="connsiteY64" fmla="*/ 237664 h 638069"/>
                <a:gd name="connsiteX65" fmla="*/ 129840 w 606329"/>
                <a:gd name="connsiteY65" fmla="*/ 240295 h 638069"/>
                <a:gd name="connsiteX66" fmla="*/ 129749 w 606329"/>
                <a:gd name="connsiteY66" fmla="*/ 242194 h 638069"/>
                <a:gd name="connsiteX67" fmla="*/ 129840 w 606329"/>
                <a:gd name="connsiteY67" fmla="*/ 245921 h 638069"/>
                <a:gd name="connsiteX68" fmla="*/ 131198 w 606329"/>
                <a:gd name="connsiteY68" fmla="*/ 250669 h 638069"/>
                <a:gd name="connsiteX69" fmla="*/ 131598 w 606329"/>
                <a:gd name="connsiteY69" fmla="*/ 251548 h 638069"/>
                <a:gd name="connsiteX70" fmla="*/ 133708 w 606329"/>
                <a:gd name="connsiteY70" fmla="*/ 262449 h 638069"/>
                <a:gd name="connsiteX71" fmla="*/ 136472 w 606329"/>
                <a:gd name="connsiteY71" fmla="*/ 265726 h 638069"/>
                <a:gd name="connsiteX72" fmla="*/ 138983 w 606329"/>
                <a:gd name="connsiteY72" fmla="*/ 268427 h 638069"/>
                <a:gd name="connsiteX73" fmla="*/ 141951 w 606329"/>
                <a:gd name="connsiteY73" fmla="*/ 272098 h 638069"/>
                <a:gd name="connsiteX74" fmla="*/ 143203 w 606329"/>
                <a:gd name="connsiteY74" fmla="*/ 273702 h 638069"/>
                <a:gd name="connsiteX75" fmla="*/ 149533 w 606329"/>
                <a:gd name="connsiteY75" fmla="*/ 275812 h 638069"/>
                <a:gd name="connsiteX76" fmla="*/ 158676 w 606329"/>
                <a:gd name="connsiteY76" fmla="*/ 275812 h 638069"/>
                <a:gd name="connsiteX77" fmla="*/ 162720 w 606329"/>
                <a:gd name="connsiteY77" fmla="*/ 277725 h 638069"/>
                <a:gd name="connsiteX78" fmla="*/ 165005 w 606329"/>
                <a:gd name="connsiteY78" fmla="*/ 280032 h 638069"/>
                <a:gd name="connsiteX79" fmla="*/ 167643 w 606329"/>
                <a:gd name="connsiteY79" fmla="*/ 281966 h 638069"/>
                <a:gd name="connsiteX80" fmla="*/ 170280 w 606329"/>
                <a:gd name="connsiteY80" fmla="*/ 283900 h 638069"/>
                <a:gd name="connsiteX81" fmla="*/ 176251 w 606329"/>
                <a:gd name="connsiteY81" fmla="*/ 286059 h 638069"/>
                <a:gd name="connsiteX82" fmla="*/ 179775 w 606329"/>
                <a:gd name="connsiteY82" fmla="*/ 286713 h 638069"/>
                <a:gd name="connsiteX83" fmla="*/ 184979 w 606329"/>
                <a:gd name="connsiteY83" fmla="*/ 290574 h 638069"/>
                <a:gd name="connsiteX84" fmla="*/ 186808 w 606329"/>
                <a:gd name="connsiteY84" fmla="*/ 292691 h 638069"/>
                <a:gd name="connsiteX85" fmla="*/ 190606 w 606329"/>
                <a:gd name="connsiteY85" fmla="*/ 293992 h 638069"/>
                <a:gd name="connsiteX86" fmla="*/ 193489 w 606329"/>
                <a:gd name="connsiteY86" fmla="*/ 294098 h 638069"/>
                <a:gd name="connsiteX87" fmla="*/ 197449 w 606329"/>
                <a:gd name="connsiteY87" fmla="*/ 294386 h 638069"/>
                <a:gd name="connsiteX88" fmla="*/ 203336 w 606329"/>
                <a:gd name="connsiteY88" fmla="*/ 295504 h 638069"/>
                <a:gd name="connsiteX89" fmla="*/ 205987 w 606329"/>
                <a:gd name="connsiteY89" fmla="*/ 301271 h 638069"/>
                <a:gd name="connsiteX90" fmla="*/ 205987 w 606329"/>
                <a:gd name="connsiteY90" fmla="*/ 301278 h 638069"/>
                <a:gd name="connsiteX91" fmla="*/ 206500 w 606329"/>
                <a:gd name="connsiteY91" fmla="*/ 304296 h 638069"/>
                <a:gd name="connsiteX92" fmla="*/ 208076 w 606329"/>
                <a:gd name="connsiteY92" fmla="*/ 309127 h 638069"/>
                <a:gd name="connsiteX93" fmla="*/ 208962 w 606329"/>
                <a:gd name="connsiteY93" fmla="*/ 310625 h 638069"/>
                <a:gd name="connsiteX94" fmla="*/ 209250 w 606329"/>
                <a:gd name="connsiteY94" fmla="*/ 313530 h 638069"/>
                <a:gd name="connsiteX95" fmla="*/ 208962 w 606329"/>
                <a:gd name="connsiteY95" fmla="*/ 315549 h 638069"/>
                <a:gd name="connsiteX96" fmla="*/ 208793 w 606329"/>
                <a:gd name="connsiteY96" fmla="*/ 317504 h 638069"/>
                <a:gd name="connsiteX97" fmla="*/ 208962 w 606329"/>
                <a:gd name="connsiteY97" fmla="*/ 321878 h 638069"/>
                <a:gd name="connsiteX98" fmla="*/ 210263 w 606329"/>
                <a:gd name="connsiteY98" fmla="*/ 325880 h 638069"/>
                <a:gd name="connsiteX99" fmla="*/ 211072 w 606329"/>
                <a:gd name="connsiteY99" fmla="*/ 328911 h 638069"/>
                <a:gd name="connsiteX100" fmla="*/ 210882 w 606329"/>
                <a:gd name="connsiteY100" fmla="*/ 331120 h 638069"/>
                <a:gd name="connsiteX101" fmla="*/ 211072 w 606329"/>
                <a:gd name="connsiteY101" fmla="*/ 333834 h 638069"/>
                <a:gd name="connsiteX102" fmla="*/ 214173 w 606329"/>
                <a:gd name="connsiteY102" fmla="*/ 335431 h 638069"/>
                <a:gd name="connsiteX103" fmla="*/ 215643 w 606329"/>
                <a:gd name="connsiteY103" fmla="*/ 335593 h 638069"/>
                <a:gd name="connsiteX104" fmla="*/ 219230 w 606329"/>
                <a:gd name="connsiteY104" fmla="*/ 335909 h 638069"/>
                <a:gd name="connsiteX105" fmla="*/ 219230 w 606329"/>
                <a:gd name="connsiteY105" fmla="*/ 335909 h 638069"/>
                <a:gd name="connsiteX106" fmla="*/ 226193 w 606329"/>
                <a:gd name="connsiteY106" fmla="*/ 336648 h 638069"/>
                <a:gd name="connsiteX107" fmla="*/ 230455 w 606329"/>
                <a:gd name="connsiteY107" fmla="*/ 337042 h 638069"/>
                <a:gd name="connsiteX108" fmla="*/ 230455 w 606329"/>
                <a:gd name="connsiteY108" fmla="*/ 337042 h 638069"/>
                <a:gd name="connsiteX109" fmla="*/ 236039 w 606329"/>
                <a:gd name="connsiteY109" fmla="*/ 338054 h 638069"/>
                <a:gd name="connsiteX110" fmla="*/ 239802 w 606329"/>
                <a:gd name="connsiteY110" fmla="*/ 338286 h 638069"/>
                <a:gd name="connsiteX111" fmla="*/ 241666 w 606329"/>
                <a:gd name="connsiteY111" fmla="*/ 338054 h 638069"/>
                <a:gd name="connsiteX112" fmla="*/ 242130 w 606329"/>
                <a:gd name="connsiteY112" fmla="*/ 341001 h 638069"/>
                <a:gd name="connsiteX113" fmla="*/ 241666 w 606329"/>
                <a:gd name="connsiteY113" fmla="*/ 344032 h 638069"/>
                <a:gd name="connsiteX114" fmla="*/ 242313 w 606329"/>
                <a:gd name="connsiteY114" fmla="*/ 348963 h 638069"/>
                <a:gd name="connsiteX115" fmla="*/ 242721 w 606329"/>
                <a:gd name="connsiteY115" fmla="*/ 350714 h 638069"/>
                <a:gd name="connsiteX116" fmla="*/ 245049 w 606329"/>
                <a:gd name="connsiteY116" fmla="*/ 354434 h 638069"/>
                <a:gd name="connsiteX117" fmla="*/ 246941 w 606329"/>
                <a:gd name="connsiteY117" fmla="*/ 356692 h 638069"/>
                <a:gd name="connsiteX118" fmla="*/ 249669 w 606329"/>
                <a:gd name="connsiteY118" fmla="*/ 359822 h 638069"/>
                <a:gd name="connsiteX119" fmla="*/ 252567 w 606329"/>
                <a:gd name="connsiteY119" fmla="*/ 363373 h 638069"/>
                <a:gd name="connsiteX120" fmla="*/ 252806 w 606329"/>
                <a:gd name="connsiteY120" fmla="*/ 371743 h 638069"/>
                <a:gd name="connsiteX121" fmla="*/ 252806 w 606329"/>
                <a:gd name="connsiteY121" fmla="*/ 371743 h 638069"/>
                <a:gd name="connsiteX122" fmla="*/ 252806 w 606329"/>
                <a:gd name="connsiteY122" fmla="*/ 371743 h 638069"/>
                <a:gd name="connsiteX123" fmla="*/ 252567 w 606329"/>
                <a:gd name="connsiteY123" fmla="*/ 376736 h 638069"/>
                <a:gd name="connsiteX124" fmla="*/ 251371 w 606329"/>
                <a:gd name="connsiteY124" fmla="*/ 382897 h 638069"/>
                <a:gd name="connsiteX125" fmla="*/ 250105 w 606329"/>
                <a:gd name="connsiteY125" fmla="*/ 385879 h 638069"/>
                <a:gd name="connsiteX126" fmla="*/ 248664 w 606329"/>
                <a:gd name="connsiteY126" fmla="*/ 390057 h 638069"/>
                <a:gd name="connsiteX127" fmla="*/ 246941 w 606329"/>
                <a:gd name="connsiteY127" fmla="*/ 393615 h 638069"/>
                <a:gd name="connsiteX128" fmla="*/ 245998 w 606329"/>
                <a:gd name="connsiteY128" fmla="*/ 396731 h 638069"/>
                <a:gd name="connsiteX129" fmla="*/ 245534 w 606329"/>
                <a:gd name="connsiteY129" fmla="*/ 399242 h 638069"/>
                <a:gd name="connsiteX130" fmla="*/ 245063 w 606329"/>
                <a:gd name="connsiteY130" fmla="*/ 402991 h 638069"/>
                <a:gd name="connsiteX131" fmla="*/ 245534 w 606329"/>
                <a:gd name="connsiteY131" fmla="*/ 405572 h 638069"/>
                <a:gd name="connsiteX132" fmla="*/ 246336 w 606329"/>
                <a:gd name="connsiteY132" fmla="*/ 408624 h 638069"/>
                <a:gd name="connsiteX133" fmla="*/ 246941 w 606329"/>
                <a:gd name="connsiteY133" fmla="*/ 411550 h 638069"/>
                <a:gd name="connsiteX134" fmla="*/ 246941 w 606329"/>
                <a:gd name="connsiteY134" fmla="*/ 422099 h 638069"/>
                <a:gd name="connsiteX135" fmla="*/ 250105 w 606329"/>
                <a:gd name="connsiteY135" fmla="*/ 434055 h 638069"/>
                <a:gd name="connsiteX136" fmla="*/ 250935 w 606329"/>
                <a:gd name="connsiteY136" fmla="*/ 434484 h 638069"/>
                <a:gd name="connsiteX137" fmla="*/ 254325 w 606329"/>
                <a:gd name="connsiteY137" fmla="*/ 435814 h 638069"/>
                <a:gd name="connsiteX138" fmla="*/ 255296 w 606329"/>
                <a:gd name="connsiteY138" fmla="*/ 436018 h 638069"/>
                <a:gd name="connsiteX139" fmla="*/ 255296 w 606329"/>
                <a:gd name="connsiteY139" fmla="*/ 436018 h 638069"/>
                <a:gd name="connsiteX140" fmla="*/ 261358 w 606329"/>
                <a:gd name="connsiteY140" fmla="*/ 436869 h 638069"/>
                <a:gd name="connsiteX141" fmla="*/ 269798 w 606329"/>
                <a:gd name="connsiteY141" fmla="*/ 436869 h 638069"/>
                <a:gd name="connsiteX142" fmla="*/ 277886 w 606329"/>
                <a:gd name="connsiteY142" fmla="*/ 437924 h 638069"/>
                <a:gd name="connsiteX143" fmla="*/ 280031 w 606329"/>
                <a:gd name="connsiteY143" fmla="*/ 439787 h 638069"/>
                <a:gd name="connsiteX144" fmla="*/ 280348 w 606329"/>
                <a:gd name="connsiteY144" fmla="*/ 441089 h 638069"/>
                <a:gd name="connsiteX145" fmla="*/ 281410 w 606329"/>
                <a:gd name="connsiteY145" fmla="*/ 443213 h 638069"/>
                <a:gd name="connsiteX146" fmla="*/ 283161 w 606329"/>
                <a:gd name="connsiteY146" fmla="*/ 447418 h 638069"/>
                <a:gd name="connsiteX147" fmla="*/ 284645 w 606329"/>
                <a:gd name="connsiteY147" fmla="*/ 451779 h 638069"/>
                <a:gd name="connsiteX148" fmla="*/ 284567 w 606329"/>
                <a:gd name="connsiteY148" fmla="*/ 453045 h 638069"/>
                <a:gd name="connsiteX149" fmla="*/ 284567 w 606329"/>
                <a:gd name="connsiteY149" fmla="*/ 458671 h 638069"/>
                <a:gd name="connsiteX150" fmla="*/ 285847 w 606329"/>
                <a:gd name="connsiteY150" fmla="*/ 461555 h 638069"/>
                <a:gd name="connsiteX151" fmla="*/ 286677 w 606329"/>
                <a:gd name="connsiteY151" fmla="*/ 462188 h 638069"/>
                <a:gd name="connsiteX152" fmla="*/ 290194 w 606329"/>
                <a:gd name="connsiteY152" fmla="*/ 463594 h 638069"/>
                <a:gd name="connsiteX153" fmla="*/ 291875 w 606329"/>
                <a:gd name="connsiteY153" fmla="*/ 463679 h 638069"/>
                <a:gd name="connsiteX154" fmla="*/ 295469 w 606329"/>
                <a:gd name="connsiteY154" fmla="*/ 463594 h 638069"/>
                <a:gd name="connsiteX155" fmla="*/ 303205 w 606329"/>
                <a:gd name="connsiteY155" fmla="*/ 465353 h 638069"/>
                <a:gd name="connsiteX156" fmla="*/ 303578 w 606329"/>
                <a:gd name="connsiteY156" fmla="*/ 468581 h 638069"/>
                <a:gd name="connsiteX157" fmla="*/ 303205 w 606329"/>
                <a:gd name="connsiteY157" fmla="*/ 471331 h 638069"/>
                <a:gd name="connsiteX158" fmla="*/ 303205 w 606329"/>
                <a:gd name="connsiteY158" fmla="*/ 476957 h 638069"/>
                <a:gd name="connsiteX159" fmla="*/ 302621 w 606329"/>
                <a:gd name="connsiteY159" fmla="*/ 479229 h 638069"/>
                <a:gd name="connsiteX160" fmla="*/ 301798 w 606329"/>
                <a:gd name="connsiteY160" fmla="*/ 482935 h 638069"/>
                <a:gd name="connsiteX161" fmla="*/ 302579 w 606329"/>
                <a:gd name="connsiteY161" fmla="*/ 487542 h 638069"/>
                <a:gd name="connsiteX162" fmla="*/ 303205 w 606329"/>
                <a:gd name="connsiteY162" fmla="*/ 491023 h 638069"/>
                <a:gd name="connsiteX163" fmla="*/ 306067 w 606329"/>
                <a:gd name="connsiteY163" fmla="*/ 493907 h 638069"/>
                <a:gd name="connsiteX164" fmla="*/ 308128 w 606329"/>
                <a:gd name="connsiteY164" fmla="*/ 495243 h 638069"/>
                <a:gd name="connsiteX165" fmla="*/ 310583 w 606329"/>
                <a:gd name="connsiteY165" fmla="*/ 496980 h 638069"/>
                <a:gd name="connsiteX166" fmla="*/ 313051 w 606329"/>
                <a:gd name="connsiteY166" fmla="*/ 499111 h 638069"/>
                <a:gd name="connsiteX167" fmla="*/ 313051 w 606329"/>
                <a:gd name="connsiteY167" fmla="*/ 510012 h 638069"/>
                <a:gd name="connsiteX168" fmla="*/ 313051 w 606329"/>
                <a:gd name="connsiteY168" fmla="*/ 515639 h 638069"/>
                <a:gd name="connsiteX169" fmla="*/ 311152 w 606329"/>
                <a:gd name="connsiteY169" fmla="*/ 518080 h 638069"/>
                <a:gd name="connsiteX170" fmla="*/ 309183 w 606329"/>
                <a:gd name="connsiteY170" fmla="*/ 519507 h 638069"/>
                <a:gd name="connsiteX171" fmla="*/ 307390 w 606329"/>
                <a:gd name="connsiteY171" fmla="*/ 521104 h 638069"/>
                <a:gd name="connsiteX172" fmla="*/ 303205 w 606329"/>
                <a:gd name="connsiteY172" fmla="*/ 525134 h 638069"/>
                <a:gd name="connsiteX173" fmla="*/ 297276 w 606329"/>
                <a:gd name="connsiteY173" fmla="*/ 528720 h 638069"/>
                <a:gd name="connsiteX174" fmla="*/ 292304 w 606329"/>
                <a:gd name="connsiteY174" fmla="*/ 531112 h 638069"/>
                <a:gd name="connsiteX175" fmla="*/ 284567 w 606329"/>
                <a:gd name="connsiteY175" fmla="*/ 538496 h 638069"/>
                <a:gd name="connsiteX176" fmla="*/ 280200 w 606329"/>
                <a:gd name="connsiteY176" fmla="*/ 543026 h 638069"/>
                <a:gd name="connsiteX177" fmla="*/ 276831 w 606329"/>
                <a:gd name="connsiteY177" fmla="*/ 546584 h 638069"/>
                <a:gd name="connsiteX178" fmla="*/ 255732 w 606329"/>
                <a:gd name="connsiteY178" fmla="*/ 569442 h 638069"/>
                <a:gd name="connsiteX179" fmla="*/ 274369 w 606329"/>
                <a:gd name="connsiteY179" fmla="*/ 585266 h 638069"/>
                <a:gd name="connsiteX180" fmla="*/ 282809 w 606329"/>
                <a:gd name="connsiteY180" fmla="*/ 585266 h 638069"/>
                <a:gd name="connsiteX181" fmla="*/ 285847 w 606329"/>
                <a:gd name="connsiteY181" fmla="*/ 587503 h 638069"/>
                <a:gd name="connsiteX182" fmla="*/ 287381 w 606329"/>
                <a:gd name="connsiteY182" fmla="*/ 589134 h 638069"/>
                <a:gd name="connsiteX183" fmla="*/ 303205 w 606329"/>
                <a:gd name="connsiteY183" fmla="*/ 598981 h 638069"/>
                <a:gd name="connsiteX184" fmla="*/ 319029 w 606329"/>
                <a:gd name="connsiteY184" fmla="*/ 620431 h 638069"/>
                <a:gd name="connsiteX185" fmla="*/ 313051 w 606329"/>
                <a:gd name="connsiteY185" fmla="*/ 629926 h 638069"/>
                <a:gd name="connsiteX186" fmla="*/ 315864 w 606329"/>
                <a:gd name="connsiteY186" fmla="*/ 632739 h 638069"/>
                <a:gd name="connsiteX187" fmla="*/ 319029 w 606329"/>
                <a:gd name="connsiteY187" fmla="*/ 638014 h 638069"/>
                <a:gd name="connsiteX188" fmla="*/ 320956 w 606329"/>
                <a:gd name="connsiteY188" fmla="*/ 636551 h 638069"/>
                <a:gd name="connsiteX189" fmla="*/ 320956 w 606329"/>
                <a:gd name="connsiteY189" fmla="*/ 636551 h 638069"/>
                <a:gd name="connsiteX190" fmla="*/ 320956 w 606329"/>
                <a:gd name="connsiteY190" fmla="*/ 636551 h 638069"/>
                <a:gd name="connsiteX191" fmla="*/ 322194 w 606329"/>
                <a:gd name="connsiteY191" fmla="*/ 635552 h 638069"/>
                <a:gd name="connsiteX192" fmla="*/ 324353 w 606329"/>
                <a:gd name="connsiteY192" fmla="*/ 633295 h 638069"/>
                <a:gd name="connsiteX193" fmla="*/ 326062 w 606329"/>
                <a:gd name="connsiteY193" fmla="*/ 631333 h 638069"/>
                <a:gd name="connsiteX194" fmla="*/ 327729 w 606329"/>
                <a:gd name="connsiteY194" fmla="*/ 629110 h 638069"/>
                <a:gd name="connsiteX195" fmla="*/ 328524 w 606329"/>
                <a:gd name="connsiteY195" fmla="*/ 627816 h 638069"/>
                <a:gd name="connsiteX196" fmla="*/ 329600 w 606329"/>
                <a:gd name="connsiteY196" fmla="*/ 625847 h 638069"/>
                <a:gd name="connsiteX197" fmla="*/ 330986 w 606329"/>
                <a:gd name="connsiteY197" fmla="*/ 623245 h 638069"/>
                <a:gd name="connsiteX198" fmla="*/ 332751 w 606329"/>
                <a:gd name="connsiteY198" fmla="*/ 620122 h 638069"/>
                <a:gd name="connsiteX199" fmla="*/ 333447 w 606329"/>
                <a:gd name="connsiteY199" fmla="*/ 618673 h 638069"/>
                <a:gd name="connsiteX200" fmla="*/ 334446 w 606329"/>
                <a:gd name="connsiteY200" fmla="*/ 615656 h 638069"/>
                <a:gd name="connsiteX201" fmla="*/ 334854 w 606329"/>
                <a:gd name="connsiteY201" fmla="*/ 613398 h 638069"/>
                <a:gd name="connsiteX202" fmla="*/ 336964 w 606329"/>
                <a:gd name="connsiteY202" fmla="*/ 607420 h 638069"/>
                <a:gd name="connsiteX203" fmla="*/ 337147 w 606329"/>
                <a:gd name="connsiteY203" fmla="*/ 604326 h 638069"/>
                <a:gd name="connsiteX204" fmla="*/ 336964 w 606329"/>
                <a:gd name="connsiteY204" fmla="*/ 601794 h 638069"/>
                <a:gd name="connsiteX205" fmla="*/ 341887 w 606329"/>
                <a:gd name="connsiteY205" fmla="*/ 593354 h 638069"/>
                <a:gd name="connsiteX206" fmla="*/ 344032 w 606329"/>
                <a:gd name="connsiteY206" fmla="*/ 590189 h 638069"/>
                <a:gd name="connsiteX207" fmla="*/ 346107 w 606329"/>
                <a:gd name="connsiteY207" fmla="*/ 587024 h 638069"/>
                <a:gd name="connsiteX208" fmla="*/ 350502 w 606329"/>
                <a:gd name="connsiteY208" fmla="*/ 582861 h 638069"/>
                <a:gd name="connsiteX209" fmla="*/ 350502 w 606329"/>
                <a:gd name="connsiteY209" fmla="*/ 582861 h 638069"/>
                <a:gd name="connsiteX210" fmla="*/ 352436 w 606329"/>
                <a:gd name="connsiteY210" fmla="*/ 581398 h 638069"/>
                <a:gd name="connsiteX211" fmla="*/ 354961 w 606329"/>
                <a:gd name="connsiteY211" fmla="*/ 579253 h 638069"/>
                <a:gd name="connsiteX212" fmla="*/ 354961 w 606329"/>
                <a:gd name="connsiteY212" fmla="*/ 579253 h 638069"/>
                <a:gd name="connsiteX213" fmla="*/ 357359 w 606329"/>
                <a:gd name="connsiteY213" fmla="*/ 577881 h 638069"/>
                <a:gd name="connsiteX214" fmla="*/ 363689 w 606329"/>
                <a:gd name="connsiteY214" fmla="*/ 577881 h 638069"/>
                <a:gd name="connsiteX215" fmla="*/ 370019 w 606329"/>
                <a:gd name="connsiteY215" fmla="*/ 568387 h 638069"/>
                <a:gd name="connsiteX216" fmla="*/ 371313 w 606329"/>
                <a:gd name="connsiteY216" fmla="*/ 566305 h 638069"/>
                <a:gd name="connsiteX217" fmla="*/ 372129 w 606329"/>
                <a:gd name="connsiteY217" fmla="*/ 565222 h 638069"/>
                <a:gd name="connsiteX218" fmla="*/ 374056 w 606329"/>
                <a:gd name="connsiteY218" fmla="*/ 562360 h 638069"/>
                <a:gd name="connsiteX219" fmla="*/ 374056 w 606329"/>
                <a:gd name="connsiteY219" fmla="*/ 562360 h 638069"/>
                <a:gd name="connsiteX220" fmla="*/ 374056 w 606329"/>
                <a:gd name="connsiteY220" fmla="*/ 562360 h 638069"/>
                <a:gd name="connsiteX221" fmla="*/ 375294 w 606329"/>
                <a:gd name="connsiteY221" fmla="*/ 560650 h 638069"/>
                <a:gd name="connsiteX222" fmla="*/ 376989 w 606329"/>
                <a:gd name="connsiteY222" fmla="*/ 558294 h 638069"/>
                <a:gd name="connsiteX223" fmla="*/ 379148 w 606329"/>
                <a:gd name="connsiteY223" fmla="*/ 555390 h 638069"/>
                <a:gd name="connsiteX224" fmla="*/ 379162 w 606329"/>
                <a:gd name="connsiteY224" fmla="*/ 555376 h 638069"/>
                <a:gd name="connsiteX225" fmla="*/ 385140 w 606329"/>
                <a:gd name="connsiteY225" fmla="*/ 546584 h 638069"/>
                <a:gd name="connsiteX226" fmla="*/ 387398 w 606329"/>
                <a:gd name="connsiteY226" fmla="*/ 541914 h 638069"/>
                <a:gd name="connsiteX227" fmla="*/ 387405 w 606329"/>
                <a:gd name="connsiteY227" fmla="*/ 541914 h 638069"/>
                <a:gd name="connsiteX228" fmla="*/ 387953 w 606329"/>
                <a:gd name="connsiteY228" fmla="*/ 540606 h 638069"/>
                <a:gd name="connsiteX229" fmla="*/ 389712 w 606329"/>
                <a:gd name="connsiteY229" fmla="*/ 531112 h 638069"/>
                <a:gd name="connsiteX230" fmla="*/ 389712 w 606329"/>
                <a:gd name="connsiteY230" fmla="*/ 525134 h 638069"/>
                <a:gd name="connsiteX231" fmla="*/ 389712 w 606329"/>
                <a:gd name="connsiteY231" fmla="*/ 515639 h 638069"/>
                <a:gd name="connsiteX232" fmla="*/ 389712 w 606329"/>
                <a:gd name="connsiteY232" fmla="*/ 510012 h 638069"/>
                <a:gd name="connsiteX233" fmla="*/ 389655 w 606329"/>
                <a:gd name="connsiteY233" fmla="*/ 508254 h 638069"/>
                <a:gd name="connsiteX234" fmla="*/ 389712 w 606329"/>
                <a:gd name="connsiteY234" fmla="*/ 501221 h 638069"/>
                <a:gd name="connsiteX235" fmla="*/ 393931 w 606329"/>
                <a:gd name="connsiteY235" fmla="*/ 492781 h 638069"/>
                <a:gd name="connsiteX236" fmla="*/ 398475 w 606329"/>
                <a:gd name="connsiteY236" fmla="*/ 488709 h 638069"/>
                <a:gd name="connsiteX237" fmla="*/ 399558 w 606329"/>
                <a:gd name="connsiteY237" fmla="*/ 487858 h 638069"/>
                <a:gd name="connsiteX238" fmla="*/ 402624 w 606329"/>
                <a:gd name="connsiteY238" fmla="*/ 484855 h 638069"/>
                <a:gd name="connsiteX239" fmla="*/ 407646 w 606329"/>
                <a:gd name="connsiteY239" fmla="*/ 480122 h 638069"/>
                <a:gd name="connsiteX240" fmla="*/ 418695 w 606329"/>
                <a:gd name="connsiteY240" fmla="*/ 471042 h 638069"/>
                <a:gd name="connsiteX241" fmla="*/ 425580 w 606329"/>
                <a:gd name="connsiteY241" fmla="*/ 465353 h 638069"/>
                <a:gd name="connsiteX242" fmla="*/ 432262 w 606329"/>
                <a:gd name="connsiteY242" fmla="*/ 462188 h 638069"/>
                <a:gd name="connsiteX243" fmla="*/ 435863 w 606329"/>
                <a:gd name="connsiteY243" fmla="*/ 460563 h 638069"/>
                <a:gd name="connsiteX244" fmla="*/ 439998 w 606329"/>
                <a:gd name="connsiteY244" fmla="*/ 458671 h 638069"/>
                <a:gd name="connsiteX245" fmla="*/ 446342 w 606329"/>
                <a:gd name="connsiteY245" fmla="*/ 455640 h 638069"/>
                <a:gd name="connsiteX246" fmla="*/ 446342 w 606329"/>
                <a:gd name="connsiteY246" fmla="*/ 455640 h 638069"/>
                <a:gd name="connsiteX247" fmla="*/ 450196 w 606329"/>
                <a:gd name="connsiteY247" fmla="*/ 453748 h 638069"/>
                <a:gd name="connsiteX248" fmla="*/ 452911 w 606329"/>
                <a:gd name="connsiteY248" fmla="*/ 452890 h 638069"/>
                <a:gd name="connsiteX249" fmla="*/ 457581 w 606329"/>
                <a:gd name="connsiteY249" fmla="*/ 451286 h 638069"/>
                <a:gd name="connsiteX250" fmla="*/ 467075 w 606329"/>
                <a:gd name="connsiteY250" fmla="*/ 448122 h 638069"/>
                <a:gd name="connsiteX251" fmla="*/ 472350 w 606329"/>
                <a:gd name="connsiteY251" fmla="*/ 448122 h 638069"/>
                <a:gd name="connsiteX252" fmla="*/ 485009 w 606329"/>
                <a:gd name="connsiteY252" fmla="*/ 447067 h 638069"/>
                <a:gd name="connsiteX253" fmla="*/ 492746 w 606329"/>
                <a:gd name="connsiteY253" fmla="*/ 443902 h 638069"/>
                <a:gd name="connsiteX254" fmla="*/ 497141 w 606329"/>
                <a:gd name="connsiteY254" fmla="*/ 440364 h 638069"/>
                <a:gd name="connsiteX255" fmla="*/ 497141 w 606329"/>
                <a:gd name="connsiteY255" fmla="*/ 440364 h 638069"/>
                <a:gd name="connsiteX256" fmla="*/ 499076 w 606329"/>
                <a:gd name="connsiteY256" fmla="*/ 438627 h 638069"/>
                <a:gd name="connsiteX257" fmla="*/ 501080 w 606329"/>
                <a:gd name="connsiteY257" fmla="*/ 436686 h 638069"/>
                <a:gd name="connsiteX258" fmla="*/ 503999 w 606329"/>
                <a:gd name="connsiteY258" fmla="*/ 434055 h 638069"/>
                <a:gd name="connsiteX259" fmla="*/ 508219 w 606329"/>
                <a:gd name="connsiteY259" fmla="*/ 429132 h 638069"/>
                <a:gd name="connsiteX260" fmla="*/ 510680 w 606329"/>
                <a:gd name="connsiteY260" fmla="*/ 422451 h 638069"/>
                <a:gd name="connsiteX261" fmla="*/ 514478 w 606329"/>
                <a:gd name="connsiteY261" fmla="*/ 416712 h 638069"/>
                <a:gd name="connsiteX262" fmla="*/ 514485 w 606329"/>
                <a:gd name="connsiteY262" fmla="*/ 416712 h 638069"/>
                <a:gd name="connsiteX263" fmla="*/ 515252 w 606329"/>
                <a:gd name="connsiteY263" fmla="*/ 415770 h 638069"/>
                <a:gd name="connsiteX264" fmla="*/ 518044 w 606329"/>
                <a:gd name="connsiteY264" fmla="*/ 411275 h 638069"/>
                <a:gd name="connsiteX265" fmla="*/ 518044 w 606329"/>
                <a:gd name="connsiteY265" fmla="*/ 411275 h 638069"/>
                <a:gd name="connsiteX266" fmla="*/ 520878 w 606329"/>
                <a:gd name="connsiteY266" fmla="*/ 406627 h 638069"/>
                <a:gd name="connsiteX267" fmla="*/ 523037 w 606329"/>
                <a:gd name="connsiteY267" fmla="*/ 402182 h 638069"/>
                <a:gd name="connsiteX268" fmla="*/ 523340 w 606329"/>
                <a:gd name="connsiteY268" fmla="*/ 401352 h 638069"/>
                <a:gd name="connsiteX269" fmla="*/ 527911 w 606329"/>
                <a:gd name="connsiteY269" fmla="*/ 395374 h 638069"/>
                <a:gd name="connsiteX270" fmla="*/ 530274 w 606329"/>
                <a:gd name="connsiteY270" fmla="*/ 389550 h 638069"/>
                <a:gd name="connsiteX271" fmla="*/ 530274 w 606329"/>
                <a:gd name="connsiteY271" fmla="*/ 389550 h 638069"/>
                <a:gd name="connsiteX272" fmla="*/ 530274 w 606329"/>
                <a:gd name="connsiteY272" fmla="*/ 389543 h 638069"/>
                <a:gd name="connsiteX273" fmla="*/ 531076 w 606329"/>
                <a:gd name="connsiteY273" fmla="*/ 386934 h 638069"/>
                <a:gd name="connsiteX274" fmla="*/ 531252 w 606329"/>
                <a:gd name="connsiteY274" fmla="*/ 383530 h 638069"/>
                <a:gd name="connsiteX275" fmla="*/ 531076 w 606329"/>
                <a:gd name="connsiteY275" fmla="*/ 381308 h 638069"/>
                <a:gd name="connsiteX276" fmla="*/ 531807 w 606329"/>
                <a:gd name="connsiteY276" fmla="*/ 377763 h 638069"/>
                <a:gd name="connsiteX277" fmla="*/ 532483 w 606329"/>
                <a:gd name="connsiteY277" fmla="*/ 374978 h 638069"/>
                <a:gd name="connsiteX278" fmla="*/ 535015 w 606329"/>
                <a:gd name="connsiteY278" fmla="*/ 369703 h 638069"/>
                <a:gd name="connsiteX279" fmla="*/ 535296 w 606329"/>
                <a:gd name="connsiteY279" fmla="*/ 369351 h 638069"/>
                <a:gd name="connsiteX280" fmla="*/ 537750 w 606329"/>
                <a:gd name="connsiteY280" fmla="*/ 361031 h 638069"/>
                <a:gd name="connsiteX281" fmla="*/ 537750 w 606329"/>
                <a:gd name="connsiteY281" fmla="*/ 361031 h 638069"/>
                <a:gd name="connsiteX282" fmla="*/ 538109 w 606329"/>
                <a:gd name="connsiteY282" fmla="*/ 359153 h 638069"/>
                <a:gd name="connsiteX283" fmla="*/ 538883 w 606329"/>
                <a:gd name="connsiteY283" fmla="*/ 352563 h 638069"/>
                <a:gd name="connsiteX284" fmla="*/ 539164 w 606329"/>
                <a:gd name="connsiteY284" fmla="*/ 349307 h 638069"/>
                <a:gd name="connsiteX285" fmla="*/ 540219 w 606329"/>
                <a:gd name="connsiteY285" fmla="*/ 343878 h 638069"/>
                <a:gd name="connsiteX286" fmla="*/ 540922 w 606329"/>
                <a:gd name="connsiteY286" fmla="*/ 340164 h 638069"/>
                <a:gd name="connsiteX287" fmla="*/ 540922 w 606329"/>
                <a:gd name="connsiteY287" fmla="*/ 332428 h 638069"/>
                <a:gd name="connsiteX288" fmla="*/ 541260 w 606329"/>
                <a:gd name="connsiteY288" fmla="*/ 327498 h 638069"/>
                <a:gd name="connsiteX289" fmla="*/ 541260 w 606329"/>
                <a:gd name="connsiteY289" fmla="*/ 327491 h 638069"/>
                <a:gd name="connsiteX290" fmla="*/ 541977 w 606329"/>
                <a:gd name="connsiteY290" fmla="*/ 316252 h 638069"/>
                <a:gd name="connsiteX291" fmla="*/ 541977 w 606329"/>
                <a:gd name="connsiteY291" fmla="*/ 293043 h 638069"/>
                <a:gd name="connsiteX292" fmla="*/ 545128 w 606329"/>
                <a:gd name="connsiteY292" fmla="*/ 287592 h 638069"/>
                <a:gd name="connsiteX293" fmla="*/ 545128 w 606329"/>
                <a:gd name="connsiteY293" fmla="*/ 287592 h 638069"/>
                <a:gd name="connsiteX294" fmla="*/ 546197 w 606329"/>
                <a:gd name="connsiteY294" fmla="*/ 286361 h 638069"/>
                <a:gd name="connsiteX295" fmla="*/ 550143 w 606329"/>
                <a:gd name="connsiteY295" fmla="*/ 284062 h 638069"/>
                <a:gd name="connsiteX296" fmla="*/ 553230 w 606329"/>
                <a:gd name="connsiteY296" fmla="*/ 282493 h 638069"/>
                <a:gd name="connsiteX297" fmla="*/ 560615 w 606329"/>
                <a:gd name="connsiteY297" fmla="*/ 271592 h 638069"/>
                <a:gd name="connsiteX298" fmla="*/ 563041 w 606329"/>
                <a:gd name="connsiteY298" fmla="*/ 268097 h 638069"/>
                <a:gd name="connsiteX299" fmla="*/ 563041 w 606329"/>
                <a:gd name="connsiteY299" fmla="*/ 268097 h 638069"/>
                <a:gd name="connsiteX300" fmla="*/ 566593 w 606329"/>
                <a:gd name="connsiteY300" fmla="*/ 262801 h 638069"/>
                <a:gd name="connsiteX301" fmla="*/ 573978 w 606329"/>
                <a:gd name="connsiteY301" fmla="*/ 251899 h 638069"/>
                <a:gd name="connsiteX302" fmla="*/ 576685 w 606329"/>
                <a:gd name="connsiteY302" fmla="*/ 249213 h 638069"/>
                <a:gd name="connsiteX303" fmla="*/ 576699 w 606329"/>
                <a:gd name="connsiteY303" fmla="*/ 249199 h 638069"/>
                <a:gd name="connsiteX304" fmla="*/ 590857 w 606329"/>
                <a:gd name="connsiteY304" fmla="*/ 234317 h 638069"/>
                <a:gd name="connsiteX305" fmla="*/ 597109 w 606329"/>
                <a:gd name="connsiteY305" fmla="*/ 226517 h 638069"/>
                <a:gd name="connsiteX306" fmla="*/ 597116 w 606329"/>
                <a:gd name="connsiteY306" fmla="*/ 226517 h 638069"/>
                <a:gd name="connsiteX307" fmla="*/ 603516 w 606329"/>
                <a:gd name="connsiteY307" fmla="*/ 218492 h 638069"/>
                <a:gd name="connsiteX308" fmla="*/ 606330 w 606329"/>
                <a:gd name="connsiteY308" fmla="*/ 199855 h 638069"/>
                <a:gd name="connsiteX309" fmla="*/ 605268 w 606329"/>
                <a:gd name="connsiteY309" fmla="*/ 189073 h 638069"/>
                <a:gd name="connsiteX310" fmla="*/ 605268 w 606329"/>
                <a:gd name="connsiteY310" fmla="*/ 189073 h 638069"/>
                <a:gd name="connsiteX311" fmla="*/ 605268 w 606329"/>
                <a:gd name="connsiteY311" fmla="*/ 189073 h 638069"/>
                <a:gd name="connsiteX312" fmla="*/ 604571 w 606329"/>
                <a:gd name="connsiteY312" fmla="*/ 182624 h 638069"/>
                <a:gd name="connsiteX313" fmla="*/ 599648 w 606329"/>
                <a:gd name="connsiteY313" fmla="*/ 167242 h 638069"/>
                <a:gd name="connsiteX314" fmla="*/ 598242 w 606329"/>
                <a:gd name="connsiteY314" fmla="*/ 163283 h 638069"/>
                <a:gd name="connsiteX315" fmla="*/ 592615 w 606329"/>
                <a:gd name="connsiteY315" fmla="*/ 160118 h 638069"/>
                <a:gd name="connsiteX316" fmla="*/ 591370 w 606329"/>
                <a:gd name="connsiteY316" fmla="*/ 160160 h 638069"/>
                <a:gd name="connsiteX317" fmla="*/ 583472 w 606329"/>
                <a:gd name="connsiteY317" fmla="*/ 160118 h 638069"/>
                <a:gd name="connsiteX318" fmla="*/ 571868 w 606329"/>
                <a:gd name="connsiteY318" fmla="*/ 157656 h 638069"/>
                <a:gd name="connsiteX319" fmla="*/ 569547 w 606329"/>
                <a:gd name="connsiteY319" fmla="*/ 156531 h 638069"/>
                <a:gd name="connsiteX320" fmla="*/ 565538 w 606329"/>
                <a:gd name="connsiteY320" fmla="*/ 154140 h 638069"/>
                <a:gd name="connsiteX321" fmla="*/ 559257 w 606329"/>
                <a:gd name="connsiteY321" fmla="*/ 148028 h 638069"/>
                <a:gd name="connsiteX322" fmla="*/ 559257 w 606329"/>
                <a:gd name="connsiteY322" fmla="*/ 148028 h 638069"/>
                <a:gd name="connsiteX323" fmla="*/ 556043 w 606329"/>
                <a:gd name="connsiteY323" fmla="*/ 144997 h 638069"/>
                <a:gd name="connsiteX324" fmla="*/ 546535 w 606329"/>
                <a:gd name="connsiteY324" fmla="*/ 137289 h 638069"/>
                <a:gd name="connsiteX325" fmla="*/ 546535 w 606329"/>
                <a:gd name="connsiteY325" fmla="*/ 137282 h 638069"/>
                <a:gd name="connsiteX326" fmla="*/ 545142 w 606329"/>
                <a:gd name="connsiteY326" fmla="*/ 136206 h 638069"/>
                <a:gd name="connsiteX327" fmla="*/ 534241 w 606329"/>
                <a:gd name="connsiteY327" fmla="*/ 129876 h 638069"/>
                <a:gd name="connsiteX328" fmla="*/ 530717 w 606329"/>
                <a:gd name="connsiteY328" fmla="*/ 127942 h 638069"/>
                <a:gd name="connsiteX329" fmla="*/ 530717 w 606329"/>
                <a:gd name="connsiteY329" fmla="*/ 127942 h 638069"/>
                <a:gd name="connsiteX330" fmla="*/ 521933 w 606329"/>
                <a:gd name="connsiteY330" fmla="*/ 124953 h 638069"/>
                <a:gd name="connsiteX331" fmla="*/ 516518 w 606329"/>
                <a:gd name="connsiteY331" fmla="*/ 125797 h 638069"/>
                <a:gd name="connsiteX332" fmla="*/ 506812 w 606329"/>
                <a:gd name="connsiteY332" fmla="*/ 127063 h 638069"/>
                <a:gd name="connsiteX333" fmla="*/ 493266 w 606329"/>
                <a:gd name="connsiteY333" fmla="*/ 125551 h 638069"/>
                <a:gd name="connsiteX334" fmla="*/ 489229 w 606329"/>
                <a:gd name="connsiteY334" fmla="*/ 124953 h 638069"/>
                <a:gd name="connsiteX335" fmla="*/ 482548 w 606329"/>
                <a:gd name="connsiteY335" fmla="*/ 121085 h 638069"/>
                <a:gd name="connsiteX336" fmla="*/ 479735 w 606329"/>
                <a:gd name="connsiteY336" fmla="*/ 119678 h 638069"/>
                <a:gd name="connsiteX337" fmla="*/ 475163 w 606329"/>
                <a:gd name="connsiteY337" fmla="*/ 119678 h 638069"/>
                <a:gd name="connsiteX338" fmla="*/ 470437 w 606329"/>
                <a:gd name="connsiteY338" fmla="*/ 120691 h 638069"/>
                <a:gd name="connsiteX339" fmla="*/ 469537 w 606329"/>
                <a:gd name="connsiteY339" fmla="*/ 121085 h 638069"/>
                <a:gd name="connsiteX340" fmla="*/ 460394 w 606329"/>
                <a:gd name="connsiteY340" fmla="*/ 124953 h 638069"/>
                <a:gd name="connsiteX341" fmla="*/ 455471 w 606329"/>
                <a:gd name="connsiteY341" fmla="*/ 128118 h 638069"/>
                <a:gd name="connsiteX342" fmla="*/ 455471 w 606329"/>
                <a:gd name="connsiteY342" fmla="*/ 122491 h 638069"/>
                <a:gd name="connsiteX343" fmla="*/ 455471 w 606329"/>
                <a:gd name="connsiteY343" fmla="*/ 114052 h 638069"/>
                <a:gd name="connsiteX344" fmla="*/ 447734 w 606329"/>
                <a:gd name="connsiteY344" fmla="*/ 105964 h 638069"/>
                <a:gd name="connsiteX345" fmla="*/ 441053 w 606329"/>
                <a:gd name="connsiteY345" fmla="*/ 104909 h 638069"/>
                <a:gd name="connsiteX346" fmla="*/ 428042 w 606329"/>
                <a:gd name="connsiteY346" fmla="*/ 97172 h 638069"/>
                <a:gd name="connsiteX347" fmla="*/ 427345 w 606329"/>
                <a:gd name="connsiteY347" fmla="*/ 96821 h 638069"/>
                <a:gd name="connsiteX348" fmla="*/ 427345 w 606329"/>
                <a:gd name="connsiteY348" fmla="*/ 96821 h 638069"/>
                <a:gd name="connsiteX349" fmla="*/ 406239 w 606329"/>
                <a:gd name="connsiteY349" fmla="*/ 91194 h 638069"/>
                <a:gd name="connsiteX350" fmla="*/ 395338 w 606329"/>
                <a:gd name="connsiteY350" fmla="*/ 92601 h 638069"/>
                <a:gd name="connsiteX351" fmla="*/ 393228 w 606329"/>
                <a:gd name="connsiteY351" fmla="*/ 89436 h 638069"/>
                <a:gd name="connsiteX352" fmla="*/ 391118 w 606329"/>
                <a:gd name="connsiteY352" fmla="*/ 86271 h 638069"/>
                <a:gd name="connsiteX353" fmla="*/ 385843 w 606329"/>
                <a:gd name="connsiteY353" fmla="*/ 84513 h 638069"/>
                <a:gd name="connsiteX354" fmla="*/ 382327 w 606329"/>
                <a:gd name="connsiteY354" fmla="*/ 81348 h 638069"/>
                <a:gd name="connsiteX355" fmla="*/ 379514 w 606329"/>
                <a:gd name="connsiteY355" fmla="*/ 78183 h 638069"/>
                <a:gd name="connsiteX356" fmla="*/ 376349 w 606329"/>
                <a:gd name="connsiteY356" fmla="*/ 75370 h 638069"/>
                <a:gd name="connsiteX357" fmla="*/ 372832 w 606329"/>
                <a:gd name="connsiteY357" fmla="*/ 74315 h 638069"/>
                <a:gd name="connsiteX358" fmla="*/ 371777 w 606329"/>
                <a:gd name="connsiteY358" fmla="*/ 69040 h 638069"/>
                <a:gd name="connsiteX359" fmla="*/ 371777 w 606329"/>
                <a:gd name="connsiteY359" fmla="*/ 62710 h 638069"/>
                <a:gd name="connsiteX360" fmla="*/ 370019 w 606329"/>
                <a:gd name="connsiteY360" fmla="*/ 55326 h 638069"/>
                <a:gd name="connsiteX361" fmla="*/ 364041 w 606329"/>
                <a:gd name="connsiteY361" fmla="*/ 52161 h 638069"/>
                <a:gd name="connsiteX362" fmla="*/ 359469 w 606329"/>
                <a:gd name="connsiteY362" fmla="*/ 44424 h 638069"/>
                <a:gd name="connsiteX363" fmla="*/ 357922 w 606329"/>
                <a:gd name="connsiteY363" fmla="*/ 40992 h 638069"/>
                <a:gd name="connsiteX364" fmla="*/ 357922 w 606329"/>
                <a:gd name="connsiteY364" fmla="*/ 40992 h 638069"/>
                <a:gd name="connsiteX365" fmla="*/ 353491 w 606329"/>
                <a:gd name="connsiteY365" fmla="*/ 30710 h 638069"/>
                <a:gd name="connsiteX366" fmla="*/ 352457 w 606329"/>
                <a:gd name="connsiteY366" fmla="*/ 24120 h 638069"/>
                <a:gd name="connsiteX367" fmla="*/ 352457 w 606329"/>
                <a:gd name="connsiteY367" fmla="*/ 24120 h 638069"/>
                <a:gd name="connsiteX368" fmla="*/ 351381 w 606329"/>
                <a:gd name="connsiteY368" fmla="*/ 17699 h 638069"/>
                <a:gd name="connsiteX369" fmla="*/ 345052 w 606329"/>
                <a:gd name="connsiteY369" fmla="*/ 15237 h 638069"/>
                <a:gd name="connsiteX370" fmla="*/ 338722 w 606329"/>
                <a:gd name="connsiteY370" fmla="*/ 25787 h 638069"/>
                <a:gd name="connsiteX371" fmla="*/ 335557 w 606329"/>
                <a:gd name="connsiteY371" fmla="*/ 32602 h 638069"/>
                <a:gd name="connsiteX372" fmla="*/ 335557 w 606329"/>
                <a:gd name="connsiteY372" fmla="*/ 32602 h 638069"/>
                <a:gd name="connsiteX373" fmla="*/ 334502 w 606329"/>
                <a:gd name="connsiteY373" fmla="*/ 34930 h 638069"/>
                <a:gd name="connsiteX374" fmla="*/ 333939 w 606329"/>
                <a:gd name="connsiteY374" fmla="*/ 36182 h 638069"/>
                <a:gd name="connsiteX375" fmla="*/ 329579 w 606329"/>
                <a:gd name="connsiteY375" fmla="*/ 42666 h 638069"/>
                <a:gd name="connsiteX376" fmla="*/ 321491 w 606329"/>
                <a:gd name="connsiteY376" fmla="*/ 48996 h 638069"/>
                <a:gd name="connsiteX377" fmla="*/ 317974 w 606329"/>
                <a:gd name="connsiteY377" fmla="*/ 47941 h 638069"/>
                <a:gd name="connsiteX378" fmla="*/ 313051 w 606329"/>
                <a:gd name="connsiteY378" fmla="*/ 44424 h 638069"/>
                <a:gd name="connsiteX379" fmla="*/ 307650 w 606329"/>
                <a:gd name="connsiteY379" fmla="*/ 45057 h 638069"/>
                <a:gd name="connsiteX380" fmla="*/ 304612 w 606329"/>
                <a:gd name="connsiteY380" fmla="*/ 45831 h 638069"/>
                <a:gd name="connsiteX381" fmla="*/ 295469 w 606329"/>
                <a:gd name="connsiteY381" fmla="*/ 42666 h 638069"/>
                <a:gd name="connsiteX382" fmla="*/ 287191 w 606329"/>
                <a:gd name="connsiteY382" fmla="*/ 44312 h 638069"/>
                <a:gd name="connsiteX383" fmla="*/ 287029 w 606329"/>
                <a:gd name="connsiteY383" fmla="*/ 44424 h 638069"/>
                <a:gd name="connsiteX384" fmla="*/ 282028 w 606329"/>
                <a:gd name="connsiteY384" fmla="*/ 42821 h 638069"/>
                <a:gd name="connsiteX385" fmla="*/ 279293 w 606329"/>
                <a:gd name="connsiteY385" fmla="*/ 41611 h 638069"/>
                <a:gd name="connsiteX386" fmla="*/ 275776 w 606329"/>
                <a:gd name="connsiteY386" fmla="*/ 52161 h 638069"/>
                <a:gd name="connsiteX387" fmla="*/ 263117 w 606329"/>
                <a:gd name="connsiteY387" fmla="*/ 52161 h 638069"/>
                <a:gd name="connsiteX388" fmla="*/ 252208 w 606329"/>
                <a:gd name="connsiteY388" fmla="*/ 55051 h 638069"/>
                <a:gd name="connsiteX389" fmla="*/ 249402 w 606329"/>
                <a:gd name="connsiteY389" fmla="*/ 56029 h 638069"/>
                <a:gd name="connsiteX390" fmla="*/ 247145 w 606329"/>
                <a:gd name="connsiteY390" fmla="*/ 57070 h 638069"/>
                <a:gd name="connsiteX391" fmla="*/ 231819 w 606329"/>
                <a:gd name="connsiteY391" fmla="*/ 60952 h 638069"/>
                <a:gd name="connsiteX392" fmla="*/ 220264 w 606329"/>
                <a:gd name="connsiteY392" fmla="*/ 49439 h 638069"/>
                <a:gd name="connsiteX393" fmla="*/ 218808 w 606329"/>
                <a:gd name="connsiteY393" fmla="*/ 45831 h 638069"/>
                <a:gd name="connsiteX394" fmla="*/ 217402 w 606329"/>
                <a:gd name="connsiteY394" fmla="*/ 28952 h 638069"/>
                <a:gd name="connsiteX395" fmla="*/ 220918 w 606329"/>
                <a:gd name="connsiteY395" fmla="*/ 15237 h 638069"/>
                <a:gd name="connsiteX396" fmla="*/ 215643 w 606329"/>
                <a:gd name="connsiteY396" fmla="*/ 10314 h 638069"/>
                <a:gd name="connsiteX397" fmla="*/ 214258 w 606329"/>
                <a:gd name="connsiteY397" fmla="*/ 3358 h 638069"/>
                <a:gd name="connsiteX398" fmla="*/ 214258 w 606329"/>
                <a:gd name="connsiteY398" fmla="*/ 3358 h 638069"/>
                <a:gd name="connsiteX399" fmla="*/ 213885 w 606329"/>
                <a:gd name="connsiteY399" fmla="*/ 468 h 638069"/>
                <a:gd name="connsiteX400" fmla="*/ 202773 w 606329"/>
                <a:gd name="connsiteY400" fmla="*/ 67 h 638069"/>
                <a:gd name="connsiteX401" fmla="*/ 202984 w 606329"/>
                <a:gd name="connsiteY401" fmla="*/ 1171 h 638069"/>
                <a:gd name="connsiteX402" fmla="*/ 196303 w 606329"/>
                <a:gd name="connsiteY402" fmla="*/ 12424 h 638069"/>
                <a:gd name="connsiteX403" fmla="*/ 179775 w 606329"/>
                <a:gd name="connsiteY403" fmla="*/ 16644 h 638069"/>
                <a:gd name="connsiteX404" fmla="*/ 175506 w 606329"/>
                <a:gd name="connsiteY404" fmla="*/ 18627 h 638069"/>
                <a:gd name="connsiteX405" fmla="*/ 165357 w 606329"/>
                <a:gd name="connsiteY405" fmla="*/ 21919 h 638069"/>
                <a:gd name="connsiteX406" fmla="*/ 157586 w 606329"/>
                <a:gd name="connsiteY406" fmla="*/ 20322 h 638069"/>
                <a:gd name="connsiteX407" fmla="*/ 157586 w 606329"/>
                <a:gd name="connsiteY407" fmla="*/ 20322 h 638069"/>
                <a:gd name="connsiteX408" fmla="*/ 155159 w 606329"/>
                <a:gd name="connsiteY408" fmla="*/ 19809 h 638069"/>
                <a:gd name="connsiteX409" fmla="*/ 151741 w 606329"/>
                <a:gd name="connsiteY409" fmla="*/ 18585 h 638069"/>
                <a:gd name="connsiteX410" fmla="*/ 142148 w 606329"/>
                <a:gd name="connsiteY410" fmla="*/ 16644 h 638069"/>
                <a:gd name="connsiteX411" fmla="*/ 147423 w 606329"/>
                <a:gd name="connsiteY411" fmla="*/ 33523 h 638069"/>
                <a:gd name="connsiteX412" fmla="*/ 155159 w 606329"/>
                <a:gd name="connsiteY412" fmla="*/ 41611 h 638069"/>
                <a:gd name="connsiteX413" fmla="*/ 161137 w 606329"/>
                <a:gd name="connsiteY413" fmla="*/ 46886 h 638069"/>
                <a:gd name="connsiteX414" fmla="*/ 150236 w 606329"/>
                <a:gd name="connsiteY414" fmla="*/ 55326 h 638069"/>
                <a:gd name="connsiteX415" fmla="*/ 142148 w 606329"/>
                <a:gd name="connsiteY415" fmla="*/ 60952 h 638069"/>
                <a:gd name="connsiteX416" fmla="*/ 132653 w 606329"/>
                <a:gd name="connsiteY416" fmla="*/ 64117 h 638069"/>
                <a:gd name="connsiteX417" fmla="*/ 125269 w 606329"/>
                <a:gd name="connsiteY417" fmla="*/ 67985 h 638069"/>
                <a:gd name="connsiteX418" fmla="*/ 118236 w 606329"/>
                <a:gd name="connsiteY418" fmla="*/ 67985 h 638069"/>
                <a:gd name="connsiteX419" fmla="*/ 110148 w 606329"/>
                <a:gd name="connsiteY419" fmla="*/ 60952 h 638069"/>
                <a:gd name="connsiteX420" fmla="*/ 102763 w 606329"/>
                <a:gd name="connsiteY420" fmla="*/ 52161 h 638069"/>
                <a:gd name="connsiteX421" fmla="*/ 99429 w 606329"/>
                <a:gd name="connsiteY421" fmla="*/ 48250 h 638069"/>
                <a:gd name="connsiteX422" fmla="*/ 98536 w 606329"/>
                <a:gd name="connsiteY422" fmla="*/ 49495 h 638069"/>
                <a:gd name="connsiteX423" fmla="*/ 97136 w 606329"/>
                <a:gd name="connsiteY423" fmla="*/ 51457 h 638069"/>
                <a:gd name="connsiteX424" fmla="*/ 92213 w 606329"/>
                <a:gd name="connsiteY424" fmla="*/ 54271 h 638069"/>
                <a:gd name="connsiteX425" fmla="*/ 64784 w 606329"/>
                <a:gd name="connsiteY425" fmla="*/ 54271 h 638069"/>
                <a:gd name="connsiteX426" fmla="*/ 60825 w 606329"/>
                <a:gd name="connsiteY426" fmla="*/ 57949 h 638069"/>
                <a:gd name="connsiteX427" fmla="*/ 61620 w 606329"/>
                <a:gd name="connsiteY427" fmla="*/ 59194 h 638069"/>
                <a:gd name="connsiteX428" fmla="*/ 64602 w 606329"/>
                <a:gd name="connsiteY428" fmla="*/ 62640 h 638069"/>
                <a:gd name="connsiteX429" fmla="*/ 69004 w 606329"/>
                <a:gd name="connsiteY429" fmla="*/ 68337 h 638069"/>
                <a:gd name="connsiteX430" fmla="*/ 68139 w 606329"/>
                <a:gd name="connsiteY430" fmla="*/ 71579 h 638069"/>
                <a:gd name="connsiteX431" fmla="*/ 66543 w 606329"/>
                <a:gd name="connsiteY431" fmla="*/ 73548 h 638069"/>
                <a:gd name="connsiteX432" fmla="*/ 60565 w 606329"/>
                <a:gd name="connsiteY432" fmla="*/ 73548 h 638069"/>
                <a:gd name="connsiteX433" fmla="*/ 58103 w 606329"/>
                <a:gd name="connsiteY433" fmla="*/ 80645 h 638069"/>
                <a:gd name="connsiteX434" fmla="*/ 61859 w 606329"/>
                <a:gd name="connsiteY434" fmla="*/ 86039 h 638069"/>
                <a:gd name="connsiteX435" fmla="*/ 64784 w 606329"/>
                <a:gd name="connsiteY435" fmla="*/ 89084 h 638069"/>
                <a:gd name="connsiteX436" fmla="*/ 66543 w 606329"/>
                <a:gd name="connsiteY436" fmla="*/ 99985 h 638069"/>
                <a:gd name="connsiteX437" fmla="*/ 66543 w 606329"/>
                <a:gd name="connsiteY437" fmla="*/ 112997 h 638069"/>
                <a:gd name="connsiteX438" fmla="*/ 66634 w 606329"/>
                <a:gd name="connsiteY438" fmla="*/ 116921 h 638069"/>
                <a:gd name="connsiteX439" fmla="*/ 66543 w 606329"/>
                <a:gd name="connsiteY439" fmla="*/ 122843 h 638069"/>
                <a:gd name="connsiteX440" fmla="*/ 60565 w 606329"/>
                <a:gd name="connsiteY440" fmla="*/ 137612 h 638069"/>
                <a:gd name="connsiteX441" fmla="*/ 58103 w 606329"/>
                <a:gd name="connsiteY441" fmla="*/ 146404 h 638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</a:cxnLst>
              <a:rect l="l" t="t" r="r" b="b"/>
              <a:pathLst>
                <a:path w="606329" h="638069">
                  <a:moveTo>
                    <a:pt x="58103" y="146404"/>
                  </a:moveTo>
                  <a:cubicBezTo>
                    <a:pt x="57576" y="145904"/>
                    <a:pt x="56936" y="145278"/>
                    <a:pt x="56253" y="144589"/>
                  </a:cubicBezTo>
                  <a:cubicBezTo>
                    <a:pt x="56457" y="146509"/>
                    <a:pt x="56584" y="148148"/>
                    <a:pt x="56345" y="148865"/>
                  </a:cubicBezTo>
                  <a:cubicBezTo>
                    <a:pt x="55979" y="149955"/>
                    <a:pt x="54586" y="149540"/>
                    <a:pt x="53032" y="149083"/>
                  </a:cubicBezTo>
                  <a:cubicBezTo>
                    <a:pt x="51576" y="148654"/>
                    <a:pt x="49980" y="148183"/>
                    <a:pt x="48960" y="148865"/>
                  </a:cubicBezTo>
                  <a:cubicBezTo>
                    <a:pt x="47898" y="149575"/>
                    <a:pt x="45851" y="149660"/>
                    <a:pt x="43678" y="149744"/>
                  </a:cubicBezTo>
                  <a:cubicBezTo>
                    <a:pt x="41540" y="149836"/>
                    <a:pt x="39276" y="149927"/>
                    <a:pt x="37707" y="150623"/>
                  </a:cubicBezTo>
                  <a:cubicBezTo>
                    <a:pt x="35759" y="151488"/>
                    <a:pt x="34746" y="151559"/>
                    <a:pt x="33438" y="151643"/>
                  </a:cubicBezTo>
                  <a:cubicBezTo>
                    <a:pt x="32615" y="151699"/>
                    <a:pt x="31680" y="151756"/>
                    <a:pt x="30322" y="152030"/>
                  </a:cubicBezTo>
                  <a:cubicBezTo>
                    <a:pt x="28227" y="152452"/>
                    <a:pt x="27882" y="152740"/>
                    <a:pt x="26975" y="153507"/>
                  </a:cubicBezTo>
                  <a:cubicBezTo>
                    <a:pt x="26363" y="154027"/>
                    <a:pt x="25491" y="154759"/>
                    <a:pt x="23641" y="155898"/>
                  </a:cubicBezTo>
                  <a:cubicBezTo>
                    <a:pt x="20814" y="157635"/>
                    <a:pt x="20540" y="158029"/>
                    <a:pt x="20167" y="158578"/>
                  </a:cubicBezTo>
                  <a:cubicBezTo>
                    <a:pt x="19935" y="158915"/>
                    <a:pt x="19660" y="159309"/>
                    <a:pt x="18718" y="160118"/>
                  </a:cubicBezTo>
                  <a:cubicBezTo>
                    <a:pt x="17164" y="161447"/>
                    <a:pt x="17009" y="161940"/>
                    <a:pt x="16847" y="162474"/>
                  </a:cubicBezTo>
                  <a:cubicBezTo>
                    <a:pt x="16749" y="162791"/>
                    <a:pt x="16643" y="163114"/>
                    <a:pt x="16256" y="163635"/>
                  </a:cubicBezTo>
                  <a:cubicBezTo>
                    <a:pt x="15602" y="164507"/>
                    <a:pt x="15089" y="165639"/>
                    <a:pt x="14372" y="167214"/>
                  </a:cubicBezTo>
                  <a:cubicBezTo>
                    <a:pt x="13928" y="168185"/>
                    <a:pt x="13408" y="169324"/>
                    <a:pt x="12740" y="170668"/>
                  </a:cubicBezTo>
                  <a:cubicBezTo>
                    <a:pt x="12198" y="171744"/>
                    <a:pt x="11825" y="172426"/>
                    <a:pt x="11537" y="172953"/>
                  </a:cubicBezTo>
                  <a:cubicBezTo>
                    <a:pt x="10883" y="174149"/>
                    <a:pt x="10658" y="174557"/>
                    <a:pt x="9927" y="176997"/>
                  </a:cubicBezTo>
                  <a:cubicBezTo>
                    <a:pt x="9441" y="178608"/>
                    <a:pt x="9033" y="179628"/>
                    <a:pt x="8632" y="180633"/>
                  </a:cubicBezTo>
                  <a:cubicBezTo>
                    <a:pt x="8154" y="181822"/>
                    <a:pt x="7683" y="182990"/>
                    <a:pt x="7113" y="185085"/>
                  </a:cubicBezTo>
                  <a:cubicBezTo>
                    <a:pt x="6417" y="187638"/>
                    <a:pt x="6023" y="187892"/>
                    <a:pt x="5440" y="188278"/>
                  </a:cubicBezTo>
                  <a:cubicBezTo>
                    <a:pt x="5137" y="188475"/>
                    <a:pt x="4778" y="188707"/>
                    <a:pt x="4300" y="189305"/>
                  </a:cubicBezTo>
                  <a:cubicBezTo>
                    <a:pt x="3597" y="190184"/>
                    <a:pt x="3154" y="190620"/>
                    <a:pt x="2675" y="191106"/>
                  </a:cubicBezTo>
                  <a:cubicBezTo>
                    <a:pt x="2190" y="191591"/>
                    <a:pt x="1663" y="192118"/>
                    <a:pt x="784" y="193173"/>
                  </a:cubicBezTo>
                  <a:cubicBezTo>
                    <a:pt x="-363" y="194545"/>
                    <a:pt x="-18" y="195326"/>
                    <a:pt x="362" y="196184"/>
                  </a:cubicBezTo>
                  <a:lnTo>
                    <a:pt x="362" y="196184"/>
                  </a:lnTo>
                  <a:cubicBezTo>
                    <a:pt x="566" y="196648"/>
                    <a:pt x="784" y="197133"/>
                    <a:pt x="784" y="197745"/>
                  </a:cubicBezTo>
                  <a:lnTo>
                    <a:pt x="784" y="203723"/>
                  </a:lnTo>
                  <a:cubicBezTo>
                    <a:pt x="784" y="205235"/>
                    <a:pt x="2633" y="207401"/>
                    <a:pt x="4631" y="209743"/>
                  </a:cubicBezTo>
                  <a:cubicBezTo>
                    <a:pt x="5897" y="211227"/>
                    <a:pt x="7219" y="212775"/>
                    <a:pt x="8168" y="214273"/>
                  </a:cubicBezTo>
                  <a:cubicBezTo>
                    <a:pt x="10630" y="218141"/>
                    <a:pt x="10982" y="219547"/>
                    <a:pt x="10982" y="221306"/>
                  </a:cubicBezTo>
                  <a:cubicBezTo>
                    <a:pt x="10982" y="221903"/>
                    <a:pt x="11024" y="222339"/>
                    <a:pt x="11059" y="222769"/>
                  </a:cubicBezTo>
                  <a:cubicBezTo>
                    <a:pt x="11136" y="223591"/>
                    <a:pt x="11214" y="224372"/>
                    <a:pt x="10982" y="226229"/>
                  </a:cubicBezTo>
                  <a:cubicBezTo>
                    <a:pt x="10749" y="228099"/>
                    <a:pt x="11136" y="228571"/>
                    <a:pt x="11734" y="229295"/>
                  </a:cubicBezTo>
                  <a:cubicBezTo>
                    <a:pt x="12029" y="229661"/>
                    <a:pt x="12388" y="230090"/>
                    <a:pt x="12740" y="230800"/>
                  </a:cubicBezTo>
                  <a:cubicBezTo>
                    <a:pt x="13317" y="231961"/>
                    <a:pt x="14639" y="231954"/>
                    <a:pt x="16355" y="231940"/>
                  </a:cubicBezTo>
                  <a:cubicBezTo>
                    <a:pt x="17761" y="231933"/>
                    <a:pt x="19435" y="231926"/>
                    <a:pt x="21179" y="232558"/>
                  </a:cubicBezTo>
                  <a:cubicBezTo>
                    <a:pt x="23613" y="233445"/>
                    <a:pt x="24239" y="234190"/>
                    <a:pt x="24893" y="234971"/>
                  </a:cubicBezTo>
                  <a:cubicBezTo>
                    <a:pt x="25280" y="235435"/>
                    <a:pt x="25674" y="235906"/>
                    <a:pt x="26454" y="236427"/>
                  </a:cubicBezTo>
                  <a:cubicBezTo>
                    <a:pt x="28142" y="237552"/>
                    <a:pt x="33487" y="236898"/>
                    <a:pt x="35949" y="236427"/>
                  </a:cubicBezTo>
                  <a:cubicBezTo>
                    <a:pt x="36533" y="235955"/>
                    <a:pt x="38340" y="234809"/>
                    <a:pt x="40872" y="233965"/>
                  </a:cubicBezTo>
                  <a:cubicBezTo>
                    <a:pt x="42335" y="233480"/>
                    <a:pt x="43045" y="233438"/>
                    <a:pt x="43770" y="233402"/>
                  </a:cubicBezTo>
                  <a:cubicBezTo>
                    <a:pt x="44614" y="233360"/>
                    <a:pt x="45472" y="233318"/>
                    <a:pt x="47553" y="232558"/>
                  </a:cubicBezTo>
                  <a:cubicBezTo>
                    <a:pt x="50803" y="231377"/>
                    <a:pt x="50578" y="233177"/>
                    <a:pt x="50423" y="234408"/>
                  </a:cubicBezTo>
                  <a:cubicBezTo>
                    <a:pt x="50395" y="234640"/>
                    <a:pt x="50367" y="234851"/>
                    <a:pt x="50367" y="235020"/>
                  </a:cubicBezTo>
                  <a:lnTo>
                    <a:pt x="50367" y="240295"/>
                  </a:lnTo>
                  <a:lnTo>
                    <a:pt x="50367" y="246273"/>
                  </a:lnTo>
                  <a:cubicBezTo>
                    <a:pt x="50367" y="248369"/>
                    <a:pt x="50367" y="249093"/>
                    <a:pt x="50514" y="249782"/>
                  </a:cubicBezTo>
                  <a:cubicBezTo>
                    <a:pt x="50592" y="250141"/>
                    <a:pt x="50711" y="250493"/>
                    <a:pt x="50894" y="251027"/>
                  </a:cubicBezTo>
                  <a:cubicBezTo>
                    <a:pt x="50950" y="251182"/>
                    <a:pt x="51007" y="251358"/>
                    <a:pt x="51070" y="251548"/>
                  </a:cubicBezTo>
                  <a:cubicBezTo>
                    <a:pt x="51773" y="253658"/>
                    <a:pt x="55641" y="254713"/>
                    <a:pt x="58103" y="254713"/>
                  </a:cubicBezTo>
                  <a:lnTo>
                    <a:pt x="67949" y="254713"/>
                  </a:lnTo>
                  <a:cubicBezTo>
                    <a:pt x="71030" y="254713"/>
                    <a:pt x="72232" y="254523"/>
                    <a:pt x="75531" y="254016"/>
                  </a:cubicBezTo>
                  <a:cubicBezTo>
                    <a:pt x="76748" y="253826"/>
                    <a:pt x="78260" y="253594"/>
                    <a:pt x="80257" y="253306"/>
                  </a:cubicBezTo>
                  <a:cubicBezTo>
                    <a:pt x="84990" y="252631"/>
                    <a:pt x="86109" y="251667"/>
                    <a:pt x="87135" y="250781"/>
                  </a:cubicBezTo>
                  <a:cubicBezTo>
                    <a:pt x="87712" y="250289"/>
                    <a:pt x="88261" y="249818"/>
                    <a:pt x="89400" y="249438"/>
                  </a:cubicBezTo>
                  <a:cubicBezTo>
                    <a:pt x="91932" y="248594"/>
                    <a:pt x="97488" y="245098"/>
                    <a:pt x="99950" y="243460"/>
                  </a:cubicBezTo>
                  <a:cubicBezTo>
                    <a:pt x="101356" y="242053"/>
                    <a:pt x="104381" y="238959"/>
                    <a:pt x="105224" y="237833"/>
                  </a:cubicBezTo>
                  <a:cubicBezTo>
                    <a:pt x="106040" y="236743"/>
                    <a:pt x="106856" y="236286"/>
                    <a:pt x="107995" y="235653"/>
                  </a:cubicBezTo>
                  <a:cubicBezTo>
                    <a:pt x="108333" y="235463"/>
                    <a:pt x="108692" y="235259"/>
                    <a:pt x="109093" y="235020"/>
                  </a:cubicBezTo>
                  <a:cubicBezTo>
                    <a:pt x="110851" y="233965"/>
                    <a:pt x="115071" y="233965"/>
                    <a:pt x="121401" y="233965"/>
                  </a:cubicBezTo>
                  <a:cubicBezTo>
                    <a:pt x="124200" y="233965"/>
                    <a:pt x="125691" y="233761"/>
                    <a:pt x="126696" y="233620"/>
                  </a:cubicBezTo>
                  <a:cubicBezTo>
                    <a:pt x="127969" y="233445"/>
                    <a:pt x="128469" y="233374"/>
                    <a:pt x="129840" y="233965"/>
                  </a:cubicBezTo>
                  <a:cubicBezTo>
                    <a:pt x="131437" y="234647"/>
                    <a:pt x="130958" y="236075"/>
                    <a:pt x="130431" y="237664"/>
                  </a:cubicBezTo>
                  <a:cubicBezTo>
                    <a:pt x="130143" y="238522"/>
                    <a:pt x="129840" y="239430"/>
                    <a:pt x="129840" y="240295"/>
                  </a:cubicBezTo>
                  <a:cubicBezTo>
                    <a:pt x="129840" y="241195"/>
                    <a:pt x="129791" y="241716"/>
                    <a:pt x="129749" y="242194"/>
                  </a:cubicBezTo>
                  <a:cubicBezTo>
                    <a:pt x="129678" y="243017"/>
                    <a:pt x="129615" y="243692"/>
                    <a:pt x="129840" y="245921"/>
                  </a:cubicBezTo>
                  <a:cubicBezTo>
                    <a:pt x="130100" y="248509"/>
                    <a:pt x="130740" y="249761"/>
                    <a:pt x="131198" y="250669"/>
                  </a:cubicBezTo>
                  <a:cubicBezTo>
                    <a:pt x="131366" y="250992"/>
                    <a:pt x="131507" y="251266"/>
                    <a:pt x="131598" y="251548"/>
                  </a:cubicBezTo>
                  <a:cubicBezTo>
                    <a:pt x="131950" y="252603"/>
                    <a:pt x="133708" y="258932"/>
                    <a:pt x="133708" y="262449"/>
                  </a:cubicBezTo>
                  <a:cubicBezTo>
                    <a:pt x="134137" y="263307"/>
                    <a:pt x="135220" y="264425"/>
                    <a:pt x="136472" y="265726"/>
                  </a:cubicBezTo>
                  <a:cubicBezTo>
                    <a:pt x="137281" y="266556"/>
                    <a:pt x="138160" y="267463"/>
                    <a:pt x="138983" y="268427"/>
                  </a:cubicBezTo>
                  <a:cubicBezTo>
                    <a:pt x="140390" y="270066"/>
                    <a:pt x="141171" y="271086"/>
                    <a:pt x="141951" y="272098"/>
                  </a:cubicBezTo>
                  <a:cubicBezTo>
                    <a:pt x="142345" y="272605"/>
                    <a:pt x="142732" y="273118"/>
                    <a:pt x="143203" y="273702"/>
                  </a:cubicBezTo>
                  <a:cubicBezTo>
                    <a:pt x="144610" y="275460"/>
                    <a:pt x="146368" y="275812"/>
                    <a:pt x="149533" y="275812"/>
                  </a:cubicBezTo>
                  <a:lnTo>
                    <a:pt x="158676" y="275812"/>
                  </a:lnTo>
                  <a:cubicBezTo>
                    <a:pt x="161172" y="275812"/>
                    <a:pt x="161763" y="276543"/>
                    <a:pt x="162720" y="277725"/>
                  </a:cubicBezTo>
                  <a:cubicBezTo>
                    <a:pt x="163247" y="278372"/>
                    <a:pt x="163880" y="279160"/>
                    <a:pt x="165005" y="280032"/>
                  </a:cubicBezTo>
                  <a:cubicBezTo>
                    <a:pt x="166588" y="281262"/>
                    <a:pt x="167115" y="281614"/>
                    <a:pt x="167643" y="281966"/>
                  </a:cubicBezTo>
                  <a:cubicBezTo>
                    <a:pt x="168170" y="282317"/>
                    <a:pt x="168698" y="282669"/>
                    <a:pt x="170280" y="283900"/>
                  </a:cubicBezTo>
                  <a:cubicBezTo>
                    <a:pt x="172376" y="285531"/>
                    <a:pt x="174163" y="285771"/>
                    <a:pt x="176251" y="286059"/>
                  </a:cubicBezTo>
                  <a:cubicBezTo>
                    <a:pt x="177320" y="286200"/>
                    <a:pt x="178467" y="286354"/>
                    <a:pt x="179775" y="286713"/>
                  </a:cubicBezTo>
                  <a:cubicBezTo>
                    <a:pt x="182518" y="287459"/>
                    <a:pt x="183671" y="288914"/>
                    <a:pt x="184979" y="290574"/>
                  </a:cubicBezTo>
                  <a:cubicBezTo>
                    <a:pt x="185521" y="291256"/>
                    <a:pt x="186091" y="291974"/>
                    <a:pt x="186808" y="292691"/>
                  </a:cubicBezTo>
                  <a:cubicBezTo>
                    <a:pt x="188334" y="294217"/>
                    <a:pt x="189319" y="294119"/>
                    <a:pt x="190606" y="293992"/>
                  </a:cubicBezTo>
                  <a:cubicBezTo>
                    <a:pt x="191386" y="293922"/>
                    <a:pt x="192287" y="293831"/>
                    <a:pt x="193489" y="294098"/>
                  </a:cubicBezTo>
                  <a:cubicBezTo>
                    <a:pt x="194706" y="294365"/>
                    <a:pt x="196077" y="294379"/>
                    <a:pt x="197449" y="294386"/>
                  </a:cubicBezTo>
                  <a:cubicBezTo>
                    <a:pt x="199636" y="294407"/>
                    <a:pt x="201824" y="294421"/>
                    <a:pt x="203336" y="295504"/>
                  </a:cubicBezTo>
                  <a:cubicBezTo>
                    <a:pt x="205284" y="296897"/>
                    <a:pt x="205467" y="298064"/>
                    <a:pt x="205987" y="301271"/>
                  </a:cubicBezTo>
                  <a:lnTo>
                    <a:pt x="205987" y="301278"/>
                  </a:lnTo>
                  <a:cubicBezTo>
                    <a:pt x="206121" y="302122"/>
                    <a:pt x="206282" y="303121"/>
                    <a:pt x="206500" y="304296"/>
                  </a:cubicBezTo>
                  <a:cubicBezTo>
                    <a:pt x="207197" y="308016"/>
                    <a:pt x="207591" y="308508"/>
                    <a:pt x="208076" y="309127"/>
                  </a:cubicBezTo>
                  <a:cubicBezTo>
                    <a:pt x="208329" y="309444"/>
                    <a:pt x="208603" y="309788"/>
                    <a:pt x="208962" y="310625"/>
                  </a:cubicBezTo>
                  <a:cubicBezTo>
                    <a:pt x="209616" y="312144"/>
                    <a:pt x="209461" y="312728"/>
                    <a:pt x="209250" y="313530"/>
                  </a:cubicBezTo>
                  <a:cubicBezTo>
                    <a:pt x="209117" y="314029"/>
                    <a:pt x="208962" y="314606"/>
                    <a:pt x="208962" y="315549"/>
                  </a:cubicBezTo>
                  <a:cubicBezTo>
                    <a:pt x="208962" y="316414"/>
                    <a:pt x="208878" y="316976"/>
                    <a:pt x="208793" y="317504"/>
                  </a:cubicBezTo>
                  <a:cubicBezTo>
                    <a:pt x="208639" y="318488"/>
                    <a:pt x="208505" y="319367"/>
                    <a:pt x="208962" y="321878"/>
                  </a:cubicBezTo>
                  <a:cubicBezTo>
                    <a:pt x="209307" y="323784"/>
                    <a:pt x="209827" y="324924"/>
                    <a:pt x="210263" y="325880"/>
                  </a:cubicBezTo>
                  <a:cubicBezTo>
                    <a:pt x="210713" y="326865"/>
                    <a:pt x="211072" y="327659"/>
                    <a:pt x="211072" y="328911"/>
                  </a:cubicBezTo>
                  <a:cubicBezTo>
                    <a:pt x="211072" y="329854"/>
                    <a:pt x="210967" y="330536"/>
                    <a:pt x="210882" y="331120"/>
                  </a:cubicBezTo>
                  <a:cubicBezTo>
                    <a:pt x="210741" y="332062"/>
                    <a:pt x="210636" y="332744"/>
                    <a:pt x="211072" y="333834"/>
                  </a:cubicBezTo>
                  <a:cubicBezTo>
                    <a:pt x="211621" y="335206"/>
                    <a:pt x="212598" y="335297"/>
                    <a:pt x="214173" y="335431"/>
                  </a:cubicBezTo>
                  <a:cubicBezTo>
                    <a:pt x="214617" y="335473"/>
                    <a:pt x="215102" y="335515"/>
                    <a:pt x="215643" y="335593"/>
                  </a:cubicBezTo>
                  <a:cubicBezTo>
                    <a:pt x="216614" y="335733"/>
                    <a:pt x="217852" y="335818"/>
                    <a:pt x="219230" y="335909"/>
                  </a:cubicBezTo>
                  <a:lnTo>
                    <a:pt x="219230" y="335909"/>
                  </a:lnTo>
                  <a:cubicBezTo>
                    <a:pt x="221368" y="336050"/>
                    <a:pt x="223844" y="336219"/>
                    <a:pt x="226193" y="336648"/>
                  </a:cubicBezTo>
                  <a:cubicBezTo>
                    <a:pt x="227712" y="336922"/>
                    <a:pt x="229126" y="336985"/>
                    <a:pt x="230455" y="337042"/>
                  </a:cubicBezTo>
                  <a:lnTo>
                    <a:pt x="230455" y="337042"/>
                  </a:lnTo>
                  <a:cubicBezTo>
                    <a:pt x="232495" y="337126"/>
                    <a:pt x="234330" y="337203"/>
                    <a:pt x="236039" y="338054"/>
                  </a:cubicBezTo>
                  <a:cubicBezTo>
                    <a:pt x="237769" y="338919"/>
                    <a:pt x="238831" y="338589"/>
                    <a:pt x="239802" y="338286"/>
                  </a:cubicBezTo>
                  <a:cubicBezTo>
                    <a:pt x="240414" y="338097"/>
                    <a:pt x="240991" y="337921"/>
                    <a:pt x="241666" y="338054"/>
                  </a:cubicBezTo>
                  <a:cubicBezTo>
                    <a:pt x="242763" y="338272"/>
                    <a:pt x="242489" y="339461"/>
                    <a:pt x="242130" y="341001"/>
                  </a:cubicBezTo>
                  <a:cubicBezTo>
                    <a:pt x="241912" y="341930"/>
                    <a:pt x="241666" y="342977"/>
                    <a:pt x="241666" y="344032"/>
                  </a:cubicBezTo>
                  <a:cubicBezTo>
                    <a:pt x="241666" y="346241"/>
                    <a:pt x="241884" y="347148"/>
                    <a:pt x="242313" y="348963"/>
                  </a:cubicBezTo>
                  <a:cubicBezTo>
                    <a:pt x="242432" y="349462"/>
                    <a:pt x="242566" y="350032"/>
                    <a:pt x="242721" y="350714"/>
                  </a:cubicBezTo>
                  <a:cubicBezTo>
                    <a:pt x="243143" y="352613"/>
                    <a:pt x="244071" y="353499"/>
                    <a:pt x="245049" y="354434"/>
                  </a:cubicBezTo>
                  <a:cubicBezTo>
                    <a:pt x="245703" y="355060"/>
                    <a:pt x="246378" y="355707"/>
                    <a:pt x="246941" y="356692"/>
                  </a:cubicBezTo>
                  <a:cubicBezTo>
                    <a:pt x="247595" y="357838"/>
                    <a:pt x="248635" y="358837"/>
                    <a:pt x="249669" y="359822"/>
                  </a:cubicBezTo>
                  <a:cubicBezTo>
                    <a:pt x="250844" y="360947"/>
                    <a:pt x="252004" y="362058"/>
                    <a:pt x="252567" y="363373"/>
                  </a:cubicBezTo>
                  <a:cubicBezTo>
                    <a:pt x="253270" y="365005"/>
                    <a:pt x="253038" y="368346"/>
                    <a:pt x="252806" y="371743"/>
                  </a:cubicBezTo>
                  <a:lnTo>
                    <a:pt x="252806" y="371743"/>
                  </a:lnTo>
                  <a:lnTo>
                    <a:pt x="252806" y="371743"/>
                  </a:lnTo>
                  <a:cubicBezTo>
                    <a:pt x="252686" y="373466"/>
                    <a:pt x="252567" y="375196"/>
                    <a:pt x="252567" y="376736"/>
                  </a:cubicBezTo>
                  <a:cubicBezTo>
                    <a:pt x="252567" y="380175"/>
                    <a:pt x="252370" y="380632"/>
                    <a:pt x="251371" y="382897"/>
                  </a:cubicBezTo>
                  <a:cubicBezTo>
                    <a:pt x="251041" y="383636"/>
                    <a:pt x="250626" y="384578"/>
                    <a:pt x="250105" y="385879"/>
                  </a:cubicBezTo>
                  <a:cubicBezTo>
                    <a:pt x="249233" y="388066"/>
                    <a:pt x="248903" y="389227"/>
                    <a:pt x="248664" y="390057"/>
                  </a:cubicBezTo>
                  <a:cubicBezTo>
                    <a:pt x="248326" y="391238"/>
                    <a:pt x="248178" y="391766"/>
                    <a:pt x="246941" y="393615"/>
                  </a:cubicBezTo>
                  <a:cubicBezTo>
                    <a:pt x="245794" y="395331"/>
                    <a:pt x="245893" y="396014"/>
                    <a:pt x="245998" y="396731"/>
                  </a:cubicBezTo>
                  <a:cubicBezTo>
                    <a:pt x="246083" y="397336"/>
                    <a:pt x="246174" y="397955"/>
                    <a:pt x="245534" y="399242"/>
                  </a:cubicBezTo>
                  <a:cubicBezTo>
                    <a:pt x="244598" y="401120"/>
                    <a:pt x="244753" y="401746"/>
                    <a:pt x="245063" y="402991"/>
                  </a:cubicBezTo>
                  <a:cubicBezTo>
                    <a:pt x="245225" y="403616"/>
                    <a:pt x="245414" y="404397"/>
                    <a:pt x="245534" y="405572"/>
                  </a:cubicBezTo>
                  <a:cubicBezTo>
                    <a:pt x="245703" y="407274"/>
                    <a:pt x="246040" y="407984"/>
                    <a:pt x="246336" y="408624"/>
                  </a:cubicBezTo>
                  <a:cubicBezTo>
                    <a:pt x="246659" y="409313"/>
                    <a:pt x="246941" y="409911"/>
                    <a:pt x="246941" y="411550"/>
                  </a:cubicBezTo>
                  <a:lnTo>
                    <a:pt x="246941" y="422099"/>
                  </a:lnTo>
                  <a:cubicBezTo>
                    <a:pt x="246941" y="426319"/>
                    <a:pt x="247644" y="429132"/>
                    <a:pt x="250105" y="434055"/>
                  </a:cubicBezTo>
                  <a:cubicBezTo>
                    <a:pt x="250394" y="434196"/>
                    <a:pt x="250668" y="434344"/>
                    <a:pt x="250935" y="434484"/>
                  </a:cubicBezTo>
                  <a:cubicBezTo>
                    <a:pt x="251969" y="435033"/>
                    <a:pt x="252926" y="435532"/>
                    <a:pt x="254325" y="435814"/>
                  </a:cubicBezTo>
                  <a:cubicBezTo>
                    <a:pt x="254621" y="435870"/>
                    <a:pt x="254944" y="435940"/>
                    <a:pt x="255296" y="436018"/>
                  </a:cubicBezTo>
                  <a:lnTo>
                    <a:pt x="255296" y="436018"/>
                  </a:lnTo>
                  <a:cubicBezTo>
                    <a:pt x="257026" y="436383"/>
                    <a:pt x="259312" y="436869"/>
                    <a:pt x="261358" y="436869"/>
                  </a:cubicBezTo>
                  <a:lnTo>
                    <a:pt x="269798" y="436869"/>
                  </a:lnTo>
                  <a:cubicBezTo>
                    <a:pt x="273314" y="436869"/>
                    <a:pt x="274369" y="436869"/>
                    <a:pt x="277886" y="437924"/>
                  </a:cubicBezTo>
                  <a:cubicBezTo>
                    <a:pt x="280122" y="438599"/>
                    <a:pt x="280080" y="439126"/>
                    <a:pt x="280031" y="439787"/>
                  </a:cubicBezTo>
                  <a:cubicBezTo>
                    <a:pt x="279996" y="440160"/>
                    <a:pt x="279968" y="440575"/>
                    <a:pt x="280348" y="441089"/>
                  </a:cubicBezTo>
                  <a:cubicBezTo>
                    <a:pt x="280903" y="441834"/>
                    <a:pt x="281072" y="442277"/>
                    <a:pt x="281410" y="443213"/>
                  </a:cubicBezTo>
                  <a:cubicBezTo>
                    <a:pt x="281719" y="444043"/>
                    <a:pt x="282162" y="445259"/>
                    <a:pt x="283161" y="447418"/>
                  </a:cubicBezTo>
                  <a:cubicBezTo>
                    <a:pt x="284750" y="450858"/>
                    <a:pt x="284743" y="450914"/>
                    <a:pt x="284645" y="451779"/>
                  </a:cubicBezTo>
                  <a:cubicBezTo>
                    <a:pt x="284610" y="452067"/>
                    <a:pt x="284567" y="452440"/>
                    <a:pt x="284567" y="453045"/>
                  </a:cubicBezTo>
                  <a:lnTo>
                    <a:pt x="284567" y="458671"/>
                  </a:lnTo>
                  <a:cubicBezTo>
                    <a:pt x="284567" y="460732"/>
                    <a:pt x="285130" y="461090"/>
                    <a:pt x="285847" y="461555"/>
                  </a:cubicBezTo>
                  <a:cubicBezTo>
                    <a:pt x="286115" y="461723"/>
                    <a:pt x="286396" y="461906"/>
                    <a:pt x="286677" y="462188"/>
                  </a:cubicBezTo>
                  <a:cubicBezTo>
                    <a:pt x="287732" y="463243"/>
                    <a:pt x="288084" y="463594"/>
                    <a:pt x="290194" y="463594"/>
                  </a:cubicBezTo>
                  <a:cubicBezTo>
                    <a:pt x="290939" y="463594"/>
                    <a:pt x="291425" y="463637"/>
                    <a:pt x="291875" y="463679"/>
                  </a:cubicBezTo>
                  <a:cubicBezTo>
                    <a:pt x="292698" y="463756"/>
                    <a:pt x="293422" y="463819"/>
                    <a:pt x="295469" y="463594"/>
                  </a:cubicBezTo>
                  <a:cubicBezTo>
                    <a:pt x="298633" y="463243"/>
                    <a:pt x="301798" y="463946"/>
                    <a:pt x="303205" y="465353"/>
                  </a:cubicBezTo>
                  <a:cubicBezTo>
                    <a:pt x="304084" y="466232"/>
                    <a:pt x="303866" y="467252"/>
                    <a:pt x="303578" y="468581"/>
                  </a:cubicBezTo>
                  <a:cubicBezTo>
                    <a:pt x="303402" y="469376"/>
                    <a:pt x="303205" y="470276"/>
                    <a:pt x="303205" y="471331"/>
                  </a:cubicBezTo>
                  <a:lnTo>
                    <a:pt x="303205" y="476957"/>
                  </a:lnTo>
                  <a:cubicBezTo>
                    <a:pt x="303205" y="477731"/>
                    <a:pt x="302931" y="478441"/>
                    <a:pt x="302621" y="479229"/>
                  </a:cubicBezTo>
                  <a:cubicBezTo>
                    <a:pt x="302234" y="480235"/>
                    <a:pt x="301798" y="481367"/>
                    <a:pt x="301798" y="482935"/>
                  </a:cubicBezTo>
                  <a:cubicBezTo>
                    <a:pt x="301798" y="484440"/>
                    <a:pt x="302199" y="486051"/>
                    <a:pt x="302579" y="487542"/>
                  </a:cubicBezTo>
                  <a:cubicBezTo>
                    <a:pt x="302903" y="488836"/>
                    <a:pt x="303205" y="490046"/>
                    <a:pt x="303205" y="491023"/>
                  </a:cubicBezTo>
                  <a:cubicBezTo>
                    <a:pt x="303205" y="492381"/>
                    <a:pt x="304654" y="493154"/>
                    <a:pt x="306067" y="493907"/>
                  </a:cubicBezTo>
                  <a:cubicBezTo>
                    <a:pt x="306848" y="494329"/>
                    <a:pt x="307622" y="494736"/>
                    <a:pt x="308128" y="495243"/>
                  </a:cubicBezTo>
                  <a:cubicBezTo>
                    <a:pt x="308712" y="495827"/>
                    <a:pt x="309668" y="496417"/>
                    <a:pt x="310583" y="496980"/>
                  </a:cubicBezTo>
                  <a:cubicBezTo>
                    <a:pt x="311856" y="497761"/>
                    <a:pt x="313051" y="498499"/>
                    <a:pt x="313051" y="499111"/>
                  </a:cubicBezTo>
                  <a:lnTo>
                    <a:pt x="313051" y="510012"/>
                  </a:lnTo>
                  <a:lnTo>
                    <a:pt x="313051" y="515639"/>
                  </a:lnTo>
                  <a:cubicBezTo>
                    <a:pt x="313051" y="516968"/>
                    <a:pt x="312214" y="517460"/>
                    <a:pt x="311152" y="518080"/>
                  </a:cubicBezTo>
                  <a:cubicBezTo>
                    <a:pt x="310533" y="518445"/>
                    <a:pt x="309830" y="518860"/>
                    <a:pt x="309183" y="519507"/>
                  </a:cubicBezTo>
                  <a:cubicBezTo>
                    <a:pt x="308536" y="520154"/>
                    <a:pt x="307987" y="520611"/>
                    <a:pt x="307390" y="521104"/>
                  </a:cubicBezTo>
                  <a:cubicBezTo>
                    <a:pt x="306363" y="521955"/>
                    <a:pt x="305209" y="522911"/>
                    <a:pt x="303205" y="525134"/>
                  </a:cubicBezTo>
                  <a:cubicBezTo>
                    <a:pt x="301369" y="527173"/>
                    <a:pt x="299414" y="527912"/>
                    <a:pt x="297276" y="528720"/>
                  </a:cubicBezTo>
                  <a:cubicBezTo>
                    <a:pt x="295722" y="529304"/>
                    <a:pt x="294076" y="529930"/>
                    <a:pt x="292304" y="531112"/>
                  </a:cubicBezTo>
                  <a:cubicBezTo>
                    <a:pt x="288084" y="533925"/>
                    <a:pt x="287381" y="534628"/>
                    <a:pt x="284567" y="538496"/>
                  </a:cubicBezTo>
                  <a:cubicBezTo>
                    <a:pt x="283126" y="540480"/>
                    <a:pt x="281592" y="541816"/>
                    <a:pt x="280200" y="543026"/>
                  </a:cubicBezTo>
                  <a:cubicBezTo>
                    <a:pt x="278878" y="544179"/>
                    <a:pt x="277689" y="545213"/>
                    <a:pt x="276831" y="546584"/>
                  </a:cubicBezTo>
                  <a:cubicBezTo>
                    <a:pt x="275424" y="548835"/>
                    <a:pt x="262181" y="562760"/>
                    <a:pt x="255732" y="569442"/>
                  </a:cubicBezTo>
                  <a:lnTo>
                    <a:pt x="274369" y="585266"/>
                  </a:lnTo>
                  <a:lnTo>
                    <a:pt x="282809" y="585266"/>
                  </a:lnTo>
                  <a:cubicBezTo>
                    <a:pt x="283829" y="585266"/>
                    <a:pt x="284666" y="586187"/>
                    <a:pt x="285847" y="587503"/>
                  </a:cubicBezTo>
                  <a:cubicBezTo>
                    <a:pt x="286297" y="588002"/>
                    <a:pt x="286797" y="588551"/>
                    <a:pt x="287381" y="589134"/>
                  </a:cubicBezTo>
                  <a:cubicBezTo>
                    <a:pt x="289491" y="591244"/>
                    <a:pt x="301095" y="598277"/>
                    <a:pt x="303205" y="598981"/>
                  </a:cubicBezTo>
                  <a:cubicBezTo>
                    <a:pt x="305315" y="599684"/>
                    <a:pt x="319029" y="618673"/>
                    <a:pt x="319029" y="620431"/>
                  </a:cubicBezTo>
                  <a:cubicBezTo>
                    <a:pt x="319029" y="621838"/>
                    <a:pt x="315042" y="627345"/>
                    <a:pt x="313051" y="629926"/>
                  </a:cubicBezTo>
                  <a:lnTo>
                    <a:pt x="315864" y="632739"/>
                  </a:lnTo>
                  <a:cubicBezTo>
                    <a:pt x="316568" y="634730"/>
                    <a:pt x="318185" y="638577"/>
                    <a:pt x="319029" y="638014"/>
                  </a:cubicBezTo>
                  <a:cubicBezTo>
                    <a:pt x="319775" y="637515"/>
                    <a:pt x="320169" y="637198"/>
                    <a:pt x="320956" y="636551"/>
                  </a:cubicBezTo>
                  <a:lnTo>
                    <a:pt x="320956" y="636551"/>
                  </a:lnTo>
                  <a:lnTo>
                    <a:pt x="320956" y="636551"/>
                  </a:lnTo>
                  <a:cubicBezTo>
                    <a:pt x="321287" y="636284"/>
                    <a:pt x="321681" y="635967"/>
                    <a:pt x="322194" y="635552"/>
                  </a:cubicBezTo>
                  <a:cubicBezTo>
                    <a:pt x="323200" y="634751"/>
                    <a:pt x="323741" y="634061"/>
                    <a:pt x="324353" y="633295"/>
                  </a:cubicBezTo>
                  <a:cubicBezTo>
                    <a:pt x="324810" y="632711"/>
                    <a:pt x="325310" y="632085"/>
                    <a:pt x="326062" y="631333"/>
                  </a:cubicBezTo>
                  <a:cubicBezTo>
                    <a:pt x="327146" y="630250"/>
                    <a:pt x="327427" y="629701"/>
                    <a:pt x="327729" y="629110"/>
                  </a:cubicBezTo>
                  <a:cubicBezTo>
                    <a:pt x="327919" y="628737"/>
                    <a:pt x="328116" y="628358"/>
                    <a:pt x="328524" y="627816"/>
                  </a:cubicBezTo>
                  <a:cubicBezTo>
                    <a:pt x="329037" y="627127"/>
                    <a:pt x="329305" y="626529"/>
                    <a:pt x="329600" y="625847"/>
                  </a:cubicBezTo>
                  <a:cubicBezTo>
                    <a:pt x="329917" y="625130"/>
                    <a:pt x="330268" y="624328"/>
                    <a:pt x="330986" y="623245"/>
                  </a:cubicBezTo>
                  <a:cubicBezTo>
                    <a:pt x="331991" y="621733"/>
                    <a:pt x="332280" y="621121"/>
                    <a:pt x="332751" y="620122"/>
                  </a:cubicBezTo>
                  <a:cubicBezTo>
                    <a:pt x="332934" y="619728"/>
                    <a:pt x="333145" y="619271"/>
                    <a:pt x="333447" y="618673"/>
                  </a:cubicBezTo>
                  <a:cubicBezTo>
                    <a:pt x="334193" y="617182"/>
                    <a:pt x="334235" y="616922"/>
                    <a:pt x="334446" y="615656"/>
                  </a:cubicBezTo>
                  <a:cubicBezTo>
                    <a:pt x="334530" y="615128"/>
                    <a:pt x="334650" y="614432"/>
                    <a:pt x="334854" y="613398"/>
                  </a:cubicBezTo>
                  <a:cubicBezTo>
                    <a:pt x="335557" y="609882"/>
                    <a:pt x="335909" y="609179"/>
                    <a:pt x="336964" y="607420"/>
                  </a:cubicBezTo>
                  <a:cubicBezTo>
                    <a:pt x="337569" y="606414"/>
                    <a:pt x="337365" y="605402"/>
                    <a:pt x="337147" y="604326"/>
                  </a:cubicBezTo>
                  <a:cubicBezTo>
                    <a:pt x="336985" y="603531"/>
                    <a:pt x="336816" y="602694"/>
                    <a:pt x="336964" y="601794"/>
                  </a:cubicBezTo>
                  <a:cubicBezTo>
                    <a:pt x="337315" y="599684"/>
                    <a:pt x="340480" y="595112"/>
                    <a:pt x="341887" y="593354"/>
                  </a:cubicBezTo>
                  <a:cubicBezTo>
                    <a:pt x="342646" y="592405"/>
                    <a:pt x="343307" y="591350"/>
                    <a:pt x="344032" y="590189"/>
                  </a:cubicBezTo>
                  <a:cubicBezTo>
                    <a:pt x="344644" y="589212"/>
                    <a:pt x="345298" y="588157"/>
                    <a:pt x="346107" y="587024"/>
                  </a:cubicBezTo>
                  <a:cubicBezTo>
                    <a:pt x="347457" y="585133"/>
                    <a:pt x="348603" y="584274"/>
                    <a:pt x="350502" y="582861"/>
                  </a:cubicBezTo>
                  <a:lnTo>
                    <a:pt x="350502" y="582861"/>
                  </a:lnTo>
                  <a:cubicBezTo>
                    <a:pt x="351072" y="582439"/>
                    <a:pt x="351705" y="581968"/>
                    <a:pt x="352436" y="581398"/>
                  </a:cubicBezTo>
                  <a:cubicBezTo>
                    <a:pt x="353590" y="580498"/>
                    <a:pt x="354370" y="579787"/>
                    <a:pt x="354961" y="579253"/>
                  </a:cubicBezTo>
                  <a:lnTo>
                    <a:pt x="354961" y="579253"/>
                  </a:lnTo>
                  <a:cubicBezTo>
                    <a:pt x="355995" y="578310"/>
                    <a:pt x="356466" y="577881"/>
                    <a:pt x="357359" y="577881"/>
                  </a:cubicBezTo>
                  <a:lnTo>
                    <a:pt x="363689" y="577881"/>
                  </a:lnTo>
                  <a:cubicBezTo>
                    <a:pt x="364864" y="576707"/>
                    <a:pt x="367768" y="573169"/>
                    <a:pt x="370019" y="568387"/>
                  </a:cubicBezTo>
                  <a:cubicBezTo>
                    <a:pt x="370835" y="566748"/>
                    <a:pt x="371060" y="566544"/>
                    <a:pt x="371313" y="566305"/>
                  </a:cubicBezTo>
                  <a:cubicBezTo>
                    <a:pt x="371496" y="566136"/>
                    <a:pt x="371686" y="565960"/>
                    <a:pt x="372129" y="565222"/>
                  </a:cubicBezTo>
                  <a:cubicBezTo>
                    <a:pt x="372874" y="563977"/>
                    <a:pt x="373268" y="563436"/>
                    <a:pt x="374056" y="562360"/>
                  </a:cubicBezTo>
                  <a:lnTo>
                    <a:pt x="374056" y="562360"/>
                  </a:lnTo>
                  <a:lnTo>
                    <a:pt x="374056" y="562360"/>
                  </a:lnTo>
                  <a:cubicBezTo>
                    <a:pt x="374386" y="561909"/>
                    <a:pt x="374780" y="561368"/>
                    <a:pt x="375294" y="560650"/>
                  </a:cubicBezTo>
                  <a:cubicBezTo>
                    <a:pt x="376110" y="559511"/>
                    <a:pt x="376546" y="558899"/>
                    <a:pt x="376989" y="558294"/>
                  </a:cubicBezTo>
                  <a:cubicBezTo>
                    <a:pt x="377502" y="557591"/>
                    <a:pt x="378023" y="556895"/>
                    <a:pt x="379148" y="555390"/>
                  </a:cubicBezTo>
                  <a:lnTo>
                    <a:pt x="379162" y="555376"/>
                  </a:lnTo>
                  <a:cubicBezTo>
                    <a:pt x="381272" y="552562"/>
                    <a:pt x="383733" y="549046"/>
                    <a:pt x="385140" y="546584"/>
                  </a:cubicBezTo>
                  <a:cubicBezTo>
                    <a:pt x="386272" y="544608"/>
                    <a:pt x="386722" y="543532"/>
                    <a:pt x="387398" y="541914"/>
                  </a:cubicBezTo>
                  <a:lnTo>
                    <a:pt x="387405" y="541914"/>
                  </a:lnTo>
                  <a:cubicBezTo>
                    <a:pt x="387566" y="541514"/>
                    <a:pt x="387749" y="541091"/>
                    <a:pt x="387953" y="540606"/>
                  </a:cubicBezTo>
                  <a:cubicBezTo>
                    <a:pt x="389008" y="538145"/>
                    <a:pt x="389712" y="532870"/>
                    <a:pt x="389712" y="531112"/>
                  </a:cubicBezTo>
                  <a:lnTo>
                    <a:pt x="389712" y="525134"/>
                  </a:lnTo>
                  <a:lnTo>
                    <a:pt x="389712" y="515639"/>
                  </a:lnTo>
                  <a:lnTo>
                    <a:pt x="389712" y="510012"/>
                  </a:lnTo>
                  <a:cubicBezTo>
                    <a:pt x="389712" y="509647"/>
                    <a:pt x="389690" y="509021"/>
                    <a:pt x="389655" y="508254"/>
                  </a:cubicBezTo>
                  <a:cubicBezTo>
                    <a:pt x="389578" y="506074"/>
                    <a:pt x="389451" y="502783"/>
                    <a:pt x="389712" y="501221"/>
                  </a:cubicBezTo>
                  <a:cubicBezTo>
                    <a:pt x="390063" y="499111"/>
                    <a:pt x="392525" y="494540"/>
                    <a:pt x="393931" y="492781"/>
                  </a:cubicBezTo>
                  <a:cubicBezTo>
                    <a:pt x="395064" y="491361"/>
                    <a:pt x="396892" y="489940"/>
                    <a:pt x="398475" y="488709"/>
                  </a:cubicBezTo>
                  <a:cubicBezTo>
                    <a:pt x="398855" y="488414"/>
                    <a:pt x="399220" y="488133"/>
                    <a:pt x="399558" y="487858"/>
                  </a:cubicBezTo>
                  <a:cubicBezTo>
                    <a:pt x="400296" y="487268"/>
                    <a:pt x="401407" y="486121"/>
                    <a:pt x="402624" y="484855"/>
                  </a:cubicBezTo>
                  <a:cubicBezTo>
                    <a:pt x="404312" y="483111"/>
                    <a:pt x="406218" y="481142"/>
                    <a:pt x="407646" y="480122"/>
                  </a:cubicBezTo>
                  <a:cubicBezTo>
                    <a:pt x="409038" y="479130"/>
                    <a:pt x="414236" y="474770"/>
                    <a:pt x="418695" y="471042"/>
                  </a:cubicBezTo>
                  <a:cubicBezTo>
                    <a:pt x="422127" y="468166"/>
                    <a:pt x="425123" y="465662"/>
                    <a:pt x="425580" y="465353"/>
                  </a:cubicBezTo>
                  <a:cubicBezTo>
                    <a:pt x="426635" y="464649"/>
                    <a:pt x="429448" y="463243"/>
                    <a:pt x="432262" y="462188"/>
                  </a:cubicBezTo>
                  <a:cubicBezTo>
                    <a:pt x="433668" y="461660"/>
                    <a:pt x="434723" y="461133"/>
                    <a:pt x="435863" y="460563"/>
                  </a:cubicBezTo>
                  <a:cubicBezTo>
                    <a:pt x="437009" y="459986"/>
                    <a:pt x="438240" y="459374"/>
                    <a:pt x="439998" y="458671"/>
                  </a:cubicBezTo>
                  <a:cubicBezTo>
                    <a:pt x="442037" y="457855"/>
                    <a:pt x="444309" y="456688"/>
                    <a:pt x="446342" y="455640"/>
                  </a:cubicBezTo>
                  <a:lnTo>
                    <a:pt x="446342" y="455640"/>
                  </a:lnTo>
                  <a:cubicBezTo>
                    <a:pt x="447819" y="454880"/>
                    <a:pt x="449162" y="454191"/>
                    <a:pt x="450196" y="453748"/>
                  </a:cubicBezTo>
                  <a:cubicBezTo>
                    <a:pt x="451251" y="453298"/>
                    <a:pt x="452045" y="453101"/>
                    <a:pt x="452911" y="452890"/>
                  </a:cubicBezTo>
                  <a:cubicBezTo>
                    <a:pt x="454071" y="452609"/>
                    <a:pt x="455365" y="452292"/>
                    <a:pt x="457581" y="451286"/>
                  </a:cubicBezTo>
                  <a:cubicBezTo>
                    <a:pt x="461449" y="449528"/>
                    <a:pt x="464965" y="448122"/>
                    <a:pt x="467075" y="448122"/>
                  </a:cubicBezTo>
                  <a:lnTo>
                    <a:pt x="472350" y="448122"/>
                  </a:lnTo>
                  <a:cubicBezTo>
                    <a:pt x="473405" y="448122"/>
                    <a:pt x="483251" y="447418"/>
                    <a:pt x="485009" y="447067"/>
                  </a:cubicBezTo>
                  <a:cubicBezTo>
                    <a:pt x="486768" y="446715"/>
                    <a:pt x="490284" y="445308"/>
                    <a:pt x="492746" y="443902"/>
                  </a:cubicBezTo>
                  <a:cubicBezTo>
                    <a:pt x="494363" y="442980"/>
                    <a:pt x="495826" y="441602"/>
                    <a:pt x="497141" y="440364"/>
                  </a:cubicBezTo>
                  <a:lnTo>
                    <a:pt x="497141" y="440364"/>
                  </a:lnTo>
                  <a:cubicBezTo>
                    <a:pt x="497831" y="439717"/>
                    <a:pt x="498471" y="439112"/>
                    <a:pt x="499076" y="438627"/>
                  </a:cubicBezTo>
                  <a:cubicBezTo>
                    <a:pt x="499828" y="438029"/>
                    <a:pt x="500447" y="437361"/>
                    <a:pt x="501080" y="436686"/>
                  </a:cubicBezTo>
                  <a:cubicBezTo>
                    <a:pt x="501931" y="435786"/>
                    <a:pt x="502789" y="434864"/>
                    <a:pt x="503999" y="434055"/>
                  </a:cubicBezTo>
                  <a:cubicBezTo>
                    <a:pt x="506109" y="432649"/>
                    <a:pt x="507164" y="430891"/>
                    <a:pt x="508219" y="429132"/>
                  </a:cubicBezTo>
                  <a:cubicBezTo>
                    <a:pt x="509273" y="427374"/>
                    <a:pt x="510328" y="424209"/>
                    <a:pt x="510680" y="422451"/>
                  </a:cubicBezTo>
                  <a:cubicBezTo>
                    <a:pt x="510975" y="420974"/>
                    <a:pt x="513008" y="418505"/>
                    <a:pt x="514478" y="416712"/>
                  </a:cubicBezTo>
                  <a:lnTo>
                    <a:pt x="514485" y="416712"/>
                  </a:lnTo>
                  <a:cubicBezTo>
                    <a:pt x="514766" y="416367"/>
                    <a:pt x="515026" y="416051"/>
                    <a:pt x="515252" y="415770"/>
                  </a:cubicBezTo>
                  <a:cubicBezTo>
                    <a:pt x="515983" y="414862"/>
                    <a:pt x="516989" y="413097"/>
                    <a:pt x="518044" y="411275"/>
                  </a:cubicBezTo>
                  <a:lnTo>
                    <a:pt x="518044" y="411275"/>
                  </a:lnTo>
                  <a:cubicBezTo>
                    <a:pt x="519021" y="409573"/>
                    <a:pt x="520027" y="407815"/>
                    <a:pt x="520878" y="406627"/>
                  </a:cubicBezTo>
                  <a:cubicBezTo>
                    <a:pt x="522172" y="404812"/>
                    <a:pt x="522707" y="403187"/>
                    <a:pt x="523037" y="402182"/>
                  </a:cubicBezTo>
                  <a:cubicBezTo>
                    <a:pt x="523157" y="401816"/>
                    <a:pt x="523248" y="401535"/>
                    <a:pt x="523340" y="401352"/>
                  </a:cubicBezTo>
                  <a:cubicBezTo>
                    <a:pt x="523691" y="400648"/>
                    <a:pt x="526504" y="397132"/>
                    <a:pt x="527911" y="395374"/>
                  </a:cubicBezTo>
                  <a:cubicBezTo>
                    <a:pt x="528938" y="394094"/>
                    <a:pt x="529585" y="391878"/>
                    <a:pt x="530274" y="389550"/>
                  </a:cubicBezTo>
                  <a:lnTo>
                    <a:pt x="530274" y="389550"/>
                  </a:lnTo>
                  <a:lnTo>
                    <a:pt x="530274" y="389543"/>
                  </a:lnTo>
                  <a:cubicBezTo>
                    <a:pt x="530527" y="388678"/>
                    <a:pt x="530788" y="387792"/>
                    <a:pt x="531076" y="386934"/>
                  </a:cubicBezTo>
                  <a:cubicBezTo>
                    <a:pt x="531688" y="385105"/>
                    <a:pt x="531470" y="384332"/>
                    <a:pt x="531252" y="383530"/>
                  </a:cubicBezTo>
                  <a:cubicBezTo>
                    <a:pt x="531090" y="382946"/>
                    <a:pt x="530928" y="382348"/>
                    <a:pt x="531076" y="381308"/>
                  </a:cubicBezTo>
                  <a:cubicBezTo>
                    <a:pt x="531294" y="379788"/>
                    <a:pt x="531512" y="378937"/>
                    <a:pt x="531807" y="377763"/>
                  </a:cubicBezTo>
                  <a:cubicBezTo>
                    <a:pt x="531997" y="377038"/>
                    <a:pt x="532215" y="376187"/>
                    <a:pt x="532483" y="374978"/>
                  </a:cubicBezTo>
                  <a:cubicBezTo>
                    <a:pt x="533137" y="372031"/>
                    <a:pt x="533791" y="371215"/>
                    <a:pt x="535015" y="369703"/>
                  </a:cubicBezTo>
                  <a:cubicBezTo>
                    <a:pt x="535106" y="369591"/>
                    <a:pt x="535197" y="369471"/>
                    <a:pt x="535296" y="369351"/>
                  </a:cubicBezTo>
                  <a:cubicBezTo>
                    <a:pt x="536463" y="367888"/>
                    <a:pt x="537145" y="364245"/>
                    <a:pt x="537750" y="361031"/>
                  </a:cubicBezTo>
                  <a:lnTo>
                    <a:pt x="537750" y="361031"/>
                  </a:lnTo>
                  <a:cubicBezTo>
                    <a:pt x="537870" y="360384"/>
                    <a:pt x="537989" y="359744"/>
                    <a:pt x="538109" y="359153"/>
                  </a:cubicBezTo>
                  <a:cubicBezTo>
                    <a:pt x="538573" y="356840"/>
                    <a:pt x="538728" y="354673"/>
                    <a:pt x="538883" y="352563"/>
                  </a:cubicBezTo>
                  <a:cubicBezTo>
                    <a:pt x="538967" y="351466"/>
                    <a:pt x="539044" y="350390"/>
                    <a:pt x="539164" y="349307"/>
                  </a:cubicBezTo>
                  <a:cubicBezTo>
                    <a:pt x="539347" y="347661"/>
                    <a:pt x="539811" y="345643"/>
                    <a:pt x="540219" y="343878"/>
                  </a:cubicBezTo>
                  <a:cubicBezTo>
                    <a:pt x="540599" y="342246"/>
                    <a:pt x="540922" y="340839"/>
                    <a:pt x="540922" y="340164"/>
                  </a:cubicBezTo>
                  <a:lnTo>
                    <a:pt x="540922" y="332428"/>
                  </a:lnTo>
                  <a:cubicBezTo>
                    <a:pt x="540922" y="332027"/>
                    <a:pt x="541077" y="330001"/>
                    <a:pt x="541260" y="327498"/>
                  </a:cubicBezTo>
                  <a:lnTo>
                    <a:pt x="541260" y="327491"/>
                  </a:lnTo>
                  <a:cubicBezTo>
                    <a:pt x="541569" y="323390"/>
                    <a:pt x="541977" y="317996"/>
                    <a:pt x="541977" y="316252"/>
                  </a:cubicBezTo>
                  <a:lnTo>
                    <a:pt x="541977" y="293043"/>
                  </a:lnTo>
                  <a:cubicBezTo>
                    <a:pt x="541977" y="291116"/>
                    <a:pt x="543707" y="289182"/>
                    <a:pt x="545128" y="287592"/>
                  </a:cubicBezTo>
                  <a:lnTo>
                    <a:pt x="545128" y="287592"/>
                  </a:lnTo>
                  <a:cubicBezTo>
                    <a:pt x="545522" y="287156"/>
                    <a:pt x="545895" y="286741"/>
                    <a:pt x="546197" y="286361"/>
                  </a:cubicBezTo>
                  <a:cubicBezTo>
                    <a:pt x="546999" y="285363"/>
                    <a:pt x="548588" y="284701"/>
                    <a:pt x="550143" y="284062"/>
                  </a:cubicBezTo>
                  <a:cubicBezTo>
                    <a:pt x="551317" y="283576"/>
                    <a:pt x="552470" y="283098"/>
                    <a:pt x="553230" y="282493"/>
                  </a:cubicBezTo>
                  <a:cubicBezTo>
                    <a:pt x="554988" y="281087"/>
                    <a:pt x="559911" y="272999"/>
                    <a:pt x="560615" y="271592"/>
                  </a:cubicBezTo>
                  <a:cubicBezTo>
                    <a:pt x="560917" y="270987"/>
                    <a:pt x="561923" y="269616"/>
                    <a:pt x="563041" y="268097"/>
                  </a:cubicBezTo>
                  <a:lnTo>
                    <a:pt x="563041" y="268097"/>
                  </a:lnTo>
                  <a:cubicBezTo>
                    <a:pt x="564525" y="266078"/>
                    <a:pt x="566192" y="263806"/>
                    <a:pt x="566593" y="262801"/>
                  </a:cubicBezTo>
                  <a:cubicBezTo>
                    <a:pt x="567296" y="261042"/>
                    <a:pt x="569758" y="256119"/>
                    <a:pt x="573978" y="251899"/>
                  </a:cubicBezTo>
                  <a:cubicBezTo>
                    <a:pt x="574716" y="251161"/>
                    <a:pt x="575644" y="250247"/>
                    <a:pt x="576685" y="249213"/>
                  </a:cubicBezTo>
                  <a:lnTo>
                    <a:pt x="576699" y="249199"/>
                  </a:lnTo>
                  <a:cubicBezTo>
                    <a:pt x="581637" y="244318"/>
                    <a:pt x="589120" y="236926"/>
                    <a:pt x="590857" y="234317"/>
                  </a:cubicBezTo>
                  <a:cubicBezTo>
                    <a:pt x="591884" y="232777"/>
                    <a:pt x="594500" y="229647"/>
                    <a:pt x="597109" y="226517"/>
                  </a:cubicBezTo>
                  <a:lnTo>
                    <a:pt x="597116" y="226517"/>
                  </a:lnTo>
                  <a:cubicBezTo>
                    <a:pt x="599866" y="223226"/>
                    <a:pt x="602616" y="219934"/>
                    <a:pt x="603516" y="218492"/>
                  </a:cubicBezTo>
                  <a:cubicBezTo>
                    <a:pt x="605275" y="215679"/>
                    <a:pt x="606330" y="204778"/>
                    <a:pt x="606330" y="199855"/>
                  </a:cubicBezTo>
                  <a:cubicBezTo>
                    <a:pt x="606330" y="197049"/>
                    <a:pt x="605760" y="192765"/>
                    <a:pt x="605268" y="189073"/>
                  </a:cubicBezTo>
                  <a:lnTo>
                    <a:pt x="605268" y="189073"/>
                  </a:lnTo>
                  <a:lnTo>
                    <a:pt x="605268" y="189073"/>
                  </a:lnTo>
                  <a:cubicBezTo>
                    <a:pt x="604895" y="186281"/>
                    <a:pt x="604571" y="183833"/>
                    <a:pt x="604571" y="182624"/>
                  </a:cubicBezTo>
                  <a:cubicBezTo>
                    <a:pt x="604571" y="180612"/>
                    <a:pt x="601526" y="172327"/>
                    <a:pt x="599648" y="167242"/>
                  </a:cubicBezTo>
                  <a:cubicBezTo>
                    <a:pt x="598903" y="165210"/>
                    <a:pt x="598340" y="163684"/>
                    <a:pt x="598242" y="163283"/>
                  </a:cubicBezTo>
                  <a:cubicBezTo>
                    <a:pt x="597890" y="161876"/>
                    <a:pt x="593670" y="160118"/>
                    <a:pt x="592615" y="160118"/>
                  </a:cubicBezTo>
                  <a:cubicBezTo>
                    <a:pt x="592369" y="160118"/>
                    <a:pt x="591940" y="160139"/>
                    <a:pt x="591370" y="160160"/>
                  </a:cubicBezTo>
                  <a:cubicBezTo>
                    <a:pt x="589500" y="160245"/>
                    <a:pt x="586173" y="160385"/>
                    <a:pt x="583472" y="160118"/>
                  </a:cubicBezTo>
                  <a:cubicBezTo>
                    <a:pt x="579956" y="159766"/>
                    <a:pt x="573626" y="158711"/>
                    <a:pt x="571868" y="157656"/>
                  </a:cubicBezTo>
                  <a:cubicBezTo>
                    <a:pt x="571249" y="157284"/>
                    <a:pt x="570419" y="156918"/>
                    <a:pt x="569547" y="156531"/>
                  </a:cubicBezTo>
                  <a:cubicBezTo>
                    <a:pt x="567943" y="155821"/>
                    <a:pt x="566220" y="155054"/>
                    <a:pt x="565538" y="154140"/>
                  </a:cubicBezTo>
                  <a:cubicBezTo>
                    <a:pt x="564856" y="153226"/>
                    <a:pt x="561796" y="150384"/>
                    <a:pt x="559257" y="148028"/>
                  </a:cubicBezTo>
                  <a:lnTo>
                    <a:pt x="559257" y="148028"/>
                  </a:lnTo>
                  <a:cubicBezTo>
                    <a:pt x="557886" y="146748"/>
                    <a:pt x="556662" y="145616"/>
                    <a:pt x="556043" y="144997"/>
                  </a:cubicBezTo>
                  <a:cubicBezTo>
                    <a:pt x="554517" y="143471"/>
                    <a:pt x="549819" y="139835"/>
                    <a:pt x="546535" y="137289"/>
                  </a:cubicBezTo>
                  <a:lnTo>
                    <a:pt x="546535" y="137282"/>
                  </a:lnTo>
                  <a:cubicBezTo>
                    <a:pt x="546028" y="136895"/>
                    <a:pt x="545564" y="136529"/>
                    <a:pt x="545142" y="136206"/>
                  </a:cubicBezTo>
                  <a:cubicBezTo>
                    <a:pt x="541977" y="133744"/>
                    <a:pt x="539164" y="132337"/>
                    <a:pt x="534241" y="129876"/>
                  </a:cubicBezTo>
                  <a:cubicBezTo>
                    <a:pt x="532919" y="129215"/>
                    <a:pt x="531779" y="128554"/>
                    <a:pt x="530717" y="127942"/>
                  </a:cubicBezTo>
                  <a:lnTo>
                    <a:pt x="530717" y="127942"/>
                  </a:lnTo>
                  <a:cubicBezTo>
                    <a:pt x="527820" y="126275"/>
                    <a:pt x="525534" y="124953"/>
                    <a:pt x="521933" y="124953"/>
                  </a:cubicBezTo>
                  <a:cubicBezTo>
                    <a:pt x="519802" y="124953"/>
                    <a:pt x="518262" y="125347"/>
                    <a:pt x="516518" y="125797"/>
                  </a:cubicBezTo>
                  <a:cubicBezTo>
                    <a:pt x="514232" y="126388"/>
                    <a:pt x="511594" y="127063"/>
                    <a:pt x="506812" y="127063"/>
                  </a:cubicBezTo>
                  <a:cubicBezTo>
                    <a:pt x="501333" y="127063"/>
                    <a:pt x="496593" y="126177"/>
                    <a:pt x="493266" y="125551"/>
                  </a:cubicBezTo>
                  <a:cubicBezTo>
                    <a:pt x="491473" y="125213"/>
                    <a:pt x="490094" y="124953"/>
                    <a:pt x="489229" y="124953"/>
                  </a:cubicBezTo>
                  <a:cubicBezTo>
                    <a:pt x="487260" y="124953"/>
                    <a:pt x="483954" y="122372"/>
                    <a:pt x="482548" y="121085"/>
                  </a:cubicBezTo>
                  <a:cubicBezTo>
                    <a:pt x="482077" y="120613"/>
                    <a:pt x="480860" y="119678"/>
                    <a:pt x="479735" y="119678"/>
                  </a:cubicBezTo>
                  <a:lnTo>
                    <a:pt x="475163" y="119678"/>
                  </a:lnTo>
                  <a:cubicBezTo>
                    <a:pt x="472737" y="119678"/>
                    <a:pt x="472139" y="119938"/>
                    <a:pt x="470437" y="120691"/>
                  </a:cubicBezTo>
                  <a:cubicBezTo>
                    <a:pt x="470170" y="120810"/>
                    <a:pt x="469874" y="120937"/>
                    <a:pt x="469537" y="121085"/>
                  </a:cubicBezTo>
                  <a:cubicBezTo>
                    <a:pt x="467075" y="122140"/>
                    <a:pt x="462152" y="124249"/>
                    <a:pt x="460394" y="124953"/>
                  </a:cubicBezTo>
                  <a:cubicBezTo>
                    <a:pt x="458987" y="125515"/>
                    <a:pt x="456526" y="127295"/>
                    <a:pt x="455471" y="128118"/>
                  </a:cubicBezTo>
                  <a:lnTo>
                    <a:pt x="455471" y="122491"/>
                  </a:lnTo>
                  <a:lnTo>
                    <a:pt x="455471" y="114052"/>
                  </a:lnTo>
                  <a:cubicBezTo>
                    <a:pt x="455471" y="111238"/>
                    <a:pt x="450196" y="104909"/>
                    <a:pt x="447734" y="105964"/>
                  </a:cubicBezTo>
                  <a:cubicBezTo>
                    <a:pt x="445273" y="107018"/>
                    <a:pt x="442459" y="105964"/>
                    <a:pt x="441053" y="104909"/>
                  </a:cubicBezTo>
                  <a:cubicBezTo>
                    <a:pt x="439646" y="103854"/>
                    <a:pt x="430855" y="98579"/>
                    <a:pt x="428042" y="97172"/>
                  </a:cubicBezTo>
                  <a:cubicBezTo>
                    <a:pt x="427852" y="97074"/>
                    <a:pt x="427620" y="96954"/>
                    <a:pt x="427345" y="96821"/>
                  </a:cubicBezTo>
                  <a:lnTo>
                    <a:pt x="427345" y="96821"/>
                  </a:lnTo>
                  <a:cubicBezTo>
                    <a:pt x="423660" y="94936"/>
                    <a:pt x="413118" y="89555"/>
                    <a:pt x="406239" y="91194"/>
                  </a:cubicBezTo>
                  <a:cubicBezTo>
                    <a:pt x="400332" y="92601"/>
                    <a:pt x="396512" y="92720"/>
                    <a:pt x="395338" y="92601"/>
                  </a:cubicBezTo>
                  <a:cubicBezTo>
                    <a:pt x="394986" y="92130"/>
                    <a:pt x="394072" y="90842"/>
                    <a:pt x="393228" y="89436"/>
                  </a:cubicBezTo>
                  <a:cubicBezTo>
                    <a:pt x="392384" y="88029"/>
                    <a:pt x="391470" y="86742"/>
                    <a:pt x="391118" y="86271"/>
                  </a:cubicBezTo>
                  <a:cubicBezTo>
                    <a:pt x="389831" y="85919"/>
                    <a:pt x="386969" y="85075"/>
                    <a:pt x="385843" y="84513"/>
                  </a:cubicBezTo>
                  <a:cubicBezTo>
                    <a:pt x="384437" y="83809"/>
                    <a:pt x="383382" y="82754"/>
                    <a:pt x="382327" y="81348"/>
                  </a:cubicBezTo>
                  <a:cubicBezTo>
                    <a:pt x="381483" y="80222"/>
                    <a:pt x="380097" y="78767"/>
                    <a:pt x="379514" y="78183"/>
                  </a:cubicBezTo>
                  <a:cubicBezTo>
                    <a:pt x="378810" y="77599"/>
                    <a:pt x="377193" y="76214"/>
                    <a:pt x="376349" y="75370"/>
                  </a:cubicBezTo>
                  <a:cubicBezTo>
                    <a:pt x="375505" y="74526"/>
                    <a:pt x="373655" y="74315"/>
                    <a:pt x="372832" y="74315"/>
                  </a:cubicBezTo>
                  <a:lnTo>
                    <a:pt x="371777" y="69040"/>
                  </a:lnTo>
                  <a:lnTo>
                    <a:pt x="371777" y="62710"/>
                  </a:lnTo>
                  <a:cubicBezTo>
                    <a:pt x="371777" y="61866"/>
                    <a:pt x="370603" y="57435"/>
                    <a:pt x="370019" y="55326"/>
                  </a:cubicBezTo>
                  <a:cubicBezTo>
                    <a:pt x="368380" y="54622"/>
                    <a:pt x="364885" y="53005"/>
                    <a:pt x="364041" y="52161"/>
                  </a:cubicBezTo>
                  <a:cubicBezTo>
                    <a:pt x="362986" y="51106"/>
                    <a:pt x="360524" y="46886"/>
                    <a:pt x="359469" y="44424"/>
                  </a:cubicBezTo>
                  <a:cubicBezTo>
                    <a:pt x="359153" y="43686"/>
                    <a:pt x="358590" y="42455"/>
                    <a:pt x="357922" y="40992"/>
                  </a:cubicBezTo>
                  <a:lnTo>
                    <a:pt x="357922" y="40992"/>
                  </a:lnTo>
                  <a:cubicBezTo>
                    <a:pt x="356354" y="37567"/>
                    <a:pt x="354230" y="32932"/>
                    <a:pt x="353491" y="30710"/>
                  </a:cubicBezTo>
                  <a:cubicBezTo>
                    <a:pt x="352978" y="29163"/>
                    <a:pt x="352711" y="26617"/>
                    <a:pt x="352457" y="24120"/>
                  </a:cubicBezTo>
                  <a:lnTo>
                    <a:pt x="352457" y="24120"/>
                  </a:lnTo>
                  <a:cubicBezTo>
                    <a:pt x="352183" y="21511"/>
                    <a:pt x="351923" y="18958"/>
                    <a:pt x="351381" y="17699"/>
                  </a:cubicBezTo>
                  <a:cubicBezTo>
                    <a:pt x="350537" y="15729"/>
                    <a:pt x="346810" y="15237"/>
                    <a:pt x="345052" y="15237"/>
                  </a:cubicBezTo>
                  <a:cubicBezTo>
                    <a:pt x="343293" y="18050"/>
                    <a:pt x="339566" y="24099"/>
                    <a:pt x="338722" y="25787"/>
                  </a:cubicBezTo>
                  <a:cubicBezTo>
                    <a:pt x="337885" y="27454"/>
                    <a:pt x="336830" y="29788"/>
                    <a:pt x="335557" y="32602"/>
                  </a:cubicBezTo>
                  <a:lnTo>
                    <a:pt x="335557" y="32602"/>
                  </a:lnTo>
                  <a:cubicBezTo>
                    <a:pt x="335219" y="33347"/>
                    <a:pt x="334868" y="34121"/>
                    <a:pt x="334502" y="34930"/>
                  </a:cubicBezTo>
                  <a:cubicBezTo>
                    <a:pt x="334305" y="35359"/>
                    <a:pt x="334122" y="35781"/>
                    <a:pt x="333939" y="36182"/>
                  </a:cubicBezTo>
                  <a:cubicBezTo>
                    <a:pt x="332498" y="39403"/>
                    <a:pt x="331457" y="41731"/>
                    <a:pt x="329579" y="42666"/>
                  </a:cubicBezTo>
                  <a:cubicBezTo>
                    <a:pt x="327469" y="43721"/>
                    <a:pt x="322546" y="47941"/>
                    <a:pt x="321491" y="48996"/>
                  </a:cubicBezTo>
                  <a:cubicBezTo>
                    <a:pt x="320647" y="49840"/>
                    <a:pt x="318797" y="48644"/>
                    <a:pt x="317974" y="47941"/>
                  </a:cubicBezTo>
                  <a:cubicBezTo>
                    <a:pt x="316687" y="47238"/>
                    <a:pt x="313895" y="45550"/>
                    <a:pt x="313051" y="44424"/>
                  </a:cubicBezTo>
                  <a:cubicBezTo>
                    <a:pt x="312376" y="43531"/>
                    <a:pt x="309851" y="44347"/>
                    <a:pt x="307650" y="45057"/>
                  </a:cubicBezTo>
                  <a:cubicBezTo>
                    <a:pt x="306398" y="45458"/>
                    <a:pt x="305252" y="45831"/>
                    <a:pt x="304612" y="45831"/>
                  </a:cubicBezTo>
                  <a:cubicBezTo>
                    <a:pt x="302853" y="45831"/>
                    <a:pt x="298985" y="44424"/>
                    <a:pt x="295469" y="42666"/>
                  </a:cubicBezTo>
                  <a:cubicBezTo>
                    <a:pt x="292114" y="40985"/>
                    <a:pt x="288436" y="43475"/>
                    <a:pt x="287191" y="44312"/>
                  </a:cubicBezTo>
                  <a:cubicBezTo>
                    <a:pt x="287134" y="44354"/>
                    <a:pt x="287078" y="44389"/>
                    <a:pt x="287029" y="44424"/>
                  </a:cubicBezTo>
                  <a:cubicBezTo>
                    <a:pt x="286326" y="44888"/>
                    <a:pt x="284082" y="43812"/>
                    <a:pt x="282028" y="42821"/>
                  </a:cubicBezTo>
                  <a:cubicBezTo>
                    <a:pt x="280995" y="42321"/>
                    <a:pt x="280003" y="41850"/>
                    <a:pt x="279293" y="41611"/>
                  </a:cubicBezTo>
                  <a:cubicBezTo>
                    <a:pt x="277605" y="41048"/>
                    <a:pt x="276247" y="48412"/>
                    <a:pt x="275776" y="52161"/>
                  </a:cubicBezTo>
                  <a:lnTo>
                    <a:pt x="263117" y="52161"/>
                  </a:lnTo>
                  <a:cubicBezTo>
                    <a:pt x="260022" y="52161"/>
                    <a:pt x="255415" y="53863"/>
                    <a:pt x="252208" y="55051"/>
                  </a:cubicBezTo>
                  <a:cubicBezTo>
                    <a:pt x="251041" y="55480"/>
                    <a:pt x="250056" y="55839"/>
                    <a:pt x="249402" y="56029"/>
                  </a:cubicBezTo>
                  <a:cubicBezTo>
                    <a:pt x="248797" y="56205"/>
                    <a:pt x="248059" y="56592"/>
                    <a:pt x="247145" y="57070"/>
                  </a:cubicBezTo>
                  <a:cubicBezTo>
                    <a:pt x="244324" y="58554"/>
                    <a:pt x="239774" y="60952"/>
                    <a:pt x="231819" y="60952"/>
                  </a:cubicBezTo>
                  <a:cubicBezTo>
                    <a:pt x="223942" y="60952"/>
                    <a:pt x="221748" y="54088"/>
                    <a:pt x="220264" y="49439"/>
                  </a:cubicBezTo>
                  <a:cubicBezTo>
                    <a:pt x="219765" y="47863"/>
                    <a:pt x="219343" y="46541"/>
                    <a:pt x="218808" y="45831"/>
                  </a:cubicBezTo>
                  <a:cubicBezTo>
                    <a:pt x="216698" y="43018"/>
                    <a:pt x="215643" y="32468"/>
                    <a:pt x="217402" y="28952"/>
                  </a:cubicBezTo>
                  <a:cubicBezTo>
                    <a:pt x="219160" y="25435"/>
                    <a:pt x="221270" y="18050"/>
                    <a:pt x="220918" y="15237"/>
                  </a:cubicBezTo>
                  <a:cubicBezTo>
                    <a:pt x="220567" y="12424"/>
                    <a:pt x="216698" y="10666"/>
                    <a:pt x="215643" y="10314"/>
                  </a:cubicBezTo>
                  <a:cubicBezTo>
                    <a:pt x="214933" y="10075"/>
                    <a:pt x="214546" y="6200"/>
                    <a:pt x="214258" y="3358"/>
                  </a:cubicBezTo>
                  <a:lnTo>
                    <a:pt x="214258" y="3358"/>
                  </a:lnTo>
                  <a:cubicBezTo>
                    <a:pt x="214117" y="1959"/>
                    <a:pt x="213998" y="812"/>
                    <a:pt x="213885" y="468"/>
                  </a:cubicBezTo>
                  <a:cubicBezTo>
                    <a:pt x="213716" y="-32"/>
                    <a:pt x="208505" y="-67"/>
                    <a:pt x="202773" y="67"/>
                  </a:cubicBezTo>
                  <a:cubicBezTo>
                    <a:pt x="202907" y="503"/>
                    <a:pt x="202984" y="876"/>
                    <a:pt x="202984" y="1171"/>
                  </a:cubicBezTo>
                  <a:cubicBezTo>
                    <a:pt x="202984" y="3984"/>
                    <a:pt x="201929" y="11369"/>
                    <a:pt x="196303" y="12424"/>
                  </a:cubicBezTo>
                  <a:cubicBezTo>
                    <a:pt x="190676" y="13479"/>
                    <a:pt x="183643" y="15237"/>
                    <a:pt x="179775" y="16644"/>
                  </a:cubicBezTo>
                  <a:cubicBezTo>
                    <a:pt x="178572" y="17080"/>
                    <a:pt x="177088" y="17825"/>
                    <a:pt x="175506" y="18627"/>
                  </a:cubicBezTo>
                  <a:cubicBezTo>
                    <a:pt x="172017" y="20385"/>
                    <a:pt x="168023" y="22404"/>
                    <a:pt x="165357" y="21919"/>
                  </a:cubicBezTo>
                  <a:cubicBezTo>
                    <a:pt x="162720" y="21440"/>
                    <a:pt x="159759" y="20800"/>
                    <a:pt x="157586" y="20322"/>
                  </a:cubicBezTo>
                  <a:lnTo>
                    <a:pt x="157586" y="20322"/>
                  </a:lnTo>
                  <a:cubicBezTo>
                    <a:pt x="156566" y="20104"/>
                    <a:pt x="155722" y="19921"/>
                    <a:pt x="155159" y="19809"/>
                  </a:cubicBezTo>
                  <a:cubicBezTo>
                    <a:pt x="154688" y="19717"/>
                    <a:pt x="153373" y="19211"/>
                    <a:pt x="151741" y="18585"/>
                  </a:cubicBezTo>
                  <a:cubicBezTo>
                    <a:pt x="147324" y="16897"/>
                    <a:pt x="140608" y="14330"/>
                    <a:pt x="142148" y="16644"/>
                  </a:cubicBezTo>
                  <a:cubicBezTo>
                    <a:pt x="144258" y="19809"/>
                    <a:pt x="147423" y="29655"/>
                    <a:pt x="147423" y="33523"/>
                  </a:cubicBezTo>
                  <a:cubicBezTo>
                    <a:pt x="147423" y="37391"/>
                    <a:pt x="152346" y="40556"/>
                    <a:pt x="155159" y="41611"/>
                  </a:cubicBezTo>
                  <a:cubicBezTo>
                    <a:pt x="157972" y="42666"/>
                    <a:pt x="163950" y="45128"/>
                    <a:pt x="161137" y="46886"/>
                  </a:cubicBezTo>
                  <a:cubicBezTo>
                    <a:pt x="158324" y="48644"/>
                    <a:pt x="150588" y="53567"/>
                    <a:pt x="150236" y="55326"/>
                  </a:cubicBezTo>
                  <a:cubicBezTo>
                    <a:pt x="149884" y="57084"/>
                    <a:pt x="144610" y="60952"/>
                    <a:pt x="142148" y="60952"/>
                  </a:cubicBezTo>
                  <a:cubicBezTo>
                    <a:pt x="140179" y="60952"/>
                    <a:pt x="134995" y="63062"/>
                    <a:pt x="132653" y="64117"/>
                  </a:cubicBezTo>
                  <a:cubicBezTo>
                    <a:pt x="131247" y="65404"/>
                    <a:pt x="127801" y="67985"/>
                    <a:pt x="125269" y="67985"/>
                  </a:cubicBezTo>
                  <a:lnTo>
                    <a:pt x="118236" y="67985"/>
                  </a:lnTo>
                  <a:cubicBezTo>
                    <a:pt x="116266" y="67985"/>
                    <a:pt x="112025" y="63294"/>
                    <a:pt x="110148" y="60952"/>
                  </a:cubicBezTo>
                  <a:lnTo>
                    <a:pt x="102763" y="52161"/>
                  </a:lnTo>
                  <a:cubicBezTo>
                    <a:pt x="101905" y="51056"/>
                    <a:pt x="100744" y="49671"/>
                    <a:pt x="99429" y="48250"/>
                  </a:cubicBezTo>
                  <a:cubicBezTo>
                    <a:pt x="99148" y="48644"/>
                    <a:pt x="98852" y="49059"/>
                    <a:pt x="98536" y="49495"/>
                  </a:cubicBezTo>
                  <a:cubicBezTo>
                    <a:pt x="98100" y="50100"/>
                    <a:pt x="97636" y="50754"/>
                    <a:pt x="97136" y="51457"/>
                  </a:cubicBezTo>
                  <a:cubicBezTo>
                    <a:pt x="93761" y="52864"/>
                    <a:pt x="92445" y="53919"/>
                    <a:pt x="92213" y="54271"/>
                  </a:cubicBezTo>
                  <a:lnTo>
                    <a:pt x="64784" y="54271"/>
                  </a:lnTo>
                  <a:cubicBezTo>
                    <a:pt x="58223" y="54271"/>
                    <a:pt x="59531" y="56120"/>
                    <a:pt x="60825" y="57949"/>
                  </a:cubicBezTo>
                  <a:cubicBezTo>
                    <a:pt x="61120" y="58371"/>
                    <a:pt x="61423" y="58793"/>
                    <a:pt x="61620" y="59194"/>
                  </a:cubicBezTo>
                  <a:cubicBezTo>
                    <a:pt x="62056" y="60066"/>
                    <a:pt x="63272" y="61297"/>
                    <a:pt x="64602" y="62640"/>
                  </a:cubicBezTo>
                  <a:cubicBezTo>
                    <a:pt x="66486" y="64553"/>
                    <a:pt x="68589" y="66684"/>
                    <a:pt x="69004" y="68337"/>
                  </a:cubicBezTo>
                  <a:cubicBezTo>
                    <a:pt x="69468" y="70200"/>
                    <a:pt x="69011" y="70672"/>
                    <a:pt x="68139" y="71579"/>
                  </a:cubicBezTo>
                  <a:cubicBezTo>
                    <a:pt x="67689" y="72043"/>
                    <a:pt x="67141" y="72620"/>
                    <a:pt x="66543" y="73548"/>
                  </a:cubicBezTo>
                  <a:cubicBezTo>
                    <a:pt x="65136" y="75750"/>
                    <a:pt x="61971" y="74469"/>
                    <a:pt x="60565" y="73548"/>
                  </a:cubicBezTo>
                  <a:cubicBezTo>
                    <a:pt x="59742" y="74624"/>
                    <a:pt x="58103" y="77550"/>
                    <a:pt x="58103" y="80645"/>
                  </a:cubicBezTo>
                  <a:cubicBezTo>
                    <a:pt x="58103" y="82980"/>
                    <a:pt x="60023" y="84548"/>
                    <a:pt x="61859" y="86039"/>
                  </a:cubicBezTo>
                  <a:cubicBezTo>
                    <a:pt x="63061" y="87024"/>
                    <a:pt x="64229" y="87966"/>
                    <a:pt x="64784" y="89084"/>
                  </a:cubicBezTo>
                  <a:cubicBezTo>
                    <a:pt x="66191" y="91897"/>
                    <a:pt x="66543" y="97172"/>
                    <a:pt x="66543" y="99985"/>
                  </a:cubicBezTo>
                  <a:lnTo>
                    <a:pt x="66543" y="112997"/>
                  </a:lnTo>
                  <a:cubicBezTo>
                    <a:pt x="66543" y="114530"/>
                    <a:pt x="66592" y="115782"/>
                    <a:pt x="66634" y="116921"/>
                  </a:cubicBezTo>
                  <a:cubicBezTo>
                    <a:pt x="66704" y="118932"/>
                    <a:pt x="66768" y="120599"/>
                    <a:pt x="66543" y="122843"/>
                  </a:cubicBezTo>
                  <a:cubicBezTo>
                    <a:pt x="66191" y="126359"/>
                    <a:pt x="61268" y="137612"/>
                    <a:pt x="60565" y="137612"/>
                  </a:cubicBezTo>
                  <a:cubicBezTo>
                    <a:pt x="60002" y="137612"/>
                    <a:pt x="58687" y="143471"/>
                    <a:pt x="58103" y="14640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1" name="Freihandform: Form 26">
              <a:extLst>
                <a:ext uri="{FF2B5EF4-FFF2-40B4-BE49-F238E27FC236}">
                  <a16:creationId xmlns:a16="http://schemas.microsoft.com/office/drawing/2014/main" id="{BE37C56E-2572-2E4C-9880-9CA25FEB7152}"/>
                </a:ext>
              </a:extLst>
            </p:cNvPr>
            <p:cNvSpPr/>
            <p:nvPr/>
          </p:nvSpPr>
          <p:spPr>
            <a:xfrm>
              <a:off x="5216595" y="4384971"/>
              <a:ext cx="72447" cy="111755"/>
            </a:xfrm>
            <a:custGeom>
              <a:avLst/>
              <a:gdLst>
                <a:gd name="connsiteX0" fmla="*/ 70331 w 72447"/>
                <a:gd name="connsiteY0" fmla="*/ 98744 h 111755"/>
                <a:gd name="connsiteX1" fmla="*/ 72448 w 72447"/>
                <a:gd name="connsiteY1" fmla="*/ 102964 h 111755"/>
                <a:gd name="connsiteX2" fmla="*/ 66814 w 72447"/>
                <a:gd name="connsiteY2" fmla="*/ 102964 h 111755"/>
                <a:gd name="connsiteX3" fmla="*/ 55906 w 72447"/>
                <a:gd name="connsiteY3" fmla="*/ 105854 h 111755"/>
                <a:gd name="connsiteX4" fmla="*/ 53100 w 72447"/>
                <a:gd name="connsiteY4" fmla="*/ 106832 h 111755"/>
                <a:gd name="connsiteX5" fmla="*/ 50842 w 72447"/>
                <a:gd name="connsiteY5" fmla="*/ 107873 h 111755"/>
                <a:gd name="connsiteX6" fmla="*/ 35517 w 72447"/>
                <a:gd name="connsiteY6" fmla="*/ 111755 h 111755"/>
                <a:gd name="connsiteX7" fmla="*/ 23962 w 72447"/>
                <a:gd name="connsiteY7" fmla="*/ 100242 h 111755"/>
                <a:gd name="connsiteX8" fmla="*/ 23962 w 72447"/>
                <a:gd name="connsiteY8" fmla="*/ 100242 h 111755"/>
                <a:gd name="connsiteX9" fmla="*/ 22506 w 72447"/>
                <a:gd name="connsiteY9" fmla="*/ 96634 h 111755"/>
                <a:gd name="connsiteX10" fmla="*/ 21099 w 72447"/>
                <a:gd name="connsiteY10" fmla="*/ 79755 h 111755"/>
                <a:gd name="connsiteX11" fmla="*/ 24616 w 72447"/>
                <a:gd name="connsiteY11" fmla="*/ 66040 h 111755"/>
                <a:gd name="connsiteX12" fmla="*/ 19341 w 72447"/>
                <a:gd name="connsiteY12" fmla="*/ 61117 h 111755"/>
                <a:gd name="connsiteX13" fmla="*/ 17955 w 72447"/>
                <a:gd name="connsiteY13" fmla="*/ 54162 h 111755"/>
                <a:gd name="connsiteX14" fmla="*/ 17955 w 72447"/>
                <a:gd name="connsiteY14" fmla="*/ 54162 h 111755"/>
                <a:gd name="connsiteX15" fmla="*/ 17955 w 72447"/>
                <a:gd name="connsiteY15" fmla="*/ 54162 h 111755"/>
                <a:gd name="connsiteX16" fmla="*/ 17583 w 72447"/>
                <a:gd name="connsiteY16" fmla="*/ 51271 h 111755"/>
                <a:gd name="connsiteX17" fmla="*/ 6470 w 72447"/>
                <a:gd name="connsiteY17" fmla="*/ 50870 h 111755"/>
                <a:gd name="connsiteX18" fmla="*/ 0 w 72447"/>
                <a:gd name="connsiteY18" fmla="*/ 39315 h 111755"/>
                <a:gd name="connsiteX19" fmla="*/ 0 w 72447"/>
                <a:gd name="connsiteY19" fmla="*/ 33688 h 111755"/>
                <a:gd name="connsiteX20" fmla="*/ 2462 w 72447"/>
                <a:gd name="connsiteY20" fmla="*/ 28413 h 111755"/>
                <a:gd name="connsiteX21" fmla="*/ 10901 w 72447"/>
                <a:gd name="connsiteY21" fmla="*/ 23842 h 111755"/>
                <a:gd name="connsiteX22" fmla="*/ 10901 w 72447"/>
                <a:gd name="connsiteY22" fmla="*/ 18919 h 111755"/>
                <a:gd name="connsiteX23" fmla="*/ 10901 w 72447"/>
                <a:gd name="connsiteY23" fmla="*/ 10831 h 111755"/>
                <a:gd name="connsiteX24" fmla="*/ 13201 w 72447"/>
                <a:gd name="connsiteY24" fmla="*/ 7568 h 111755"/>
                <a:gd name="connsiteX25" fmla="*/ 13201 w 72447"/>
                <a:gd name="connsiteY25" fmla="*/ 7568 h 111755"/>
                <a:gd name="connsiteX26" fmla="*/ 14769 w 72447"/>
                <a:gd name="connsiteY26" fmla="*/ 5556 h 111755"/>
                <a:gd name="connsiteX27" fmla="*/ 20881 w 72447"/>
                <a:gd name="connsiteY27" fmla="*/ 0 h 111755"/>
                <a:gd name="connsiteX28" fmla="*/ 31297 w 72447"/>
                <a:gd name="connsiteY28" fmla="*/ 5556 h 111755"/>
                <a:gd name="connsiteX29" fmla="*/ 36129 w 72447"/>
                <a:gd name="connsiteY29" fmla="*/ 11260 h 111755"/>
                <a:gd name="connsiteX30" fmla="*/ 36129 w 72447"/>
                <a:gd name="connsiteY30" fmla="*/ 11260 h 111755"/>
                <a:gd name="connsiteX31" fmla="*/ 40792 w 72447"/>
                <a:gd name="connsiteY31" fmla="*/ 16809 h 111755"/>
                <a:gd name="connsiteX32" fmla="*/ 46067 w 72447"/>
                <a:gd name="connsiteY32" fmla="*/ 26304 h 111755"/>
                <a:gd name="connsiteX33" fmla="*/ 54858 w 72447"/>
                <a:gd name="connsiteY33" fmla="*/ 30523 h 111755"/>
                <a:gd name="connsiteX34" fmla="*/ 61891 w 72447"/>
                <a:gd name="connsiteY34" fmla="*/ 36150 h 111755"/>
                <a:gd name="connsiteX35" fmla="*/ 63649 w 72447"/>
                <a:gd name="connsiteY35" fmla="*/ 50919 h 111755"/>
                <a:gd name="connsiteX36" fmla="*/ 54858 w 72447"/>
                <a:gd name="connsiteY36" fmla="*/ 58656 h 111755"/>
                <a:gd name="connsiteX37" fmla="*/ 50286 w 72447"/>
                <a:gd name="connsiteY37" fmla="*/ 70260 h 111755"/>
                <a:gd name="connsiteX38" fmla="*/ 54858 w 72447"/>
                <a:gd name="connsiteY38" fmla="*/ 80458 h 111755"/>
                <a:gd name="connsiteX39" fmla="*/ 61891 w 72447"/>
                <a:gd name="connsiteY39" fmla="*/ 80458 h 111755"/>
                <a:gd name="connsiteX40" fmla="*/ 63649 w 72447"/>
                <a:gd name="connsiteY40" fmla="*/ 92063 h 111755"/>
                <a:gd name="connsiteX41" fmla="*/ 70331 w 72447"/>
                <a:gd name="connsiteY41" fmla="*/ 98744 h 111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2447" h="111755">
                  <a:moveTo>
                    <a:pt x="70331" y="98744"/>
                  </a:moveTo>
                  <a:cubicBezTo>
                    <a:pt x="70767" y="99328"/>
                    <a:pt x="71604" y="101065"/>
                    <a:pt x="72448" y="102964"/>
                  </a:cubicBezTo>
                  <a:lnTo>
                    <a:pt x="66814" y="102964"/>
                  </a:lnTo>
                  <a:cubicBezTo>
                    <a:pt x="63720" y="102964"/>
                    <a:pt x="59113" y="104666"/>
                    <a:pt x="55906" y="105854"/>
                  </a:cubicBezTo>
                  <a:cubicBezTo>
                    <a:pt x="54738" y="106283"/>
                    <a:pt x="53754" y="106642"/>
                    <a:pt x="53100" y="106832"/>
                  </a:cubicBezTo>
                  <a:cubicBezTo>
                    <a:pt x="52495" y="107008"/>
                    <a:pt x="51756" y="107395"/>
                    <a:pt x="50842" y="107873"/>
                  </a:cubicBezTo>
                  <a:cubicBezTo>
                    <a:pt x="48022" y="109357"/>
                    <a:pt x="43471" y="111755"/>
                    <a:pt x="35517" y="111755"/>
                  </a:cubicBezTo>
                  <a:cubicBezTo>
                    <a:pt x="27640" y="111755"/>
                    <a:pt x="25446" y="104891"/>
                    <a:pt x="23962" y="100242"/>
                  </a:cubicBezTo>
                  <a:lnTo>
                    <a:pt x="23962" y="100242"/>
                  </a:lnTo>
                  <a:cubicBezTo>
                    <a:pt x="23462" y="98667"/>
                    <a:pt x="23040" y="97344"/>
                    <a:pt x="22506" y="96634"/>
                  </a:cubicBezTo>
                  <a:cubicBezTo>
                    <a:pt x="20396" y="93821"/>
                    <a:pt x="19341" y="83271"/>
                    <a:pt x="21099" y="79755"/>
                  </a:cubicBezTo>
                  <a:cubicBezTo>
                    <a:pt x="22857" y="76238"/>
                    <a:pt x="24967" y="68854"/>
                    <a:pt x="24616" y="66040"/>
                  </a:cubicBezTo>
                  <a:cubicBezTo>
                    <a:pt x="24264" y="63227"/>
                    <a:pt x="20396" y="61469"/>
                    <a:pt x="19341" y="61117"/>
                  </a:cubicBezTo>
                  <a:cubicBezTo>
                    <a:pt x="18631" y="60878"/>
                    <a:pt x="18244" y="57003"/>
                    <a:pt x="17955" y="54162"/>
                  </a:cubicBezTo>
                  <a:lnTo>
                    <a:pt x="17955" y="54162"/>
                  </a:lnTo>
                  <a:lnTo>
                    <a:pt x="17955" y="54162"/>
                  </a:lnTo>
                  <a:cubicBezTo>
                    <a:pt x="17815" y="52762"/>
                    <a:pt x="17695" y="51616"/>
                    <a:pt x="17583" y="51271"/>
                  </a:cubicBezTo>
                  <a:cubicBezTo>
                    <a:pt x="17414" y="50772"/>
                    <a:pt x="12202" y="50736"/>
                    <a:pt x="6470" y="50870"/>
                  </a:cubicBezTo>
                  <a:cubicBezTo>
                    <a:pt x="5563" y="47937"/>
                    <a:pt x="1941" y="42170"/>
                    <a:pt x="0" y="39315"/>
                  </a:cubicBezTo>
                  <a:lnTo>
                    <a:pt x="0" y="33688"/>
                  </a:lnTo>
                  <a:lnTo>
                    <a:pt x="2462" y="28413"/>
                  </a:lnTo>
                  <a:lnTo>
                    <a:pt x="10901" y="23842"/>
                  </a:lnTo>
                  <a:lnTo>
                    <a:pt x="10901" y="18919"/>
                  </a:lnTo>
                  <a:lnTo>
                    <a:pt x="10901" y="10831"/>
                  </a:lnTo>
                  <a:cubicBezTo>
                    <a:pt x="10901" y="9839"/>
                    <a:pt x="12132" y="8623"/>
                    <a:pt x="13201" y="7568"/>
                  </a:cubicBezTo>
                  <a:lnTo>
                    <a:pt x="13201" y="7568"/>
                  </a:lnTo>
                  <a:cubicBezTo>
                    <a:pt x="14031" y="6745"/>
                    <a:pt x="14769" y="6013"/>
                    <a:pt x="14769" y="5556"/>
                  </a:cubicBezTo>
                  <a:cubicBezTo>
                    <a:pt x="14769" y="4775"/>
                    <a:pt x="18546" y="1751"/>
                    <a:pt x="20881" y="0"/>
                  </a:cubicBezTo>
                  <a:cubicBezTo>
                    <a:pt x="25192" y="1315"/>
                    <a:pt x="30523" y="4009"/>
                    <a:pt x="31297" y="5556"/>
                  </a:cubicBezTo>
                  <a:cubicBezTo>
                    <a:pt x="31818" y="6604"/>
                    <a:pt x="33991" y="8953"/>
                    <a:pt x="36129" y="11260"/>
                  </a:cubicBezTo>
                  <a:lnTo>
                    <a:pt x="36129" y="11260"/>
                  </a:lnTo>
                  <a:cubicBezTo>
                    <a:pt x="38302" y="13609"/>
                    <a:pt x="40440" y="15923"/>
                    <a:pt x="40792" y="16809"/>
                  </a:cubicBezTo>
                  <a:cubicBezTo>
                    <a:pt x="41495" y="18567"/>
                    <a:pt x="44308" y="25249"/>
                    <a:pt x="46067" y="26304"/>
                  </a:cubicBezTo>
                  <a:cubicBezTo>
                    <a:pt x="47473" y="27147"/>
                    <a:pt x="52516" y="29468"/>
                    <a:pt x="54858" y="30523"/>
                  </a:cubicBezTo>
                  <a:cubicBezTo>
                    <a:pt x="57087" y="31810"/>
                    <a:pt x="61610" y="34743"/>
                    <a:pt x="61891" y="36150"/>
                  </a:cubicBezTo>
                  <a:cubicBezTo>
                    <a:pt x="62172" y="37556"/>
                    <a:pt x="63178" y="46580"/>
                    <a:pt x="63649" y="50919"/>
                  </a:cubicBezTo>
                  <a:cubicBezTo>
                    <a:pt x="61659" y="52678"/>
                    <a:pt x="57108" y="56686"/>
                    <a:pt x="54858" y="58656"/>
                  </a:cubicBezTo>
                  <a:cubicBezTo>
                    <a:pt x="52045" y="61117"/>
                    <a:pt x="50286" y="68502"/>
                    <a:pt x="50286" y="70260"/>
                  </a:cubicBezTo>
                  <a:cubicBezTo>
                    <a:pt x="50286" y="72018"/>
                    <a:pt x="51693" y="79755"/>
                    <a:pt x="54858" y="80458"/>
                  </a:cubicBezTo>
                  <a:cubicBezTo>
                    <a:pt x="57390" y="81021"/>
                    <a:pt x="60604" y="80690"/>
                    <a:pt x="61891" y="80458"/>
                  </a:cubicBezTo>
                  <a:cubicBezTo>
                    <a:pt x="61420" y="83623"/>
                    <a:pt x="61117" y="90375"/>
                    <a:pt x="63649" y="92063"/>
                  </a:cubicBezTo>
                  <a:cubicBezTo>
                    <a:pt x="66814" y="94173"/>
                    <a:pt x="69276" y="97337"/>
                    <a:pt x="70331" y="9874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2" name="Freihandform: Form 27">
              <a:extLst>
                <a:ext uri="{FF2B5EF4-FFF2-40B4-BE49-F238E27FC236}">
                  <a16:creationId xmlns:a16="http://schemas.microsoft.com/office/drawing/2014/main" id="{BA6134D6-832A-3241-8345-29568D6B5FE1}"/>
                </a:ext>
              </a:extLst>
            </p:cNvPr>
            <p:cNvSpPr/>
            <p:nvPr/>
          </p:nvSpPr>
          <p:spPr>
            <a:xfrm>
              <a:off x="5264322" y="4423667"/>
              <a:ext cx="64942" cy="70696"/>
            </a:xfrm>
            <a:custGeom>
              <a:avLst/>
              <a:gdLst>
                <a:gd name="connsiteX0" fmla="*/ 22604 w 64942"/>
                <a:gd name="connsiteY0" fmla="*/ 60048 h 70696"/>
                <a:gd name="connsiteX1" fmla="*/ 24721 w 64942"/>
                <a:gd name="connsiteY1" fmla="*/ 64268 h 70696"/>
                <a:gd name="connsiteX2" fmla="*/ 31747 w 64942"/>
                <a:gd name="connsiteY2" fmla="*/ 64268 h 70696"/>
                <a:gd name="connsiteX3" fmla="*/ 35264 w 64942"/>
                <a:gd name="connsiteY3" fmla="*/ 53718 h 70696"/>
                <a:gd name="connsiteX4" fmla="*/ 37999 w 64942"/>
                <a:gd name="connsiteY4" fmla="*/ 54928 h 70696"/>
                <a:gd name="connsiteX5" fmla="*/ 43000 w 64942"/>
                <a:gd name="connsiteY5" fmla="*/ 56532 h 70696"/>
                <a:gd name="connsiteX6" fmla="*/ 43098 w 64942"/>
                <a:gd name="connsiteY6" fmla="*/ 56468 h 70696"/>
                <a:gd name="connsiteX7" fmla="*/ 43162 w 64942"/>
                <a:gd name="connsiteY7" fmla="*/ 56419 h 70696"/>
                <a:gd name="connsiteX8" fmla="*/ 51440 w 64942"/>
                <a:gd name="connsiteY8" fmla="*/ 54773 h 70696"/>
                <a:gd name="connsiteX9" fmla="*/ 57636 w 64942"/>
                <a:gd name="connsiteY9" fmla="*/ 57333 h 70696"/>
                <a:gd name="connsiteX10" fmla="*/ 58121 w 64942"/>
                <a:gd name="connsiteY10" fmla="*/ 55125 h 70696"/>
                <a:gd name="connsiteX11" fmla="*/ 62693 w 64942"/>
                <a:gd name="connsiteY11" fmla="*/ 44927 h 70696"/>
                <a:gd name="connsiteX12" fmla="*/ 63818 w 64942"/>
                <a:gd name="connsiteY12" fmla="*/ 41108 h 70696"/>
                <a:gd name="connsiteX13" fmla="*/ 64451 w 64942"/>
                <a:gd name="connsiteY13" fmla="*/ 36487 h 70696"/>
                <a:gd name="connsiteX14" fmla="*/ 63480 w 64942"/>
                <a:gd name="connsiteY14" fmla="*/ 28716 h 70696"/>
                <a:gd name="connsiteX15" fmla="*/ 62693 w 64942"/>
                <a:gd name="connsiteY15" fmla="*/ 26289 h 70696"/>
                <a:gd name="connsiteX16" fmla="*/ 61131 w 64942"/>
                <a:gd name="connsiteY16" fmla="*/ 22034 h 70696"/>
                <a:gd name="connsiteX17" fmla="*/ 61131 w 64942"/>
                <a:gd name="connsiteY17" fmla="*/ 22034 h 70696"/>
                <a:gd name="connsiteX18" fmla="*/ 58121 w 64942"/>
                <a:gd name="connsiteY18" fmla="*/ 12575 h 70696"/>
                <a:gd name="connsiteX19" fmla="*/ 62693 w 64942"/>
                <a:gd name="connsiteY19" fmla="*/ 3080 h 70696"/>
                <a:gd name="connsiteX20" fmla="*/ 49597 w 64942"/>
                <a:gd name="connsiteY20" fmla="*/ 584 h 70696"/>
                <a:gd name="connsiteX21" fmla="*/ 46517 w 64942"/>
                <a:gd name="connsiteY21" fmla="*/ 619 h 70696"/>
                <a:gd name="connsiteX22" fmla="*/ 37071 w 64942"/>
                <a:gd name="connsiteY22" fmla="*/ 2236 h 70696"/>
                <a:gd name="connsiteX23" fmla="*/ 33154 w 64942"/>
                <a:gd name="connsiteY23" fmla="*/ 3080 h 70696"/>
                <a:gd name="connsiteX24" fmla="*/ 27766 w 64942"/>
                <a:gd name="connsiteY24" fmla="*/ 1850 h 70696"/>
                <a:gd name="connsiteX25" fmla="*/ 22956 w 64942"/>
                <a:gd name="connsiteY25" fmla="*/ 619 h 70696"/>
                <a:gd name="connsiteX26" fmla="*/ 14523 w 64942"/>
                <a:gd name="connsiteY26" fmla="*/ 0 h 70696"/>
                <a:gd name="connsiteX27" fmla="*/ 15923 w 64942"/>
                <a:gd name="connsiteY27" fmla="*/ 12223 h 70696"/>
                <a:gd name="connsiteX28" fmla="*/ 7131 w 64942"/>
                <a:gd name="connsiteY28" fmla="*/ 19960 h 70696"/>
                <a:gd name="connsiteX29" fmla="*/ 2560 w 64942"/>
                <a:gd name="connsiteY29" fmla="*/ 31564 h 70696"/>
                <a:gd name="connsiteX30" fmla="*/ 7131 w 64942"/>
                <a:gd name="connsiteY30" fmla="*/ 41762 h 70696"/>
                <a:gd name="connsiteX31" fmla="*/ 14164 w 64942"/>
                <a:gd name="connsiteY31" fmla="*/ 41762 h 70696"/>
                <a:gd name="connsiteX32" fmla="*/ 15923 w 64942"/>
                <a:gd name="connsiteY32" fmla="*/ 53367 h 70696"/>
                <a:gd name="connsiteX33" fmla="*/ 22604 w 64942"/>
                <a:gd name="connsiteY33" fmla="*/ 60048 h 70696"/>
                <a:gd name="connsiteX34" fmla="*/ 0 w 64942"/>
                <a:gd name="connsiteY34" fmla="*/ 70696 h 70696"/>
                <a:gd name="connsiteX35" fmla="*/ 352 w 64942"/>
                <a:gd name="connsiteY35" fmla="*/ 70548 h 70696"/>
                <a:gd name="connsiteX36" fmla="*/ 0 w 64942"/>
                <a:gd name="connsiteY36" fmla="*/ 70696 h 70696"/>
                <a:gd name="connsiteX37" fmla="*/ 0 w 64942"/>
                <a:gd name="connsiteY37" fmla="*/ 70696 h 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4942" h="70696">
                  <a:moveTo>
                    <a:pt x="22604" y="60048"/>
                  </a:moveTo>
                  <a:cubicBezTo>
                    <a:pt x="23040" y="60632"/>
                    <a:pt x="23877" y="62369"/>
                    <a:pt x="24721" y="64268"/>
                  </a:cubicBezTo>
                  <a:lnTo>
                    <a:pt x="31747" y="64268"/>
                  </a:lnTo>
                  <a:cubicBezTo>
                    <a:pt x="32218" y="60519"/>
                    <a:pt x="33576" y="53156"/>
                    <a:pt x="35264" y="53718"/>
                  </a:cubicBezTo>
                  <a:cubicBezTo>
                    <a:pt x="35974" y="53958"/>
                    <a:pt x="36966" y="54429"/>
                    <a:pt x="37999" y="54928"/>
                  </a:cubicBezTo>
                  <a:cubicBezTo>
                    <a:pt x="40053" y="55920"/>
                    <a:pt x="42297" y="56996"/>
                    <a:pt x="43000" y="56532"/>
                  </a:cubicBezTo>
                  <a:cubicBezTo>
                    <a:pt x="43028" y="56510"/>
                    <a:pt x="43063" y="56489"/>
                    <a:pt x="43098" y="56468"/>
                  </a:cubicBezTo>
                  <a:cubicBezTo>
                    <a:pt x="43120" y="56454"/>
                    <a:pt x="43141" y="56440"/>
                    <a:pt x="43162" y="56419"/>
                  </a:cubicBezTo>
                  <a:cubicBezTo>
                    <a:pt x="44407" y="55582"/>
                    <a:pt x="48085" y="53100"/>
                    <a:pt x="51440" y="54773"/>
                  </a:cubicBezTo>
                  <a:cubicBezTo>
                    <a:pt x="53557" y="55828"/>
                    <a:pt x="55800" y="56764"/>
                    <a:pt x="57636" y="57333"/>
                  </a:cubicBezTo>
                  <a:cubicBezTo>
                    <a:pt x="57931" y="56321"/>
                    <a:pt x="58121" y="55533"/>
                    <a:pt x="58121" y="55125"/>
                  </a:cubicBezTo>
                  <a:cubicBezTo>
                    <a:pt x="58121" y="53015"/>
                    <a:pt x="60231" y="47037"/>
                    <a:pt x="62693" y="44927"/>
                  </a:cubicBezTo>
                  <a:cubicBezTo>
                    <a:pt x="64001" y="43809"/>
                    <a:pt x="63916" y="42585"/>
                    <a:pt x="63818" y="41108"/>
                  </a:cubicBezTo>
                  <a:cubicBezTo>
                    <a:pt x="63726" y="39800"/>
                    <a:pt x="63628" y="38302"/>
                    <a:pt x="64451" y="36487"/>
                  </a:cubicBezTo>
                  <a:cubicBezTo>
                    <a:pt x="65646" y="33850"/>
                    <a:pt x="64402" y="30889"/>
                    <a:pt x="63480" y="28716"/>
                  </a:cubicBezTo>
                  <a:cubicBezTo>
                    <a:pt x="63051" y="27696"/>
                    <a:pt x="62693" y="26852"/>
                    <a:pt x="62693" y="26289"/>
                  </a:cubicBezTo>
                  <a:cubicBezTo>
                    <a:pt x="62693" y="25600"/>
                    <a:pt x="61989" y="23990"/>
                    <a:pt x="61131" y="22034"/>
                  </a:cubicBezTo>
                  <a:lnTo>
                    <a:pt x="61131" y="22034"/>
                  </a:lnTo>
                  <a:cubicBezTo>
                    <a:pt x="59809" y="19003"/>
                    <a:pt x="58121" y="15142"/>
                    <a:pt x="58121" y="12575"/>
                  </a:cubicBezTo>
                  <a:cubicBezTo>
                    <a:pt x="58121" y="9199"/>
                    <a:pt x="61166" y="4839"/>
                    <a:pt x="62693" y="3080"/>
                  </a:cubicBezTo>
                  <a:cubicBezTo>
                    <a:pt x="59141" y="422"/>
                    <a:pt x="54851" y="492"/>
                    <a:pt x="49597" y="584"/>
                  </a:cubicBezTo>
                  <a:cubicBezTo>
                    <a:pt x="48605" y="598"/>
                    <a:pt x="47579" y="619"/>
                    <a:pt x="46517" y="619"/>
                  </a:cubicBezTo>
                  <a:cubicBezTo>
                    <a:pt x="42466" y="619"/>
                    <a:pt x="39448" y="1526"/>
                    <a:pt x="37071" y="2236"/>
                  </a:cubicBezTo>
                  <a:cubicBezTo>
                    <a:pt x="35531" y="2701"/>
                    <a:pt x="34258" y="3080"/>
                    <a:pt x="33154" y="3080"/>
                  </a:cubicBezTo>
                  <a:cubicBezTo>
                    <a:pt x="31635" y="3080"/>
                    <a:pt x="29715" y="2468"/>
                    <a:pt x="27766" y="1850"/>
                  </a:cubicBezTo>
                  <a:cubicBezTo>
                    <a:pt x="26100" y="1315"/>
                    <a:pt x="24419" y="781"/>
                    <a:pt x="22956" y="619"/>
                  </a:cubicBezTo>
                  <a:cubicBezTo>
                    <a:pt x="22027" y="513"/>
                    <a:pt x="18764" y="281"/>
                    <a:pt x="14523" y="0"/>
                  </a:cubicBezTo>
                  <a:cubicBezTo>
                    <a:pt x="14952" y="3376"/>
                    <a:pt x="15578" y="9051"/>
                    <a:pt x="15923" y="12223"/>
                  </a:cubicBezTo>
                  <a:cubicBezTo>
                    <a:pt x="13932" y="13982"/>
                    <a:pt x="9382" y="17990"/>
                    <a:pt x="7131" y="19960"/>
                  </a:cubicBezTo>
                  <a:cubicBezTo>
                    <a:pt x="4318" y="22421"/>
                    <a:pt x="2560" y="29806"/>
                    <a:pt x="2560" y="31564"/>
                  </a:cubicBezTo>
                  <a:cubicBezTo>
                    <a:pt x="2560" y="33323"/>
                    <a:pt x="3967" y="41059"/>
                    <a:pt x="7131" y="41762"/>
                  </a:cubicBezTo>
                  <a:cubicBezTo>
                    <a:pt x="9663" y="42325"/>
                    <a:pt x="12877" y="41994"/>
                    <a:pt x="14164" y="41762"/>
                  </a:cubicBezTo>
                  <a:cubicBezTo>
                    <a:pt x="13693" y="44927"/>
                    <a:pt x="13391" y="51679"/>
                    <a:pt x="15923" y="53367"/>
                  </a:cubicBezTo>
                  <a:cubicBezTo>
                    <a:pt x="19088" y="55477"/>
                    <a:pt x="21549" y="58642"/>
                    <a:pt x="22604" y="60048"/>
                  </a:cubicBezTo>
                  <a:close/>
                  <a:moveTo>
                    <a:pt x="0" y="70696"/>
                  </a:moveTo>
                  <a:cubicBezTo>
                    <a:pt x="120" y="70647"/>
                    <a:pt x="239" y="70598"/>
                    <a:pt x="352" y="70548"/>
                  </a:cubicBezTo>
                  <a:cubicBezTo>
                    <a:pt x="239" y="70598"/>
                    <a:pt x="120" y="70647"/>
                    <a:pt x="0" y="70696"/>
                  </a:cubicBezTo>
                  <a:cubicBezTo>
                    <a:pt x="0" y="70696"/>
                    <a:pt x="0" y="70696"/>
                    <a:pt x="0" y="7069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3" name="Freihandform: Form 28">
              <a:extLst>
                <a:ext uri="{FF2B5EF4-FFF2-40B4-BE49-F238E27FC236}">
                  <a16:creationId xmlns:a16="http://schemas.microsoft.com/office/drawing/2014/main" id="{4595B54F-1EC5-2E46-BBAD-021683EF8B4C}"/>
                </a:ext>
              </a:extLst>
            </p:cNvPr>
            <p:cNvSpPr/>
            <p:nvPr/>
          </p:nvSpPr>
          <p:spPr>
            <a:xfrm>
              <a:off x="5322161" y="4427099"/>
              <a:ext cx="43183" cy="57671"/>
            </a:xfrm>
            <a:custGeom>
              <a:avLst/>
              <a:gdLst>
                <a:gd name="connsiteX0" fmla="*/ 26065 w 43183"/>
                <a:gd name="connsiteY0" fmla="*/ 7385 h 57671"/>
                <a:gd name="connsiteX1" fmla="*/ 4311 w 43183"/>
                <a:gd name="connsiteY1" fmla="*/ 0 h 57671"/>
                <a:gd name="connsiteX2" fmla="*/ 35 w 43183"/>
                <a:gd name="connsiteY2" fmla="*/ 7385 h 57671"/>
                <a:gd name="connsiteX3" fmla="*/ 2173 w 43183"/>
                <a:gd name="connsiteY3" fmla="*/ 14418 h 57671"/>
                <a:gd name="connsiteX4" fmla="*/ 4311 w 43183"/>
                <a:gd name="connsiteY4" fmla="*/ 21099 h 57671"/>
                <a:gd name="connsiteX5" fmla="*/ 7167 w 43183"/>
                <a:gd name="connsiteY5" fmla="*/ 29187 h 57671"/>
                <a:gd name="connsiteX6" fmla="*/ 5739 w 43183"/>
                <a:gd name="connsiteY6" fmla="*/ 34462 h 57671"/>
                <a:gd name="connsiteX7" fmla="*/ 5739 w 43183"/>
                <a:gd name="connsiteY7" fmla="*/ 39737 h 57671"/>
                <a:gd name="connsiteX8" fmla="*/ 2173 w 43183"/>
                <a:gd name="connsiteY8" fmla="*/ 46770 h 57671"/>
                <a:gd name="connsiteX9" fmla="*/ 35 w 43183"/>
                <a:gd name="connsiteY9" fmla="*/ 54506 h 57671"/>
                <a:gd name="connsiteX10" fmla="*/ 8946 w 43183"/>
                <a:gd name="connsiteY10" fmla="*/ 53100 h 57671"/>
                <a:gd name="connsiteX11" fmla="*/ 12871 w 43183"/>
                <a:gd name="connsiteY11" fmla="*/ 55913 h 57671"/>
                <a:gd name="connsiteX12" fmla="*/ 18574 w 43183"/>
                <a:gd name="connsiteY12" fmla="*/ 57671 h 57671"/>
                <a:gd name="connsiteX13" fmla="*/ 21789 w 43183"/>
                <a:gd name="connsiteY13" fmla="*/ 55913 h 57671"/>
                <a:gd name="connsiteX14" fmla="*/ 28561 w 43183"/>
                <a:gd name="connsiteY14" fmla="*/ 51341 h 57671"/>
                <a:gd name="connsiteX15" fmla="*/ 31776 w 43183"/>
                <a:gd name="connsiteY15" fmla="*/ 46770 h 57671"/>
                <a:gd name="connsiteX16" fmla="*/ 37479 w 43183"/>
                <a:gd name="connsiteY16" fmla="*/ 34462 h 57671"/>
                <a:gd name="connsiteX17" fmla="*/ 43183 w 43183"/>
                <a:gd name="connsiteY17" fmla="*/ 24264 h 57671"/>
                <a:gd name="connsiteX18" fmla="*/ 26065 w 43183"/>
                <a:gd name="connsiteY18" fmla="*/ 7385 h 5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183" h="57671">
                  <a:moveTo>
                    <a:pt x="26065" y="7385"/>
                  </a:moveTo>
                  <a:cubicBezTo>
                    <a:pt x="20072" y="1758"/>
                    <a:pt x="9066" y="120"/>
                    <a:pt x="4311" y="0"/>
                  </a:cubicBezTo>
                  <a:cubicBezTo>
                    <a:pt x="2891" y="1758"/>
                    <a:pt x="317" y="6541"/>
                    <a:pt x="35" y="7385"/>
                  </a:cubicBezTo>
                  <a:cubicBezTo>
                    <a:pt x="-323" y="8440"/>
                    <a:pt x="2173" y="11956"/>
                    <a:pt x="2173" y="14418"/>
                  </a:cubicBezTo>
                  <a:cubicBezTo>
                    <a:pt x="2173" y="16879"/>
                    <a:pt x="4311" y="20044"/>
                    <a:pt x="4311" y="21099"/>
                  </a:cubicBezTo>
                  <a:cubicBezTo>
                    <a:pt x="4311" y="21943"/>
                    <a:pt x="6217" y="26845"/>
                    <a:pt x="7167" y="29187"/>
                  </a:cubicBezTo>
                  <a:lnTo>
                    <a:pt x="5739" y="34462"/>
                  </a:lnTo>
                  <a:lnTo>
                    <a:pt x="5739" y="39737"/>
                  </a:lnTo>
                  <a:cubicBezTo>
                    <a:pt x="4790" y="41024"/>
                    <a:pt x="2743" y="44238"/>
                    <a:pt x="2173" y="46770"/>
                  </a:cubicBezTo>
                  <a:cubicBezTo>
                    <a:pt x="1463" y="49935"/>
                    <a:pt x="35" y="53100"/>
                    <a:pt x="35" y="54506"/>
                  </a:cubicBezTo>
                  <a:cubicBezTo>
                    <a:pt x="35" y="55913"/>
                    <a:pt x="7877" y="53100"/>
                    <a:pt x="8946" y="53100"/>
                  </a:cubicBezTo>
                  <a:cubicBezTo>
                    <a:pt x="9804" y="53100"/>
                    <a:pt x="11921" y="54977"/>
                    <a:pt x="12871" y="55913"/>
                  </a:cubicBezTo>
                  <a:cubicBezTo>
                    <a:pt x="14179" y="56497"/>
                    <a:pt x="17154" y="57671"/>
                    <a:pt x="18574" y="57671"/>
                  </a:cubicBezTo>
                  <a:cubicBezTo>
                    <a:pt x="20002" y="57671"/>
                    <a:pt x="21310" y="56497"/>
                    <a:pt x="21789" y="55913"/>
                  </a:cubicBezTo>
                  <a:cubicBezTo>
                    <a:pt x="23216" y="54738"/>
                    <a:pt x="26564" y="52185"/>
                    <a:pt x="28561" y="51341"/>
                  </a:cubicBezTo>
                  <a:cubicBezTo>
                    <a:pt x="30559" y="50497"/>
                    <a:pt x="31536" y="47944"/>
                    <a:pt x="31776" y="46770"/>
                  </a:cubicBezTo>
                  <a:lnTo>
                    <a:pt x="37479" y="34462"/>
                  </a:lnTo>
                  <a:lnTo>
                    <a:pt x="43183" y="24264"/>
                  </a:lnTo>
                  <a:cubicBezTo>
                    <a:pt x="39976" y="20980"/>
                    <a:pt x="32057" y="13011"/>
                    <a:pt x="26065" y="738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4" name="Freihandform: Form 29">
              <a:extLst>
                <a:ext uri="{FF2B5EF4-FFF2-40B4-BE49-F238E27FC236}">
                  <a16:creationId xmlns:a16="http://schemas.microsoft.com/office/drawing/2014/main" id="{C59DB520-72F4-9647-B0ED-8C5ED4A77056}"/>
                </a:ext>
              </a:extLst>
            </p:cNvPr>
            <p:cNvSpPr/>
            <p:nvPr/>
          </p:nvSpPr>
          <p:spPr>
            <a:xfrm>
              <a:off x="4909954" y="4496719"/>
              <a:ext cx="85099" cy="95983"/>
            </a:xfrm>
            <a:custGeom>
              <a:avLst/>
              <a:gdLst>
                <a:gd name="connsiteX0" fmla="*/ 32535 w 85099"/>
                <a:gd name="connsiteY0" fmla="*/ 0 h 95983"/>
                <a:gd name="connsiteX1" fmla="*/ 47473 w 85099"/>
                <a:gd name="connsiteY1" fmla="*/ 7392 h 95983"/>
                <a:gd name="connsiteX2" fmla="*/ 60836 w 85099"/>
                <a:gd name="connsiteY2" fmla="*/ 15831 h 95983"/>
                <a:gd name="connsiteX3" fmla="*/ 68889 w 85099"/>
                <a:gd name="connsiteY3" fmla="*/ 14418 h 95983"/>
                <a:gd name="connsiteX4" fmla="*/ 68889 w 85099"/>
                <a:gd name="connsiteY4" fmla="*/ 14418 h 95983"/>
                <a:gd name="connsiteX5" fmla="*/ 68889 w 85099"/>
                <a:gd name="connsiteY5" fmla="*/ 14418 h 95983"/>
                <a:gd name="connsiteX6" fmla="*/ 72792 w 85099"/>
                <a:gd name="connsiteY6" fmla="*/ 14073 h 95983"/>
                <a:gd name="connsiteX7" fmla="*/ 85100 w 85099"/>
                <a:gd name="connsiteY7" fmla="*/ 19643 h 95983"/>
                <a:gd name="connsiteX8" fmla="*/ 85100 w 85099"/>
                <a:gd name="connsiteY8" fmla="*/ 35172 h 95983"/>
                <a:gd name="connsiteX9" fmla="*/ 78770 w 85099"/>
                <a:gd name="connsiteY9" fmla="*/ 48183 h 95983"/>
                <a:gd name="connsiteX10" fmla="*/ 71013 w 85099"/>
                <a:gd name="connsiteY10" fmla="*/ 54794 h 95983"/>
                <a:gd name="connsiteX11" fmla="*/ 64704 w 85099"/>
                <a:gd name="connsiteY11" fmla="*/ 60140 h 95983"/>
                <a:gd name="connsiteX12" fmla="*/ 56876 w 85099"/>
                <a:gd name="connsiteY12" fmla="*/ 62559 h 95983"/>
                <a:gd name="connsiteX13" fmla="*/ 53451 w 85099"/>
                <a:gd name="connsiteY13" fmla="*/ 63305 h 95983"/>
                <a:gd name="connsiteX14" fmla="*/ 42902 w 85099"/>
                <a:gd name="connsiteY14" fmla="*/ 74557 h 95983"/>
                <a:gd name="connsiteX15" fmla="*/ 36924 w 85099"/>
                <a:gd name="connsiteY15" fmla="*/ 84755 h 95983"/>
                <a:gd name="connsiteX16" fmla="*/ 36635 w 85099"/>
                <a:gd name="connsiteY16" fmla="*/ 85339 h 95983"/>
                <a:gd name="connsiteX17" fmla="*/ 31649 w 85099"/>
                <a:gd name="connsiteY17" fmla="*/ 92492 h 95983"/>
                <a:gd name="connsiteX18" fmla="*/ 29694 w 85099"/>
                <a:gd name="connsiteY18" fmla="*/ 94095 h 95983"/>
                <a:gd name="connsiteX19" fmla="*/ 25319 w 85099"/>
                <a:gd name="connsiteY19" fmla="*/ 95657 h 95983"/>
                <a:gd name="connsiteX20" fmla="*/ 20332 w 85099"/>
                <a:gd name="connsiteY20" fmla="*/ 92035 h 95983"/>
                <a:gd name="connsiteX21" fmla="*/ 15473 w 85099"/>
                <a:gd name="connsiteY21" fmla="*/ 88624 h 95983"/>
                <a:gd name="connsiteX22" fmla="*/ 7385 w 85099"/>
                <a:gd name="connsiteY22" fmla="*/ 88624 h 95983"/>
                <a:gd name="connsiteX23" fmla="*/ 7385 w 85099"/>
                <a:gd name="connsiteY23" fmla="*/ 80887 h 95983"/>
                <a:gd name="connsiteX24" fmla="*/ 16879 w 85099"/>
                <a:gd name="connsiteY24" fmla="*/ 68579 h 95983"/>
                <a:gd name="connsiteX25" fmla="*/ 17006 w 85099"/>
                <a:gd name="connsiteY25" fmla="*/ 66997 h 95983"/>
                <a:gd name="connsiteX26" fmla="*/ 15473 w 85099"/>
                <a:gd name="connsiteY26" fmla="*/ 60140 h 95983"/>
                <a:gd name="connsiteX27" fmla="*/ 7385 w 85099"/>
                <a:gd name="connsiteY27" fmla="*/ 60140 h 95983"/>
                <a:gd name="connsiteX28" fmla="*/ 0 w 85099"/>
                <a:gd name="connsiteY28" fmla="*/ 55217 h 95983"/>
                <a:gd name="connsiteX29" fmla="*/ 0 w 85099"/>
                <a:gd name="connsiteY29" fmla="*/ 43964 h 95983"/>
                <a:gd name="connsiteX30" fmla="*/ 10198 w 85099"/>
                <a:gd name="connsiteY30" fmla="*/ 22864 h 95983"/>
                <a:gd name="connsiteX31" fmla="*/ 11049 w 85099"/>
                <a:gd name="connsiteY31" fmla="*/ 20867 h 95983"/>
                <a:gd name="connsiteX32" fmla="*/ 12308 w 85099"/>
                <a:gd name="connsiteY32" fmla="*/ 17238 h 95983"/>
                <a:gd name="connsiteX33" fmla="*/ 15473 w 85099"/>
                <a:gd name="connsiteY33" fmla="*/ 9502 h 95983"/>
                <a:gd name="connsiteX34" fmla="*/ 25319 w 85099"/>
                <a:gd name="connsiteY34" fmla="*/ 3172 h 95983"/>
                <a:gd name="connsiteX35" fmla="*/ 32535 w 85099"/>
                <a:gd name="connsiteY35" fmla="*/ 0 h 95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85099" h="95983">
                  <a:moveTo>
                    <a:pt x="32535" y="0"/>
                  </a:moveTo>
                  <a:cubicBezTo>
                    <a:pt x="36537" y="1160"/>
                    <a:pt x="45996" y="5022"/>
                    <a:pt x="47473" y="7392"/>
                  </a:cubicBezTo>
                  <a:cubicBezTo>
                    <a:pt x="49231" y="10205"/>
                    <a:pt x="54506" y="15128"/>
                    <a:pt x="60836" y="15831"/>
                  </a:cubicBezTo>
                  <a:cubicBezTo>
                    <a:pt x="64198" y="16204"/>
                    <a:pt x="66863" y="15191"/>
                    <a:pt x="68889" y="14418"/>
                  </a:cubicBezTo>
                  <a:lnTo>
                    <a:pt x="68889" y="14418"/>
                  </a:lnTo>
                  <a:lnTo>
                    <a:pt x="68889" y="14418"/>
                  </a:lnTo>
                  <a:cubicBezTo>
                    <a:pt x="70682" y="13736"/>
                    <a:pt x="71969" y="13250"/>
                    <a:pt x="72792" y="14073"/>
                  </a:cubicBezTo>
                  <a:cubicBezTo>
                    <a:pt x="74508" y="15789"/>
                    <a:pt x="80247" y="18849"/>
                    <a:pt x="85100" y="19643"/>
                  </a:cubicBezTo>
                  <a:lnTo>
                    <a:pt x="85100" y="35172"/>
                  </a:lnTo>
                  <a:cubicBezTo>
                    <a:pt x="85100" y="37634"/>
                    <a:pt x="80880" y="45722"/>
                    <a:pt x="78770" y="48183"/>
                  </a:cubicBezTo>
                  <a:cubicBezTo>
                    <a:pt x="77659" y="49478"/>
                    <a:pt x="74227" y="52220"/>
                    <a:pt x="71013" y="54794"/>
                  </a:cubicBezTo>
                  <a:cubicBezTo>
                    <a:pt x="68101" y="57122"/>
                    <a:pt x="65372" y="59303"/>
                    <a:pt x="64704" y="60140"/>
                  </a:cubicBezTo>
                  <a:cubicBezTo>
                    <a:pt x="63769" y="61307"/>
                    <a:pt x="59893" y="62010"/>
                    <a:pt x="56876" y="62559"/>
                  </a:cubicBezTo>
                  <a:cubicBezTo>
                    <a:pt x="55350" y="62833"/>
                    <a:pt x="54042" y="63065"/>
                    <a:pt x="53451" y="63305"/>
                  </a:cubicBezTo>
                  <a:cubicBezTo>
                    <a:pt x="52045" y="63867"/>
                    <a:pt x="45834" y="71041"/>
                    <a:pt x="42902" y="74557"/>
                  </a:cubicBezTo>
                  <a:cubicBezTo>
                    <a:pt x="41263" y="77251"/>
                    <a:pt x="37767" y="83067"/>
                    <a:pt x="36924" y="84755"/>
                  </a:cubicBezTo>
                  <a:cubicBezTo>
                    <a:pt x="36832" y="84931"/>
                    <a:pt x="36741" y="85128"/>
                    <a:pt x="36635" y="85339"/>
                  </a:cubicBezTo>
                  <a:cubicBezTo>
                    <a:pt x="35510" y="87611"/>
                    <a:pt x="33583" y="91528"/>
                    <a:pt x="31649" y="92492"/>
                  </a:cubicBezTo>
                  <a:cubicBezTo>
                    <a:pt x="30945" y="92843"/>
                    <a:pt x="30320" y="93469"/>
                    <a:pt x="29694" y="94095"/>
                  </a:cubicBezTo>
                  <a:cubicBezTo>
                    <a:pt x="28442" y="95347"/>
                    <a:pt x="27197" y="96592"/>
                    <a:pt x="25319" y="95657"/>
                  </a:cubicBezTo>
                  <a:cubicBezTo>
                    <a:pt x="23962" y="94981"/>
                    <a:pt x="22119" y="93483"/>
                    <a:pt x="20332" y="92035"/>
                  </a:cubicBezTo>
                  <a:cubicBezTo>
                    <a:pt x="18412" y="90480"/>
                    <a:pt x="16563" y="88989"/>
                    <a:pt x="15473" y="88624"/>
                  </a:cubicBezTo>
                  <a:cubicBezTo>
                    <a:pt x="13785" y="88061"/>
                    <a:pt x="9375" y="88391"/>
                    <a:pt x="7385" y="88624"/>
                  </a:cubicBezTo>
                  <a:lnTo>
                    <a:pt x="7385" y="80887"/>
                  </a:lnTo>
                  <a:cubicBezTo>
                    <a:pt x="10550" y="77371"/>
                    <a:pt x="16879" y="69986"/>
                    <a:pt x="16879" y="68579"/>
                  </a:cubicBezTo>
                  <a:cubicBezTo>
                    <a:pt x="16879" y="68221"/>
                    <a:pt x="16936" y="67665"/>
                    <a:pt x="17006" y="66997"/>
                  </a:cubicBezTo>
                  <a:cubicBezTo>
                    <a:pt x="17273" y="64388"/>
                    <a:pt x="17716" y="60140"/>
                    <a:pt x="15473" y="60140"/>
                  </a:cubicBezTo>
                  <a:lnTo>
                    <a:pt x="7385" y="60140"/>
                  </a:lnTo>
                  <a:cubicBezTo>
                    <a:pt x="4571" y="60140"/>
                    <a:pt x="0" y="57326"/>
                    <a:pt x="0" y="55217"/>
                  </a:cubicBezTo>
                  <a:lnTo>
                    <a:pt x="0" y="43964"/>
                  </a:lnTo>
                  <a:cubicBezTo>
                    <a:pt x="3284" y="37402"/>
                    <a:pt x="9917" y="23990"/>
                    <a:pt x="10198" y="22864"/>
                  </a:cubicBezTo>
                  <a:cubicBezTo>
                    <a:pt x="10332" y="22323"/>
                    <a:pt x="10676" y="21620"/>
                    <a:pt x="11049" y="20867"/>
                  </a:cubicBezTo>
                  <a:cubicBezTo>
                    <a:pt x="11647" y="19664"/>
                    <a:pt x="12308" y="18321"/>
                    <a:pt x="12308" y="17238"/>
                  </a:cubicBezTo>
                  <a:cubicBezTo>
                    <a:pt x="12308" y="15480"/>
                    <a:pt x="14066" y="10908"/>
                    <a:pt x="15473" y="9502"/>
                  </a:cubicBezTo>
                  <a:cubicBezTo>
                    <a:pt x="16598" y="8376"/>
                    <a:pt x="22506" y="4811"/>
                    <a:pt x="25319" y="3172"/>
                  </a:cubicBezTo>
                  <a:lnTo>
                    <a:pt x="32535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5" name="Freihandform: Form 30">
              <a:extLst>
                <a:ext uri="{FF2B5EF4-FFF2-40B4-BE49-F238E27FC236}">
                  <a16:creationId xmlns:a16="http://schemas.microsoft.com/office/drawing/2014/main" id="{CD190BBA-D610-0C4E-BEF6-E91BA5CB055B}"/>
                </a:ext>
              </a:extLst>
            </p:cNvPr>
            <p:cNvSpPr/>
            <p:nvPr/>
          </p:nvSpPr>
          <p:spPr>
            <a:xfrm>
              <a:off x="4905070" y="4510361"/>
              <a:ext cx="192666" cy="295116"/>
            </a:xfrm>
            <a:custGeom>
              <a:avLst/>
              <a:gdLst>
                <a:gd name="connsiteX0" fmla="*/ 15728 w 192666"/>
                <a:gd name="connsiteY0" fmla="*/ 63286 h 295116"/>
                <a:gd name="connsiteX1" fmla="*/ 15609 w 192666"/>
                <a:gd name="connsiteY1" fmla="*/ 63124 h 295116"/>
                <a:gd name="connsiteX2" fmla="*/ 13675 w 192666"/>
                <a:gd name="connsiteY2" fmla="*/ 60916 h 295116"/>
                <a:gd name="connsiteX3" fmla="*/ 11213 w 192666"/>
                <a:gd name="connsiteY3" fmla="*/ 60916 h 295116"/>
                <a:gd name="connsiteX4" fmla="*/ 7345 w 192666"/>
                <a:gd name="connsiteY4" fmla="*/ 63729 h 295116"/>
                <a:gd name="connsiteX5" fmla="*/ 5777 w 192666"/>
                <a:gd name="connsiteY5" fmla="*/ 65368 h 295116"/>
                <a:gd name="connsiteX6" fmla="*/ 3125 w 192666"/>
                <a:gd name="connsiteY6" fmla="*/ 68301 h 295116"/>
                <a:gd name="connsiteX7" fmla="*/ 3125 w 192666"/>
                <a:gd name="connsiteY7" fmla="*/ 68301 h 295116"/>
                <a:gd name="connsiteX8" fmla="*/ 312 w 192666"/>
                <a:gd name="connsiteY8" fmla="*/ 74279 h 295116"/>
                <a:gd name="connsiteX9" fmla="*/ 157 w 192666"/>
                <a:gd name="connsiteY9" fmla="*/ 79202 h 295116"/>
                <a:gd name="connsiteX10" fmla="*/ 312 w 192666"/>
                <a:gd name="connsiteY10" fmla="*/ 81663 h 295116"/>
                <a:gd name="connsiteX11" fmla="*/ 818 w 192666"/>
                <a:gd name="connsiteY11" fmla="*/ 86516 h 295116"/>
                <a:gd name="connsiteX12" fmla="*/ 1015 w 192666"/>
                <a:gd name="connsiteY12" fmla="*/ 87642 h 295116"/>
                <a:gd name="connsiteX13" fmla="*/ 3386 w 192666"/>
                <a:gd name="connsiteY13" fmla="*/ 90884 h 295116"/>
                <a:gd name="connsiteX14" fmla="*/ 3386 w 192666"/>
                <a:gd name="connsiteY14" fmla="*/ 90884 h 295116"/>
                <a:gd name="connsiteX15" fmla="*/ 3386 w 192666"/>
                <a:gd name="connsiteY15" fmla="*/ 90884 h 295116"/>
                <a:gd name="connsiteX16" fmla="*/ 4884 w 192666"/>
                <a:gd name="connsiteY16" fmla="*/ 92213 h 295116"/>
                <a:gd name="connsiteX17" fmla="*/ 5362 w 192666"/>
                <a:gd name="connsiteY17" fmla="*/ 95490 h 295116"/>
                <a:gd name="connsiteX18" fmla="*/ 4884 w 192666"/>
                <a:gd name="connsiteY18" fmla="*/ 97136 h 295116"/>
                <a:gd name="connsiteX19" fmla="*/ 3217 w 192666"/>
                <a:gd name="connsiteY19" fmla="*/ 97678 h 295116"/>
                <a:gd name="connsiteX20" fmla="*/ 1719 w 192666"/>
                <a:gd name="connsiteY20" fmla="*/ 97136 h 295116"/>
                <a:gd name="connsiteX21" fmla="*/ 3125 w 192666"/>
                <a:gd name="connsiteY21" fmla="*/ 102763 h 295116"/>
                <a:gd name="connsiteX22" fmla="*/ 6431 w 192666"/>
                <a:gd name="connsiteY22" fmla="*/ 104134 h 295116"/>
                <a:gd name="connsiteX23" fmla="*/ 13675 w 192666"/>
                <a:gd name="connsiteY23" fmla="*/ 107686 h 295116"/>
                <a:gd name="connsiteX24" fmla="*/ 20356 w 192666"/>
                <a:gd name="connsiteY24" fmla="*/ 116125 h 295116"/>
                <a:gd name="connsiteX25" fmla="*/ 25237 w 192666"/>
                <a:gd name="connsiteY25" fmla="*/ 122617 h 295116"/>
                <a:gd name="connsiteX26" fmla="*/ 27741 w 192666"/>
                <a:gd name="connsiteY26" fmla="*/ 125620 h 295116"/>
                <a:gd name="connsiteX27" fmla="*/ 37939 w 192666"/>
                <a:gd name="connsiteY27" fmla="*/ 142499 h 295116"/>
                <a:gd name="connsiteX28" fmla="*/ 40837 w 192666"/>
                <a:gd name="connsiteY28" fmla="*/ 149645 h 295116"/>
                <a:gd name="connsiteX29" fmla="*/ 43565 w 192666"/>
                <a:gd name="connsiteY29" fmla="*/ 156565 h 295116"/>
                <a:gd name="connsiteX30" fmla="*/ 48228 w 192666"/>
                <a:gd name="connsiteY30" fmla="*/ 168247 h 295116"/>
                <a:gd name="connsiteX31" fmla="*/ 48228 w 192666"/>
                <a:gd name="connsiteY31" fmla="*/ 168254 h 295116"/>
                <a:gd name="connsiteX32" fmla="*/ 49192 w 192666"/>
                <a:gd name="connsiteY32" fmla="*/ 170983 h 295116"/>
                <a:gd name="connsiteX33" fmla="*/ 53587 w 192666"/>
                <a:gd name="connsiteY33" fmla="*/ 179247 h 295116"/>
                <a:gd name="connsiteX34" fmla="*/ 57983 w 192666"/>
                <a:gd name="connsiteY34" fmla="*/ 187511 h 295116"/>
                <a:gd name="connsiteX35" fmla="*/ 62203 w 192666"/>
                <a:gd name="connsiteY35" fmla="*/ 194052 h 295116"/>
                <a:gd name="connsiteX36" fmla="*/ 67829 w 192666"/>
                <a:gd name="connsiteY36" fmla="*/ 202632 h 295116"/>
                <a:gd name="connsiteX37" fmla="*/ 72457 w 192666"/>
                <a:gd name="connsiteY37" fmla="*/ 209363 h 295116"/>
                <a:gd name="connsiteX38" fmla="*/ 76621 w 192666"/>
                <a:gd name="connsiteY38" fmla="*/ 217050 h 295116"/>
                <a:gd name="connsiteX39" fmla="*/ 76853 w 192666"/>
                <a:gd name="connsiteY39" fmla="*/ 220503 h 295116"/>
                <a:gd name="connsiteX40" fmla="*/ 76621 w 192666"/>
                <a:gd name="connsiteY40" fmla="*/ 223028 h 295116"/>
                <a:gd name="connsiteX41" fmla="*/ 80489 w 192666"/>
                <a:gd name="connsiteY41" fmla="*/ 233226 h 295116"/>
                <a:gd name="connsiteX42" fmla="*/ 85229 w 192666"/>
                <a:gd name="connsiteY42" fmla="*/ 237699 h 295116"/>
                <a:gd name="connsiteX43" fmla="*/ 90687 w 192666"/>
                <a:gd name="connsiteY43" fmla="*/ 242720 h 295116"/>
                <a:gd name="connsiteX44" fmla="*/ 101335 w 192666"/>
                <a:gd name="connsiteY44" fmla="*/ 251899 h 295116"/>
                <a:gd name="connsiteX45" fmla="*/ 101335 w 192666"/>
                <a:gd name="connsiteY45" fmla="*/ 251899 h 295116"/>
                <a:gd name="connsiteX46" fmla="*/ 101940 w 192666"/>
                <a:gd name="connsiteY46" fmla="*/ 252567 h 295116"/>
                <a:gd name="connsiteX47" fmla="*/ 112904 w 192666"/>
                <a:gd name="connsiteY47" fmla="*/ 260092 h 295116"/>
                <a:gd name="connsiteX48" fmla="*/ 112904 w 192666"/>
                <a:gd name="connsiteY48" fmla="*/ 260092 h 295116"/>
                <a:gd name="connsiteX49" fmla="*/ 114599 w 192666"/>
                <a:gd name="connsiteY49" fmla="*/ 261006 h 295116"/>
                <a:gd name="connsiteX50" fmla="*/ 129017 w 192666"/>
                <a:gd name="connsiteY50" fmla="*/ 270853 h 295116"/>
                <a:gd name="connsiteX51" fmla="*/ 138441 w 192666"/>
                <a:gd name="connsiteY51" fmla="*/ 275122 h 295116"/>
                <a:gd name="connsiteX52" fmla="*/ 138441 w 192666"/>
                <a:gd name="connsiteY52" fmla="*/ 275122 h 295116"/>
                <a:gd name="connsiteX53" fmla="*/ 149413 w 192666"/>
                <a:gd name="connsiteY53" fmla="*/ 279996 h 295116"/>
                <a:gd name="connsiteX54" fmla="*/ 156446 w 192666"/>
                <a:gd name="connsiteY54" fmla="*/ 290545 h 295116"/>
                <a:gd name="connsiteX55" fmla="*/ 168050 w 192666"/>
                <a:gd name="connsiteY55" fmla="*/ 295117 h 295116"/>
                <a:gd name="connsiteX56" fmla="*/ 174380 w 192666"/>
                <a:gd name="connsiteY56" fmla="*/ 295117 h 295116"/>
                <a:gd name="connsiteX57" fmla="*/ 178952 w 192666"/>
                <a:gd name="connsiteY57" fmla="*/ 287732 h 295116"/>
                <a:gd name="connsiteX58" fmla="*/ 182117 w 192666"/>
                <a:gd name="connsiteY58" fmla="*/ 279996 h 295116"/>
                <a:gd name="connsiteX59" fmla="*/ 185633 w 192666"/>
                <a:gd name="connsiteY59" fmla="*/ 270853 h 295116"/>
                <a:gd name="connsiteX60" fmla="*/ 189853 w 192666"/>
                <a:gd name="connsiteY60" fmla="*/ 264171 h 295116"/>
                <a:gd name="connsiteX61" fmla="*/ 185633 w 192666"/>
                <a:gd name="connsiteY61" fmla="*/ 255028 h 295116"/>
                <a:gd name="connsiteX62" fmla="*/ 185633 w 192666"/>
                <a:gd name="connsiteY62" fmla="*/ 248698 h 295116"/>
                <a:gd name="connsiteX63" fmla="*/ 185633 w 192666"/>
                <a:gd name="connsiteY63" fmla="*/ 242720 h 295116"/>
                <a:gd name="connsiteX64" fmla="*/ 189853 w 192666"/>
                <a:gd name="connsiteY64" fmla="*/ 233226 h 295116"/>
                <a:gd name="connsiteX65" fmla="*/ 189853 w 192666"/>
                <a:gd name="connsiteY65" fmla="*/ 217050 h 295116"/>
                <a:gd name="connsiteX66" fmla="*/ 192666 w 192666"/>
                <a:gd name="connsiteY66" fmla="*/ 202632 h 295116"/>
                <a:gd name="connsiteX67" fmla="*/ 185633 w 192666"/>
                <a:gd name="connsiteY67" fmla="*/ 187511 h 295116"/>
                <a:gd name="connsiteX68" fmla="*/ 183762 w 192666"/>
                <a:gd name="connsiteY68" fmla="*/ 180126 h 295116"/>
                <a:gd name="connsiteX69" fmla="*/ 183171 w 192666"/>
                <a:gd name="connsiteY69" fmla="*/ 180126 h 295116"/>
                <a:gd name="connsiteX70" fmla="*/ 173325 w 192666"/>
                <a:gd name="connsiteY70" fmla="*/ 180126 h 295116"/>
                <a:gd name="connsiteX71" fmla="*/ 166292 w 192666"/>
                <a:gd name="connsiteY71" fmla="*/ 176961 h 295116"/>
                <a:gd name="connsiteX72" fmla="*/ 166116 w 192666"/>
                <a:gd name="connsiteY72" fmla="*/ 176441 h 295116"/>
                <a:gd name="connsiteX73" fmla="*/ 166116 w 192666"/>
                <a:gd name="connsiteY73" fmla="*/ 176441 h 295116"/>
                <a:gd name="connsiteX74" fmla="*/ 165737 w 192666"/>
                <a:gd name="connsiteY74" fmla="*/ 175196 h 295116"/>
                <a:gd name="connsiteX75" fmla="*/ 165589 w 192666"/>
                <a:gd name="connsiteY75" fmla="*/ 171687 h 295116"/>
                <a:gd name="connsiteX76" fmla="*/ 165589 w 192666"/>
                <a:gd name="connsiteY76" fmla="*/ 165708 h 295116"/>
                <a:gd name="connsiteX77" fmla="*/ 165589 w 192666"/>
                <a:gd name="connsiteY77" fmla="*/ 160434 h 295116"/>
                <a:gd name="connsiteX78" fmla="*/ 165645 w 192666"/>
                <a:gd name="connsiteY78" fmla="*/ 159822 h 295116"/>
                <a:gd name="connsiteX79" fmla="*/ 162776 w 192666"/>
                <a:gd name="connsiteY79" fmla="*/ 157972 h 295116"/>
                <a:gd name="connsiteX80" fmla="*/ 158992 w 192666"/>
                <a:gd name="connsiteY80" fmla="*/ 158816 h 295116"/>
                <a:gd name="connsiteX81" fmla="*/ 156094 w 192666"/>
                <a:gd name="connsiteY81" fmla="*/ 159379 h 295116"/>
                <a:gd name="connsiteX82" fmla="*/ 151171 w 192666"/>
                <a:gd name="connsiteY82" fmla="*/ 161840 h 295116"/>
                <a:gd name="connsiteX83" fmla="*/ 141676 w 192666"/>
                <a:gd name="connsiteY83" fmla="*/ 161840 h 295116"/>
                <a:gd name="connsiteX84" fmla="*/ 140115 w 192666"/>
                <a:gd name="connsiteY84" fmla="*/ 160384 h 295116"/>
                <a:gd name="connsiteX85" fmla="*/ 136402 w 192666"/>
                <a:gd name="connsiteY85" fmla="*/ 157972 h 295116"/>
                <a:gd name="connsiteX86" fmla="*/ 131577 w 192666"/>
                <a:gd name="connsiteY86" fmla="*/ 157353 h 295116"/>
                <a:gd name="connsiteX87" fmla="*/ 127962 w 192666"/>
                <a:gd name="connsiteY87" fmla="*/ 156214 h 295116"/>
                <a:gd name="connsiteX88" fmla="*/ 126956 w 192666"/>
                <a:gd name="connsiteY88" fmla="*/ 154709 h 295116"/>
                <a:gd name="connsiteX89" fmla="*/ 126204 w 192666"/>
                <a:gd name="connsiteY89" fmla="*/ 151642 h 295116"/>
                <a:gd name="connsiteX90" fmla="*/ 126281 w 192666"/>
                <a:gd name="connsiteY90" fmla="*/ 148182 h 295116"/>
                <a:gd name="connsiteX91" fmla="*/ 126281 w 192666"/>
                <a:gd name="connsiteY91" fmla="*/ 148182 h 295116"/>
                <a:gd name="connsiteX92" fmla="*/ 126204 w 192666"/>
                <a:gd name="connsiteY92" fmla="*/ 146719 h 295116"/>
                <a:gd name="connsiteX93" fmla="*/ 123391 w 192666"/>
                <a:gd name="connsiteY93" fmla="*/ 139686 h 295116"/>
                <a:gd name="connsiteX94" fmla="*/ 119853 w 192666"/>
                <a:gd name="connsiteY94" fmla="*/ 135157 h 295116"/>
                <a:gd name="connsiteX95" fmla="*/ 119853 w 192666"/>
                <a:gd name="connsiteY95" fmla="*/ 135157 h 295116"/>
                <a:gd name="connsiteX96" fmla="*/ 116006 w 192666"/>
                <a:gd name="connsiteY96" fmla="*/ 129137 h 295116"/>
                <a:gd name="connsiteX97" fmla="*/ 116006 w 192666"/>
                <a:gd name="connsiteY97" fmla="*/ 123158 h 295116"/>
                <a:gd name="connsiteX98" fmla="*/ 115584 w 192666"/>
                <a:gd name="connsiteY98" fmla="*/ 121597 h 295116"/>
                <a:gd name="connsiteX99" fmla="*/ 116006 w 192666"/>
                <a:gd name="connsiteY99" fmla="*/ 118587 h 295116"/>
                <a:gd name="connsiteX100" fmla="*/ 117898 w 192666"/>
                <a:gd name="connsiteY100" fmla="*/ 116519 h 295116"/>
                <a:gd name="connsiteX101" fmla="*/ 117898 w 192666"/>
                <a:gd name="connsiteY101" fmla="*/ 116519 h 295116"/>
                <a:gd name="connsiteX102" fmla="*/ 117898 w 192666"/>
                <a:gd name="connsiteY102" fmla="*/ 116519 h 295116"/>
                <a:gd name="connsiteX103" fmla="*/ 119522 w 192666"/>
                <a:gd name="connsiteY103" fmla="*/ 114719 h 295116"/>
                <a:gd name="connsiteX104" fmla="*/ 120662 w 192666"/>
                <a:gd name="connsiteY104" fmla="*/ 113692 h 295116"/>
                <a:gd name="connsiteX105" fmla="*/ 122336 w 192666"/>
                <a:gd name="connsiteY105" fmla="*/ 110499 h 295116"/>
                <a:gd name="connsiteX106" fmla="*/ 123855 w 192666"/>
                <a:gd name="connsiteY106" fmla="*/ 106047 h 295116"/>
                <a:gd name="connsiteX107" fmla="*/ 123855 w 192666"/>
                <a:gd name="connsiteY107" fmla="*/ 106047 h 295116"/>
                <a:gd name="connsiteX108" fmla="*/ 125149 w 192666"/>
                <a:gd name="connsiteY108" fmla="*/ 102411 h 295116"/>
                <a:gd name="connsiteX109" fmla="*/ 126759 w 192666"/>
                <a:gd name="connsiteY109" fmla="*/ 98367 h 295116"/>
                <a:gd name="connsiteX110" fmla="*/ 127962 w 192666"/>
                <a:gd name="connsiteY110" fmla="*/ 96081 h 295116"/>
                <a:gd name="connsiteX111" fmla="*/ 129594 w 192666"/>
                <a:gd name="connsiteY111" fmla="*/ 92628 h 295116"/>
                <a:gd name="connsiteX112" fmla="*/ 129594 w 192666"/>
                <a:gd name="connsiteY112" fmla="*/ 92628 h 295116"/>
                <a:gd name="connsiteX113" fmla="*/ 131479 w 192666"/>
                <a:gd name="connsiteY113" fmla="*/ 89048 h 295116"/>
                <a:gd name="connsiteX114" fmla="*/ 132069 w 192666"/>
                <a:gd name="connsiteY114" fmla="*/ 87888 h 295116"/>
                <a:gd name="connsiteX115" fmla="*/ 133940 w 192666"/>
                <a:gd name="connsiteY115" fmla="*/ 85532 h 295116"/>
                <a:gd name="connsiteX116" fmla="*/ 135389 w 192666"/>
                <a:gd name="connsiteY116" fmla="*/ 83991 h 295116"/>
                <a:gd name="connsiteX117" fmla="*/ 138863 w 192666"/>
                <a:gd name="connsiteY117" fmla="*/ 81312 h 295116"/>
                <a:gd name="connsiteX118" fmla="*/ 142197 w 192666"/>
                <a:gd name="connsiteY118" fmla="*/ 78921 h 295116"/>
                <a:gd name="connsiteX119" fmla="*/ 142197 w 192666"/>
                <a:gd name="connsiteY119" fmla="*/ 78921 h 295116"/>
                <a:gd name="connsiteX120" fmla="*/ 142197 w 192666"/>
                <a:gd name="connsiteY120" fmla="*/ 78921 h 295116"/>
                <a:gd name="connsiteX121" fmla="*/ 145545 w 192666"/>
                <a:gd name="connsiteY121" fmla="*/ 77444 h 295116"/>
                <a:gd name="connsiteX122" fmla="*/ 148660 w 192666"/>
                <a:gd name="connsiteY122" fmla="*/ 77057 h 295116"/>
                <a:gd name="connsiteX123" fmla="*/ 152929 w 192666"/>
                <a:gd name="connsiteY123" fmla="*/ 76037 h 295116"/>
                <a:gd name="connsiteX124" fmla="*/ 158900 w 192666"/>
                <a:gd name="connsiteY124" fmla="*/ 75158 h 295116"/>
                <a:gd name="connsiteX125" fmla="*/ 164182 w 192666"/>
                <a:gd name="connsiteY125" fmla="*/ 74279 h 295116"/>
                <a:gd name="connsiteX126" fmla="*/ 168254 w 192666"/>
                <a:gd name="connsiteY126" fmla="*/ 74497 h 295116"/>
                <a:gd name="connsiteX127" fmla="*/ 171567 w 192666"/>
                <a:gd name="connsiteY127" fmla="*/ 74279 h 295116"/>
                <a:gd name="connsiteX128" fmla="*/ 171476 w 192666"/>
                <a:gd name="connsiteY128" fmla="*/ 70003 h 295116"/>
                <a:gd name="connsiteX129" fmla="*/ 165940 w 192666"/>
                <a:gd name="connsiteY129" fmla="*/ 63026 h 295116"/>
                <a:gd name="connsiteX130" fmla="*/ 169457 w 192666"/>
                <a:gd name="connsiteY130" fmla="*/ 55993 h 295116"/>
                <a:gd name="connsiteX131" fmla="*/ 173325 w 192666"/>
                <a:gd name="connsiteY131" fmla="*/ 48256 h 295116"/>
                <a:gd name="connsiteX132" fmla="*/ 165940 w 192666"/>
                <a:gd name="connsiteY132" fmla="*/ 44740 h 295116"/>
                <a:gd name="connsiteX133" fmla="*/ 152929 w 192666"/>
                <a:gd name="connsiteY133" fmla="*/ 42278 h 295116"/>
                <a:gd name="connsiteX134" fmla="*/ 144841 w 192666"/>
                <a:gd name="connsiteY134" fmla="*/ 42278 h 295116"/>
                <a:gd name="connsiteX135" fmla="*/ 132885 w 192666"/>
                <a:gd name="connsiteY135" fmla="*/ 42278 h 295116"/>
                <a:gd name="connsiteX136" fmla="*/ 127069 w 192666"/>
                <a:gd name="connsiteY136" fmla="*/ 41315 h 295116"/>
                <a:gd name="connsiteX137" fmla="*/ 126555 w 192666"/>
                <a:gd name="connsiteY137" fmla="*/ 40520 h 295116"/>
                <a:gd name="connsiteX138" fmla="*/ 120577 w 192666"/>
                <a:gd name="connsiteY138" fmla="*/ 30674 h 295116"/>
                <a:gd name="connsiteX139" fmla="*/ 116646 w 192666"/>
                <a:gd name="connsiteY139" fmla="*/ 25990 h 295116"/>
                <a:gd name="connsiteX140" fmla="*/ 116646 w 192666"/>
                <a:gd name="connsiteY140" fmla="*/ 25990 h 295116"/>
                <a:gd name="connsiteX141" fmla="*/ 113544 w 192666"/>
                <a:gd name="connsiteY141" fmla="*/ 22586 h 295116"/>
                <a:gd name="connsiteX142" fmla="*/ 107320 w 192666"/>
                <a:gd name="connsiteY142" fmla="*/ 16910 h 295116"/>
                <a:gd name="connsiteX143" fmla="*/ 107320 w 192666"/>
                <a:gd name="connsiteY143" fmla="*/ 16910 h 295116"/>
                <a:gd name="connsiteX144" fmla="*/ 107320 w 192666"/>
                <a:gd name="connsiteY144" fmla="*/ 16910 h 295116"/>
                <a:gd name="connsiteX145" fmla="*/ 101588 w 192666"/>
                <a:gd name="connsiteY145" fmla="*/ 11685 h 295116"/>
                <a:gd name="connsiteX146" fmla="*/ 90335 w 192666"/>
                <a:gd name="connsiteY146" fmla="*/ 6058 h 295116"/>
                <a:gd name="connsiteX147" fmla="*/ 89984 w 192666"/>
                <a:gd name="connsiteY147" fmla="*/ 6002 h 295116"/>
                <a:gd name="connsiteX148" fmla="*/ 89984 w 192666"/>
                <a:gd name="connsiteY148" fmla="*/ 21531 h 295116"/>
                <a:gd name="connsiteX149" fmla="*/ 83654 w 192666"/>
                <a:gd name="connsiteY149" fmla="*/ 34542 h 295116"/>
                <a:gd name="connsiteX150" fmla="*/ 75896 w 192666"/>
                <a:gd name="connsiteY150" fmla="*/ 41153 h 295116"/>
                <a:gd name="connsiteX151" fmla="*/ 75896 w 192666"/>
                <a:gd name="connsiteY151" fmla="*/ 41153 h 295116"/>
                <a:gd name="connsiteX152" fmla="*/ 69588 w 192666"/>
                <a:gd name="connsiteY152" fmla="*/ 46498 h 295116"/>
                <a:gd name="connsiteX153" fmla="*/ 61760 w 192666"/>
                <a:gd name="connsiteY153" fmla="*/ 48918 h 295116"/>
                <a:gd name="connsiteX154" fmla="*/ 58335 w 192666"/>
                <a:gd name="connsiteY154" fmla="*/ 49663 h 295116"/>
                <a:gd name="connsiteX155" fmla="*/ 47785 w 192666"/>
                <a:gd name="connsiteY155" fmla="*/ 60916 h 295116"/>
                <a:gd name="connsiteX156" fmla="*/ 41807 w 192666"/>
                <a:gd name="connsiteY156" fmla="*/ 71114 h 295116"/>
                <a:gd name="connsiteX157" fmla="*/ 41519 w 192666"/>
                <a:gd name="connsiteY157" fmla="*/ 71698 h 295116"/>
                <a:gd name="connsiteX158" fmla="*/ 36532 w 192666"/>
                <a:gd name="connsiteY158" fmla="*/ 78850 h 295116"/>
                <a:gd name="connsiteX159" fmla="*/ 34577 w 192666"/>
                <a:gd name="connsiteY159" fmla="*/ 80454 h 295116"/>
                <a:gd name="connsiteX160" fmla="*/ 30203 w 192666"/>
                <a:gd name="connsiteY160" fmla="*/ 82015 h 295116"/>
                <a:gd name="connsiteX161" fmla="*/ 25216 w 192666"/>
                <a:gd name="connsiteY161" fmla="*/ 78393 h 295116"/>
                <a:gd name="connsiteX162" fmla="*/ 25216 w 192666"/>
                <a:gd name="connsiteY162" fmla="*/ 78393 h 295116"/>
                <a:gd name="connsiteX163" fmla="*/ 25216 w 192666"/>
                <a:gd name="connsiteY163" fmla="*/ 78393 h 295116"/>
                <a:gd name="connsiteX164" fmla="*/ 20356 w 192666"/>
                <a:gd name="connsiteY164" fmla="*/ 74982 h 295116"/>
                <a:gd name="connsiteX165" fmla="*/ 12268 w 192666"/>
                <a:gd name="connsiteY165" fmla="*/ 74982 h 295116"/>
                <a:gd name="connsiteX166" fmla="*/ 12268 w 192666"/>
                <a:gd name="connsiteY166" fmla="*/ 67246 h 295116"/>
                <a:gd name="connsiteX167" fmla="*/ 15728 w 192666"/>
                <a:gd name="connsiteY167" fmla="*/ 63286 h 295116"/>
                <a:gd name="connsiteX168" fmla="*/ 77064 w 192666"/>
                <a:gd name="connsiteY168" fmla="*/ 66 h 295116"/>
                <a:gd name="connsiteX169" fmla="*/ 73772 w 192666"/>
                <a:gd name="connsiteY169" fmla="*/ 776 h 295116"/>
                <a:gd name="connsiteX170" fmla="*/ 73772 w 192666"/>
                <a:gd name="connsiteY170" fmla="*/ 776 h 295116"/>
                <a:gd name="connsiteX171" fmla="*/ 73772 w 192666"/>
                <a:gd name="connsiteY171" fmla="*/ 776 h 295116"/>
                <a:gd name="connsiteX172" fmla="*/ 72682 w 192666"/>
                <a:gd name="connsiteY172" fmla="*/ 1184 h 295116"/>
                <a:gd name="connsiteX173" fmla="*/ 72682 w 192666"/>
                <a:gd name="connsiteY173" fmla="*/ 1184 h 295116"/>
                <a:gd name="connsiteX174" fmla="*/ 73772 w 192666"/>
                <a:gd name="connsiteY174" fmla="*/ 776 h 295116"/>
                <a:gd name="connsiteX175" fmla="*/ 73772 w 192666"/>
                <a:gd name="connsiteY175" fmla="*/ 776 h 295116"/>
                <a:gd name="connsiteX176" fmla="*/ 73772 w 192666"/>
                <a:gd name="connsiteY176" fmla="*/ 776 h 295116"/>
                <a:gd name="connsiteX177" fmla="*/ 77064 w 192666"/>
                <a:gd name="connsiteY177" fmla="*/ 66 h 295116"/>
                <a:gd name="connsiteX178" fmla="*/ 181856 w 192666"/>
                <a:gd name="connsiteY178" fmla="*/ 42335 h 295116"/>
                <a:gd name="connsiteX179" fmla="*/ 181765 w 192666"/>
                <a:gd name="connsiteY179" fmla="*/ 38410 h 295116"/>
                <a:gd name="connsiteX180" fmla="*/ 181856 w 192666"/>
                <a:gd name="connsiteY180" fmla="*/ 42335 h 295116"/>
                <a:gd name="connsiteX181" fmla="*/ 181856 w 192666"/>
                <a:gd name="connsiteY181" fmla="*/ 42335 h 295116"/>
                <a:gd name="connsiteX182" fmla="*/ 181856 w 192666"/>
                <a:gd name="connsiteY182" fmla="*/ 42335 h 295116"/>
                <a:gd name="connsiteX183" fmla="*/ 181856 w 192666"/>
                <a:gd name="connsiteY183" fmla="*/ 42335 h 295116"/>
                <a:gd name="connsiteX184" fmla="*/ 181856 w 192666"/>
                <a:gd name="connsiteY184" fmla="*/ 42335 h 295116"/>
                <a:gd name="connsiteX185" fmla="*/ 181856 w 192666"/>
                <a:gd name="connsiteY185" fmla="*/ 42335 h 29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</a:cxnLst>
              <a:rect l="l" t="t" r="r" b="b"/>
              <a:pathLst>
                <a:path w="192666" h="295116">
                  <a:moveTo>
                    <a:pt x="15728" y="63286"/>
                  </a:moveTo>
                  <a:cubicBezTo>
                    <a:pt x="15686" y="63237"/>
                    <a:pt x="15644" y="63181"/>
                    <a:pt x="15609" y="63124"/>
                  </a:cubicBezTo>
                  <a:cubicBezTo>
                    <a:pt x="14814" y="61999"/>
                    <a:pt x="14048" y="60916"/>
                    <a:pt x="13675" y="60916"/>
                  </a:cubicBezTo>
                  <a:lnTo>
                    <a:pt x="11213" y="60916"/>
                  </a:lnTo>
                  <a:cubicBezTo>
                    <a:pt x="10158" y="61500"/>
                    <a:pt x="7908" y="62885"/>
                    <a:pt x="7345" y="63729"/>
                  </a:cubicBezTo>
                  <a:cubicBezTo>
                    <a:pt x="7050" y="64172"/>
                    <a:pt x="6452" y="64735"/>
                    <a:pt x="5777" y="65368"/>
                  </a:cubicBezTo>
                  <a:cubicBezTo>
                    <a:pt x="4834" y="66254"/>
                    <a:pt x="3737" y="67274"/>
                    <a:pt x="3125" y="68301"/>
                  </a:cubicBezTo>
                  <a:lnTo>
                    <a:pt x="3125" y="68301"/>
                  </a:lnTo>
                  <a:cubicBezTo>
                    <a:pt x="2070" y="70059"/>
                    <a:pt x="1015" y="71817"/>
                    <a:pt x="312" y="74279"/>
                  </a:cubicBezTo>
                  <a:cubicBezTo>
                    <a:pt x="-159" y="75917"/>
                    <a:pt x="3" y="77563"/>
                    <a:pt x="157" y="79202"/>
                  </a:cubicBezTo>
                  <a:cubicBezTo>
                    <a:pt x="235" y="80025"/>
                    <a:pt x="312" y="80841"/>
                    <a:pt x="312" y="81663"/>
                  </a:cubicBezTo>
                  <a:cubicBezTo>
                    <a:pt x="312" y="83661"/>
                    <a:pt x="544" y="84962"/>
                    <a:pt x="818" y="86516"/>
                  </a:cubicBezTo>
                  <a:cubicBezTo>
                    <a:pt x="882" y="86875"/>
                    <a:pt x="952" y="87248"/>
                    <a:pt x="1015" y="87642"/>
                  </a:cubicBezTo>
                  <a:cubicBezTo>
                    <a:pt x="1262" y="89140"/>
                    <a:pt x="2218" y="89927"/>
                    <a:pt x="3386" y="90884"/>
                  </a:cubicBezTo>
                  <a:lnTo>
                    <a:pt x="3386" y="90884"/>
                  </a:lnTo>
                  <a:lnTo>
                    <a:pt x="3386" y="90884"/>
                  </a:lnTo>
                  <a:cubicBezTo>
                    <a:pt x="3857" y="91278"/>
                    <a:pt x="4370" y="91700"/>
                    <a:pt x="4884" y="92213"/>
                  </a:cubicBezTo>
                  <a:cubicBezTo>
                    <a:pt x="6121" y="93451"/>
                    <a:pt x="5791" y="94337"/>
                    <a:pt x="5362" y="95490"/>
                  </a:cubicBezTo>
                  <a:cubicBezTo>
                    <a:pt x="5186" y="95976"/>
                    <a:pt x="4989" y="96510"/>
                    <a:pt x="4884" y="97136"/>
                  </a:cubicBezTo>
                  <a:cubicBezTo>
                    <a:pt x="4658" y="98472"/>
                    <a:pt x="4018" y="98114"/>
                    <a:pt x="3217" y="97678"/>
                  </a:cubicBezTo>
                  <a:cubicBezTo>
                    <a:pt x="2753" y="97417"/>
                    <a:pt x="2232" y="97136"/>
                    <a:pt x="1719" y="97136"/>
                  </a:cubicBezTo>
                  <a:cubicBezTo>
                    <a:pt x="312" y="97136"/>
                    <a:pt x="1367" y="101708"/>
                    <a:pt x="3125" y="102763"/>
                  </a:cubicBezTo>
                  <a:cubicBezTo>
                    <a:pt x="3751" y="103135"/>
                    <a:pt x="4996" y="103599"/>
                    <a:pt x="6431" y="104134"/>
                  </a:cubicBezTo>
                  <a:cubicBezTo>
                    <a:pt x="9047" y="105112"/>
                    <a:pt x="12310" y="106321"/>
                    <a:pt x="13675" y="107686"/>
                  </a:cubicBezTo>
                  <a:cubicBezTo>
                    <a:pt x="15785" y="109796"/>
                    <a:pt x="18598" y="112609"/>
                    <a:pt x="20356" y="116125"/>
                  </a:cubicBezTo>
                  <a:cubicBezTo>
                    <a:pt x="21489" y="118383"/>
                    <a:pt x="23486" y="120641"/>
                    <a:pt x="25237" y="122617"/>
                  </a:cubicBezTo>
                  <a:cubicBezTo>
                    <a:pt x="26215" y="123721"/>
                    <a:pt x="27115" y="124741"/>
                    <a:pt x="27741" y="125620"/>
                  </a:cubicBezTo>
                  <a:cubicBezTo>
                    <a:pt x="29499" y="128082"/>
                    <a:pt x="35477" y="137928"/>
                    <a:pt x="37939" y="142499"/>
                  </a:cubicBezTo>
                  <a:cubicBezTo>
                    <a:pt x="39212" y="144863"/>
                    <a:pt x="40014" y="147233"/>
                    <a:pt x="40837" y="149645"/>
                  </a:cubicBezTo>
                  <a:cubicBezTo>
                    <a:pt x="41596" y="151896"/>
                    <a:pt x="42377" y="154188"/>
                    <a:pt x="43565" y="156565"/>
                  </a:cubicBezTo>
                  <a:cubicBezTo>
                    <a:pt x="45492" y="160427"/>
                    <a:pt x="46991" y="164710"/>
                    <a:pt x="48228" y="168247"/>
                  </a:cubicBezTo>
                  <a:lnTo>
                    <a:pt x="48228" y="168254"/>
                  </a:lnTo>
                  <a:cubicBezTo>
                    <a:pt x="48566" y="169225"/>
                    <a:pt x="48889" y="170146"/>
                    <a:pt x="49192" y="170983"/>
                  </a:cubicBezTo>
                  <a:cubicBezTo>
                    <a:pt x="49895" y="172917"/>
                    <a:pt x="51745" y="176082"/>
                    <a:pt x="53587" y="179247"/>
                  </a:cubicBezTo>
                  <a:cubicBezTo>
                    <a:pt x="55437" y="182412"/>
                    <a:pt x="57280" y="185577"/>
                    <a:pt x="57983" y="187511"/>
                  </a:cubicBezTo>
                  <a:cubicBezTo>
                    <a:pt x="58665" y="189389"/>
                    <a:pt x="60339" y="191597"/>
                    <a:pt x="62203" y="194052"/>
                  </a:cubicBezTo>
                  <a:cubicBezTo>
                    <a:pt x="64186" y="196661"/>
                    <a:pt x="66381" y="199552"/>
                    <a:pt x="67829" y="202632"/>
                  </a:cubicBezTo>
                  <a:cubicBezTo>
                    <a:pt x="69032" y="205185"/>
                    <a:pt x="70811" y="207358"/>
                    <a:pt x="72457" y="209363"/>
                  </a:cubicBezTo>
                  <a:cubicBezTo>
                    <a:pt x="74658" y="212049"/>
                    <a:pt x="76621" y="214433"/>
                    <a:pt x="76621" y="217050"/>
                  </a:cubicBezTo>
                  <a:cubicBezTo>
                    <a:pt x="76621" y="219082"/>
                    <a:pt x="76761" y="219933"/>
                    <a:pt x="76853" y="220503"/>
                  </a:cubicBezTo>
                  <a:cubicBezTo>
                    <a:pt x="76965" y="221206"/>
                    <a:pt x="77008" y="221467"/>
                    <a:pt x="76621" y="223028"/>
                  </a:cubicBezTo>
                  <a:cubicBezTo>
                    <a:pt x="75917" y="225841"/>
                    <a:pt x="78379" y="233226"/>
                    <a:pt x="80489" y="233226"/>
                  </a:cubicBezTo>
                  <a:cubicBezTo>
                    <a:pt x="81502" y="233226"/>
                    <a:pt x="83330" y="235420"/>
                    <a:pt x="85229" y="237699"/>
                  </a:cubicBezTo>
                  <a:cubicBezTo>
                    <a:pt x="87276" y="240160"/>
                    <a:pt x="89407" y="242720"/>
                    <a:pt x="90687" y="242720"/>
                  </a:cubicBezTo>
                  <a:cubicBezTo>
                    <a:pt x="93008" y="242720"/>
                    <a:pt x="97839" y="248044"/>
                    <a:pt x="101335" y="251899"/>
                  </a:cubicBezTo>
                  <a:lnTo>
                    <a:pt x="101335" y="251899"/>
                  </a:lnTo>
                  <a:cubicBezTo>
                    <a:pt x="101539" y="252131"/>
                    <a:pt x="101743" y="252349"/>
                    <a:pt x="101940" y="252567"/>
                  </a:cubicBezTo>
                  <a:cubicBezTo>
                    <a:pt x="104901" y="255823"/>
                    <a:pt x="109606" y="258334"/>
                    <a:pt x="112904" y="260092"/>
                  </a:cubicBezTo>
                  <a:lnTo>
                    <a:pt x="112904" y="260092"/>
                  </a:lnTo>
                  <a:cubicBezTo>
                    <a:pt x="113530" y="260423"/>
                    <a:pt x="114100" y="260725"/>
                    <a:pt x="114599" y="261006"/>
                  </a:cubicBezTo>
                  <a:cubicBezTo>
                    <a:pt x="117764" y="262765"/>
                    <a:pt x="125149" y="267688"/>
                    <a:pt x="129017" y="270853"/>
                  </a:cubicBezTo>
                  <a:cubicBezTo>
                    <a:pt x="130930" y="272421"/>
                    <a:pt x="134573" y="273729"/>
                    <a:pt x="138441" y="275122"/>
                  </a:cubicBezTo>
                  <a:lnTo>
                    <a:pt x="138441" y="275122"/>
                  </a:lnTo>
                  <a:cubicBezTo>
                    <a:pt x="142387" y="276535"/>
                    <a:pt x="146571" y="278040"/>
                    <a:pt x="149413" y="279996"/>
                  </a:cubicBezTo>
                  <a:cubicBezTo>
                    <a:pt x="153914" y="283090"/>
                    <a:pt x="155975" y="288316"/>
                    <a:pt x="156446" y="290545"/>
                  </a:cubicBezTo>
                  <a:lnTo>
                    <a:pt x="168050" y="295117"/>
                  </a:lnTo>
                  <a:lnTo>
                    <a:pt x="174380" y="295117"/>
                  </a:lnTo>
                  <a:lnTo>
                    <a:pt x="178952" y="287732"/>
                  </a:lnTo>
                  <a:lnTo>
                    <a:pt x="182117" y="279996"/>
                  </a:lnTo>
                  <a:lnTo>
                    <a:pt x="185633" y="270853"/>
                  </a:lnTo>
                  <a:lnTo>
                    <a:pt x="189853" y="264171"/>
                  </a:lnTo>
                  <a:lnTo>
                    <a:pt x="185633" y="255028"/>
                  </a:lnTo>
                  <a:lnTo>
                    <a:pt x="185633" y="248698"/>
                  </a:lnTo>
                  <a:lnTo>
                    <a:pt x="185633" y="242720"/>
                  </a:lnTo>
                  <a:lnTo>
                    <a:pt x="189853" y="233226"/>
                  </a:lnTo>
                  <a:lnTo>
                    <a:pt x="189853" y="217050"/>
                  </a:lnTo>
                  <a:cubicBezTo>
                    <a:pt x="190788" y="213182"/>
                    <a:pt x="192666" y="204883"/>
                    <a:pt x="192666" y="202632"/>
                  </a:cubicBezTo>
                  <a:cubicBezTo>
                    <a:pt x="192666" y="199819"/>
                    <a:pt x="187743" y="189621"/>
                    <a:pt x="185633" y="187511"/>
                  </a:cubicBezTo>
                  <a:cubicBezTo>
                    <a:pt x="184944" y="186822"/>
                    <a:pt x="184311" y="183875"/>
                    <a:pt x="183762" y="180126"/>
                  </a:cubicBezTo>
                  <a:cubicBezTo>
                    <a:pt x="183572" y="180126"/>
                    <a:pt x="183375" y="180126"/>
                    <a:pt x="183171" y="180126"/>
                  </a:cubicBezTo>
                  <a:lnTo>
                    <a:pt x="173325" y="180126"/>
                  </a:lnTo>
                  <a:cubicBezTo>
                    <a:pt x="170864" y="180126"/>
                    <a:pt x="166995" y="179071"/>
                    <a:pt x="166292" y="176961"/>
                  </a:cubicBezTo>
                  <a:cubicBezTo>
                    <a:pt x="166229" y="176771"/>
                    <a:pt x="166173" y="176596"/>
                    <a:pt x="166116" y="176441"/>
                  </a:cubicBezTo>
                  <a:lnTo>
                    <a:pt x="166116" y="176441"/>
                  </a:lnTo>
                  <a:cubicBezTo>
                    <a:pt x="165933" y="175906"/>
                    <a:pt x="165814" y="175555"/>
                    <a:pt x="165737" y="175196"/>
                  </a:cubicBezTo>
                  <a:cubicBezTo>
                    <a:pt x="165589" y="174507"/>
                    <a:pt x="165589" y="173782"/>
                    <a:pt x="165589" y="171687"/>
                  </a:cubicBezTo>
                  <a:lnTo>
                    <a:pt x="165589" y="165708"/>
                  </a:lnTo>
                  <a:lnTo>
                    <a:pt x="165589" y="160434"/>
                  </a:lnTo>
                  <a:cubicBezTo>
                    <a:pt x="165589" y="160265"/>
                    <a:pt x="165617" y="160054"/>
                    <a:pt x="165645" y="159822"/>
                  </a:cubicBezTo>
                  <a:cubicBezTo>
                    <a:pt x="165800" y="158591"/>
                    <a:pt x="166025" y="156791"/>
                    <a:pt x="162776" y="157972"/>
                  </a:cubicBezTo>
                  <a:cubicBezTo>
                    <a:pt x="160694" y="158732"/>
                    <a:pt x="159836" y="158774"/>
                    <a:pt x="158992" y="158816"/>
                  </a:cubicBezTo>
                  <a:cubicBezTo>
                    <a:pt x="158267" y="158851"/>
                    <a:pt x="157557" y="158893"/>
                    <a:pt x="156094" y="159379"/>
                  </a:cubicBezTo>
                  <a:cubicBezTo>
                    <a:pt x="153562" y="160223"/>
                    <a:pt x="151755" y="161369"/>
                    <a:pt x="151171" y="161840"/>
                  </a:cubicBezTo>
                  <a:cubicBezTo>
                    <a:pt x="148710" y="162311"/>
                    <a:pt x="143364" y="162966"/>
                    <a:pt x="141676" y="161840"/>
                  </a:cubicBezTo>
                  <a:cubicBezTo>
                    <a:pt x="140896" y="161320"/>
                    <a:pt x="140502" y="160849"/>
                    <a:pt x="140115" y="160384"/>
                  </a:cubicBezTo>
                  <a:cubicBezTo>
                    <a:pt x="139461" y="159604"/>
                    <a:pt x="138835" y="158858"/>
                    <a:pt x="136402" y="157972"/>
                  </a:cubicBezTo>
                  <a:cubicBezTo>
                    <a:pt x="134657" y="157339"/>
                    <a:pt x="132984" y="157346"/>
                    <a:pt x="131577" y="157353"/>
                  </a:cubicBezTo>
                  <a:cubicBezTo>
                    <a:pt x="129861" y="157367"/>
                    <a:pt x="128539" y="157374"/>
                    <a:pt x="127962" y="156214"/>
                  </a:cubicBezTo>
                  <a:cubicBezTo>
                    <a:pt x="127610" y="155503"/>
                    <a:pt x="127252" y="155074"/>
                    <a:pt x="126956" y="154709"/>
                  </a:cubicBezTo>
                  <a:cubicBezTo>
                    <a:pt x="126358" y="153984"/>
                    <a:pt x="125972" y="153513"/>
                    <a:pt x="126204" y="151642"/>
                  </a:cubicBezTo>
                  <a:cubicBezTo>
                    <a:pt x="126436" y="149786"/>
                    <a:pt x="126358" y="149005"/>
                    <a:pt x="126281" y="148182"/>
                  </a:cubicBezTo>
                  <a:lnTo>
                    <a:pt x="126281" y="148182"/>
                  </a:lnTo>
                  <a:cubicBezTo>
                    <a:pt x="126246" y="147753"/>
                    <a:pt x="126204" y="147317"/>
                    <a:pt x="126204" y="146719"/>
                  </a:cubicBezTo>
                  <a:cubicBezTo>
                    <a:pt x="126204" y="144961"/>
                    <a:pt x="125852" y="143554"/>
                    <a:pt x="123391" y="139686"/>
                  </a:cubicBezTo>
                  <a:cubicBezTo>
                    <a:pt x="122441" y="138188"/>
                    <a:pt x="121119" y="136641"/>
                    <a:pt x="119853" y="135157"/>
                  </a:cubicBezTo>
                  <a:lnTo>
                    <a:pt x="119853" y="135157"/>
                  </a:lnTo>
                  <a:cubicBezTo>
                    <a:pt x="117855" y="132815"/>
                    <a:pt x="116006" y="130649"/>
                    <a:pt x="116006" y="129137"/>
                  </a:cubicBezTo>
                  <a:lnTo>
                    <a:pt x="116006" y="123158"/>
                  </a:lnTo>
                  <a:cubicBezTo>
                    <a:pt x="116006" y="122547"/>
                    <a:pt x="115788" y="122061"/>
                    <a:pt x="115584" y="121597"/>
                  </a:cubicBezTo>
                  <a:cubicBezTo>
                    <a:pt x="115204" y="120739"/>
                    <a:pt x="114860" y="119958"/>
                    <a:pt x="116006" y="118587"/>
                  </a:cubicBezTo>
                  <a:cubicBezTo>
                    <a:pt x="116885" y="117532"/>
                    <a:pt x="117412" y="117005"/>
                    <a:pt x="117898" y="116519"/>
                  </a:cubicBezTo>
                  <a:lnTo>
                    <a:pt x="117898" y="116519"/>
                  </a:lnTo>
                  <a:lnTo>
                    <a:pt x="117898" y="116519"/>
                  </a:lnTo>
                  <a:cubicBezTo>
                    <a:pt x="118383" y="116034"/>
                    <a:pt x="118819" y="115598"/>
                    <a:pt x="119522" y="114719"/>
                  </a:cubicBezTo>
                  <a:cubicBezTo>
                    <a:pt x="120001" y="114121"/>
                    <a:pt x="120359" y="113889"/>
                    <a:pt x="120662" y="113692"/>
                  </a:cubicBezTo>
                  <a:cubicBezTo>
                    <a:pt x="121245" y="113305"/>
                    <a:pt x="121639" y="113052"/>
                    <a:pt x="122336" y="110499"/>
                  </a:cubicBezTo>
                  <a:cubicBezTo>
                    <a:pt x="122905" y="108403"/>
                    <a:pt x="123376" y="107236"/>
                    <a:pt x="123855" y="106047"/>
                  </a:cubicBezTo>
                  <a:lnTo>
                    <a:pt x="123855" y="106047"/>
                  </a:lnTo>
                  <a:cubicBezTo>
                    <a:pt x="124256" y="105041"/>
                    <a:pt x="124664" y="104022"/>
                    <a:pt x="125149" y="102411"/>
                  </a:cubicBezTo>
                  <a:cubicBezTo>
                    <a:pt x="125880" y="99971"/>
                    <a:pt x="126105" y="99563"/>
                    <a:pt x="126759" y="98367"/>
                  </a:cubicBezTo>
                  <a:cubicBezTo>
                    <a:pt x="127048" y="97839"/>
                    <a:pt x="127420" y="97157"/>
                    <a:pt x="127962" y="96081"/>
                  </a:cubicBezTo>
                  <a:cubicBezTo>
                    <a:pt x="128630" y="94738"/>
                    <a:pt x="129151" y="93599"/>
                    <a:pt x="129594" y="92628"/>
                  </a:cubicBezTo>
                  <a:lnTo>
                    <a:pt x="129594" y="92628"/>
                  </a:lnTo>
                  <a:cubicBezTo>
                    <a:pt x="130311" y="91053"/>
                    <a:pt x="130825" y="89920"/>
                    <a:pt x="131479" y="89048"/>
                  </a:cubicBezTo>
                  <a:cubicBezTo>
                    <a:pt x="131865" y="88528"/>
                    <a:pt x="131971" y="88204"/>
                    <a:pt x="132069" y="87888"/>
                  </a:cubicBezTo>
                  <a:cubicBezTo>
                    <a:pt x="132231" y="87353"/>
                    <a:pt x="132386" y="86861"/>
                    <a:pt x="133940" y="85532"/>
                  </a:cubicBezTo>
                  <a:cubicBezTo>
                    <a:pt x="134883" y="84723"/>
                    <a:pt x="135157" y="84329"/>
                    <a:pt x="135389" y="83991"/>
                  </a:cubicBezTo>
                  <a:cubicBezTo>
                    <a:pt x="135762" y="83443"/>
                    <a:pt x="136036" y="83049"/>
                    <a:pt x="138863" y="81312"/>
                  </a:cubicBezTo>
                  <a:cubicBezTo>
                    <a:pt x="140713" y="80172"/>
                    <a:pt x="141585" y="79441"/>
                    <a:pt x="142197" y="78921"/>
                  </a:cubicBezTo>
                  <a:lnTo>
                    <a:pt x="142197" y="78921"/>
                  </a:lnTo>
                  <a:lnTo>
                    <a:pt x="142197" y="78921"/>
                  </a:lnTo>
                  <a:cubicBezTo>
                    <a:pt x="143104" y="78154"/>
                    <a:pt x="143449" y="77866"/>
                    <a:pt x="145545" y="77444"/>
                  </a:cubicBezTo>
                  <a:cubicBezTo>
                    <a:pt x="146902" y="77169"/>
                    <a:pt x="147837" y="77113"/>
                    <a:pt x="148660" y="77057"/>
                  </a:cubicBezTo>
                  <a:cubicBezTo>
                    <a:pt x="149968" y="76972"/>
                    <a:pt x="150981" y="76902"/>
                    <a:pt x="152929" y="76037"/>
                  </a:cubicBezTo>
                  <a:cubicBezTo>
                    <a:pt x="154498" y="75341"/>
                    <a:pt x="156762" y="75249"/>
                    <a:pt x="158900" y="75158"/>
                  </a:cubicBezTo>
                  <a:cubicBezTo>
                    <a:pt x="161074" y="75073"/>
                    <a:pt x="163120" y="74989"/>
                    <a:pt x="164182" y="74279"/>
                  </a:cubicBezTo>
                  <a:cubicBezTo>
                    <a:pt x="165202" y="73597"/>
                    <a:pt x="166799" y="74068"/>
                    <a:pt x="168254" y="74497"/>
                  </a:cubicBezTo>
                  <a:cubicBezTo>
                    <a:pt x="169809" y="74954"/>
                    <a:pt x="171201" y="75369"/>
                    <a:pt x="171567" y="74279"/>
                  </a:cubicBezTo>
                  <a:cubicBezTo>
                    <a:pt x="171806" y="73561"/>
                    <a:pt x="171679" y="71923"/>
                    <a:pt x="171476" y="70003"/>
                  </a:cubicBezTo>
                  <a:cubicBezTo>
                    <a:pt x="168979" y="67485"/>
                    <a:pt x="165940" y="64130"/>
                    <a:pt x="165940" y="63026"/>
                  </a:cubicBezTo>
                  <a:cubicBezTo>
                    <a:pt x="165940" y="61619"/>
                    <a:pt x="168283" y="57751"/>
                    <a:pt x="169457" y="55993"/>
                  </a:cubicBezTo>
                  <a:lnTo>
                    <a:pt x="173325" y="48256"/>
                  </a:lnTo>
                  <a:cubicBezTo>
                    <a:pt x="171799" y="47321"/>
                    <a:pt x="168191" y="45303"/>
                    <a:pt x="165940" y="44740"/>
                  </a:cubicBezTo>
                  <a:cubicBezTo>
                    <a:pt x="163127" y="44037"/>
                    <a:pt x="156094" y="42278"/>
                    <a:pt x="152929" y="42278"/>
                  </a:cubicBezTo>
                  <a:lnTo>
                    <a:pt x="144841" y="42278"/>
                  </a:lnTo>
                  <a:lnTo>
                    <a:pt x="132885" y="42278"/>
                  </a:lnTo>
                  <a:cubicBezTo>
                    <a:pt x="127301" y="42278"/>
                    <a:pt x="127216" y="41913"/>
                    <a:pt x="127069" y="41315"/>
                  </a:cubicBezTo>
                  <a:cubicBezTo>
                    <a:pt x="127012" y="41083"/>
                    <a:pt x="126949" y="40815"/>
                    <a:pt x="126555" y="40520"/>
                  </a:cubicBezTo>
                  <a:cubicBezTo>
                    <a:pt x="125149" y="39465"/>
                    <a:pt x="121281" y="33135"/>
                    <a:pt x="120577" y="30674"/>
                  </a:cubicBezTo>
                  <a:cubicBezTo>
                    <a:pt x="120183" y="29295"/>
                    <a:pt x="118362" y="27593"/>
                    <a:pt x="116646" y="25990"/>
                  </a:cubicBezTo>
                  <a:lnTo>
                    <a:pt x="116646" y="25990"/>
                  </a:lnTo>
                  <a:cubicBezTo>
                    <a:pt x="115295" y="24717"/>
                    <a:pt x="114008" y="23514"/>
                    <a:pt x="113544" y="22586"/>
                  </a:cubicBezTo>
                  <a:cubicBezTo>
                    <a:pt x="113010" y="21517"/>
                    <a:pt x="110126" y="19182"/>
                    <a:pt x="107320" y="16910"/>
                  </a:cubicBezTo>
                  <a:lnTo>
                    <a:pt x="107320" y="16910"/>
                  </a:lnTo>
                  <a:lnTo>
                    <a:pt x="107320" y="16910"/>
                  </a:lnTo>
                  <a:cubicBezTo>
                    <a:pt x="104591" y="14702"/>
                    <a:pt x="101933" y="12550"/>
                    <a:pt x="101588" y="11685"/>
                  </a:cubicBezTo>
                  <a:cubicBezTo>
                    <a:pt x="100885" y="9926"/>
                    <a:pt x="95258" y="6761"/>
                    <a:pt x="90335" y="6058"/>
                  </a:cubicBezTo>
                  <a:cubicBezTo>
                    <a:pt x="90216" y="6044"/>
                    <a:pt x="90103" y="6023"/>
                    <a:pt x="89984" y="6002"/>
                  </a:cubicBezTo>
                  <a:lnTo>
                    <a:pt x="89984" y="21531"/>
                  </a:lnTo>
                  <a:cubicBezTo>
                    <a:pt x="89984" y="23992"/>
                    <a:pt x="85764" y="32080"/>
                    <a:pt x="83654" y="34542"/>
                  </a:cubicBezTo>
                  <a:cubicBezTo>
                    <a:pt x="82542" y="35836"/>
                    <a:pt x="79110" y="38579"/>
                    <a:pt x="75896" y="41153"/>
                  </a:cubicBezTo>
                  <a:lnTo>
                    <a:pt x="75896" y="41153"/>
                  </a:lnTo>
                  <a:cubicBezTo>
                    <a:pt x="72985" y="43481"/>
                    <a:pt x="70256" y="45661"/>
                    <a:pt x="69588" y="46498"/>
                  </a:cubicBezTo>
                  <a:cubicBezTo>
                    <a:pt x="68652" y="47666"/>
                    <a:pt x="64777" y="48369"/>
                    <a:pt x="61760" y="48918"/>
                  </a:cubicBezTo>
                  <a:cubicBezTo>
                    <a:pt x="60234" y="49192"/>
                    <a:pt x="58926" y="49424"/>
                    <a:pt x="58335" y="49663"/>
                  </a:cubicBezTo>
                  <a:cubicBezTo>
                    <a:pt x="56928" y="50226"/>
                    <a:pt x="50718" y="57399"/>
                    <a:pt x="47785" y="60916"/>
                  </a:cubicBezTo>
                  <a:cubicBezTo>
                    <a:pt x="46146" y="63610"/>
                    <a:pt x="42651" y="69426"/>
                    <a:pt x="41807" y="71114"/>
                  </a:cubicBezTo>
                  <a:cubicBezTo>
                    <a:pt x="41716" y="71290"/>
                    <a:pt x="41624" y="71487"/>
                    <a:pt x="41519" y="71698"/>
                  </a:cubicBezTo>
                  <a:cubicBezTo>
                    <a:pt x="40393" y="73969"/>
                    <a:pt x="38466" y="77887"/>
                    <a:pt x="36532" y="78850"/>
                  </a:cubicBezTo>
                  <a:cubicBezTo>
                    <a:pt x="35829" y="79202"/>
                    <a:pt x="35203" y="79828"/>
                    <a:pt x="34577" y="80454"/>
                  </a:cubicBezTo>
                  <a:cubicBezTo>
                    <a:pt x="33325" y="81706"/>
                    <a:pt x="32080" y="82951"/>
                    <a:pt x="30203" y="82015"/>
                  </a:cubicBezTo>
                  <a:cubicBezTo>
                    <a:pt x="28845" y="81340"/>
                    <a:pt x="27002" y="79842"/>
                    <a:pt x="25216" y="78393"/>
                  </a:cubicBezTo>
                  <a:lnTo>
                    <a:pt x="25216" y="78393"/>
                  </a:lnTo>
                  <a:lnTo>
                    <a:pt x="25216" y="78393"/>
                  </a:lnTo>
                  <a:cubicBezTo>
                    <a:pt x="23296" y="76839"/>
                    <a:pt x="21446" y="75348"/>
                    <a:pt x="20356" y="74982"/>
                  </a:cubicBezTo>
                  <a:cubicBezTo>
                    <a:pt x="18668" y="74419"/>
                    <a:pt x="14259" y="74750"/>
                    <a:pt x="12268" y="74982"/>
                  </a:cubicBezTo>
                  <a:lnTo>
                    <a:pt x="12268" y="67246"/>
                  </a:lnTo>
                  <a:cubicBezTo>
                    <a:pt x="13218" y="66191"/>
                    <a:pt x="14463" y="64777"/>
                    <a:pt x="15728" y="63286"/>
                  </a:cubicBezTo>
                  <a:close/>
                  <a:moveTo>
                    <a:pt x="77064" y="66"/>
                  </a:moveTo>
                  <a:cubicBezTo>
                    <a:pt x="76262" y="-166"/>
                    <a:pt x="75172" y="249"/>
                    <a:pt x="73772" y="776"/>
                  </a:cubicBezTo>
                  <a:lnTo>
                    <a:pt x="73772" y="776"/>
                  </a:lnTo>
                  <a:lnTo>
                    <a:pt x="73772" y="776"/>
                  </a:lnTo>
                  <a:cubicBezTo>
                    <a:pt x="73428" y="910"/>
                    <a:pt x="73062" y="1051"/>
                    <a:pt x="72682" y="1184"/>
                  </a:cubicBezTo>
                  <a:cubicBezTo>
                    <a:pt x="72682" y="1184"/>
                    <a:pt x="72682" y="1184"/>
                    <a:pt x="72682" y="1184"/>
                  </a:cubicBezTo>
                  <a:cubicBezTo>
                    <a:pt x="73062" y="1051"/>
                    <a:pt x="73428" y="910"/>
                    <a:pt x="73772" y="776"/>
                  </a:cubicBezTo>
                  <a:lnTo>
                    <a:pt x="73772" y="776"/>
                  </a:lnTo>
                  <a:lnTo>
                    <a:pt x="73772" y="776"/>
                  </a:lnTo>
                  <a:cubicBezTo>
                    <a:pt x="75172" y="249"/>
                    <a:pt x="76262" y="-166"/>
                    <a:pt x="77064" y="66"/>
                  </a:cubicBezTo>
                  <a:close/>
                  <a:moveTo>
                    <a:pt x="181856" y="42335"/>
                  </a:moveTo>
                  <a:cubicBezTo>
                    <a:pt x="181814" y="41188"/>
                    <a:pt x="181765" y="39936"/>
                    <a:pt x="181765" y="38410"/>
                  </a:cubicBezTo>
                  <a:lnTo>
                    <a:pt x="181856" y="42335"/>
                  </a:lnTo>
                  <a:close/>
                  <a:moveTo>
                    <a:pt x="181856" y="42335"/>
                  </a:moveTo>
                  <a:lnTo>
                    <a:pt x="181856" y="42335"/>
                  </a:lnTo>
                  <a:lnTo>
                    <a:pt x="181856" y="42335"/>
                  </a:lnTo>
                  <a:lnTo>
                    <a:pt x="181856" y="42335"/>
                  </a:lnTo>
                  <a:lnTo>
                    <a:pt x="181856" y="4233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6" name="Freihandform: Form 31">
              <a:extLst>
                <a:ext uri="{FF2B5EF4-FFF2-40B4-BE49-F238E27FC236}">
                  <a16:creationId xmlns:a16="http://schemas.microsoft.com/office/drawing/2014/main" id="{A79934A6-1F90-C246-B18A-20AE2F840BC2}"/>
                </a:ext>
              </a:extLst>
            </p:cNvPr>
            <p:cNvSpPr/>
            <p:nvPr/>
          </p:nvSpPr>
          <p:spPr>
            <a:xfrm>
              <a:off x="5086062" y="4669270"/>
              <a:ext cx="187268" cy="212164"/>
            </a:xfrm>
            <a:custGeom>
              <a:avLst/>
              <a:gdLst>
                <a:gd name="connsiteX0" fmla="*/ 0 w 187268"/>
                <a:gd name="connsiteY0" fmla="*/ 123836 h 212164"/>
                <a:gd name="connsiteX1" fmla="*/ 1125 w 187268"/>
                <a:gd name="connsiteY1" fmla="*/ 121086 h 212164"/>
                <a:gd name="connsiteX2" fmla="*/ 4642 w 187268"/>
                <a:gd name="connsiteY2" fmla="*/ 111943 h 212164"/>
                <a:gd name="connsiteX3" fmla="*/ 8862 w 187268"/>
                <a:gd name="connsiteY3" fmla="*/ 105262 h 212164"/>
                <a:gd name="connsiteX4" fmla="*/ 4642 w 187268"/>
                <a:gd name="connsiteY4" fmla="*/ 96119 h 212164"/>
                <a:gd name="connsiteX5" fmla="*/ 4642 w 187268"/>
                <a:gd name="connsiteY5" fmla="*/ 89789 h 212164"/>
                <a:gd name="connsiteX6" fmla="*/ 4642 w 187268"/>
                <a:gd name="connsiteY6" fmla="*/ 83811 h 212164"/>
                <a:gd name="connsiteX7" fmla="*/ 8862 w 187268"/>
                <a:gd name="connsiteY7" fmla="*/ 74317 h 212164"/>
                <a:gd name="connsiteX8" fmla="*/ 8862 w 187268"/>
                <a:gd name="connsiteY8" fmla="*/ 58140 h 212164"/>
                <a:gd name="connsiteX9" fmla="*/ 11675 w 187268"/>
                <a:gd name="connsiteY9" fmla="*/ 43723 h 212164"/>
                <a:gd name="connsiteX10" fmla="*/ 4642 w 187268"/>
                <a:gd name="connsiteY10" fmla="*/ 28602 h 212164"/>
                <a:gd name="connsiteX11" fmla="*/ 2771 w 187268"/>
                <a:gd name="connsiteY11" fmla="*/ 21217 h 212164"/>
                <a:gd name="connsiteX12" fmla="*/ 9762 w 187268"/>
                <a:gd name="connsiteY12" fmla="*/ 20521 h 212164"/>
                <a:gd name="connsiteX13" fmla="*/ 9762 w 187268"/>
                <a:gd name="connsiteY13" fmla="*/ 20521 h 212164"/>
                <a:gd name="connsiteX14" fmla="*/ 14488 w 187268"/>
                <a:gd name="connsiteY14" fmla="*/ 19810 h 212164"/>
                <a:gd name="connsiteX15" fmla="*/ 21374 w 187268"/>
                <a:gd name="connsiteY15" fmla="*/ 17285 h 212164"/>
                <a:gd name="connsiteX16" fmla="*/ 21374 w 187268"/>
                <a:gd name="connsiteY16" fmla="*/ 17285 h 212164"/>
                <a:gd name="connsiteX17" fmla="*/ 21374 w 187268"/>
                <a:gd name="connsiteY17" fmla="*/ 17285 h 212164"/>
                <a:gd name="connsiteX18" fmla="*/ 23631 w 187268"/>
                <a:gd name="connsiteY18" fmla="*/ 15942 h 212164"/>
                <a:gd name="connsiteX19" fmla="*/ 34181 w 187268"/>
                <a:gd name="connsiteY19" fmla="*/ 9964 h 212164"/>
                <a:gd name="connsiteX20" fmla="*/ 39456 w 187268"/>
                <a:gd name="connsiteY20" fmla="*/ 4338 h 212164"/>
                <a:gd name="connsiteX21" fmla="*/ 42226 w 187268"/>
                <a:gd name="connsiteY21" fmla="*/ 2157 h 212164"/>
                <a:gd name="connsiteX22" fmla="*/ 43324 w 187268"/>
                <a:gd name="connsiteY22" fmla="*/ 1524 h 212164"/>
                <a:gd name="connsiteX23" fmla="*/ 55632 w 187268"/>
                <a:gd name="connsiteY23" fmla="*/ 469 h 212164"/>
                <a:gd name="connsiteX24" fmla="*/ 60927 w 187268"/>
                <a:gd name="connsiteY24" fmla="*/ 125 h 212164"/>
                <a:gd name="connsiteX25" fmla="*/ 60927 w 187268"/>
                <a:gd name="connsiteY25" fmla="*/ 125 h 212164"/>
                <a:gd name="connsiteX26" fmla="*/ 64071 w 187268"/>
                <a:gd name="connsiteY26" fmla="*/ 469 h 212164"/>
                <a:gd name="connsiteX27" fmla="*/ 64662 w 187268"/>
                <a:gd name="connsiteY27" fmla="*/ 4169 h 212164"/>
                <a:gd name="connsiteX28" fmla="*/ 64071 w 187268"/>
                <a:gd name="connsiteY28" fmla="*/ 6799 h 212164"/>
                <a:gd name="connsiteX29" fmla="*/ 63980 w 187268"/>
                <a:gd name="connsiteY29" fmla="*/ 8698 h 212164"/>
                <a:gd name="connsiteX30" fmla="*/ 63980 w 187268"/>
                <a:gd name="connsiteY30" fmla="*/ 8698 h 212164"/>
                <a:gd name="connsiteX31" fmla="*/ 64071 w 187268"/>
                <a:gd name="connsiteY31" fmla="*/ 12426 h 212164"/>
                <a:gd name="connsiteX32" fmla="*/ 65429 w 187268"/>
                <a:gd name="connsiteY32" fmla="*/ 17173 h 212164"/>
                <a:gd name="connsiteX33" fmla="*/ 65829 w 187268"/>
                <a:gd name="connsiteY33" fmla="*/ 18052 h 212164"/>
                <a:gd name="connsiteX34" fmla="*/ 67939 w 187268"/>
                <a:gd name="connsiteY34" fmla="*/ 28953 h 212164"/>
                <a:gd name="connsiteX35" fmla="*/ 70703 w 187268"/>
                <a:gd name="connsiteY35" fmla="*/ 32231 h 212164"/>
                <a:gd name="connsiteX36" fmla="*/ 73214 w 187268"/>
                <a:gd name="connsiteY36" fmla="*/ 34931 h 212164"/>
                <a:gd name="connsiteX37" fmla="*/ 76182 w 187268"/>
                <a:gd name="connsiteY37" fmla="*/ 38603 h 212164"/>
                <a:gd name="connsiteX38" fmla="*/ 77434 w 187268"/>
                <a:gd name="connsiteY38" fmla="*/ 40206 h 212164"/>
                <a:gd name="connsiteX39" fmla="*/ 83764 w 187268"/>
                <a:gd name="connsiteY39" fmla="*/ 42316 h 212164"/>
                <a:gd name="connsiteX40" fmla="*/ 92907 w 187268"/>
                <a:gd name="connsiteY40" fmla="*/ 42316 h 212164"/>
                <a:gd name="connsiteX41" fmla="*/ 96951 w 187268"/>
                <a:gd name="connsiteY41" fmla="*/ 44229 h 212164"/>
                <a:gd name="connsiteX42" fmla="*/ 99236 w 187268"/>
                <a:gd name="connsiteY42" fmla="*/ 46536 h 212164"/>
                <a:gd name="connsiteX43" fmla="*/ 101874 w 187268"/>
                <a:gd name="connsiteY43" fmla="*/ 48470 h 212164"/>
                <a:gd name="connsiteX44" fmla="*/ 104511 w 187268"/>
                <a:gd name="connsiteY44" fmla="*/ 50404 h 212164"/>
                <a:gd name="connsiteX45" fmla="*/ 110482 w 187268"/>
                <a:gd name="connsiteY45" fmla="*/ 52563 h 212164"/>
                <a:gd name="connsiteX46" fmla="*/ 110482 w 187268"/>
                <a:gd name="connsiteY46" fmla="*/ 52563 h 212164"/>
                <a:gd name="connsiteX47" fmla="*/ 114006 w 187268"/>
                <a:gd name="connsiteY47" fmla="*/ 53217 h 212164"/>
                <a:gd name="connsiteX48" fmla="*/ 119217 w 187268"/>
                <a:gd name="connsiteY48" fmla="*/ 57078 h 212164"/>
                <a:gd name="connsiteX49" fmla="*/ 121039 w 187268"/>
                <a:gd name="connsiteY49" fmla="*/ 59195 h 212164"/>
                <a:gd name="connsiteX50" fmla="*/ 124837 w 187268"/>
                <a:gd name="connsiteY50" fmla="*/ 60497 h 212164"/>
                <a:gd name="connsiteX51" fmla="*/ 127720 w 187268"/>
                <a:gd name="connsiteY51" fmla="*/ 60602 h 212164"/>
                <a:gd name="connsiteX52" fmla="*/ 131680 w 187268"/>
                <a:gd name="connsiteY52" fmla="*/ 60890 h 212164"/>
                <a:gd name="connsiteX53" fmla="*/ 131680 w 187268"/>
                <a:gd name="connsiteY53" fmla="*/ 60890 h 212164"/>
                <a:gd name="connsiteX54" fmla="*/ 137567 w 187268"/>
                <a:gd name="connsiteY54" fmla="*/ 62009 h 212164"/>
                <a:gd name="connsiteX55" fmla="*/ 140218 w 187268"/>
                <a:gd name="connsiteY55" fmla="*/ 67776 h 212164"/>
                <a:gd name="connsiteX56" fmla="*/ 140218 w 187268"/>
                <a:gd name="connsiteY56" fmla="*/ 67783 h 212164"/>
                <a:gd name="connsiteX57" fmla="*/ 140218 w 187268"/>
                <a:gd name="connsiteY57" fmla="*/ 67783 h 212164"/>
                <a:gd name="connsiteX58" fmla="*/ 140218 w 187268"/>
                <a:gd name="connsiteY58" fmla="*/ 67783 h 212164"/>
                <a:gd name="connsiteX59" fmla="*/ 140731 w 187268"/>
                <a:gd name="connsiteY59" fmla="*/ 70800 h 212164"/>
                <a:gd name="connsiteX60" fmla="*/ 142307 w 187268"/>
                <a:gd name="connsiteY60" fmla="*/ 75632 h 212164"/>
                <a:gd name="connsiteX61" fmla="*/ 143193 w 187268"/>
                <a:gd name="connsiteY61" fmla="*/ 77130 h 212164"/>
                <a:gd name="connsiteX62" fmla="*/ 143481 w 187268"/>
                <a:gd name="connsiteY62" fmla="*/ 80034 h 212164"/>
                <a:gd name="connsiteX63" fmla="*/ 143193 w 187268"/>
                <a:gd name="connsiteY63" fmla="*/ 82053 h 212164"/>
                <a:gd name="connsiteX64" fmla="*/ 143024 w 187268"/>
                <a:gd name="connsiteY64" fmla="*/ 84008 h 212164"/>
                <a:gd name="connsiteX65" fmla="*/ 143193 w 187268"/>
                <a:gd name="connsiteY65" fmla="*/ 88383 h 212164"/>
                <a:gd name="connsiteX66" fmla="*/ 144494 w 187268"/>
                <a:gd name="connsiteY66" fmla="*/ 92384 h 212164"/>
                <a:gd name="connsiteX67" fmla="*/ 145303 w 187268"/>
                <a:gd name="connsiteY67" fmla="*/ 95416 h 212164"/>
                <a:gd name="connsiteX68" fmla="*/ 145113 w 187268"/>
                <a:gd name="connsiteY68" fmla="*/ 97624 h 212164"/>
                <a:gd name="connsiteX69" fmla="*/ 145113 w 187268"/>
                <a:gd name="connsiteY69" fmla="*/ 97624 h 212164"/>
                <a:gd name="connsiteX70" fmla="*/ 145303 w 187268"/>
                <a:gd name="connsiteY70" fmla="*/ 100339 h 212164"/>
                <a:gd name="connsiteX71" fmla="*/ 148404 w 187268"/>
                <a:gd name="connsiteY71" fmla="*/ 101935 h 212164"/>
                <a:gd name="connsiteX72" fmla="*/ 149874 w 187268"/>
                <a:gd name="connsiteY72" fmla="*/ 102097 h 212164"/>
                <a:gd name="connsiteX73" fmla="*/ 153461 w 187268"/>
                <a:gd name="connsiteY73" fmla="*/ 102414 h 212164"/>
                <a:gd name="connsiteX74" fmla="*/ 153461 w 187268"/>
                <a:gd name="connsiteY74" fmla="*/ 102414 h 212164"/>
                <a:gd name="connsiteX75" fmla="*/ 153461 w 187268"/>
                <a:gd name="connsiteY75" fmla="*/ 102414 h 212164"/>
                <a:gd name="connsiteX76" fmla="*/ 160424 w 187268"/>
                <a:gd name="connsiteY76" fmla="*/ 103152 h 212164"/>
                <a:gd name="connsiteX77" fmla="*/ 164686 w 187268"/>
                <a:gd name="connsiteY77" fmla="*/ 103546 h 212164"/>
                <a:gd name="connsiteX78" fmla="*/ 164686 w 187268"/>
                <a:gd name="connsiteY78" fmla="*/ 103546 h 212164"/>
                <a:gd name="connsiteX79" fmla="*/ 170270 w 187268"/>
                <a:gd name="connsiteY79" fmla="*/ 104559 h 212164"/>
                <a:gd name="connsiteX80" fmla="*/ 174033 w 187268"/>
                <a:gd name="connsiteY80" fmla="*/ 104791 h 212164"/>
                <a:gd name="connsiteX81" fmla="*/ 175897 w 187268"/>
                <a:gd name="connsiteY81" fmla="*/ 104559 h 212164"/>
                <a:gd name="connsiteX82" fmla="*/ 176361 w 187268"/>
                <a:gd name="connsiteY82" fmla="*/ 107505 h 212164"/>
                <a:gd name="connsiteX83" fmla="*/ 175897 w 187268"/>
                <a:gd name="connsiteY83" fmla="*/ 110537 h 212164"/>
                <a:gd name="connsiteX84" fmla="*/ 176544 w 187268"/>
                <a:gd name="connsiteY84" fmla="*/ 115467 h 212164"/>
                <a:gd name="connsiteX85" fmla="*/ 176544 w 187268"/>
                <a:gd name="connsiteY85" fmla="*/ 115467 h 212164"/>
                <a:gd name="connsiteX86" fmla="*/ 176544 w 187268"/>
                <a:gd name="connsiteY86" fmla="*/ 115467 h 212164"/>
                <a:gd name="connsiteX87" fmla="*/ 176952 w 187268"/>
                <a:gd name="connsiteY87" fmla="*/ 117218 h 212164"/>
                <a:gd name="connsiteX88" fmla="*/ 179280 w 187268"/>
                <a:gd name="connsiteY88" fmla="*/ 120939 h 212164"/>
                <a:gd name="connsiteX89" fmla="*/ 181172 w 187268"/>
                <a:gd name="connsiteY89" fmla="*/ 123196 h 212164"/>
                <a:gd name="connsiteX90" fmla="*/ 183900 w 187268"/>
                <a:gd name="connsiteY90" fmla="*/ 126326 h 212164"/>
                <a:gd name="connsiteX91" fmla="*/ 183900 w 187268"/>
                <a:gd name="connsiteY91" fmla="*/ 126326 h 212164"/>
                <a:gd name="connsiteX92" fmla="*/ 186798 w 187268"/>
                <a:gd name="connsiteY92" fmla="*/ 129878 h 212164"/>
                <a:gd name="connsiteX93" fmla="*/ 187037 w 187268"/>
                <a:gd name="connsiteY93" fmla="*/ 138247 h 212164"/>
                <a:gd name="connsiteX94" fmla="*/ 187037 w 187268"/>
                <a:gd name="connsiteY94" fmla="*/ 138247 h 212164"/>
                <a:gd name="connsiteX95" fmla="*/ 187037 w 187268"/>
                <a:gd name="connsiteY95" fmla="*/ 138247 h 212164"/>
                <a:gd name="connsiteX96" fmla="*/ 187037 w 187268"/>
                <a:gd name="connsiteY96" fmla="*/ 138247 h 212164"/>
                <a:gd name="connsiteX97" fmla="*/ 186798 w 187268"/>
                <a:gd name="connsiteY97" fmla="*/ 143240 h 212164"/>
                <a:gd name="connsiteX98" fmla="*/ 185602 w 187268"/>
                <a:gd name="connsiteY98" fmla="*/ 149401 h 212164"/>
                <a:gd name="connsiteX99" fmla="*/ 184336 w 187268"/>
                <a:gd name="connsiteY99" fmla="*/ 152383 h 212164"/>
                <a:gd name="connsiteX100" fmla="*/ 182895 w 187268"/>
                <a:gd name="connsiteY100" fmla="*/ 156561 h 212164"/>
                <a:gd name="connsiteX101" fmla="*/ 181172 w 187268"/>
                <a:gd name="connsiteY101" fmla="*/ 160120 h 212164"/>
                <a:gd name="connsiteX102" fmla="*/ 180229 w 187268"/>
                <a:gd name="connsiteY102" fmla="*/ 163235 h 212164"/>
                <a:gd name="connsiteX103" fmla="*/ 179765 w 187268"/>
                <a:gd name="connsiteY103" fmla="*/ 165746 h 212164"/>
                <a:gd name="connsiteX104" fmla="*/ 179603 w 187268"/>
                <a:gd name="connsiteY104" fmla="*/ 166077 h 212164"/>
                <a:gd name="connsiteX105" fmla="*/ 161479 w 187268"/>
                <a:gd name="connsiteY105" fmla="*/ 155900 h 212164"/>
                <a:gd name="connsiteX106" fmla="*/ 142841 w 187268"/>
                <a:gd name="connsiteY106" fmla="*/ 155900 h 212164"/>
                <a:gd name="connsiteX107" fmla="*/ 135787 w 187268"/>
                <a:gd name="connsiteY107" fmla="*/ 157299 h 212164"/>
                <a:gd name="connsiteX108" fmla="*/ 132995 w 187268"/>
                <a:gd name="connsiteY108" fmla="*/ 159065 h 212164"/>
                <a:gd name="connsiteX109" fmla="*/ 127889 w 187268"/>
                <a:gd name="connsiteY109" fmla="*/ 159494 h 212164"/>
                <a:gd name="connsiteX110" fmla="*/ 122446 w 187268"/>
                <a:gd name="connsiteY110" fmla="*/ 159065 h 212164"/>
                <a:gd name="connsiteX111" fmla="*/ 117572 w 187268"/>
                <a:gd name="connsiteY111" fmla="*/ 163432 h 212164"/>
                <a:gd name="connsiteX112" fmla="*/ 116467 w 187268"/>
                <a:gd name="connsiteY112" fmla="*/ 167504 h 212164"/>
                <a:gd name="connsiteX113" fmla="*/ 114913 w 187268"/>
                <a:gd name="connsiteY113" fmla="*/ 178019 h 212164"/>
                <a:gd name="connsiteX114" fmla="*/ 114006 w 187268"/>
                <a:gd name="connsiteY114" fmla="*/ 186142 h 212164"/>
                <a:gd name="connsiteX115" fmla="*/ 110138 w 187268"/>
                <a:gd name="connsiteY115" fmla="*/ 199505 h 212164"/>
                <a:gd name="connsiteX116" fmla="*/ 87632 w 187268"/>
                <a:gd name="connsiteY116" fmla="*/ 199505 h 212164"/>
                <a:gd name="connsiteX117" fmla="*/ 78489 w 187268"/>
                <a:gd name="connsiteY117" fmla="*/ 212164 h 212164"/>
                <a:gd name="connsiteX118" fmla="*/ 71104 w 187268"/>
                <a:gd name="connsiteY118" fmla="*/ 199505 h 212164"/>
                <a:gd name="connsiteX119" fmla="*/ 57474 w 187268"/>
                <a:gd name="connsiteY119" fmla="*/ 196861 h 212164"/>
                <a:gd name="connsiteX120" fmla="*/ 57474 w 187268"/>
                <a:gd name="connsiteY120" fmla="*/ 196861 h 212164"/>
                <a:gd name="connsiteX121" fmla="*/ 54577 w 187268"/>
                <a:gd name="connsiteY121" fmla="*/ 196692 h 212164"/>
                <a:gd name="connsiteX122" fmla="*/ 49717 w 187268"/>
                <a:gd name="connsiteY122" fmla="*/ 199181 h 212164"/>
                <a:gd name="connsiteX123" fmla="*/ 47544 w 187268"/>
                <a:gd name="connsiteY123" fmla="*/ 201966 h 212164"/>
                <a:gd name="connsiteX124" fmla="*/ 44505 w 187268"/>
                <a:gd name="connsiteY124" fmla="*/ 205356 h 212164"/>
                <a:gd name="connsiteX125" fmla="*/ 36642 w 187268"/>
                <a:gd name="connsiteY125" fmla="*/ 212164 h 212164"/>
                <a:gd name="connsiteX126" fmla="*/ 28203 w 187268"/>
                <a:gd name="connsiteY126" fmla="*/ 212164 h 212164"/>
                <a:gd name="connsiteX127" fmla="*/ 25389 w 187268"/>
                <a:gd name="connsiteY127" fmla="*/ 203725 h 212164"/>
                <a:gd name="connsiteX128" fmla="*/ 21170 w 187268"/>
                <a:gd name="connsiteY128" fmla="*/ 191937 h 212164"/>
                <a:gd name="connsiteX129" fmla="*/ 21170 w 187268"/>
                <a:gd name="connsiteY129" fmla="*/ 191930 h 212164"/>
                <a:gd name="connsiteX130" fmla="*/ 20818 w 187268"/>
                <a:gd name="connsiteY130" fmla="*/ 191065 h 212164"/>
                <a:gd name="connsiteX131" fmla="*/ 18399 w 187268"/>
                <a:gd name="connsiteY131" fmla="*/ 187521 h 212164"/>
                <a:gd name="connsiteX132" fmla="*/ 15543 w 187268"/>
                <a:gd name="connsiteY132" fmla="*/ 182977 h 212164"/>
                <a:gd name="connsiteX133" fmla="*/ 14798 w 187268"/>
                <a:gd name="connsiteY133" fmla="*/ 178631 h 212164"/>
                <a:gd name="connsiteX134" fmla="*/ 13785 w 187268"/>
                <a:gd name="connsiteY134" fmla="*/ 172428 h 212164"/>
                <a:gd name="connsiteX135" fmla="*/ 15543 w 187268"/>
                <a:gd name="connsiteY135" fmla="*/ 162230 h 212164"/>
                <a:gd name="connsiteX136" fmla="*/ 13785 w 187268"/>
                <a:gd name="connsiteY136" fmla="*/ 151680 h 212164"/>
                <a:gd name="connsiteX137" fmla="*/ 8862 w 187268"/>
                <a:gd name="connsiteY137" fmla="*/ 141876 h 212164"/>
                <a:gd name="connsiteX138" fmla="*/ 8862 w 187268"/>
                <a:gd name="connsiteY138" fmla="*/ 141131 h 212164"/>
                <a:gd name="connsiteX139" fmla="*/ 6766 w 187268"/>
                <a:gd name="connsiteY139" fmla="*/ 135244 h 212164"/>
                <a:gd name="connsiteX140" fmla="*/ 3939 w 187268"/>
                <a:gd name="connsiteY140" fmla="*/ 130229 h 212164"/>
                <a:gd name="connsiteX141" fmla="*/ 0 w 187268"/>
                <a:gd name="connsiteY141" fmla="*/ 123836 h 21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</a:cxnLst>
              <a:rect l="l" t="t" r="r" b="b"/>
              <a:pathLst>
                <a:path w="187268" h="212164">
                  <a:moveTo>
                    <a:pt x="0" y="123836"/>
                  </a:moveTo>
                  <a:lnTo>
                    <a:pt x="1125" y="121086"/>
                  </a:lnTo>
                  <a:lnTo>
                    <a:pt x="4642" y="111943"/>
                  </a:lnTo>
                  <a:lnTo>
                    <a:pt x="8862" y="105262"/>
                  </a:lnTo>
                  <a:lnTo>
                    <a:pt x="4642" y="96119"/>
                  </a:lnTo>
                  <a:lnTo>
                    <a:pt x="4642" y="89789"/>
                  </a:lnTo>
                  <a:lnTo>
                    <a:pt x="4642" y="83811"/>
                  </a:lnTo>
                  <a:lnTo>
                    <a:pt x="8862" y="74317"/>
                  </a:lnTo>
                  <a:lnTo>
                    <a:pt x="8862" y="58140"/>
                  </a:lnTo>
                  <a:cubicBezTo>
                    <a:pt x="9797" y="54272"/>
                    <a:pt x="11675" y="45973"/>
                    <a:pt x="11675" y="43723"/>
                  </a:cubicBezTo>
                  <a:cubicBezTo>
                    <a:pt x="11675" y="40910"/>
                    <a:pt x="6752" y="30712"/>
                    <a:pt x="4642" y="28602"/>
                  </a:cubicBezTo>
                  <a:cubicBezTo>
                    <a:pt x="3953" y="27912"/>
                    <a:pt x="3320" y="24966"/>
                    <a:pt x="2771" y="21217"/>
                  </a:cubicBezTo>
                  <a:cubicBezTo>
                    <a:pt x="5430" y="21189"/>
                    <a:pt x="6688" y="20999"/>
                    <a:pt x="9762" y="20521"/>
                  </a:cubicBezTo>
                  <a:lnTo>
                    <a:pt x="9762" y="20521"/>
                  </a:lnTo>
                  <a:cubicBezTo>
                    <a:pt x="10979" y="20331"/>
                    <a:pt x="12491" y="20099"/>
                    <a:pt x="14488" y="19810"/>
                  </a:cubicBezTo>
                  <a:cubicBezTo>
                    <a:pt x="19221" y="19135"/>
                    <a:pt x="20340" y="18172"/>
                    <a:pt x="21374" y="17285"/>
                  </a:cubicBezTo>
                  <a:lnTo>
                    <a:pt x="21374" y="17285"/>
                  </a:lnTo>
                  <a:lnTo>
                    <a:pt x="21374" y="17285"/>
                  </a:lnTo>
                  <a:cubicBezTo>
                    <a:pt x="21950" y="16793"/>
                    <a:pt x="22492" y="16322"/>
                    <a:pt x="23631" y="15942"/>
                  </a:cubicBezTo>
                  <a:cubicBezTo>
                    <a:pt x="26163" y="15098"/>
                    <a:pt x="31719" y="11603"/>
                    <a:pt x="34181" y="9964"/>
                  </a:cubicBezTo>
                  <a:cubicBezTo>
                    <a:pt x="35587" y="8557"/>
                    <a:pt x="38612" y="5463"/>
                    <a:pt x="39456" y="4338"/>
                  </a:cubicBezTo>
                  <a:cubicBezTo>
                    <a:pt x="40271" y="3247"/>
                    <a:pt x="41087" y="2790"/>
                    <a:pt x="42226" y="2157"/>
                  </a:cubicBezTo>
                  <a:cubicBezTo>
                    <a:pt x="42564" y="1967"/>
                    <a:pt x="42923" y="1764"/>
                    <a:pt x="43324" y="1524"/>
                  </a:cubicBezTo>
                  <a:cubicBezTo>
                    <a:pt x="45082" y="469"/>
                    <a:pt x="49302" y="469"/>
                    <a:pt x="55632" y="469"/>
                  </a:cubicBezTo>
                  <a:cubicBezTo>
                    <a:pt x="58431" y="469"/>
                    <a:pt x="59922" y="265"/>
                    <a:pt x="60927" y="125"/>
                  </a:cubicBezTo>
                  <a:lnTo>
                    <a:pt x="60927" y="125"/>
                  </a:lnTo>
                  <a:cubicBezTo>
                    <a:pt x="62200" y="-51"/>
                    <a:pt x="62700" y="-121"/>
                    <a:pt x="64071" y="469"/>
                  </a:cubicBezTo>
                  <a:cubicBezTo>
                    <a:pt x="65668" y="1152"/>
                    <a:pt x="65190" y="2579"/>
                    <a:pt x="64662" y="4169"/>
                  </a:cubicBezTo>
                  <a:cubicBezTo>
                    <a:pt x="64374" y="5027"/>
                    <a:pt x="64071" y="5934"/>
                    <a:pt x="64071" y="6799"/>
                  </a:cubicBezTo>
                  <a:cubicBezTo>
                    <a:pt x="64071" y="7699"/>
                    <a:pt x="64022" y="8220"/>
                    <a:pt x="63980" y="8698"/>
                  </a:cubicBezTo>
                  <a:lnTo>
                    <a:pt x="63980" y="8698"/>
                  </a:lnTo>
                  <a:cubicBezTo>
                    <a:pt x="63909" y="9521"/>
                    <a:pt x="63846" y="10196"/>
                    <a:pt x="64071" y="12426"/>
                  </a:cubicBezTo>
                  <a:cubicBezTo>
                    <a:pt x="64332" y="15014"/>
                    <a:pt x="64971" y="16266"/>
                    <a:pt x="65429" y="17173"/>
                  </a:cubicBezTo>
                  <a:cubicBezTo>
                    <a:pt x="65597" y="17496"/>
                    <a:pt x="65738" y="17771"/>
                    <a:pt x="65829" y="18052"/>
                  </a:cubicBezTo>
                  <a:cubicBezTo>
                    <a:pt x="66181" y="19107"/>
                    <a:pt x="67939" y="25437"/>
                    <a:pt x="67939" y="28953"/>
                  </a:cubicBezTo>
                  <a:cubicBezTo>
                    <a:pt x="68368" y="29811"/>
                    <a:pt x="69451" y="30930"/>
                    <a:pt x="70703" y="32231"/>
                  </a:cubicBezTo>
                  <a:cubicBezTo>
                    <a:pt x="71512" y="33061"/>
                    <a:pt x="72391" y="33968"/>
                    <a:pt x="73214" y="34931"/>
                  </a:cubicBezTo>
                  <a:cubicBezTo>
                    <a:pt x="74621" y="36570"/>
                    <a:pt x="75402" y="37590"/>
                    <a:pt x="76182" y="38603"/>
                  </a:cubicBezTo>
                  <a:cubicBezTo>
                    <a:pt x="76576" y="39109"/>
                    <a:pt x="76963" y="39622"/>
                    <a:pt x="77434" y="40206"/>
                  </a:cubicBezTo>
                  <a:cubicBezTo>
                    <a:pt x="78841" y="41964"/>
                    <a:pt x="80599" y="42316"/>
                    <a:pt x="83764" y="42316"/>
                  </a:cubicBezTo>
                  <a:lnTo>
                    <a:pt x="92907" y="42316"/>
                  </a:lnTo>
                  <a:cubicBezTo>
                    <a:pt x="95403" y="42316"/>
                    <a:pt x="95994" y="43048"/>
                    <a:pt x="96951" y="44229"/>
                  </a:cubicBezTo>
                  <a:cubicBezTo>
                    <a:pt x="97478" y="44876"/>
                    <a:pt x="98111" y="45664"/>
                    <a:pt x="99236" y="46536"/>
                  </a:cubicBezTo>
                  <a:cubicBezTo>
                    <a:pt x="100819" y="47767"/>
                    <a:pt x="101346" y="48118"/>
                    <a:pt x="101874" y="48470"/>
                  </a:cubicBezTo>
                  <a:cubicBezTo>
                    <a:pt x="102401" y="48822"/>
                    <a:pt x="102929" y="49173"/>
                    <a:pt x="104511" y="50404"/>
                  </a:cubicBezTo>
                  <a:cubicBezTo>
                    <a:pt x="106607" y="52036"/>
                    <a:pt x="108394" y="52275"/>
                    <a:pt x="110482" y="52563"/>
                  </a:cubicBezTo>
                  <a:lnTo>
                    <a:pt x="110482" y="52563"/>
                  </a:lnTo>
                  <a:cubicBezTo>
                    <a:pt x="111551" y="52704"/>
                    <a:pt x="112698" y="52859"/>
                    <a:pt x="114006" y="53217"/>
                  </a:cubicBezTo>
                  <a:cubicBezTo>
                    <a:pt x="116749" y="53963"/>
                    <a:pt x="117902" y="55419"/>
                    <a:pt x="119217" y="57078"/>
                  </a:cubicBezTo>
                  <a:cubicBezTo>
                    <a:pt x="119752" y="57761"/>
                    <a:pt x="120322" y="58478"/>
                    <a:pt x="121039" y="59195"/>
                  </a:cubicBezTo>
                  <a:cubicBezTo>
                    <a:pt x="122565" y="60722"/>
                    <a:pt x="123550" y="60623"/>
                    <a:pt x="124837" y="60497"/>
                  </a:cubicBezTo>
                  <a:cubicBezTo>
                    <a:pt x="125617" y="60426"/>
                    <a:pt x="126518" y="60335"/>
                    <a:pt x="127720" y="60602"/>
                  </a:cubicBezTo>
                  <a:cubicBezTo>
                    <a:pt x="128937" y="60869"/>
                    <a:pt x="130308" y="60883"/>
                    <a:pt x="131680" y="60890"/>
                  </a:cubicBezTo>
                  <a:lnTo>
                    <a:pt x="131680" y="60890"/>
                  </a:lnTo>
                  <a:cubicBezTo>
                    <a:pt x="133874" y="60911"/>
                    <a:pt x="136055" y="60926"/>
                    <a:pt x="137567" y="62009"/>
                  </a:cubicBezTo>
                  <a:cubicBezTo>
                    <a:pt x="139515" y="63401"/>
                    <a:pt x="139698" y="64569"/>
                    <a:pt x="140218" y="67776"/>
                  </a:cubicBezTo>
                  <a:lnTo>
                    <a:pt x="140218" y="67783"/>
                  </a:lnTo>
                  <a:lnTo>
                    <a:pt x="140218" y="67783"/>
                  </a:lnTo>
                  <a:lnTo>
                    <a:pt x="140218" y="67783"/>
                  </a:lnTo>
                  <a:cubicBezTo>
                    <a:pt x="140352" y="68634"/>
                    <a:pt x="140513" y="69626"/>
                    <a:pt x="140731" y="70800"/>
                  </a:cubicBezTo>
                  <a:cubicBezTo>
                    <a:pt x="141428" y="74520"/>
                    <a:pt x="141822" y="75013"/>
                    <a:pt x="142307" y="75632"/>
                  </a:cubicBezTo>
                  <a:cubicBezTo>
                    <a:pt x="142560" y="75948"/>
                    <a:pt x="142834" y="76293"/>
                    <a:pt x="143193" y="77130"/>
                  </a:cubicBezTo>
                  <a:cubicBezTo>
                    <a:pt x="143847" y="78649"/>
                    <a:pt x="143692" y="79233"/>
                    <a:pt x="143481" y="80034"/>
                  </a:cubicBezTo>
                  <a:cubicBezTo>
                    <a:pt x="143348" y="80534"/>
                    <a:pt x="143193" y="81110"/>
                    <a:pt x="143193" y="82053"/>
                  </a:cubicBezTo>
                  <a:cubicBezTo>
                    <a:pt x="143193" y="82918"/>
                    <a:pt x="143109" y="83481"/>
                    <a:pt x="143024" y="84008"/>
                  </a:cubicBezTo>
                  <a:cubicBezTo>
                    <a:pt x="142870" y="84993"/>
                    <a:pt x="142736" y="85872"/>
                    <a:pt x="143193" y="88383"/>
                  </a:cubicBezTo>
                  <a:cubicBezTo>
                    <a:pt x="143538" y="90289"/>
                    <a:pt x="144058" y="91428"/>
                    <a:pt x="144494" y="92384"/>
                  </a:cubicBezTo>
                  <a:cubicBezTo>
                    <a:pt x="144944" y="93369"/>
                    <a:pt x="145303" y="94164"/>
                    <a:pt x="145303" y="95416"/>
                  </a:cubicBezTo>
                  <a:cubicBezTo>
                    <a:pt x="145303" y="96358"/>
                    <a:pt x="145198" y="97040"/>
                    <a:pt x="145113" y="97624"/>
                  </a:cubicBezTo>
                  <a:lnTo>
                    <a:pt x="145113" y="97624"/>
                  </a:lnTo>
                  <a:cubicBezTo>
                    <a:pt x="144972" y="98566"/>
                    <a:pt x="144867" y="99256"/>
                    <a:pt x="145303" y="100339"/>
                  </a:cubicBezTo>
                  <a:cubicBezTo>
                    <a:pt x="145852" y="101710"/>
                    <a:pt x="146829" y="101802"/>
                    <a:pt x="148404" y="101935"/>
                  </a:cubicBezTo>
                  <a:cubicBezTo>
                    <a:pt x="148848" y="101978"/>
                    <a:pt x="149333" y="102020"/>
                    <a:pt x="149874" y="102097"/>
                  </a:cubicBezTo>
                  <a:cubicBezTo>
                    <a:pt x="150845" y="102238"/>
                    <a:pt x="152083" y="102322"/>
                    <a:pt x="153461" y="102414"/>
                  </a:cubicBezTo>
                  <a:lnTo>
                    <a:pt x="153461" y="102414"/>
                  </a:lnTo>
                  <a:lnTo>
                    <a:pt x="153461" y="102414"/>
                  </a:lnTo>
                  <a:cubicBezTo>
                    <a:pt x="155599" y="102554"/>
                    <a:pt x="158075" y="102723"/>
                    <a:pt x="160424" y="103152"/>
                  </a:cubicBezTo>
                  <a:cubicBezTo>
                    <a:pt x="161943" y="103426"/>
                    <a:pt x="163357" y="103490"/>
                    <a:pt x="164686" y="103546"/>
                  </a:cubicBezTo>
                  <a:lnTo>
                    <a:pt x="164686" y="103546"/>
                  </a:lnTo>
                  <a:cubicBezTo>
                    <a:pt x="166726" y="103630"/>
                    <a:pt x="168561" y="103708"/>
                    <a:pt x="170270" y="104559"/>
                  </a:cubicBezTo>
                  <a:cubicBezTo>
                    <a:pt x="172000" y="105424"/>
                    <a:pt x="173062" y="105093"/>
                    <a:pt x="174033" y="104791"/>
                  </a:cubicBezTo>
                  <a:cubicBezTo>
                    <a:pt x="174645" y="104601"/>
                    <a:pt x="175222" y="104425"/>
                    <a:pt x="175897" y="104559"/>
                  </a:cubicBezTo>
                  <a:cubicBezTo>
                    <a:pt x="176994" y="104777"/>
                    <a:pt x="176720" y="105965"/>
                    <a:pt x="176361" y="107505"/>
                  </a:cubicBezTo>
                  <a:cubicBezTo>
                    <a:pt x="176143" y="108434"/>
                    <a:pt x="175897" y="109482"/>
                    <a:pt x="175897" y="110537"/>
                  </a:cubicBezTo>
                  <a:cubicBezTo>
                    <a:pt x="175897" y="112745"/>
                    <a:pt x="176115" y="113652"/>
                    <a:pt x="176544" y="115467"/>
                  </a:cubicBezTo>
                  <a:lnTo>
                    <a:pt x="176544" y="115467"/>
                  </a:lnTo>
                  <a:lnTo>
                    <a:pt x="176544" y="115467"/>
                  </a:lnTo>
                  <a:cubicBezTo>
                    <a:pt x="176663" y="115966"/>
                    <a:pt x="176797" y="116536"/>
                    <a:pt x="176952" y="117218"/>
                  </a:cubicBezTo>
                  <a:cubicBezTo>
                    <a:pt x="177374" y="119117"/>
                    <a:pt x="178302" y="120003"/>
                    <a:pt x="179280" y="120939"/>
                  </a:cubicBezTo>
                  <a:cubicBezTo>
                    <a:pt x="179934" y="121565"/>
                    <a:pt x="180609" y="122212"/>
                    <a:pt x="181172" y="123196"/>
                  </a:cubicBezTo>
                  <a:cubicBezTo>
                    <a:pt x="181826" y="124343"/>
                    <a:pt x="182866" y="125341"/>
                    <a:pt x="183900" y="126326"/>
                  </a:cubicBezTo>
                  <a:lnTo>
                    <a:pt x="183900" y="126326"/>
                  </a:lnTo>
                  <a:cubicBezTo>
                    <a:pt x="185075" y="127451"/>
                    <a:pt x="186235" y="128562"/>
                    <a:pt x="186798" y="129878"/>
                  </a:cubicBezTo>
                  <a:cubicBezTo>
                    <a:pt x="187501" y="131509"/>
                    <a:pt x="187269" y="134850"/>
                    <a:pt x="187037" y="138247"/>
                  </a:cubicBezTo>
                  <a:lnTo>
                    <a:pt x="187037" y="138247"/>
                  </a:lnTo>
                  <a:lnTo>
                    <a:pt x="187037" y="138247"/>
                  </a:lnTo>
                  <a:lnTo>
                    <a:pt x="187037" y="138247"/>
                  </a:lnTo>
                  <a:cubicBezTo>
                    <a:pt x="186918" y="139970"/>
                    <a:pt x="186798" y="141707"/>
                    <a:pt x="186798" y="143240"/>
                  </a:cubicBezTo>
                  <a:cubicBezTo>
                    <a:pt x="186798" y="146680"/>
                    <a:pt x="186601" y="147137"/>
                    <a:pt x="185602" y="149401"/>
                  </a:cubicBezTo>
                  <a:cubicBezTo>
                    <a:pt x="185272" y="150140"/>
                    <a:pt x="184857" y="151082"/>
                    <a:pt x="184336" y="152383"/>
                  </a:cubicBezTo>
                  <a:cubicBezTo>
                    <a:pt x="183464" y="154571"/>
                    <a:pt x="183134" y="155731"/>
                    <a:pt x="182895" y="156561"/>
                  </a:cubicBezTo>
                  <a:cubicBezTo>
                    <a:pt x="182557" y="157743"/>
                    <a:pt x="182409" y="158270"/>
                    <a:pt x="181172" y="160120"/>
                  </a:cubicBezTo>
                  <a:cubicBezTo>
                    <a:pt x="180025" y="161843"/>
                    <a:pt x="180124" y="162518"/>
                    <a:pt x="180229" y="163235"/>
                  </a:cubicBezTo>
                  <a:cubicBezTo>
                    <a:pt x="180314" y="163840"/>
                    <a:pt x="180405" y="164459"/>
                    <a:pt x="179765" y="165746"/>
                  </a:cubicBezTo>
                  <a:cubicBezTo>
                    <a:pt x="179709" y="165859"/>
                    <a:pt x="179652" y="165971"/>
                    <a:pt x="179603" y="166077"/>
                  </a:cubicBezTo>
                  <a:cubicBezTo>
                    <a:pt x="173252" y="161801"/>
                    <a:pt x="164236" y="155900"/>
                    <a:pt x="161479" y="155900"/>
                  </a:cubicBezTo>
                  <a:lnTo>
                    <a:pt x="142841" y="155900"/>
                  </a:lnTo>
                  <a:cubicBezTo>
                    <a:pt x="137461" y="155900"/>
                    <a:pt x="136906" y="156364"/>
                    <a:pt x="135787" y="157299"/>
                  </a:cubicBezTo>
                  <a:cubicBezTo>
                    <a:pt x="135232" y="157771"/>
                    <a:pt x="134528" y="158361"/>
                    <a:pt x="132995" y="159065"/>
                  </a:cubicBezTo>
                  <a:cubicBezTo>
                    <a:pt x="130505" y="160211"/>
                    <a:pt x="129373" y="159902"/>
                    <a:pt x="127889" y="159494"/>
                  </a:cubicBezTo>
                  <a:cubicBezTo>
                    <a:pt x="126651" y="159156"/>
                    <a:pt x="125167" y="158748"/>
                    <a:pt x="122446" y="159065"/>
                  </a:cubicBezTo>
                  <a:cubicBezTo>
                    <a:pt x="118289" y="159550"/>
                    <a:pt x="118043" y="160893"/>
                    <a:pt x="117572" y="163432"/>
                  </a:cubicBezTo>
                  <a:cubicBezTo>
                    <a:pt x="117361" y="164551"/>
                    <a:pt x="117114" y="165894"/>
                    <a:pt x="116467" y="167504"/>
                  </a:cubicBezTo>
                  <a:cubicBezTo>
                    <a:pt x="115286" y="170458"/>
                    <a:pt x="115096" y="174291"/>
                    <a:pt x="114913" y="178019"/>
                  </a:cubicBezTo>
                  <a:cubicBezTo>
                    <a:pt x="114766" y="180952"/>
                    <a:pt x="114625" y="183821"/>
                    <a:pt x="114006" y="186142"/>
                  </a:cubicBezTo>
                  <a:cubicBezTo>
                    <a:pt x="112881" y="190362"/>
                    <a:pt x="110961" y="196811"/>
                    <a:pt x="110138" y="199505"/>
                  </a:cubicBezTo>
                  <a:lnTo>
                    <a:pt x="87632" y="199505"/>
                  </a:lnTo>
                  <a:cubicBezTo>
                    <a:pt x="83131" y="199505"/>
                    <a:pt x="79663" y="207945"/>
                    <a:pt x="78489" y="212164"/>
                  </a:cubicBezTo>
                  <a:cubicBezTo>
                    <a:pt x="76731" y="208767"/>
                    <a:pt x="72792" y="201474"/>
                    <a:pt x="71104" y="199505"/>
                  </a:cubicBezTo>
                  <a:cubicBezTo>
                    <a:pt x="69374" y="197486"/>
                    <a:pt x="62432" y="197121"/>
                    <a:pt x="57474" y="196861"/>
                  </a:cubicBezTo>
                  <a:lnTo>
                    <a:pt x="57474" y="196861"/>
                  </a:lnTo>
                  <a:cubicBezTo>
                    <a:pt x="56391" y="196804"/>
                    <a:pt x="55399" y="196755"/>
                    <a:pt x="54577" y="196692"/>
                  </a:cubicBezTo>
                  <a:cubicBezTo>
                    <a:pt x="51489" y="196453"/>
                    <a:pt x="50807" y="197500"/>
                    <a:pt x="49717" y="199181"/>
                  </a:cubicBezTo>
                  <a:cubicBezTo>
                    <a:pt x="49189" y="199990"/>
                    <a:pt x="48570" y="200940"/>
                    <a:pt x="47544" y="201966"/>
                  </a:cubicBezTo>
                  <a:cubicBezTo>
                    <a:pt x="46643" y="202867"/>
                    <a:pt x="45602" y="204083"/>
                    <a:pt x="44505" y="205356"/>
                  </a:cubicBezTo>
                  <a:cubicBezTo>
                    <a:pt x="41748" y="208563"/>
                    <a:pt x="38654" y="212164"/>
                    <a:pt x="36642" y="212164"/>
                  </a:cubicBezTo>
                  <a:lnTo>
                    <a:pt x="28203" y="212164"/>
                  </a:lnTo>
                  <a:cubicBezTo>
                    <a:pt x="27380" y="210174"/>
                    <a:pt x="25671" y="205694"/>
                    <a:pt x="25389" y="203725"/>
                  </a:cubicBezTo>
                  <a:cubicBezTo>
                    <a:pt x="25080" y="201552"/>
                    <a:pt x="22302" y="194715"/>
                    <a:pt x="21170" y="191937"/>
                  </a:cubicBezTo>
                  <a:lnTo>
                    <a:pt x="21170" y="191930"/>
                  </a:lnTo>
                  <a:cubicBezTo>
                    <a:pt x="21022" y="191565"/>
                    <a:pt x="20902" y="191269"/>
                    <a:pt x="20818" y="191065"/>
                  </a:cubicBezTo>
                  <a:cubicBezTo>
                    <a:pt x="20508" y="190299"/>
                    <a:pt x="19475" y="188934"/>
                    <a:pt x="18399" y="187521"/>
                  </a:cubicBezTo>
                  <a:cubicBezTo>
                    <a:pt x="16999" y="185692"/>
                    <a:pt x="15543" y="183772"/>
                    <a:pt x="15543" y="182977"/>
                  </a:cubicBezTo>
                  <a:cubicBezTo>
                    <a:pt x="15543" y="182344"/>
                    <a:pt x="15184" y="180579"/>
                    <a:pt x="14798" y="178631"/>
                  </a:cubicBezTo>
                  <a:cubicBezTo>
                    <a:pt x="14319" y="176239"/>
                    <a:pt x="13785" y="173588"/>
                    <a:pt x="13785" y="172428"/>
                  </a:cubicBezTo>
                  <a:cubicBezTo>
                    <a:pt x="13785" y="170740"/>
                    <a:pt x="14959" y="164923"/>
                    <a:pt x="15543" y="162230"/>
                  </a:cubicBezTo>
                  <a:cubicBezTo>
                    <a:pt x="16718" y="159888"/>
                    <a:pt x="18005" y="154493"/>
                    <a:pt x="13785" y="151680"/>
                  </a:cubicBezTo>
                  <a:cubicBezTo>
                    <a:pt x="8827" y="148375"/>
                    <a:pt x="8841" y="145688"/>
                    <a:pt x="8862" y="141876"/>
                  </a:cubicBezTo>
                  <a:cubicBezTo>
                    <a:pt x="8862" y="141630"/>
                    <a:pt x="8862" y="141384"/>
                    <a:pt x="8862" y="141131"/>
                  </a:cubicBezTo>
                  <a:cubicBezTo>
                    <a:pt x="8862" y="138514"/>
                    <a:pt x="8053" y="137248"/>
                    <a:pt x="6766" y="135244"/>
                  </a:cubicBezTo>
                  <a:cubicBezTo>
                    <a:pt x="5978" y="134013"/>
                    <a:pt x="5008" y="132501"/>
                    <a:pt x="3939" y="130229"/>
                  </a:cubicBezTo>
                  <a:cubicBezTo>
                    <a:pt x="3263" y="128787"/>
                    <a:pt x="1822" y="126502"/>
                    <a:pt x="0" y="12383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7" name="Freihandform: Form 32">
              <a:extLst>
                <a:ext uri="{FF2B5EF4-FFF2-40B4-BE49-F238E27FC236}">
                  <a16:creationId xmlns:a16="http://schemas.microsoft.com/office/drawing/2014/main" id="{8964A44E-E15E-314E-8F20-5E4BFDD62356}"/>
                </a:ext>
              </a:extLst>
            </p:cNvPr>
            <p:cNvSpPr/>
            <p:nvPr/>
          </p:nvSpPr>
          <p:spPr>
            <a:xfrm>
              <a:off x="5194701" y="4825170"/>
              <a:ext cx="129422" cy="138160"/>
            </a:xfrm>
            <a:custGeom>
              <a:avLst/>
              <a:gdLst>
                <a:gd name="connsiteX0" fmla="*/ 129303 w 129422"/>
                <a:gd name="connsiteY0" fmla="*/ 102901 h 138160"/>
                <a:gd name="connsiteX1" fmla="*/ 126335 w 129422"/>
                <a:gd name="connsiteY1" fmla="*/ 106199 h 138160"/>
                <a:gd name="connsiteX2" fmla="*/ 121756 w 129422"/>
                <a:gd name="connsiteY2" fmla="*/ 120511 h 138160"/>
                <a:gd name="connsiteX3" fmla="*/ 121756 w 129422"/>
                <a:gd name="connsiteY3" fmla="*/ 120511 h 138160"/>
                <a:gd name="connsiteX4" fmla="*/ 121756 w 129422"/>
                <a:gd name="connsiteY4" fmla="*/ 120511 h 138160"/>
                <a:gd name="connsiteX5" fmla="*/ 120357 w 129422"/>
                <a:gd name="connsiteY5" fmla="*/ 125892 h 138160"/>
                <a:gd name="connsiteX6" fmla="*/ 111495 w 129422"/>
                <a:gd name="connsiteY6" fmla="*/ 134022 h 138160"/>
                <a:gd name="connsiteX7" fmla="*/ 108049 w 129422"/>
                <a:gd name="connsiteY7" fmla="*/ 136793 h 138160"/>
                <a:gd name="connsiteX8" fmla="*/ 80268 w 129422"/>
                <a:gd name="connsiteY8" fmla="*/ 136793 h 138160"/>
                <a:gd name="connsiteX9" fmla="*/ 61982 w 129422"/>
                <a:gd name="connsiteY9" fmla="*/ 128705 h 138160"/>
                <a:gd name="connsiteX10" fmla="*/ 66287 w 129422"/>
                <a:gd name="connsiteY10" fmla="*/ 122227 h 138160"/>
                <a:gd name="connsiteX11" fmla="*/ 76400 w 129422"/>
                <a:gd name="connsiteY11" fmla="*/ 106199 h 138160"/>
                <a:gd name="connsiteX12" fmla="*/ 65218 w 129422"/>
                <a:gd name="connsiteY12" fmla="*/ 93019 h 138160"/>
                <a:gd name="connsiteX13" fmla="*/ 65218 w 129422"/>
                <a:gd name="connsiteY13" fmla="*/ 93019 h 138160"/>
                <a:gd name="connsiteX14" fmla="*/ 61982 w 129422"/>
                <a:gd name="connsiteY14" fmla="*/ 91781 h 138160"/>
                <a:gd name="connsiteX15" fmla="*/ 54218 w 129422"/>
                <a:gd name="connsiteY15" fmla="*/ 86591 h 138160"/>
                <a:gd name="connsiteX16" fmla="*/ 35960 w 129422"/>
                <a:gd name="connsiteY16" fmla="*/ 76660 h 138160"/>
                <a:gd name="connsiteX17" fmla="*/ 21275 w 129422"/>
                <a:gd name="connsiteY17" fmla="*/ 67440 h 138160"/>
                <a:gd name="connsiteX18" fmla="*/ 15212 w 129422"/>
                <a:gd name="connsiteY18" fmla="*/ 61539 h 138160"/>
                <a:gd name="connsiteX19" fmla="*/ 0 w 129422"/>
                <a:gd name="connsiteY19" fmla="*/ 43605 h 138160"/>
                <a:gd name="connsiteX20" fmla="*/ 1498 w 129422"/>
                <a:gd name="connsiteY20" fmla="*/ 43605 h 138160"/>
                <a:gd name="connsiteX21" fmla="*/ 5366 w 129422"/>
                <a:gd name="connsiteY21" fmla="*/ 30242 h 138160"/>
                <a:gd name="connsiteX22" fmla="*/ 6273 w 129422"/>
                <a:gd name="connsiteY22" fmla="*/ 22119 h 138160"/>
                <a:gd name="connsiteX23" fmla="*/ 6273 w 129422"/>
                <a:gd name="connsiteY23" fmla="*/ 22119 h 138160"/>
                <a:gd name="connsiteX24" fmla="*/ 7828 w 129422"/>
                <a:gd name="connsiteY24" fmla="*/ 11605 h 138160"/>
                <a:gd name="connsiteX25" fmla="*/ 8932 w 129422"/>
                <a:gd name="connsiteY25" fmla="*/ 7532 h 138160"/>
                <a:gd name="connsiteX26" fmla="*/ 13806 w 129422"/>
                <a:gd name="connsiteY26" fmla="*/ 3165 h 138160"/>
                <a:gd name="connsiteX27" fmla="*/ 19249 w 129422"/>
                <a:gd name="connsiteY27" fmla="*/ 3594 h 138160"/>
                <a:gd name="connsiteX28" fmla="*/ 19249 w 129422"/>
                <a:gd name="connsiteY28" fmla="*/ 3594 h 138160"/>
                <a:gd name="connsiteX29" fmla="*/ 19249 w 129422"/>
                <a:gd name="connsiteY29" fmla="*/ 3594 h 138160"/>
                <a:gd name="connsiteX30" fmla="*/ 24355 w 129422"/>
                <a:gd name="connsiteY30" fmla="*/ 3165 h 138160"/>
                <a:gd name="connsiteX31" fmla="*/ 27147 w 129422"/>
                <a:gd name="connsiteY31" fmla="*/ 1400 h 138160"/>
                <a:gd name="connsiteX32" fmla="*/ 27147 w 129422"/>
                <a:gd name="connsiteY32" fmla="*/ 1400 h 138160"/>
                <a:gd name="connsiteX33" fmla="*/ 27147 w 129422"/>
                <a:gd name="connsiteY33" fmla="*/ 1400 h 138160"/>
                <a:gd name="connsiteX34" fmla="*/ 34202 w 129422"/>
                <a:gd name="connsiteY34" fmla="*/ 0 h 138160"/>
                <a:gd name="connsiteX35" fmla="*/ 52839 w 129422"/>
                <a:gd name="connsiteY35" fmla="*/ 0 h 138160"/>
                <a:gd name="connsiteX36" fmla="*/ 70963 w 129422"/>
                <a:gd name="connsiteY36" fmla="*/ 10177 h 138160"/>
                <a:gd name="connsiteX37" fmla="*/ 71125 w 129422"/>
                <a:gd name="connsiteY37" fmla="*/ 9846 h 138160"/>
                <a:gd name="connsiteX38" fmla="*/ 70654 w 129422"/>
                <a:gd name="connsiteY38" fmla="*/ 13595 h 138160"/>
                <a:gd name="connsiteX39" fmla="*/ 71125 w 129422"/>
                <a:gd name="connsiteY39" fmla="*/ 16176 h 138160"/>
                <a:gd name="connsiteX40" fmla="*/ 71927 w 129422"/>
                <a:gd name="connsiteY40" fmla="*/ 19228 h 138160"/>
                <a:gd name="connsiteX41" fmla="*/ 71927 w 129422"/>
                <a:gd name="connsiteY41" fmla="*/ 19228 h 138160"/>
                <a:gd name="connsiteX42" fmla="*/ 72532 w 129422"/>
                <a:gd name="connsiteY42" fmla="*/ 22154 h 138160"/>
                <a:gd name="connsiteX43" fmla="*/ 72532 w 129422"/>
                <a:gd name="connsiteY43" fmla="*/ 32704 h 138160"/>
                <a:gd name="connsiteX44" fmla="*/ 75697 w 129422"/>
                <a:gd name="connsiteY44" fmla="*/ 44660 h 138160"/>
                <a:gd name="connsiteX45" fmla="*/ 76519 w 129422"/>
                <a:gd name="connsiteY45" fmla="*/ 45089 h 138160"/>
                <a:gd name="connsiteX46" fmla="*/ 76527 w 129422"/>
                <a:gd name="connsiteY46" fmla="*/ 45089 h 138160"/>
                <a:gd name="connsiteX47" fmla="*/ 79917 w 129422"/>
                <a:gd name="connsiteY47" fmla="*/ 46418 h 138160"/>
                <a:gd name="connsiteX48" fmla="*/ 80887 w 129422"/>
                <a:gd name="connsiteY48" fmla="*/ 46622 h 138160"/>
                <a:gd name="connsiteX49" fmla="*/ 80887 w 129422"/>
                <a:gd name="connsiteY49" fmla="*/ 46622 h 138160"/>
                <a:gd name="connsiteX50" fmla="*/ 86950 w 129422"/>
                <a:gd name="connsiteY50" fmla="*/ 47473 h 138160"/>
                <a:gd name="connsiteX51" fmla="*/ 95389 w 129422"/>
                <a:gd name="connsiteY51" fmla="*/ 47473 h 138160"/>
                <a:gd name="connsiteX52" fmla="*/ 103477 w 129422"/>
                <a:gd name="connsiteY52" fmla="*/ 48528 h 138160"/>
                <a:gd name="connsiteX53" fmla="*/ 105622 w 129422"/>
                <a:gd name="connsiteY53" fmla="*/ 50392 h 138160"/>
                <a:gd name="connsiteX54" fmla="*/ 105939 w 129422"/>
                <a:gd name="connsiteY54" fmla="*/ 51693 h 138160"/>
                <a:gd name="connsiteX55" fmla="*/ 107001 w 129422"/>
                <a:gd name="connsiteY55" fmla="*/ 53817 h 138160"/>
                <a:gd name="connsiteX56" fmla="*/ 107001 w 129422"/>
                <a:gd name="connsiteY56" fmla="*/ 53817 h 138160"/>
                <a:gd name="connsiteX57" fmla="*/ 108752 w 129422"/>
                <a:gd name="connsiteY57" fmla="*/ 58023 h 138160"/>
                <a:gd name="connsiteX58" fmla="*/ 110236 w 129422"/>
                <a:gd name="connsiteY58" fmla="*/ 62383 h 138160"/>
                <a:gd name="connsiteX59" fmla="*/ 110159 w 129422"/>
                <a:gd name="connsiteY59" fmla="*/ 63649 h 138160"/>
                <a:gd name="connsiteX60" fmla="*/ 110159 w 129422"/>
                <a:gd name="connsiteY60" fmla="*/ 69276 h 138160"/>
                <a:gd name="connsiteX61" fmla="*/ 111439 w 129422"/>
                <a:gd name="connsiteY61" fmla="*/ 72159 h 138160"/>
                <a:gd name="connsiteX62" fmla="*/ 112269 w 129422"/>
                <a:gd name="connsiteY62" fmla="*/ 72792 h 138160"/>
                <a:gd name="connsiteX63" fmla="*/ 115785 w 129422"/>
                <a:gd name="connsiteY63" fmla="*/ 74199 h 138160"/>
                <a:gd name="connsiteX64" fmla="*/ 117466 w 129422"/>
                <a:gd name="connsiteY64" fmla="*/ 74283 h 138160"/>
                <a:gd name="connsiteX65" fmla="*/ 121060 w 129422"/>
                <a:gd name="connsiteY65" fmla="*/ 74199 h 138160"/>
                <a:gd name="connsiteX66" fmla="*/ 128796 w 129422"/>
                <a:gd name="connsiteY66" fmla="*/ 75957 h 138160"/>
                <a:gd name="connsiteX67" fmla="*/ 129169 w 129422"/>
                <a:gd name="connsiteY67" fmla="*/ 79185 h 138160"/>
                <a:gd name="connsiteX68" fmla="*/ 128796 w 129422"/>
                <a:gd name="connsiteY68" fmla="*/ 81935 h 138160"/>
                <a:gd name="connsiteX69" fmla="*/ 128796 w 129422"/>
                <a:gd name="connsiteY69" fmla="*/ 87562 h 138160"/>
                <a:gd name="connsiteX70" fmla="*/ 128212 w 129422"/>
                <a:gd name="connsiteY70" fmla="*/ 89833 h 138160"/>
                <a:gd name="connsiteX71" fmla="*/ 127390 w 129422"/>
                <a:gd name="connsiteY71" fmla="*/ 93540 h 138160"/>
                <a:gd name="connsiteX72" fmla="*/ 128170 w 129422"/>
                <a:gd name="connsiteY72" fmla="*/ 98146 h 138160"/>
                <a:gd name="connsiteX73" fmla="*/ 128170 w 129422"/>
                <a:gd name="connsiteY73" fmla="*/ 98146 h 138160"/>
                <a:gd name="connsiteX74" fmla="*/ 128796 w 129422"/>
                <a:gd name="connsiteY74" fmla="*/ 101628 h 138160"/>
                <a:gd name="connsiteX75" fmla="*/ 129303 w 129422"/>
                <a:gd name="connsiteY75" fmla="*/ 102901 h 138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129422" h="138160">
                  <a:moveTo>
                    <a:pt x="129303" y="102901"/>
                  </a:moveTo>
                  <a:cubicBezTo>
                    <a:pt x="127995" y="104223"/>
                    <a:pt x="126933" y="105376"/>
                    <a:pt x="126335" y="106199"/>
                  </a:cubicBezTo>
                  <a:cubicBezTo>
                    <a:pt x="124464" y="108773"/>
                    <a:pt x="122903" y="115539"/>
                    <a:pt x="121756" y="120511"/>
                  </a:cubicBezTo>
                  <a:lnTo>
                    <a:pt x="121756" y="120511"/>
                  </a:lnTo>
                  <a:lnTo>
                    <a:pt x="121756" y="120511"/>
                  </a:lnTo>
                  <a:cubicBezTo>
                    <a:pt x="121179" y="123022"/>
                    <a:pt x="120708" y="125069"/>
                    <a:pt x="120357" y="125892"/>
                  </a:cubicBezTo>
                  <a:cubicBezTo>
                    <a:pt x="119597" y="127657"/>
                    <a:pt x="115047" y="131230"/>
                    <a:pt x="111495" y="134022"/>
                  </a:cubicBezTo>
                  <a:cubicBezTo>
                    <a:pt x="110088" y="135119"/>
                    <a:pt x="108843" y="136096"/>
                    <a:pt x="108049" y="136793"/>
                  </a:cubicBezTo>
                  <a:cubicBezTo>
                    <a:pt x="105236" y="139254"/>
                    <a:pt x="86246" y="137848"/>
                    <a:pt x="80268" y="136793"/>
                  </a:cubicBezTo>
                  <a:cubicBezTo>
                    <a:pt x="74290" y="135738"/>
                    <a:pt x="61982" y="131518"/>
                    <a:pt x="61982" y="128705"/>
                  </a:cubicBezTo>
                  <a:cubicBezTo>
                    <a:pt x="61982" y="127559"/>
                    <a:pt x="63853" y="125237"/>
                    <a:pt x="66287" y="122227"/>
                  </a:cubicBezTo>
                  <a:cubicBezTo>
                    <a:pt x="69817" y="117860"/>
                    <a:pt x="74529" y="112030"/>
                    <a:pt x="76400" y="106199"/>
                  </a:cubicBezTo>
                  <a:cubicBezTo>
                    <a:pt x="79037" y="97992"/>
                    <a:pt x="71167" y="95157"/>
                    <a:pt x="65218" y="93019"/>
                  </a:cubicBezTo>
                  <a:lnTo>
                    <a:pt x="65218" y="93019"/>
                  </a:lnTo>
                  <a:cubicBezTo>
                    <a:pt x="64029" y="92590"/>
                    <a:pt x="62918" y="92189"/>
                    <a:pt x="61982" y="91781"/>
                  </a:cubicBezTo>
                  <a:cubicBezTo>
                    <a:pt x="59985" y="90909"/>
                    <a:pt x="57284" y="88884"/>
                    <a:pt x="54218" y="86591"/>
                  </a:cubicBezTo>
                  <a:cubicBezTo>
                    <a:pt x="48641" y="82413"/>
                    <a:pt x="41861" y="77343"/>
                    <a:pt x="35960" y="76660"/>
                  </a:cubicBezTo>
                  <a:cubicBezTo>
                    <a:pt x="29433" y="75908"/>
                    <a:pt x="25776" y="72110"/>
                    <a:pt x="21275" y="67440"/>
                  </a:cubicBezTo>
                  <a:cubicBezTo>
                    <a:pt x="19467" y="65569"/>
                    <a:pt x="17526" y="63551"/>
                    <a:pt x="15212" y="61539"/>
                  </a:cubicBezTo>
                  <a:cubicBezTo>
                    <a:pt x="11105" y="57966"/>
                    <a:pt x="5085" y="50434"/>
                    <a:pt x="0" y="43605"/>
                  </a:cubicBezTo>
                  <a:lnTo>
                    <a:pt x="1498" y="43605"/>
                  </a:lnTo>
                  <a:cubicBezTo>
                    <a:pt x="2321" y="40911"/>
                    <a:pt x="4241" y="34462"/>
                    <a:pt x="5366" y="30242"/>
                  </a:cubicBezTo>
                  <a:cubicBezTo>
                    <a:pt x="5985" y="27921"/>
                    <a:pt x="6126" y="25052"/>
                    <a:pt x="6273" y="22119"/>
                  </a:cubicBezTo>
                  <a:lnTo>
                    <a:pt x="6273" y="22119"/>
                  </a:lnTo>
                  <a:cubicBezTo>
                    <a:pt x="6456" y="18391"/>
                    <a:pt x="6646" y="14558"/>
                    <a:pt x="7828" y="11605"/>
                  </a:cubicBezTo>
                  <a:cubicBezTo>
                    <a:pt x="8475" y="9994"/>
                    <a:pt x="8721" y="8644"/>
                    <a:pt x="8932" y="7532"/>
                  </a:cubicBezTo>
                  <a:cubicBezTo>
                    <a:pt x="9403" y="4994"/>
                    <a:pt x="9649" y="3650"/>
                    <a:pt x="13806" y="3165"/>
                  </a:cubicBezTo>
                  <a:cubicBezTo>
                    <a:pt x="16528" y="2841"/>
                    <a:pt x="18012" y="3256"/>
                    <a:pt x="19249" y="3594"/>
                  </a:cubicBezTo>
                  <a:lnTo>
                    <a:pt x="19249" y="3594"/>
                  </a:lnTo>
                  <a:lnTo>
                    <a:pt x="19249" y="3594"/>
                  </a:lnTo>
                  <a:cubicBezTo>
                    <a:pt x="20733" y="4002"/>
                    <a:pt x="21866" y="4311"/>
                    <a:pt x="24355" y="3165"/>
                  </a:cubicBezTo>
                  <a:cubicBezTo>
                    <a:pt x="25889" y="2462"/>
                    <a:pt x="26592" y="1871"/>
                    <a:pt x="27147" y="1400"/>
                  </a:cubicBezTo>
                  <a:lnTo>
                    <a:pt x="27147" y="1400"/>
                  </a:lnTo>
                  <a:lnTo>
                    <a:pt x="27147" y="1400"/>
                  </a:lnTo>
                  <a:cubicBezTo>
                    <a:pt x="28266" y="464"/>
                    <a:pt x="28821" y="0"/>
                    <a:pt x="34202" y="0"/>
                  </a:cubicBezTo>
                  <a:lnTo>
                    <a:pt x="52839" y="0"/>
                  </a:lnTo>
                  <a:cubicBezTo>
                    <a:pt x="55596" y="0"/>
                    <a:pt x="64613" y="5901"/>
                    <a:pt x="70963" y="10177"/>
                  </a:cubicBezTo>
                  <a:cubicBezTo>
                    <a:pt x="71013" y="10071"/>
                    <a:pt x="71069" y="9959"/>
                    <a:pt x="71125" y="9846"/>
                  </a:cubicBezTo>
                  <a:cubicBezTo>
                    <a:pt x="70190" y="11724"/>
                    <a:pt x="70344" y="12350"/>
                    <a:pt x="70654" y="13595"/>
                  </a:cubicBezTo>
                  <a:cubicBezTo>
                    <a:pt x="70816" y="14221"/>
                    <a:pt x="71006" y="15002"/>
                    <a:pt x="71125" y="16176"/>
                  </a:cubicBezTo>
                  <a:cubicBezTo>
                    <a:pt x="71294" y="17878"/>
                    <a:pt x="71632" y="18588"/>
                    <a:pt x="71927" y="19228"/>
                  </a:cubicBezTo>
                  <a:lnTo>
                    <a:pt x="71927" y="19228"/>
                  </a:lnTo>
                  <a:cubicBezTo>
                    <a:pt x="72251" y="19917"/>
                    <a:pt x="72532" y="20515"/>
                    <a:pt x="72532" y="22154"/>
                  </a:cubicBezTo>
                  <a:lnTo>
                    <a:pt x="72532" y="32704"/>
                  </a:lnTo>
                  <a:cubicBezTo>
                    <a:pt x="72532" y="36924"/>
                    <a:pt x="73235" y="39737"/>
                    <a:pt x="75697" y="44660"/>
                  </a:cubicBezTo>
                  <a:cubicBezTo>
                    <a:pt x="75985" y="44801"/>
                    <a:pt x="76252" y="44948"/>
                    <a:pt x="76519" y="45089"/>
                  </a:cubicBezTo>
                  <a:lnTo>
                    <a:pt x="76527" y="45089"/>
                  </a:lnTo>
                  <a:cubicBezTo>
                    <a:pt x="77560" y="45638"/>
                    <a:pt x="78517" y="46137"/>
                    <a:pt x="79917" y="46418"/>
                  </a:cubicBezTo>
                  <a:cubicBezTo>
                    <a:pt x="80212" y="46474"/>
                    <a:pt x="80535" y="46545"/>
                    <a:pt x="80887" y="46622"/>
                  </a:cubicBezTo>
                  <a:lnTo>
                    <a:pt x="80887" y="46622"/>
                  </a:lnTo>
                  <a:cubicBezTo>
                    <a:pt x="82617" y="46988"/>
                    <a:pt x="84903" y="47473"/>
                    <a:pt x="86950" y="47473"/>
                  </a:cubicBezTo>
                  <a:lnTo>
                    <a:pt x="95389" y="47473"/>
                  </a:lnTo>
                  <a:cubicBezTo>
                    <a:pt x="98906" y="47473"/>
                    <a:pt x="99961" y="47473"/>
                    <a:pt x="103477" y="48528"/>
                  </a:cubicBezTo>
                  <a:cubicBezTo>
                    <a:pt x="105714" y="49203"/>
                    <a:pt x="105672" y="49731"/>
                    <a:pt x="105622" y="50392"/>
                  </a:cubicBezTo>
                  <a:cubicBezTo>
                    <a:pt x="105587" y="50765"/>
                    <a:pt x="105559" y="51180"/>
                    <a:pt x="105939" y="51693"/>
                  </a:cubicBezTo>
                  <a:cubicBezTo>
                    <a:pt x="106494" y="52438"/>
                    <a:pt x="106663" y="52881"/>
                    <a:pt x="107001" y="53817"/>
                  </a:cubicBezTo>
                  <a:lnTo>
                    <a:pt x="107001" y="53817"/>
                  </a:lnTo>
                  <a:cubicBezTo>
                    <a:pt x="107310" y="54647"/>
                    <a:pt x="107753" y="55864"/>
                    <a:pt x="108752" y="58023"/>
                  </a:cubicBezTo>
                  <a:cubicBezTo>
                    <a:pt x="110342" y="61462"/>
                    <a:pt x="110334" y="61518"/>
                    <a:pt x="110236" y="62383"/>
                  </a:cubicBezTo>
                  <a:cubicBezTo>
                    <a:pt x="110201" y="62671"/>
                    <a:pt x="110159" y="63044"/>
                    <a:pt x="110159" y="63649"/>
                  </a:cubicBezTo>
                  <a:lnTo>
                    <a:pt x="110159" y="69276"/>
                  </a:lnTo>
                  <a:cubicBezTo>
                    <a:pt x="110159" y="71336"/>
                    <a:pt x="110721" y="71695"/>
                    <a:pt x="111439" y="72159"/>
                  </a:cubicBezTo>
                  <a:cubicBezTo>
                    <a:pt x="111706" y="72328"/>
                    <a:pt x="111987" y="72511"/>
                    <a:pt x="112269" y="72792"/>
                  </a:cubicBezTo>
                  <a:cubicBezTo>
                    <a:pt x="113324" y="73847"/>
                    <a:pt x="113675" y="74199"/>
                    <a:pt x="115785" y="74199"/>
                  </a:cubicBezTo>
                  <a:cubicBezTo>
                    <a:pt x="116531" y="74199"/>
                    <a:pt x="117016" y="74241"/>
                    <a:pt x="117466" y="74283"/>
                  </a:cubicBezTo>
                  <a:cubicBezTo>
                    <a:pt x="118289" y="74360"/>
                    <a:pt x="119013" y="74424"/>
                    <a:pt x="121060" y="74199"/>
                  </a:cubicBezTo>
                  <a:cubicBezTo>
                    <a:pt x="124225" y="73847"/>
                    <a:pt x="127390" y="74550"/>
                    <a:pt x="128796" y="75957"/>
                  </a:cubicBezTo>
                  <a:cubicBezTo>
                    <a:pt x="129675" y="76836"/>
                    <a:pt x="129457" y="77856"/>
                    <a:pt x="129169" y="79185"/>
                  </a:cubicBezTo>
                  <a:cubicBezTo>
                    <a:pt x="128993" y="79980"/>
                    <a:pt x="128796" y="80880"/>
                    <a:pt x="128796" y="81935"/>
                  </a:cubicBezTo>
                  <a:lnTo>
                    <a:pt x="128796" y="87562"/>
                  </a:lnTo>
                  <a:cubicBezTo>
                    <a:pt x="128796" y="88335"/>
                    <a:pt x="128522" y="89045"/>
                    <a:pt x="128212" y="89833"/>
                  </a:cubicBezTo>
                  <a:cubicBezTo>
                    <a:pt x="127826" y="90839"/>
                    <a:pt x="127390" y="91971"/>
                    <a:pt x="127390" y="93540"/>
                  </a:cubicBezTo>
                  <a:cubicBezTo>
                    <a:pt x="127390" y="95045"/>
                    <a:pt x="127791" y="96655"/>
                    <a:pt x="128170" y="98146"/>
                  </a:cubicBezTo>
                  <a:lnTo>
                    <a:pt x="128170" y="98146"/>
                  </a:lnTo>
                  <a:cubicBezTo>
                    <a:pt x="128494" y="99440"/>
                    <a:pt x="128796" y="100650"/>
                    <a:pt x="128796" y="101628"/>
                  </a:cubicBezTo>
                  <a:cubicBezTo>
                    <a:pt x="128796" y="102120"/>
                    <a:pt x="128986" y="102535"/>
                    <a:pt x="129303" y="10290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8" name="Freihandform: Form 33">
              <a:extLst>
                <a:ext uri="{FF2B5EF4-FFF2-40B4-BE49-F238E27FC236}">
                  <a16:creationId xmlns:a16="http://schemas.microsoft.com/office/drawing/2014/main" id="{1FAB324B-4A46-1C4E-B0CA-1AE7A1AEDD71}"/>
                </a:ext>
              </a:extLst>
            </p:cNvPr>
            <p:cNvSpPr/>
            <p:nvPr/>
          </p:nvSpPr>
          <p:spPr>
            <a:xfrm>
              <a:off x="5260903" y="5005568"/>
              <a:ext cx="78418" cy="90023"/>
            </a:xfrm>
            <a:custGeom>
              <a:avLst/>
              <a:gdLst>
                <a:gd name="connsiteX0" fmla="*/ 7033 w 78418"/>
                <a:gd name="connsiteY0" fmla="*/ 17934 h 90023"/>
                <a:gd name="connsiteX1" fmla="*/ 15473 w 78418"/>
                <a:gd name="connsiteY1" fmla="*/ 0 h 90023"/>
                <a:gd name="connsiteX2" fmla="*/ 33407 w 78418"/>
                <a:gd name="connsiteY2" fmla="*/ 15473 h 90023"/>
                <a:gd name="connsiteX3" fmla="*/ 42198 w 78418"/>
                <a:gd name="connsiteY3" fmla="*/ 15473 h 90023"/>
                <a:gd name="connsiteX4" fmla="*/ 46770 w 78418"/>
                <a:gd name="connsiteY4" fmla="*/ 20044 h 90023"/>
                <a:gd name="connsiteX5" fmla="*/ 53451 w 78418"/>
                <a:gd name="connsiteY5" fmla="*/ 24616 h 90023"/>
                <a:gd name="connsiteX6" fmla="*/ 62243 w 78418"/>
                <a:gd name="connsiteY6" fmla="*/ 29187 h 90023"/>
                <a:gd name="connsiteX7" fmla="*/ 69276 w 78418"/>
                <a:gd name="connsiteY7" fmla="*/ 37627 h 90023"/>
                <a:gd name="connsiteX8" fmla="*/ 76309 w 78418"/>
                <a:gd name="connsiteY8" fmla="*/ 47825 h 90023"/>
                <a:gd name="connsiteX9" fmla="*/ 78419 w 78418"/>
                <a:gd name="connsiteY9" fmla="*/ 51693 h 90023"/>
                <a:gd name="connsiteX10" fmla="*/ 71386 w 78418"/>
                <a:gd name="connsiteY10" fmla="*/ 60133 h 90023"/>
                <a:gd name="connsiteX11" fmla="*/ 74550 w 78418"/>
                <a:gd name="connsiteY11" fmla="*/ 62243 h 90023"/>
                <a:gd name="connsiteX12" fmla="*/ 77364 w 78418"/>
                <a:gd name="connsiteY12" fmla="*/ 66462 h 90023"/>
                <a:gd name="connsiteX13" fmla="*/ 72440 w 78418"/>
                <a:gd name="connsiteY13" fmla="*/ 81232 h 90023"/>
                <a:gd name="connsiteX14" fmla="*/ 65407 w 78418"/>
                <a:gd name="connsiteY14" fmla="*/ 84748 h 90023"/>
                <a:gd name="connsiteX15" fmla="*/ 55913 w 78418"/>
                <a:gd name="connsiteY15" fmla="*/ 90023 h 90023"/>
                <a:gd name="connsiteX16" fmla="*/ 48880 w 78418"/>
                <a:gd name="connsiteY16" fmla="*/ 90023 h 90023"/>
                <a:gd name="connsiteX17" fmla="*/ 41495 w 78418"/>
                <a:gd name="connsiteY17" fmla="*/ 90023 h 90023"/>
                <a:gd name="connsiteX18" fmla="*/ 30945 w 78418"/>
                <a:gd name="connsiteY18" fmla="*/ 90023 h 90023"/>
                <a:gd name="connsiteX19" fmla="*/ 22154 w 78418"/>
                <a:gd name="connsiteY19" fmla="*/ 84748 h 90023"/>
                <a:gd name="connsiteX20" fmla="*/ 13363 w 78418"/>
                <a:gd name="connsiteY20" fmla="*/ 82990 h 90023"/>
                <a:gd name="connsiteX21" fmla="*/ 0 w 78418"/>
                <a:gd name="connsiteY21" fmla="*/ 72792 h 90023"/>
                <a:gd name="connsiteX22" fmla="*/ 2110 w 78418"/>
                <a:gd name="connsiteY22" fmla="*/ 60836 h 90023"/>
                <a:gd name="connsiteX23" fmla="*/ 3868 w 78418"/>
                <a:gd name="connsiteY23" fmla="*/ 47473 h 90023"/>
                <a:gd name="connsiteX24" fmla="*/ 7033 w 78418"/>
                <a:gd name="connsiteY24" fmla="*/ 17934 h 90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8418" h="90023">
                  <a:moveTo>
                    <a:pt x="7033" y="17934"/>
                  </a:moveTo>
                  <a:cubicBezTo>
                    <a:pt x="7033" y="15121"/>
                    <a:pt x="12892" y="4571"/>
                    <a:pt x="15473" y="0"/>
                  </a:cubicBezTo>
                  <a:lnTo>
                    <a:pt x="33407" y="15473"/>
                  </a:lnTo>
                  <a:lnTo>
                    <a:pt x="42198" y="15473"/>
                  </a:lnTo>
                  <a:cubicBezTo>
                    <a:pt x="42902" y="15473"/>
                    <a:pt x="46067" y="19341"/>
                    <a:pt x="46770" y="20044"/>
                  </a:cubicBezTo>
                  <a:cubicBezTo>
                    <a:pt x="47473" y="20748"/>
                    <a:pt x="52396" y="23912"/>
                    <a:pt x="53451" y="24616"/>
                  </a:cubicBezTo>
                  <a:cubicBezTo>
                    <a:pt x="54506" y="25319"/>
                    <a:pt x="61539" y="28836"/>
                    <a:pt x="62243" y="29187"/>
                  </a:cubicBezTo>
                  <a:cubicBezTo>
                    <a:pt x="62805" y="29468"/>
                    <a:pt x="67166" y="34933"/>
                    <a:pt x="69276" y="37627"/>
                  </a:cubicBezTo>
                  <a:cubicBezTo>
                    <a:pt x="71386" y="40672"/>
                    <a:pt x="75746" y="46981"/>
                    <a:pt x="76309" y="47825"/>
                  </a:cubicBezTo>
                  <a:cubicBezTo>
                    <a:pt x="76871" y="48669"/>
                    <a:pt x="77947" y="50757"/>
                    <a:pt x="78419" y="51693"/>
                  </a:cubicBezTo>
                  <a:lnTo>
                    <a:pt x="71386" y="60133"/>
                  </a:lnTo>
                  <a:lnTo>
                    <a:pt x="74550" y="62243"/>
                  </a:lnTo>
                  <a:lnTo>
                    <a:pt x="77364" y="66462"/>
                  </a:lnTo>
                  <a:cubicBezTo>
                    <a:pt x="75957" y="71034"/>
                    <a:pt x="73003" y="80388"/>
                    <a:pt x="72440" y="81232"/>
                  </a:cubicBezTo>
                  <a:cubicBezTo>
                    <a:pt x="71737" y="82287"/>
                    <a:pt x="67869" y="84748"/>
                    <a:pt x="65407" y="84748"/>
                  </a:cubicBezTo>
                  <a:cubicBezTo>
                    <a:pt x="62946" y="84748"/>
                    <a:pt x="58374" y="90023"/>
                    <a:pt x="55913" y="90023"/>
                  </a:cubicBezTo>
                  <a:lnTo>
                    <a:pt x="48880" y="90023"/>
                  </a:lnTo>
                  <a:lnTo>
                    <a:pt x="41495" y="90023"/>
                  </a:lnTo>
                  <a:lnTo>
                    <a:pt x="30945" y="90023"/>
                  </a:lnTo>
                  <a:cubicBezTo>
                    <a:pt x="29187" y="90023"/>
                    <a:pt x="24967" y="86858"/>
                    <a:pt x="22154" y="84748"/>
                  </a:cubicBezTo>
                  <a:cubicBezTo>
                    <a:pt x="19341" y="82638"/>
                    <a:pt x="17231" y="83342"/>
                    <a:pt x="13363" y="82990"/>
                  </a:cubicBezTo>
                  <a:cubicBezTo>
                    <a:pt x="10268" y="82709"/>
                    <a:pt x="3165" y="76076"/>
                    <a:pt x="0" y="72792"/>
                  </a:cubicBezTo>
                  <a:cubicBezTo>
                    <a:pt x="352" y="69627"/>
                    <a:pt x="1266" y="62805"/>
                    <a:pt x="2110" y="60836"/>
                  </a:cubicBezTo>
                  <a:cubicBezTo>
                    <a:pt x="3165" y="58374"/>
                    <a:pt x="3868" y="51341"/>
                    <a:pt x="3868" y="47473"/>
                  </a:cubicBezTo>
                  <a:cubicBezTo>
                    <a:pt x="3868" y="43605"/>
                    <a:pt x="7033" y="21451"/>
                    <a:pt x="7033" y="1793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9" name="Freihandform: Form 34">
              <a:extLst>
                <a:ext uri="{FF2B5EF4-FFF2-40B4-BE49-F238E27FC236}">
                  <a16:creationId xmlns:a16="http://schemas.microsoft.com/office/drawing/2014/main" id="{48AD8A12-C7A6-BF42-98B5-5F347106C27E}"/>
                </a:ext>
              </a:extLst>
            </p:cNvPr>
            <p:cNvSpPr/>
            <p:nvPr/>
          </p:nvSpPr>
          <p:spPr>
            <a:xfrm>
              <a:off x="5027252" y="4865928"/>
              <a:ext cx="306091" cy="680130"/>
            </a:xfrm>
            <a:custGeom>
              <a:avLst/>
              <a:gdLst>
                <a:gd name="connsiteX0" fmla="*/ 296696 w 306091"/>
                <a:gd name="connsiteY0" fmla="*/ 62086 h 680130"/>
                <a:gd name="connsiteX1" fmla="*/ 296752 w 306091"/>
                <a:gd name="connsiteY1" fmla="*/ 62143 h 680130"/>
                <a:gd name="connsiteX2" fmla="*/ 293784 w 306091"/>
                <a:gd name="connsiteY2" fmla="*/ 65441 h 680130"/>
                <a:gd name="connsiteX3" fmla="*/ 289206 w 306091"/>
                <a:gd name="connsiteY3" fmla="*/ 79754 h 680130"/>
                <a:gd name="connsiteX4" fmla="*/ 287806 w 306091"/>
                <a:gd name="connsiteY4" fmla="*/ 85134 h 680130"/>
                <a:gd name="connsiteX5" fmla="*/ 278944 w 306091"/>
                <a:gd name="connsiteY5" fmla="*/ 93264 h 680130"/>
                <a:gd name="connsiteX6" fmla="*/ 275498 w 306091"/>
                <a:gd name="connsiteY6" fmla="*/ 96035 h 680130"/>
                <a:gd name="connsiteX7" fmla="*/ 247718 w 306091"/>
                <a:gd name="connsiteY7" fmla="*/ 96035 h 680130"/>
                <a:gd name="connsiteX8" fmla="*/ 229432 w 306091"/>
                <a:gd name="connsiteY8" fmla="*/ 87947 h 680130"/>
                <a:gd name="connsiteX9" fmla="*/ 233736 w 306091"/>
                <a:gd name="connsiteY9" fmla="*/ 81470 h 680130"/>
                <a:gd name="connsiteX10" fmla="*/ 233736 w 306091"/>
                <a:gd name="connsiteY10" fmla="*/ 81470 h 680130"/>
                <a:gd name="connsiteX11" fmla="*/ 233736 w 306091"/>
                <a:gd name="connsiteY11" fmla="*/ 81470 h 680130"/>
                <a:gd name="connsiteX12" fmla="*/ 243849 w 306091"/>
                <a:gd name="connsiteY12" fmla="*/ 65441 h 680130"/>
                <a:gd name="connsiteX13" fmla="*/ 232667 w 306091"/>
                <a:gd name="connsiteY13" fmla="*/ 52261 h 680130"/>
                <a:gd name="connsiteX14" fmla="*/ 232667 w 306091"/>
                <a:gd name="connsiteY14" fmla="*/ 52261 h 680130"/>
                <a:gd name="connsiteX15" fmla="*/ 229432 w 306091"/>
                <a:gd name="connsiteY15" fmla="*/ 51023 h 680130"/>
                <a:gd name="connsiteX16" fmla="*/ 221667 w 306091"/>
                <a:gd name="connsiteY16" fmla="*/ 45833 h 680130"/>
                <a:gd name="connsiteX17" fmla="*/ 221667 w 306091"/>
                <a:gd name="connsiteY17" fmla="*/ 45833 h 680130"/>
                <a:gd name="connsiteX18" fmla="*/ 221667 w 306091"/>
                <a:gd name="connsiteY18" fmla="*/ 45833 h 680130"/>
                <a:gd name="connsiteX19" fmla="*/ 203409 w 306091"/>
                <a:gd name="connsiteY19" fmla="*/ 35902 h 680130"/>
                <a:gd name="connsiteX20" fmla="*/ 188724 w 306091"/>
                <a:gd name="connsiteY20" fmla="*/ 26682 h 680130"/>
                <a:gd name="connsiteX21" fmla="*/ 182662 w 306091"/>
                <a:gd name="connsiteY21" fmla="*/ 20781 h 680130"/>
                <a:gd name="connsiteX22" fmla="*/ 167449 w 306091"/>
                <a:gd name="connsiteY22" fmla="*/ 2847 h 680130"/>
                <a:gd name="connsiteX23" fmla="*/ 146442 w 306091"/>
                <a:gd name="connsiteY23" fmla="*/ 2847 h 680130"/>
                <a:gd name="connsiteX24" fmla="*/ 137299 w 306091"/>
                <a:gd name="connsiteY24" fmla="*/ 15507 h 680130"/>
                <a:gd name="connsiteX25" fmla="*/ 129914 w 306091"/>
                <a:gd name="connsiteY25" fmla="*/ 2847 h 680130"/>
                <a:gd name="connsiteX26" fmla="*/ 116284 w 306091"/>
                <a:gd name="connsiteY26" fmla="*/ 210 h 680130"/>
                <a:gd name="connsiteX27" fmla="*/ 116284 w 306091"/>
                <a:gd name="connsiteY27" fmla="*/ 210 h 680130"/>
                <a:gd name="connsiteX28" fmla="*/ 116277 w 306091"/>
                <a:gd name="connsiteY28" fmla="*/ 210 h 680130"/>
                <a:gd name="connsiteX29" fmla="*/ 113386 w 306091"/>
                <a:gd name="connsiteY29" fmla="*/ 34 h 680130"/>
                <a:gd name="connsiteX30" fmla="*/ 108526 w 306091"/>
                <a:gd name="connsiteY30" fmla="*/ 2524 h 680130"/>
                <a:gd name="connsiteX31" fmla="*/ 106353 w 306091"/>
                <a:gd name="connsiteY31" fmla="*/ 5309 h 680130"/>
                <a:gd name="connsiteX32" fmla="*/ 103315 w 306091"/>
                <a:gd name="connsiteY32" fmla="*/ 8698 h 680130"/>
                <a:gd name="connsiteX33" fmla="*/ 103315 w 306091"/>
                <a:gd name="connsiteY33" fmla="*/ 8698 h 680130"/>
                <a:gd name="connsiteX34" fmla="*/ 96859 w 306091"/>
                <a:gd name="connsiteY34" fmla="*/ 15064 h 680130"/>
                <a:gd name="connsiteX35" fmla="*/ 96859 w 306091"/>
                <a:gd name="connsiteY35" fmla="*/ 20430 h 680130"/>
                <a:gd name="connsiteX36" fmla="*/ 96943 w 306091"/>
                <a:gd name="connsiteY36" fmla="*/ 22969 h 680130"/>
                <a:gd name="connsiteX37" fmla="*/ 96859 w 306091"/>
                <a:gd name="connsiteY37" fmla="*/ 28166 h 680130"/>
                <a:gd name="connsiteX38" fmla="*/ 95979 w 306091"/>
                <a:gd name="connsiteY38" fmla="*/ 31197 h 680130"/>
                <a:gd name="connsiteX39" fmla="*/ 94397 w 306091"/>
                <a:gd name="connsiteY39" fmla="*/ 33441 h 680130"/>
                <a:gd name="connsiteX40" fmla="*/ 91837 w 306091"/>
                <a:gd name="connsiteY40" fmla="*/ 36676 h 680130"/>
                <a:gd name="connsiteX41" fmla="*/ 90529 w 306091"/>
                <a:gd name="connsiteY41" fmla="*/ 37661 h 680130"/>
                <a:gd name="connsiteX42" fmla="*/ 86625 w 306091"/>
                <a:gd name="connsiteY42" fmla="*/ 40207 h 680130"/>
                <a:gd name="connsiteX43" fmla="*/ 86625 w 306091"/>
                <a:gd name="connsiteY43" fmla="*/ 40207 h 680130"/>
                <a:gd name="connsiteX44" fmla="*/ 86625 w 306091"/>
                <a:gd name="connsiteY44" fmla="*/ 40207 h 680130"/>
                <a:gd name="connsiteX45" fmla="*/ 78573 w 306091"/>
                <a:gd name="connsiteY45" fmla="*/ 46100 h 680130"/>
                <a:gd name="connsiteX46" fmla="*/ 77046 w 306091"/>
                <a:gd name="connsiteY46" fmla="*/ 50285 h 680130"/>
                <a:gd name="connsiteX47" fmla="*/ 76463 w 306091"/>
                <a:gd name="connsiteY47" fmla="*/ 53133 h 680130"/>
                <a:gd name="connsiteX48" fmla="*/ 76167 w 306091"/>
                <a:gd name="connsiteY48" fmla="*/ 55553 h 680130"/>
                <a:gd name="connsiteX49" fmla="*/ 76463 w 306091"/>
                <a:gd name="connsiteY49" fmla="*/ 57002 h 680130"/>
                <a:gd name="connsiteX50" fmla="*/ 76463 w 306091"/>
                <a:gd name="connsiteY50" fmla="*/ 68606 h 680130"/>
                <a:gd name="connsiteX51" fmla="*/ 76357 w 306091"/>
                <a:gd name="connsiteY51" fmla="*/ 71335 h 680130"/>
                <a:gd name="connsiteX52" fmla="*/ 76463 w 306091"/>
                <a:gd name="connsiteY52" fmla="*/ 74584 h 680130"/>
                <a:gd name="connsiteX53" fmla="*/ 77018 w 306091"/>
                <a:gd name="connsiteY53" fmla="*/ 77165 h 680130"/>
                <a:gd name="connsiteX54" fmla="*/ 77518 w 306091"/>
                <a:gd name="connsiteY54" fmla="*/ 80914 h 680130"/>
                <a:gd name="connsiteX55" fmla="*/ 77637 w 306091"/>
                <a:gd name="connsiteY55" fmla="*/ 83882 h 680130"/>
                <a:gd name="connsiteX56" fmla="*/ 77518 w 306091"/>
                <a:gd name="connsiteY56" fmla="*/ 85837 h 680130"/>
                <a:gd name="connsiteX57" fmla="*/ 74880 w 306091"/>
                <a:gd name="connsiteY57" fmla="*/ 90676 h 680130"/>
                <a:gd name="connsiteX58" fmla="*/ 74880 w 306091"/>
                <a:gd name="connsiteY58" fmla="*/ 90676 h 680130"/>
                <a:gd name="connsiteX59" fmla="*/ 74880 w 306091"/>
                <a:gd name="connsiteY59" fmla="*/ 90676 h 680130"/>
                <a:gd name="connsiteX60" fmla="*/ 73298 w 306091"/>
                <a:gd name="connsiteY60" fmla="*/ 92870 h 680130"/>
                <a:gd name="connsiteX61" fmla="*/ 67932 w 306091"/>
                <a:gd name="connsiteY61" fmla="*/ 98841 h 680130"/>
                <a:gd name="connsiteX62" fmla="*/ 67932 w 306091"/>
                <a:gd name="connsiteY62" fmla="*/ 98841 h 680130"/>
                <a:gd name="connsiteX63" fmla="*/ 65561 w 306091"/>
                <a:gd name="connsiteY63" fmla="*/ 101310 h 680130"/>
                <a:gd name="connsiteX64" fmla="*/ 61342 w 306091"/>
                <a:gd name="connsiteY64" fmla="*/ 107288 h 680130"/>
                <a:gd name="connsiteX65" fmla="*/ 55715 w 306091"/>
                <a:gd name="connsiteY65" fmla="*/ 118189 h 680130"/>
                <a:gd name="connsiteX66" fmla="*/ 54604 w 306091"/>
                <a:gd name="connsiteY66" fmla="*/ 121572 h 680130"/>
                <a:gd name="connsiteX67" fmla="*/ 54597 w 306091"/>
                <a:gd name="connsiteY67" fmla="*/ 121572 h 680130"/>
                <a:gd name="connsiteX68" fmla="*/ 52550 w 306091"/>
                <a:gd name="connsiteY68" fmla="*/ 126980 h 680130"/>
                <a:gd name="connsiteX69" fmla="*/ 52550 w 306091"/>
                <a:gd name="connsiteY69" fmla="*/ 135068 h 680130"/>
                <a:gd name="connsiteX70" fmla="*/ 52628 w 306091"/>
                <a:gd name="connsiteY70" fmla="*/ 138831 h 680130"/>
                <a:gd name="connsiteX71" fmla="*/ 52550 w 306091"/>
                <a:gd name="connsiteY71" fmla="*/ 141047 h 680130"/>
                <a:gd name="connsiteX72" fmla="*/ 52550 w 306091"/>
                <a:gd name="connsiteY72" fmla="*/ 145266 h 680130"/>
                <a:gd name="connsiteX73" fmla="*/ 52550 w 306091"/>
                <a:gd name="connsiteY73" fmla="*/ 149135 h 680130"/>
                <a:gd name="connsiteX74" fmla="*/ 49238 w 306091"/>
                <a:gd name="connsiteY74" fmla="*/ 155169 h 680130"/>
                <a:gd name="connsiteX75" fmla="*/ 46221 w 306091"/>
                <a:gd name="connsiteY75" fmla="*/ 160036 h 680130"/>
                <a:gd name="connsiteX76" fmla="*/ 45805 w 306091"/>
                <a:gd name="connsiteY76" fmla="*/ 163334 h 680130"/>
                <a:gd name="connsiteX77" fmla="*/ 46221 w 306091"/>
                <a:gd name="connsiteY77" fmla="*/ 166366 h 680130"/>
                <a:gd name="connsiteX78" fmla="*/ 46221 w 306091"/>
                <a:gd name="connsiteY78" fmla="*/ 173399 h 680130"/>
                <a:gd name="connsiteX79" fmla="*/ 47838 w 306091"/>
                <a:gd name="connsiteY79" fmla="*/ 178962 h 680130"/>
                <a:gd name="connsiteX80" fmla="*/ 49385 w 306091"/>
                <a:gd name="connsiteY80" fmla="*/ 181838 h 680130"/>
                <a:gd name="connsiteX81" fmla="*/ 49779 w 306091"/>
                <a:gd name="connsiteY81" fmla="*/ 185664 h 680130"/>
                <a:gd name="connsiteX82" fmla="*/ 49385 w 306091"/>
                <a:gd name="connsiteY82" fmla="*/ 188520 h 680130"/>
                <a:gd name="connsiteX83" fmla="*/ 49878 w 306091"/>
                <a:gd name="connsiteY83" fmla="*/ 191178 h 680130"/>
                <a:gd name="connsiteX84" fmla="*/ 50440 w 306091"/>
                <a:gd name="connsiteY84" fmla="*/ 196959 h 680130"/>
                <a:gd name="connsiteX85" fmla="*/ 52248 w 306091"/>
                <a:gd name="connsiteY85" fmla="*/ 201496 h 680130"/>
                <a:gd name="connsiteX86" fmla="*/ 53605 w 306091"/>
                <a:gd name="connsiteY86" fmla="*/ 202586 h 680130"/>
                <a:gd name="connsiteX87" fmla="*/ 53915 w 306091"/>
                <a:gd name="connsiteY87" fmla="*/ 206236 h 680130"/>
                <a:gd name="connsiteX88" fmla="*/ 53605 w 306091"/>
                <a:gd name="connsiteY88" fmla="*/ 210674 h 680130"/>
                <a:gd name="connsiteX89" fmla="*/ 53035 w 306091"/>
                <a:gd name="connsiteY89" fmla="*/ 217278 h 680130"/>
                <a:gd name="connsiteX90" fmla="*/ 52550 w 306091"/>
                <a:gd name="connsiteY90" fmla="*/ 220872 h 680130"/>
                <a:gd name="connsiteX91" fmla="*/ 51397 w 306091"/>
                <a:gd name="connsiteY91" fmla="*/ 225141 h 680130"/>
                <a:gd name="connsiteX92" fmla="*/ 50440 w 306091"/>
                <a:gd name="connsiteY92" fmla="*/ 227201 h 680130"/>
                <a:gd name="connsiteX93" fmla="*/ 48506 w 306091"/>
                <a:gd name="connsiteY93" fmla="*/ 231077 h 680130"/>
                <a:gd name="connsiteX94" fmla="*/ 46221 w 306091"/>
                <a:gd name="connsiteY94" fmla="*/ 235641 h 680130"/>
                <a:gd name="connsiteX95" fmla="*/ 46221 w 306091"/>
                <a:gd name="connsiteY95" fmla="*/ 248301 h 680130"/>
                <a:gd name="connsiteX96" fmla="*/ 42001 w 306091"/>
                <a:gd name="connsiteY96" fmla="*/ 256037 h 680130"/>
                <a:gd name="connsiteX97" fmla="*/ 39187 w 306091"/>
                <a:gd name="connsiteY97" fmla="*/ 258850 h 680130"/>
                <a:gd name="connsiteX98" fmla="*/ 37078 w 306091"/>
                <a:gd name="connsiteY98" fmla="*/ 264828 h 680130"/>
                <a:gd name="connsiteX99" fmla="*/ 37078 w 306091"/>
                <a:gd name="connsiteY99" fmla="*/ 270806 h 680130"/>
                <a:gd name="connsiteX100" fmla="*/ 37078 w 306091"/>
                <a:gd name="connsiteY100" fmla="*/ 277488 h 680130"/>
                <a:gd name="connsiteX101" fmla="*/ 37078 w 306091"/>
                <a:gd name="connsiteY101" fmla="*/ 282763 h 680130"/>
                <a:gd name="connsiteX102" fmla="*/ 37078 w 306091"/>
                <a:gd name="connsiteY102" fmla="*/ 288389 h 680130"/>
                <a:gd name="connsiteX103" fmla="*/ 37078 w 306091"/>
                <a:gd name="connsiteY103" fmla="*/ 294015 h 680130"/>
                <a:gd name="connsiteX104" fmla="*/ 37169 w 306091"/>
                <a:gd name="connsiteY104" fmla="*/ 296913 h 680130"/>
                <a:gd name="connsiteX105" fmla="*/ 37078 w 306091"/>
                <a:gd name="connsiteY105" fmla="*/ 301400 h 680130"/>
                <a:gd name="connsiteX106" fmla="*/ 35249 w 306091"/>
                <a:gd name="connsiteY106" fmla="*/ 304762 h 680130"/>
                <a:gd name="connsiteX107" fmla="*/ 34264 w 306091"/>
                <a:gd name="connsiteY107" fmla="*/ 305620 h 680130"/>
                <a:gd name="connsiteX108" fmla="*/ 32056 w 306091"/>
                <a:gd name="connsiteY108" fmla="*/ 308278 h 680130"/>
                <a:gd name="connsiteX109" fmla="*/ 29693 w 306091"/>
                <a:gd name="connsiteY109" fmla="*/ 311246 h 680130"/>
                <a:gd name="connsiteX110" fmla="*/ 27477 w 306091"/>
                <a:gd name="connsiteY110" fmla="*/ 315480 h 680130"/>
                <a:gd name="connsiteX111" fmla="*/ 25825 w 306091"/>
                <a:gd name="connsiteY111" fmla="*/ 319686 h 680130"/>
                <a:gd name="connsiteX112" fmla="*/ 25403 w 306091"/>
                <a:gd name="connsiteY112" fmla="*/ 325763 h 680130"/>
                <a:gd name="connsiteX113" fmla="*/ 25825 w 306091"/>
                <a:gd name="connsiteY113" fmla="*/ 329181 h 680130"/>
                <a:gd name="connsiteX114" fmla="*/ 23933 w 306091"/>
                <a:gd name="connsiteY114" fmla="*/ 334062 h 680130"/>
                <a:gd name="connsiteX115" fmla="*/ 22660 w 306091"/>
                <a:gd name="connsiteY115" fmla="*/ 337269 h 680130"/>
                <a:gd name="connsiteX116" fmla="*/ 22660 w 306091"/>
                <a:gd name="connsiteY116" fmla="*/ 343247 h 680130"/>
                <a:gd name="connsiteX117" fmla="*/ 22660 w 306091"/>
                <a:gd name="connsiteY117" fmla="*/ 349225 h 680130"/>
                <a:gd name="connsiteX118" fmla="*/ 22660 w 306091"/>
                <a:gd name="connsiteY118" fmla="*/ 354851 h 680130"/>
                <a:gd name="connsiteX119" fmla="*/ 22660 w 306091"/>
                <a:gd name="connsiteY119" fmla="*/ 361884 h 680130"/>
                <a:gd name="connsiteX120" fmla="*/ 22660 w 306091"/>
                <a:gd name="connsiteY120" fmla="*/ 368214 h 680130"/>
                <a:gd name="connsiteX121" fmla="*/ 21429 w 306091"/>
                <a:gd name="connsiteY121" fmla="*/ 371907 h 680130"/>
                <a:gd name="connsiteX122" fmla="*/ 20198 w 306091"/>
                <a:gd name="connsiteY122" fmla="*/ 375599 h 680130"/>
                <a:gd name="connsiteX123" fmla="*/ 19551 w 306091"/>
                <a:gd name="connsiteY123" fmla="*/ 378398 h 680130"/>
                <a:gd name="connsiteX124" fmla="*/ 18792 w 306091"/>
                <a:gd name="connsiteY124" fmla="*/ 381929 h 680130"/>
                <a:gd name="connsiteX125" fmla="*/ 19818 w 306091"/>
                <a:gd name="connsiteY125" fmla="*/ 385684 h 680130"/>
                <a:gd name="connsiteX126" fmla="*/ 20198 w 306091"/>
                <a:gd name="connsiteY126" fmla="*/ 386500 h 680130"/>
                <a:gd name="connsiteX127" fmla="*/ 22660 w 306091"/>
                <a:gd name="connsiteY127" fmla="*/ 395995 h 680130"/>
                <a:gd name="connsiteX128" fmla="*/ 22660 w 306091"/>
                <a:gd name="connsiteY128" fmla="*/ 400215 h 680130"/>
                <a:gd name="connsiteX129" fmla="*/ 27583 w 306091"/>
                <a:gd name="connsiteY129" fmla="*/ 405489 h 680130"/>
                <a:gd name="connsiteX130" fmla="*/ 27583 w 306091"/>
                <a:gd name="connsiteY130" fmla="*/ 410764 h 680130"/>
                <a:gd name="connsiteX131" fmla="*/ 26528 w 306091"/>
                <a:gd name="connsiteY131" fmla="*/ 418149 h 680130"/>
                <a:gd name="connsiteX132" fmla="*/ 26851 w 306091"/>
                <a:gd name="connsiteY132" fmla="*/ 420955 h 680130"/>
                <a:gd name="connsiteX133" fmla="*/ 27885 w 306091"/>
                <a:gd name="connsiteY133" fmla="*/ 421588 h 680130"/>
                <a:gd name="connsiteX134" fmla="*/ 31099 w 306091"/>
                <a:gd name="connsiteY134" fmla="*/ 423424 h 680130"/>
                <a:gd name="connsiteX135" fmla="*/ 33104 w 306091"/>
                <a:gd name="connsiteY135" fmla="*/ 429353 h 680130"/>
                <a:gd name="connsiteX136" fmla="*/ 32506 w 306091"/>
                <a:gd name="connsiteY136" fmla="*/ 432567 h 680130"/>
                <a:gd name="connsiteX137" fmla="*/ 28427 w 306091"/>
                <a:gd name="connsiteY137" fmla="*/ 437532 h 680130"/>
                <a:gd name="connsiteX138" fmla="*/ 26528 w 306091"/>
                <a:gd name="connsiteY138" fmla="*/ 439248 h 680130"/>
                <a:gd name="connsiteX139" fmla="*/ 26528 w 306091"/>
                <a:gd name="connsiteY139" fmla="*/ 449094 h 680130"/>
                <a:gd name="connsiteX140" fmla="*/ 26605 w 306091"/>
                <a:gd name="connsiteY140" fmla="*/ 451760 h 680130"/>
                <a:gd name="connsiteX141" fmla="*/ 26528 w 306091"/>
                <a:gd name="connsiteY141" fmla="*/ 459292 h 680130"/>
                <a:gd name="connsiteX142" fmla="*/ 23891 w 306091"/>
                <a:gd name="connsiteY142" fmla="*/ 471853 h 680130"/>
                <a:gd name="connsiteX143" fmla="*/ 22660 w 306091"/>
                <a:gd name="connsiteY143" fmla="*/ 476875 h 680130"/>
                <a:gd name="connsiteX144" fmla="*/ 20198 w 306091"/>
                <a:gd name="connsiteY144" fmla="*/ 483908 h 680130"/>
                <a:gd name="connsiteX145" fmla="*/ 16330 w 306091"/>
                <a:gd name="connsiteY145" fmla="*/ 495864 h 680130"/>
                <a:gd name="connsiteX146" fmla="*/ 15767 w 306091"/>
                <a:gd name="connsiteY146" fmla="*/ 501631 h 680130"/>
                <a:gd name="connsiteX147" fmla="*/ 14923 w 306091"/>
                <a:gd name="connsiteY147" fmla="*/ 511337 h 680130"/>
                <a:gd name="connsiteX148" fmla="*/ 14593 w 306091"/>
                <a:gd name="connsiteY148" fmla="*/ 515747 h 680130"/>
                <a:gd name="connsiteX149" fmla="*/ 14298 w 306091"/>
                <a:gd name="connsiteY149" fmla="*/ 515957 h 680130"/>
                <a:gd name="connsiteX150" fmla="*/ 13165 w 306091"/>
                <a:gd name="connsiteY150" fmla="*/ 516963 h 680130"/>
                <a:gd name="connsiteX151" fmla="*/ 11133 w 306091"/>
                <a:gd name="connsiteY151" fmla="*/ 521521 h 680130"/>
                <a:gd name="connsiteX152" fmla="*/ 10000 w 306091"/>
                <a:gd name="connsiteY152" fmla="*/ 524348 h 680130"/>
                <a:gd name="connsiteX153" fmla="*/ 8502 w 306091"/>
                <a:gd name="connsiteY153" fmla="*/ 526184 h 680130"/>
                <a:gd name="connsiteX154" fmla="*/ 4022 w 306091"/>
                <a:gd name="connsiteY154" fmla="*/ 532084 h 680130"/>
                <a:gd name="connsiteX155" fmla="*/ 1687 w 306091"/>
                <a:gd name="connsiteY155" fmla="*/ 534820 h 680130"/>
                <a:gd name="connsiteX156" fmla="*/ 154 w 306091"/>
                <a:gd name="connsiteY156" fmla="*/ 537007 h 680130"/>
                <a:gd name="connsiteX157" fmla="*/ 154 w 306091"/>
                <a:gd name="connsiteY157" fmla="*/ 547909 h 680130"/>
                <a:gd name="connsiteX158" fmla="*/ 84 w 306091"/>
                <a:gd name="connsiteY158" fmla="*/ 551031 h 680130"/>
                <a:gd name="connsiteX159" fmla="*/ 154 w 306091"/>
                <a:gd name="connsiteY159" fmla="*/ 558107 h 680130"/>
                <a:gd name="connsiteX160" fmla="*/ 6104 w 306091"/>
                <a:gd name="connsiteY160" fmla="*/ 567988 h 680130"/>
                <a:gd name="connsiteX161" fmla="*/ 6835 w 306091"/>
                <a:gd name="connsiteY161" fmla="*/ 569008 h 680130"/>
                <a:gd name="connsiteX162" fmla="*/ 10232 w 306091"/>
                <a:gd name="connsiteY162" fmla="*/ 569718 h 680130"/>
                <a:gd name="connsiteX163" fmla="*/ 10232 w 306091"/>
                <a:gd name="connsiteY163" fmla="*/ 569718 h 680130"/>
                <a:gd name="connsiteX164" fmla="*/ 14923 w 306091"/>
                <a:gd name="connsiteY164" fmla="*/ 570414 h 680130"/>
                <a:gd name="connsiteX165" fmla="*/ 16492 w 306091"/>
                <a:gd name="connsiteY165" fmla="*/ 574641 h 680130"/>
                <a:gd name="connsiteX166" fmla="*/ 16330 w 306091"/>
                <a:gd name="connsiteY166" fmla="*/ 576041 h 680130"/>
                <a:gd name="connsiteX167" fmla="*/ 17737 w 306091"/>
                <a:gd name="connsiteY167" fmla="*/ 587645 h 680130"/>
                <a:gd name="connsiteX168" fmla="*/ 19706 w 306091"/>
                <a:gd name="connsiteY168" fmla="*/ 593638 h 680130"/>
                <a:gd name="connsiteX169" fmla="*/ 21605 w 306091"/>
                <a:gd name="connsiteY169" fmla="*/ 599602 h 680130"/>
                <a:gd name="connsiteX170" fmla="*/ 30213 w 306091"/>
                <a:gd name="connsiteY170" fmla="*/ 602528 h 680130"/>
                <a:gd name="connsiteX171" fmla="*/ 30220 w 306091"/>
                <a:gd name="connsiteY171" fmla="*/ 602528 h 680130"/>
                <a:gd name="connsiteX172" fmla="*/ 34968 w 306091"/>
                <a:gd name="connsiteY172" fmla="*/ 603118 h 680130"/>
                <a:gd name="connsiteX173" fmla="*/ 44104 w 306091"/>
                <a:gd name="connsiteY173" fmla="*/ 604525 h 680130"/>
                <a:gd name="connsiteX174" fmla="*/ 44104 w 306091"/>
                <a:gd name="connsiteY174" fmla="*/ 604525 h 680130"/>
                <a:gd name="connsiteX175" fmla="*/ 49737 w 306091"/>
                <a:gd name="connsiteY175" fmla="*/ 605228 h 680130"/>
                <a:gd name="connsiteX176" fmla="*/ 63100 w 306091"/>
                <a:gd name="connsiteY176" fmla="*/ 606635 h 680130"/>
                <a:gd name="connsiteX177" fmla="*/ 71779 w 306091"/>
                <a:gd name="connsiteY177" fmla="*/ 609272 h 680130"/>
                <a:gd name="connsiteX178" fmla="*/ 75759 w 306091"/>
                <a:gd name="connsiteY178" fmla="*/ 606635 h 680130"/>
                <a:gd name="connsiteX179" fmla="*/ 68726 w 306091"/>
                <a:gd name="connsiteY179" fmla="*/ 591514 h 680130"/>
                <a:gd name="connsiteX180" fmla="*/ 67664 w 306091"/>
                <a:gd name="connsiteY180" fmla="*/ 581949 h 680130"/>
                <a:gd name="connsiteX181" fmla="*/ 66616 w 306091"/>
                <a:gd name="connsiteY181" fmla="*/ 571821 h 680130"/>
                <a:gd name="connsiteX182" fmla="*/ 70133 w 306091"/>
                <a:gd name="connsiteY182" fmla="*/ 560568 h 680130"/>
                <a:gd name="connsiteX183" fmla="*/ 85957 w 306091"/>
                <a:gd name="connsiteY183" fmla="*/ 550370 h 680130"/>
                <a:gd name="connsiteX184" fmla="*/ 88770 w 306091"/>
                <a:gd name="connsiteY184" fmla="*/ 546150 h 680130"/>
                <a:gd name="connsiteX185" fmla="*/ 88770 w 306091"/>
                <a:gd name="connsiteY185" fmla="*/ 540524 h 680130"/>
                <a:gd name="connsiteX186" fmla="*/ 90177 w 306091"/>
                <a:gd name="connsiteY186" fmla="*/ 532084 h 680130"/>
                <a:gd name="connsiteX187" fmla="*/ 94749 w 306091"/>
                <a:gd name="connsiteY187" fmla="*/ 522941 h 680130"/>
                <a:gd name="connsiteX188" fmla="*/ 98898 w 306091"/>
                <a:gd name="connsiteY188" fmla="*/ 519671 h 680130"/>
                <a:gd name="connsiteX189" fmla="*/ 102485 w 306091"/>
                <a:gd name="connsiteY189" fmla="*/ 516963 h 680130"/>
                <a:gd name="connsiteX190" fmla="*/ 107570 w 306091"/>
                <a:gd name="connsiteY190" fmla="*/ 513250 h 680130"/>
                <a:gd name="connsiteX191" fmla="*/ 107577 w 306091"/>
                <a:gd name="connsiteY191" fmla="*/ 513250 h 680130"/>
                <a:gd name="connsiteX192" fmla="*/ 107577 w 306091"/>
                <a:gd name="connsiteY192" fmla="*/ 513250 h 680130"/>
                <a:gd name="connsiteX193" fmla="*/ 112331 w 306091"/>
                <a:gd name="connsiteY193" fmla="*/ 509930 h 680130"/>
                <a:gd name="connsiteX194" fmla="*/ 116685 w 306091"/>
                <a:gd name="connsiteY194" fmla="*/ 503270 h 680130"/>
                <a:gd name="connsiteX195" fmla="*/ 117254 w 306091"/>
                <a:gd name="connsiteY195" fmla="*/ 501842 h 680130"/>
                <a:gd name="connsiteX196" fmla="*/ 118661 w 306091"/>
                <a:gd name="connsiteY196" fmla="*/ 490941 h 680130"/>
                <a:gd name="connsiteX197" fmla="*/ 116804 w 306091"/>
                <a:gd name="connsiteY197" fmla="*/ 487178 h 680130"/>
                <a:gd name="connsiteX198" fmla="*/ 116199 w 306091"/>
                <a:gd name="connsiteY198" fmla="*/ 486369 h 680130"/>
                <a:gd name="connsiteX199" fmla="*/ 111065 w 306091"/>
                <a:gd name="connsiteY199" fmla="*/ 484161 h 680130"/>
                <a:gd name="connsiteX200" fmla="*/ 110221 w 306091"/>
                <a:gd name="connsiteY200" fmla="*/ 483908 h 680130"/>
                <a:gd name="connsiteX201" fmla="*/ 108372 w 306091"/>
                <a:gd name="connsiteY201" fmla="*/ 483211 h 680130"/>
                <a:gd name="connsiteX202" fmla="*/ 108372 w 306091"/>
                <a:gd name="connsiteY202" fmla="*/ 483205 h 680130"/>
                <a:gd name="connsiteX203" fmla="*/ 108365 w 306091"/>
                <a:gd name="connsiteY203" fmla="*/ 483205 h 680130"/>
                <a:gd name="connsiteX204" fmla="*/ 108358 w 306091"/>
                <a:gd name="connsiteY204" fmla="*/ 483205 h 680130"/>
                <a:gd name="connsiteX205" fmla="*/ 102485 w 306091"/>
                <a:gd name="connsiteY205" fmla="*/ 481095 h 680130"/>
                <a:gd name="connsiteX206" fmla="*/ 97231 w 306091"/>
                <a:gd name="connsiteY206" fmla="*/ 477451 h 680130"/>
                <a:gd name="connsiteX207" fmla="*/ 94749 w 306091"/>
                <a:gd name="connsiteY207" fmla="*/ 475468 h 680130"/>
                <a:gd name="connsiteX208" fmla="*/ 90740 w 306091"/>
                <a:gd name="connsiteY208" fmla="*/ 468379 h 680130"/>
                <a:gd name="connsiteX209" fmla="*/ 90733 w 306091"/>
                <a:gd name="connsiteY209" fmla="*/ 468372 h 680130"/>
                <a:gd name="connsiteX210" fmla="*/ 90177 w 306091"/>
                <a:gd name="connsiteY210" fmla="*/ 467029 h 680130"/>
                <a:gd name="connsiteX211" fmla="*/ 90177 w 306091"/>
                <a:gd name="connsiteY211" fmla="*/ 458237 h 680130"/>
                <a:gd name="connsiteX212" fmla="*/ 94749 w 306091"/>
                <a:gd name="connsiteY212" fmla="*/ 447688 h 680130"/>
                <a:gd name="connsiteX213" fmla="*/ 99320 w 306091"/>
                <a:gd name="connsiteY213" fmla="*/ 442765 h 680130"/>
                <a:gd name="connsiteX214" fmla="*/ 104947 w 306091"/>
                <a:gd name="connsiteY214" fmla="*/ 439248 h 680130"/>
                <a:gd name="connsiteX215" fmla="*/ 106881 w 306091"/>
                <a:gd name="connsiteY215" fmla="*/ 438383 h 680130"/>
                <a:gd name="connsiteX216" fmla="*/ 114793 w 306091"/>
                <a:gd name="connsiteY216" fmla="*/ 434325 h 680130"/>
                <a:gd name="connsiteX217" fmla="*/ 122881 w 306091"/>
                <a:gd name="connsiteY217" fmla="*/ 428698 h 680130"/>
                <a:gd name="connsiteX218" fmla="*/ 123183 w 306091"/>
                <a:gd name="connsiteY218" fmla="*/ 422629 h 680130"/>
                <a:gd name="connsiteX219" fmla="*/ 122881 w 306091"/>
                <a:gd name="connsiteY219" fmla="*/ 420259 h 680130"/>
                <a:gd name="connsiteX220" fmla="*/ 122881 w 306091"/>
                <a:gd name="connsiteY220" fmla="*/ 409709 h 680130"/>
                <a:gd name="connsiteX221" fmla="*/ 129562 w 306091"/>
                <a:gd name="connsiteY221" fmla="*/ 400215 h 680130"/>
                <a:gd name="connsiteX222" fmla="*/ 139760 w 306091"/>
                <a:gd name="connsiteY222" fmla="*/ 392478 h 680130"/>
                <a:gd name="connsiteX223" fmla="*/ 133430 w 306091"/>
                <a:gd name="connsiteY223" fmla="*/ 391072 h 680130"/>
                <a:gd name="connsiteX224" fmla="*/ 129562 w 306091"/>
                <a:gd name="connsiteY224" fmla="*/ 386500 h 680130"/>
                <a:gd name="connsiteX225" fmla="*/ 133430 w 306091"/>
                <a:gd name="connsiteY225" fmla="*/ 384390 h 680130"/>
                <a:gd name="connsiteX226" fmla="*/ 138227 w 306091"/>
                <a:gd name="connsiteY226" fmla="*/ 385776 h 680130"/>
                <a:gd name="connsiteX227" fmla="*/ 139760 w 306091"/>
                <a:gd name="connsiteY227" fmla="*/ 386500 h 680130"/>
                <a:gd name="connsiteX228" fmla="*/ 140949 w 306091"/>
                <a:gd name="connsiteY228" fmla="*/ 387105 h 680130"/>
                <a:gd name="connsiteX229" fmla="*/ 140949 w 306091"/>
                <a:gd name="connsiteY229" fmla="*/ 387105 h 680130"/>
                <a:gd name="connsiteX230" fmla="*/ 148903 w 306091"/>
                <a:gd name="connsiteY230" fmla="*/ 388962 h 680130"/>
                <a:gd name="connsiteX231" fmla="*/ 150310 w 306091"/>
                <a:gd name="connsiteY231" fmla="*/ 383335 h 680130"/>
                <a:gd name="connsiteX232" fmla="*/ 150310 w 306091"/>
                <a:gd name="connsiteY232" fmla="*/ 377006 h 680130"/>
                <a:gd name="connsiteX233" fmla="*/ 145387 w 306091"/>
                <a:gd name="connsiteY233" fmla="*/ 378060 h 680130"/>
                <a:gd name="connsiteX234" fmla="*/ 141167 w 306091"/>
                <a:gd name="connsiteY234" fmla="*/ 381929 h 680130"/>
                <a:gd name="connsiteX235" fmla="*/ 135892 w 306091"/>
                <a:gd name="connsiteY235" fmla="*/ 379819 h 680130"/>
                <a:gd name="connsiteX236" fmla="*/ 129562 w 306091"/>
                <a:gd name="connsiteY236" fmla="*/ 375599 h 680130"/>
                <a:gd name="connsiteX237" fmla="*/ 129379 w 306091"/>
                <a:gd name="connsiteY237" fmla="*/ 365387 h 680130"/>
                <a:gd name="connsiteX238" fmla="*/ 129562 w 306091"/>
                <a:gd name="connsiteY238" fmla="*/ 363643 h 680130"/>
                <a:gd name="connsiteX239" fmla="*/ 129562 w 306091"/>
                <a:gd name="connsiteY239" fmla="*/ 354851 h 680130"/>
                <a:gd name="connsiteX240" fmla="*/ 129562 w 306091"/>
                <a:gd name="connsiteY240" fmla="*/ 347818 h 680130"/>
                <a:gd name="connsiteX241" fmla="*/ 133311 w 306091"/>
                <a:gd name="connsiteY241" fmla="*/ 347424 h 680130"/>
                <a:gd name="connsiteX242" fmla="*/ 133318 w 306091"/>
                <a:gd name="connsiteY242" fmla="*/ 347424 h 680130"/>
                <a:gd name="connsiteX243" fmla="*/ 135892 w 306091"/>
                <a:gd name="connsiteY243" fmla="*/ 347818 h 680130"/>
                <a:gd name="connsiteX244" fmla="*/ 140555 w 306091"/>
                <a:gd name="connsiteY244" fmla="*/ 350111 h 680130"/>
                <a:gd name="connsiteX245" fmla="*/ 142925 w 306091"/>
                <a:gd name="connsiteY245" fmla="*/ 351687 h 680130"/>
                <a:gd name="connsiteX246" fmla="*/ 153123 w 306091"/>
                <a:gd name="connsiteY246" fmla="*/ 354851 h 680130"/>
                <a:gd name="connsiteX247" fmla="*/ 155641 w 306091"/>
                <a:gd name="connsiteY247" fmla="*/ 354957 h 680130"/>
                <a:gd name="connsiteX248" fmla="*/ 155641 w 306091"/>
                <a:gd name="connsiteY248" fmla="*/ 354957 h 680130"/>
                <a:gd name="connsiteX249" fmla="*/ 155641 w 306091"/>
                <a:gd name="connsiteY249" fmla="*/ 354957 h 680130"/>
                <a:gd name="connsiteX250" fmla="*/ 155641 w 306091"/>
                <a:gd name="connsiteY250" fmla="*/ 354957 h 680130"/>
                <a:gd name="connsiteX251" fmla="*/ 155648 w 306091"/>
                <a:gd name="connsiteY251" fmla="*/ 354957 h 680130"/>
                <a:gd name="connsiteX252" fmla="*/ 155648 w 306091"/>
                <a:gd name="connsiteY252" fmla="*/ 354957 h 680130"/>
                <a:gd name="connsiteX253" fmla="*/ 166837 w 306091"/>
                <a:gd name="connsiteY253" fmla="*/ 354851 h 680130"/>
                <a:gd name="connsiteX254" fmla="*/ 171648 w 306091"/>
                <a:gd name="connsiteY254" fmla="*/ 350491 h 680130"/>
                <a:gd name="connsiteX255" fmla="*/ 173167 w 306091"/>
                <a:gd name="connsiteY255" fmla="*/ 347818 h 680130"/>
                <a:gd name="connsiteX256" fmla="*/ 172386 w 306091"/>
                <a:gd name="connsiteY256" fmla="*/ 342494 h 680130"/>
                <a:gd name="connsiteX257" fmla="*/ 171057 w 306091"/>
                <a:gd name="connsiteY257" fmla="*/ 339027 h 680130"/>
                <a:gd name="connsiteX258" fmla="*/ 171057 w 306091"/>
                <a:gd name="connsiteY258" fmla="*/ 331291 h 680130"/>
                <a:gd name="connsiteX259" fmla="*/ 174574 w 306091"/>
                <a:gd name="connsiteY259" fmla="*/ 317928 h 680130"/>
                <a:gd name="connsiteX260" fmla="*/ 172267 w 306091"/>
                <a:gd name="connsiteY260" fmla="*/ 313328 h 680130"/>
                <a:gd name="connsiteX261" fmla="*/ 171057 w 306091"/>
                <a:gd name="connsiteY261" fmla="*/ 311246 h 680130"/>
                <a:gd name="connsiteX262" fmla="*/ 171057 w 306091"/>
                <a:gd name="connsiteY262" fmla="*/ 305620 h 680130"/>
                <a:gd name="connsiteX263" fmla="*/ 182310 w 306091"/>
                <a:gd name="connsiteY263" fmla="*/ 308785 h 680130"/>
                <a:gd name="connsiteX264" fmla="*/ 197431 w 306091"/>
                <a:gd name="connsiteY264" fmla="*/ 308785 h 680130"/>
                <a:gd name="connsiteX265" fmla="*/ 206715 w 306091"/>
                <a:gd name="connsiteY265" fmla="*/ 307357 h 680130"/>
                <a:gd name="connsiteX266" fmla="*/ 217827 w 306091"/>
                <a:gd name="connsiteY266" fmla="*/ 305620 h 680130"/>
                <a:gd name="connsiteX267" fmla="*/ 231541 w 306091"/>
                <a:gd name="connsiteY267" fmla="*/ 301400 h 680130"/>
                <a:gd name="connsiteX268" fmla="*/ 233412 w 306091"/>
                <a:gd name="connsiteY268" fmla="*/ 300528 h 680130"/>
                <a:gd name="connsiteX269" fmla="*/ 233412 w 306091"/>
                <a:gd name="connsiteY269" fmla="*/ 300528 h 680130"/>
                <a:gd name="connsiteX270" fmla="*/ 233419 w 306091"/>
                <a:gd name="connsiteY270" fmla="*/ 300528 h 680130"/>
                <a:gd name="connsiteX271" fmla="*/ 233426 w 306091"/>
                <a:gd name="connsiteY271" fmla="*/ 300521 h 680130"/>
                <a:gd name="connsiteX272" fmla="*/ 233426 w 306091"/>
                <a:gd name="connsiteY272" fmla="*/ 300521 h 680130"/>
                <a:gd name="connsiteX273" fmla="*/ 233426 w 306091"/>
                <a:gd name="connsiteY273" fmla="*/ 300521 h 680130"/>
                <a:gd name="connsiteX274" fmla="*/ 233426 w 306091"/>
                <a:gd name="connsiteY274" fmla="*/ 300521 h 680130"/>
                <a:gd name="connsiteX275" fmla="*/ 244201 w 306091"/>
                <a:gd name="connsiteY275" fmla="*/ 295070 h 680130"/>
                <a:gd name="connsiteX276" fmla="*/ 251234 w 306091"/>
                <a:gd name="connsiteY276" fmla="*/ 283818 h 680130"/>
                <a:gd name="connsiteX277" fmla="*/ 258970 w 306091"/>
                <a:gd name="connsiteY277" fmla="*/ 268696 h 680130"/>
                <a:gd name="connsiteX278" fmla="*/ 256860 w 306091"/>
                <a:gd name="connsiteY278" fmla="*/ 259905 h 680130"/>
                <a:gd name="connsiteX279" fmla="*/ 249124 w 306091"/>
                <a:gd name="connsiteY279" fmla="*/ 256740 h 680130"/>
                <a:gd name="connsiteX280" fmla="*/ 247338 w 306091"/>
                <a:gd name="connsiteY280" fmla="*/ 252288 h 680130"/>
                <a:gd name="connsiteX281" fmla="*/ 246311 w 306091"/>
                <a:gd name="connsiteY281" fmla="*/ 248652 h 680130"/>
                <a:gd name="connsiteX282" fmla="*/ 248336 w 306091"/>
                <a:gd name="connsiteY282" fmla="*/ 245825 h 680130"/>
                <a:gd name="connsiteX283" fmla="*/ 251234 w 306091"/>
                <a:gd name="connsiteY283" fmla="*/ 244081 h 680130"/>
                <a:gd name="connsiteX284" fmla="*/ 246311 w 306091"/>
                <a:gd name="connsiteY284" fmla="*/ 234235 h 680130"/>
                <a:gd name="connsiteX285" fmla="*/ 230135 w 306091"/>
                <a:gd name="connsiteY285" fmla="*/ 220872 h 680130"/>
                <a:gd name="connsiteX286" fmla="*/ 232596 w 306091"/>
                <a:gd name="connsiteY286" fmla="*/ 210674 h 680130"/>
                <a:gd name="connsiteX287" fmla="*/ 238617 w 306091"/>
                <a:gd name="connsiteY287" fmla="*/ 176943 h 680130"/>
                <a:gd name="connsiteX288" fmla="*/ 249124 w 306091"/>
                <a:gd name="connsiteY288" fmla="*/ 138585 h 680130"/>
                <a:gd name="connsiteX289" fmla="*/ 249483 w 306091"/>
                <a:gd name="connsiteY289" fmla="*/ 138550 h 680130"/>
                <a:gd name="connsiteX290" fmla="*/ 269872 w 306091"/>
                <a:gd name="connsiteY290" fmla="*/ 116431 h 680130"/>
                <a:gd name="connsiteX291" fmla="*/ 273241 w 306091"/>
                <a:gd name="connsiteY291" fmla="*/ 112872 h 680130"/>
                <a:gd name="connsiteX292" fmla="*/ 277608 w 306091"/>
                <a:gd name="connsiteY292" fmla="*/ 108343 h 680130"/>
                <a:gd name="connsiteX293" fmla="*/ 285344 w 306091"/>
                <a:gd name="connsiteY293" fmla="*/ 100958 h 680130"/>
                <a:gd name="connsiteX294" fmla="*/ 290317 w 306091"/>
                <a:gd name="connsiteY294" fmla="*/ 98567 h 680130"/>
                <a:gd name="connsiteX295" fmla="*/ 296246 w 306091"/>
                <a:gd name="connsiteY295" fmla="*/ 94980 h 680130"/>
                <a:gd name="connsiteX296" fmla="*/ 300430 w 306091"/>
                <a:gd name="connsiteY296" fmla="*/ 90950 h 680130"/>
                <a:gd name="connsiteX297" fmla="*/ 302224 w 306091"/>
                <a:gd name="connsiteY297" fmla="*/ 89354 h 680130"/>
                <a:gd name="connsiteX298" fmla="*/ 304193 w 306091"/>
                <a:gd name="connsiteY298" fmla="*/ 87926 h 680130"/>
                <a:gd name="connsiteX299" fmla="*/ 306092 w 306091"/>
                <a:gd name="connsiteY299" fmla="*/ 85485 h 680130"/>
                <a:gd name="connsiteX300" fmla="*/ 306092 w 306091"/>
                <a:gd name="connsiteY300" fmla="*/ 79859 h 680130"/>
                <a:gd name="connsiteX301" fmla="*/ 306092 w 306091"/>
                <a:gd name="connsiteY301" fmla="*/ 68958 h 680130"/>
                <a:gd name="connsiteX302" fmla="*/ 303623 w 306091"/>
                <a:gd name="connsiteY302" fmla="*/ 66827 h 680130"/>
                <a:gd name="connsiteX303" fmla="*/ 301169 w 306091"/>
                <a:gd name="connsiteY303" fmla="*/ 65090 h 680130"/>
                <a:gd name="connsiteX304" fmla="*/ 299108 w 306091"/>
                <a:gd name="connsiteY304" fmla="*/ 63753 h 680130"/>
                <a:gd name="connsiteX305" fmla="*/ 296696 w 306091"/>
                <a:gd name="connsiteY305" fmla="*/ 62086 h 680130"/>
                <a:gd name="connsiteX306" fmla="*/ 73649 w 306091"/>
                <a:gd name="connsiteY306" fmla="*/ 676262 h 680130"/>
                <a:gd name="connsiteX307" fmla="*/ 73649 w 306091"/>
                <a:gd name="connsiteY307" fmla="*/ 618591 h 680130"/>
                <a:gd name="connsiteX308" fmla="*/ 75759 w 306091"/>
                <a:gd name="connsiteY308" fmla="*/ 622459 h 680130"/>
                <a:gd name="connsiteX309" fmla="*/ 76631 w 306091"/>
                <a:gd name="connsiteY309" fmla="*/ 623760 h 680130"/>
                <a:gd name="connsiteX310" fmla="*/ 77518 w 306091"/>
                <a:gd name="connsiteY310" fmla="*/ 625976 h 680130"/>
                <a:gd name="connsiteX311" fmla="*/ 78221 w 306091"/>
                <a:gd name="connsiteY311" fmla="*/ 629492 h 680130"/>
                <a:gd name="connsiteX312" fmla="*/ 78924 w 306091"/>
                <a:gd name="connsiteY312" fmla="*/ 633009 h 680130"/>
                <a:gd name="connsiteX313" fmla="*/ 79733 w 306091"/>
                <a:gd name="connsiteY313" fmla="*/ 634901 h 680130"/>
                <a:gd name="connsiteX314" fmla="*/ 81034 w 306091"/>
                <a:gd name="connsiteY314" fmla="*/ 637932 h 680130"/>
                <a:gd name="connsiteX315" fmla="*/ 84037 w 306091"/>
                <a:gd name="connsiteY315" fmla="*/ 643010 h 680130"/>
                <a:gd name="connsiteX316" fmla="*/ 86309 w 306091"/>
                <a:gd name="connsiteY316" fmla="*/ 646020 h 680130"/>
                <a:gd name="connsiteX317" fmla="*/ 91176 w 306091"/>
                <a:gd name="connsiteY317" fmla="*/ 651625 h 680130"/>
                <a:gd name="connsiteX318" fmla="*/ 91176 w 306091"/>
                <a:gd name="connsiteY318" fmla="*/ 651625 h 680130"/>
                <a:gd name="connsiteX319" fmla="*/ 91183 w 306091"/>
                <a:gd name="connsiteY319" fmla="*/ 651625 h 680130"/>
                <a:gd name="connsiteX320" fmla="*/ 91183 w 306091"/>
                <a:gd name="connsiteY320" fmla="*/ 651625 h 680130"/>
                <a:gd name="connsiteX321" fmla="*/ 91197 w 306091"/>
                <a:gd name="connsiteY321" fmla="*/ 651639 h 680130"/>
                <a:gd name="connsiteX322" fmla="*/ 92639 w 306091"/>
                <a:gd name="connsiteY322" fmla="*/ 653053 h 680130"/>
                <a:gd name="connsiteX323" fmla="*/ 99672 w 306091"/>
                <a:gd name="connsiteY323" fmla="*/ 658679 h 680130"/>
                <a:gd name="connsiteX324" fmla="*/ 106001 w 306091"/>
                <a:gd name="connsiteY324" fmla="*/ 665009 h 680130"/>
                <a:gd name="connsiteX325" fmla="*/ 110278 w 306091"/>
                <a:gd name="connsiteY325" fmla="*/ 667675 h 680130"/>
                <a:gd name="connsiteX326" fmla="*/ 110278 w 306091"/>
                <a:gd name="connsiteY326" fmla="*/ 667675 h 680130"/>
                <a:gd name="connsiteX327" fmla="*/ 115496 w 306091"/>
                <a:gd name="connsiteY327" fmla="*/ 670987 h 680130"/>
                <a:gd name="connsiteX328" fmla="*/ 127452 w 306091"/>
                <a:gd name="connsiteY328" fmla="*/ 673449 h 680130"/>
                <a:gd name="connsiteX329" fmla="*/ 124639 w 306091"/>
                <a:gd name="connsiteY329" fmla="*/ 676262 h 680130"/>
                <a:gd name="connsiteX330" fmla="*/ 120068 w 306091"/>
                <a:gd name="connsiteY330" fmla="*/ 677669 h 680130"/>
                <a:gd name="connsiteX331" fmla="*/ 116987 w 306091"/>
                <a:gd name="connsiteY331" fmla="*/ 678414 h 680130"/>
                <a:gd name="connsiteX332" fmla="*/ 108815 w 306091"/>
                <a:gd name="connsiteY332" fmla="*/ 680130 h 680130"/>
                <a:gd name="connsiteX333" fmla="*/ 105826 w 306091"/>
                <a:gd name="connsiteY333" fmla="*/ 679778 h 680130"/>
                <a:gd name="connsiteX334" fmla="*/ 102837 w 306091"/>
                <a:gd name="connsiteY334" fmla="*/ 679427 h 680130"/>
                <a:gd name="connsiteX335" fmla="*/ 96458 w 306091"/>
                <a:gd name="connsiteY335" fmla="*/ 678091 h 680130"/>
                <a:gd name="connsiteX336" fmla="*/ 95100 w 306091"/>
                <a:gd name="connsiteY336" fmla="*/ 677669 h 680130"/>
                <a:gd name="connsiteX337" fmla="*/ 73649 w 306091"/>
                <a:gd name="connsiteY337" fmla="*/ 676262 h 680130"/>
                <a:gd name="connsiteX338" fmla="*/ 134921 w 306091"/>
                <a:gd name="connsiteY338" fmla="*/ 676037 h 680130"/>
                <a:gd name="connsiteX339" fmla="*/ 137299 w 306091"/>
                <a:gd name="connsiteY339" fmla="*/ 677669 h 680130"/>
                <a:gd name="connsiteX340" fmla="*/ 144683 w 306091"/>
                <a:gd name="connsiteY340" fmla="*/ 676262 h 680130"/>
                <a:gd name="connsiteX341" fmla="*/ 148903 w 306091"/>
                <a:gd name="connsiteY341" fmla="*/ 672745 h 680130"/>
                <a:gd name="connsiteX342" fmla="*/ 146793 w 306091"/>
                <a:gd name="connsiteY342" fmla="*/ 671690 h 680130"/>
                <a:gd name="connsiteX343" fmla="*/ 141870 w 306091"/>
                <a:gd name="connsiteY343" fmla="*/ 673449 h 680130"/>
                <a:gd name="connsiteX344" fmla="*/ 138354 w 306091"/>
                <a:gd name="connsiteY344" fmla="*/ 674504 h 680130"/>
                <a:gd name="connsiteX345" fmla="*/ 134837 w 306091"/>
                <a:gd name="connsiteY345" fmla="*/ 675207 h 680130"/>
                <a:gd name="connsiteX346" fmla="*/ 134921 w 306091"/>
                <a:gd name="connsiteY346" fmla="*/ 676037 h 6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</a:cxnLst>
              <a:rect l="l" t="t" r="r" b="b"/>
              <a:pathLst>
                <a:path w="306091" h="680130">
                  <a:moveTo>
                    <a:pt x="296696" y="62086"/>
                  </a:moveTo>
                  <a:cubicBezTo>
                    <a:pt x="296717" y="62107"/>
                    <a:pt x="296731" y="62121"/>
                    <a:pt x="296752" y="62143"/>
                  </a:cubicBezTo>
                  <a:cubicBezTo>
                    <a:pt x="295444" y="63465"/>
                    <a:pt x="294382" y="64618"/>
                    <a:pt x="293784" y="65441"/>
                  </a:cubicBezTo>
                  <a:cubicBezTo>
                    <a:pt x="291913" y="68015"/>
                    <a:pt x="290352" y="74781"/>
                    <a:pt x="289206" y="79754"/>
                  </a:cubicBezTo>
                  <a:cubicBezTo>
                    <a:pt x="288629" y="82264"/>
                    <a:pt x="288158" y="84311"/>
                    <a:pt x="287806" y="85134"/>
                  </a:cubicBezTo>
                  <a:cubicBezTo>
                    <a:pt x="287046" y="86899"/>
                    <a:pt x="282496" y="90472"/>
                    <a:pt x="278944" y="93264"/>
                  </a:cubicBezTo>
                  <a:cubicBezTo>
                    <a:pt x="277538" y="94361"/>
                    <a:pt x="276293" y="95339"/>
                    <a:pt x="275498" y="96035"/>
                  </a:cubicBezTo>
                  <a:cubicBezTo>
                    <a:pt x="272685" y="98497"/>
                    <a:pt x="253696" y="97090"/>
                    <a:pt x="247718" y="96035"/>
                  </a:cubicBezTo>
                  <a:cubicBezTo>
                    <a:pt x="241739" y="94980"/>
                    <a:pt x="229432" y="90760"/>
                    <a:pt x="229432" y="87947"/>
                  </a:cubicBezTo>
                  <a:cubicBezTo>
                    <a:pt x="229432" y="86801"/>
                    <a:pt x="231302" y="84480"/>
                    <a:pt x="233736" y="81470"/>
                  </a:cubicBezTo>
                  <a:lnTo>
                    <a:pt x="233736" y="81470"/>
                  </a:lnTo>
                  <a:lnTo>
                    <a:pt x="233736" y="81470"/>
                  </a:lnTo>
                  <a:cubicBezTo>
                    <a:pt x="237266" y="77102"/>
                    <a:pt x="241979" y="71272"/>
                    <a:pt x="243849" y="65441"/>
                  </a:cubicBezTo>
                  <a:cubicBezTo>
                    <a:pt x="246487" y="57234"/>
                    <a:pt x="238617" y="54399"/>
                    <a:pt x="232667" y="52261"/>
                  </a:cubicBezTo>
                  <a:lnTo>
                    <a:pt x="232667" y="52261"/>
                  </a:lnTo>
                  <a:cubicBezTo>
                    <a:pt x="231478" y="51832"/>
                    <a:pt x="230367" y="51431"/>
                    <a:pt x="229432" y="51023"/>
                  </a:cubicBezTo>
                  <a:cubicBezTo>
                    <a:pt x="227434" y="50151"/>
                    <a:pt x="224734" y="48126"/>
                    <a:pt x="221667" y="45833"/>
                  </a:cubicBezTo>
                  <a:lnTo>
                    <a:pt x="221667" y="45833"/>
                  </a:lnTo>
                  <a:lnTo>
                    <a:pt x="221667" y="45833"/>
                  </a:lnTo>
                  <a:cubicBezTo>
                    <a:pt x="216090" y="41656"/>
                    <a:pt x="209310" y="36585"/>
                    <a:pt x="203409" y="35902"/>
                  </a:cubicBezTo>
                  <a:cubicBezTo>
                    <a:pt x="196883" y="35150"/>
                    <a:pt x="193225" y="31352"/>
                    <a:pt x="188724" y="26682"/>
                  </a:cubicBezTo>
                  <a:cubicBezTo>
                    <a:pt x="186917" y="24811"/>
                    <a:pt x="184976" y="22793"/>
                    <a:pt x="182662" y="20781"/>
                  </a:cubicBezTo>
                  <a:cubicBezTo>
                    <a:pt x="178554" y="17209"/>
                    <a:pt x="172534" y="9676"/>
                    <a:pt x="167449" y="2847"/>
                  </a:cubicBezTo>
                  <a:lnTo>
                    <a:pt x="146442" y="2847"/>
                  </a:lnTo>
                  <a:cubicBezTo>
                    <a:pt x="141940" y="2847"/>
                    <a:pt x="138473" y="11287"/>
                    <a:pt x="137299" y="15507"/>
                  </a:cubicBezTo>
                  <a:cubicBezTo>
                    <a:pt x="135540" y="12110"/>
                    <a:pt x="131602" y="4816"/>
                    <a:pt x="129914" y="2847"/>
                  </a:cubicBezTo>
                  <a:cubicBezTo>
                    <a:pt x="128184" y="828"/>
                    <a:pt x="121242" y="463"/>
                    <a:pt x="116284" y="210"/>
                  </a:cubicBezTo>
                  <a:lnTo>
                    <a:pt x="116284" y="210"/>
                  </a:lnTo>
                  <a:lnTo>
                    <a:pt x="116277" y="210"/>
                  </a:lnTo>
                  <a:cubicBezTo>
                    <a:pt x="115194" y="146"/>
                    <a:pt x="114209" y="97"/>
                    <a:pt x="113386" y="34"/>
                  </a:cubicBezTo>
                  <a:cubicBezTo>
                    <a:pt x="110299" y="-205"/>
                    <a:pt x="109616" y="843"/>
                    <a:pt x="108526" y="2524"/>
                  </a:cubicBezTo>
                  <a:cubicBezTo>
                    <a:pt x="107999" y="3332"/>
                    <a:pt x="107380" y="4282"/>
                    <a:pt x="106353" y="5309"/>
                  </a:cubicBezTo>
                  <a:cubicBezTo>
                    <a:pt x="105453" y="6209"/>
                    <a:pt x="104412" y="7425"/>
                    <a:pt x="103315" y="8698"/>
                  </a:cubicBezTo>
                  <a:lnTo>
                    <a:pt x="103315" y="8698"/>
                  </a:lnTo>
                  <a:cubicBezTo>
                    <a:pt x="101142" y="11230"/>
                    <a:pt x="98757" y="14001"/>
                    <a:pt x="96859" y="15064"/>
                  </a:cubicBezTo>
                  <a:lnTo>
                    <a:pt x="96859" y="20430"/>
                  </a:lnTo>
                  <a:cubicBezTo>
                    <a:pt x="96859" y="21393"/>
                    <a:pt x="96901" y="22195"/>
                    <a:pt x="96943" y="22969"/>
                  </a:cubicBezTo>
                  <a:cubicBezTo>
                    <a:pt x="97020" y="24460"/>
                    <a:pt x="97091" y="25859"/>
                    <a:pt x="96859" y="28166"/>
                  </a:cubicBezTo>
                  <a:cubicBezTo>
                    <a:pt x="96633" y="30410"/>
                    <a:pt x="96556" y="30508"/>
                    <a:pt x="95979" y="31197"/>
                  </a:cubicBezTo>
                  <a:cubicBezTo>
                    <a:pt x="95649" y="31584"/>
                    <a:pt x="95164" y="32168"/>
                    <a:pt x="94397" y="33441"/>
                  </a:cubicBezTo>
                  <a:cubicBezTo>
                    <a:pt x="92885" y="35966"/>
                    <a:pt x="92639" y="36135"/>
                    <a:pt x="91837" y="36676"/>
                  </a:cubicBezTo>
                  <a:cubicBezTo>
                    <a:pt x="91520" y="36894"/>
                    <a:pt x="91127" y="37168"/>
                    <a:pt x="90529" y="37661"/>
                  </a:cubicBezTo>
                  <a:cubicBezTo>
                    <a:pt x="89776" y="38287"/>
                    <a:pt x="88306" y="39187"/>
                    <a:pt x="86625" y="40207"/>
                  </a:cubicBezTo>
                  <a:lnTo>
                    <a:pt x="86625" y="40207"/>
                  </a:lnTo>
                  <a:lnTo>
                    <a:pt x="86625" y="40207"/>
                  </a:lnTo>
                  <a:cubicBezTo>
                    <a:pt x="83608" y="42049"/>
                    <a:pt x="79930" y="44293"/>
                    <a:pt x="78573" y="46100"/>
                  </a:cubicBezTo>
                  <a:cubicBezTo>
                    <a:pt x="77292" y="47802"/>
                    <a:pt x="77180" y="48991"/>
                    <a:pt x="77046" y="50285"/>
                  </a:cubicBezTo>
                  <a:cubicBezTo>
                    <a:pt x="76969" y="51136"/>
                    <a:pt x="76878" y="52022"/>
                    <a:pt x="76463" y="53133"/>
                  </a:cubicBezTo>
                  <a:cubicBezTo>
                    <a:pt x="75823" y="54843"/>
                    <a:pt x="75956" y="55124"/>
                    <a:pt x="76167" y="55553"/>
                  </a:cubicBezTo>
                  <a:cubicBezTo>
                    <a:pt x="76301" y="55834"/>
                    <a:pt x="76463" y="56172"/>
                    <a:pt x="76463" y="57002"/>
                  </a:cubicBezTo>
                  <a:lnTo>
                    <a:pt x="76463" y="68606"/>
                  </a:lnTo>
                  <a:cubicBezTo>
                    <a:pt x="76463" y="70027"/>
                    <a:pt x="76406" y="70758"/>
                    <a:pt x="76357" y="71335"/>
                  </a:cubicBezTo>
                  <a:cubicBezTo>
                    <a:pt x="76294" y="72186"/>
                    <a:pt x="76252" y="72699"/>
                    <a:pt x="76463" y="74584"/>
                  </a:cubicBezTo>
                  <a:cubicBezTo>
                    <a:pt x="76610" y="75928"/>
                    <a:pt x="76821" y="76575"/>
                    <a:pt x="77018" y="77165"/>
                  </a:cubicBezTo>
                  <a:cubicBezTo>
                    <a:pt x="77285" y="77974"/>
                    <a:pt x="77518" y="78685"/>
                    <a:pt x="77518" y="80914"/>
                  </a:cubicBezTo>
                  <a:cubicBezTo>
                    <a:pt x="77518" y="82651"/>
                    <a:pt x="77588" y="83396"/>
                    <a:pt x="77637" y="83882"/>
                  </a:cubicBezTo>
                  <a:cubicBezTo>
                    <a:pt x="77693" y="84473"/>
                    <a:pt x="77715" y="84677"/>
                    <a:pt x="77518" y="85837"/>
                  </a:cubicBezTo>
                  <a:cubicBezTo>
                    <a:pt x="77250" y="87440"/>
                    <a:pt x="76371" y="88643"/>
                    <a:pt x="74880" y="90676"/>
                  </a:cubicBezTo>
                  <a:lnTo>
                    <a:pt x="74880" y="90676"/>
                  </a:lnTo>
                  <a:lnTo>
                    <a:pt x="74880" y="90676"/>
                  </a:lnTo>
                  <a:cubicBezTo>
                    <a:pt x="74409" y="91316"/>
                    <a:pt x="73882" y="92033"/>
                    <a:pt x="73298" y="92870"/>
                  </a:cubicBezTo>
                  <a:cubicBezTo>
                    <a:pt x="71743" y="95085"/>
                    <a:pt x="69634" y="97167"/>
                    <a:pt x="67932" y="98841"/>
                  </a:cubicBezTo>
                  <a:lnTo>
                    <a:pt x="67932" y="98841"/>
                  </a:lnTo>
                  <a:cubicBezTo>
                    <a:pt x="66933" y="99819"/>
                    <a:pt x="66082" y="100663"/>
                    <a:pt x="65561" y="101310"/>
                  </a:cubicBezTo>
                  <a:cubicBezTo>
                    <a:pt x="64436" y="102716"/>
                    <a:pt x="62277" y="105881"/>
                    <a:pt x="61342" y="107288"/>
                  </a:cubicBezTo>
                  <a:cubicBezTo>
                    <a:pt x="60054" y="108343"/>
                    <a:pt x="57122" y="112000"/>
                    <a:pt x="55715" y="118189"/>
                  </a:cubicBezTo>
                  <a:cubicBezTo>
                    <a:pt x="55504" y="119258"/>
                    <a:pt x="55286" y="119807"/>
                    <a:pt x="54604" y="121572"/>
                  </a:cubicBezTo>
                  <a:lnTo>
                    <a:pt x="54597" y="121572"/>
                  </a:lnTo>
                  <a:cubicBezTo>
                    <a:pt x="54154" y="122712"/>
                    <a:pt x="53514" y="124357"/>
                    <a:pt x="52550" y="126980"/>
                  </a:cubicBezTo>
                  <a:cubicBezTo>
                    <a:pt x="51144" y="129442"/>
                    <a:pt x="52199" y="133662"/>
                    <a:pt x="52550" y="135068"/>
                  </a:cubicBezTo>
                  <a:cubicBezTo>
                    <a:pt x="52782" y="135997"/>
                    <a:pt x="52705" y="137382"/>
                    <a:pt x="52628" y="138831"/>
                  </a:cubicBezTo>
                  <a:cubicBezTo>
                    <a:pt x="52592" y="139570"/>
                    <a:pt x="52550" y="140329"/>
                    <a:pt x="52550" y="141047"/>
                  </a:cubicBezTo>
                  <a:lnTo>
                    <a:pt x="52550" y="145266"/>
                  </a:lnTo>
                  <a:lnTo>
                    <a:pt x="52550" y="149135"/>
                  </a:lnTo>
                  <a:cubicBezTo>
                    <a:pt x="52550" y="150358"/>
                    <a:pt x="50904" y="152757"/>
                    <a:pt x="49238" y="155169"/>
                  </a:cubicBezTo>
                  <a:cubicBezTo>
                    <a:pt x="48028" y="156934"/>
                    <a:pt x="46811" y="158700"/>
                    <a:pt x="46221" y="160036"/>
                  </a:cubicBezTo>
                  <a:cubicBezTo>
                    <a:pt x="45391" y="161907"/>
                    <a:pt x="45538" y="162427"/>
                    <a:pt x="45805" y="163334"/>
                  </a:cubicBezTo>
                  <a:cubicBezTo>
                    <a:pt x="45981" y="163960"/>
                    <a:pt x="46221" y="164783"/>
                    <a:pt x="46221" y="166366"/>
                  </a:cubicBezTo>
                  <a:lnTo>
                    <a:pt x="46221" y="173399"/>
                  </a:lnTo>
                  <a:cubicBezTo>
                    <a:pt x="46221" y="176268"/>
                    <a:pt x="46867" y="177344"/>
                    <a:pt x="47838" y="178962"/>
                  </a:cubicBezTo>
                  <a:cubicBezTo>
                    <a:pt x="48295" y="179721"/>
                    <a:pt x="48823" y="180601"/>
                    <a:pt x="49385" y="181838"/>
                  </a:cubicBezTo>
                  <a:cubicBezTo>
                    <a:pt x="50405" y="184075"/>
                    <a:pt x="50124" y="184785"/>
                    <a:pt x="49779" y="185664"/>
                  </a:cubicBezTo>
                  <a:cubicBezTo>
                    <a:pt x="49526" y="186304"/>
                    <a:pt x="49238" y="187036"/>
                    <a:pt x="49385" y="188520"/>
                  </a:cubicBezTo>
                  <a:cubicBezTo>
                    <a:pt x="49519" y="189849"/>
                    <a:pt x="49702" y="190524"/>
                    <a:pt x="49878" y="191178"/>
                  </a:cubicBezTo>
                  <a:cubicBezTo>
                    <a:pt x="50166" y="192247"/>
                    <a:pt x="50440" y="193246"/>
                    <a:pt x="50440" y="196959"/>
                  </a:cubicBezTo>
                  <a:cubicBezTo>
                    <a:pt x="50440" y="200848"/>
                    <a:pt x="51334" y="201165"/>
                    <a:pt x="52248" y="201496"/>
                  </a:cubicBezTo>
                  <a:cubicBezTo>
                    <a:pt x="52740" y="201672"/>
                    <a:pt x="53239" y="201847"/>
                    <a:pt x="53605" y="202586"/>
                  </a:cubicBezTo>
                  <a:cubicBezTo>
                    <a:pt x="54231" y="203831"/>
                    <a:pt x="54119" y="204710"/>
                    <a:pt x="53915" y="206236"/>
                  </a:cubicBezTo>
                  <a:cubicBezTo>
                    <a:pt x="53781" y="207291"/>
                    <a:pt x="53605" y="208662"/>
                    <a:pt x="53605" y="210674"/>
                  </a:cubicBezTo>
                  <a:cubicBezTo>
                    <a:pt x="53605" y="213768"/>
                    <a:pt x="53324" y="215477"/>
                    <a:pt x="53035" y="217278"/>
                  </a:cubicBezTo>
                  <a:cubicBezTo>
                    <a:pt x="52860" y="218340"/>
                    <a:pt x="52684" y="219437"/>
                    <a:pt x="52550" y="220872"/>
                  </a:cubicBezTo>
                  <a:cubicBezTo>
                    <a:pt x="52318" y="223425"/>
                    <a:pt x="51931" y="224142"/>
                    <a:pt x="51397" y="225141"/>
                  </a:cubicBezTo>
                  <a:cubicBezTo>
                    <a:pt x="51115" y="225654"/>
                    <a:pt x="50799" y="226245"/>
                    <a:pt x="50440" y="227201"/>
                  </a:cubicBezTo>
                  <a:cubicBezTo>
                    <a:pt x="49927" y="228580"/>
                    <a:pt x="49238" y="229790"/>
                    <a:pt x="48506" y="231077"/>
                  </a:cubicBezTo>
                  <a:cubicBezTo>
                    <a:pt x="47747" y="232420"/>
                    <a:pt x="46938" y="233848"/>
                    <a:pt x="46221" y="235641"/>
                  </a:cubicBezTo>
                  <a:cubicBezTo>
                    <a:pt x="45095" y="238454"/>
                    <a:pt x="45749" y="245255"/>
                    <a:pt x="46221" y="248301"/>
                  </a:cubicBezTo>
                  <a:cubicBezTo>
                    <a:pt x="45166" y="250411"/>
                    <a:pt x="42845" y="254912"/>
                    <a:pt x="42001" y="256037"/>
                  </a:cubicBezTo>
                  <a:cubicBezTo>
                    <a:pt x="41157" y="257162"/>
                    <a:pt x="39771" y="258379"/>
                    <a:pt x="39187" y="258850"/>
                  </a:cubicBezTo>
                  <a:cubicBezTo>
                    <a:pt x="38484" y="260025"/>
                    <a:pt x="37078" y="262859"/>
                    <a:pt x="37078" y="264828"/>
                  </a:cubicBezTo>
                  <a:lnTo>
                    <a:pt x="37078" y="270806"/>
                  </a:lnTo>
                  <a:lnTo>
                    <a:pt x="37078" y="277488"/>
                  </a:lnTo>
                  <a:lnTo>
                    <a:pt x="37078" y="282763"/>
                  </a:lnTo>
                  <a:lnTo>
                    <a:pt x="37078" y="288389"/>
                  </a:lnTo>
                  <a:lnTo>
                    <a:pt x="37078" y="294015"/>
                  </a:lnTo>
                  <a:cubicBezTo>
                    <a:pt x="37078" y="295162"/>
                    <a:pt x="37127" y="296076"/>
                    <a:pt x="37169" y="296913"/>
                  </a:cubicBezTo>
                  <a:cubicBezTo>
                    <a:pt x="37239" y="298383"/>
                    <a:pt x="37303" y="299607"/>
                    <a:pt x="37078" y="301400"/>
                  </a:cubicBezTo>
                  <a:cubicBezTo>
                    <a:pt x="36810" y="303510"/>
                    <a:pt x="36156" y="304038"/>
                    <a:pt x="35249" y="304762"/>
                  </a:cubicBezTo>
                  <a:cubicBezTo>
                    <a:pt x="34947" y="305008"/>
                    <a:pt x="34616" y="305268"/>
                    <a:pt x="34264" y="305620"/>
                  </a:cubicBezTo>
                  <a:cubicBezTo>
                    <a:pt x="33498" y="306387"/>
                    <a:pt x="32837" y="307252"/>
                    <a:pt x="32056" y="308278"/>
                  </a:cubicBezTo>
                  <a:cubicBezTo>
                    <a:pt x="31402" y="309143"/>
                    <a:pt x="30656" y="310121"/>
                    <a:pt x="29693" y="311246"/>
                  </a:cubicBezTo>
                  <a:cubicBezTo>
                    <a:pt x="28420" y="312730"/>
                    <a:pt x="28040" y="313835"/>
                    <a:pt x="27477" y="315480"/>
                  </a:cubicBezTo>
                  <a:cubicBezTo>
                    <a:pt x="27112" y="316556"/>
                    <a:pt x="26662" y="317872"/>
                    <a:pt x="25825" y="319686"/>
                  </a:cubicBezTo>
                  <a:cubicBezTo>
                    <a:pt x="24523" y="322499"/>
                    <a:pt x="24960" y="324117"/>
                    <a:pt x="25403" y="325763"/>
                  </a:cubicBezTo>
                  <a:cubicBezTo>
                    <a:pt x="25677" y="326790"/>
                    <a:pt x="25958" y="327830"/>
                    <a:pt x="25825" y="329181"/>
                  </a:cubicBezTo>
                  <a:cubicBezTo>
                    <a:pt x="25635" y="331080"/>
                    <a:pt x="24727" y="332669"/>
                    <a:pt x="23933" y="334062"/>
                  </a:cubicBezTo>
                  <a:cubicBezTo>
                    <a:pt x="23258" y="335250"/>
                    <a:pt x="22660" y="336298"/>
                    <a:pt x="22660" y="337269"/>
                  </a:cubicBezTo>
                  <a:lnTo>
                    <a:pt x="22660" y="343247"/>
                  </a:lnTo>
                  <a:lnTo>
                    <a:pt x="22660" y="349225"/>
                  </a:lnTo>
                  <a:lnTo>
                    <a:pt x="22660" y="354851"/>
                  </a:lnTo>
                  <a:lnTo>
                    <a:pt x="22660" y="361884"/>
                  </a:lnTo>
                  <a:lnTo>
                    <a:pt x="22660" y="368214"/>
                  </a:lnTo>
                  <a:cubicBezTo>
                    <a:pt x="22660" y="369797"/>
                    <a:pt x="22041" y="370852"/>
                    <a:pt x="21429" y="371907"/>
                  </a:cubicBezTo>
                  <a:cubicBezTo>
                    <a:pt x="20810" y="372962"/>
                    <a:pt x="20198" y="374016"/>
                    <a:pt x="20198" y="375599"/>
                  </a:cubicBezTo>
                  <a:cubicBezTo>
                    <a:pt x="20198" y="377104"/>
                    <a:pt x="19882" y="377730"/>
                    <a:pt x="19551" y="378398"/>
                  </a:cubicBezTo>
                  <a:cubicBezTo>
                    <a:pt x="19178" y="379130"/>
                    <a:pt x="18792" y="379896"/>
                    <a:pt x="18792" y="381929"/>
                  </a:cubicBezTo>
                  <a:cubicBezTo>
                    <a:pt x="18792" y="384467"/>
                    <a:pt x="19397" y="385192"/>
                    <a:pt x="19818" y="385684"/>
                  </a:cubicBezTo>
                  <a:cubicBezTo>
                    <a:pt x="20029" y="385944"/>
                    <a:pt x="20198" y="386142"/>
                    <a:pt x="20198" y="386500"/>
                  </a:cubicBezTo>
                  <a:cubicBezTo>
                    <a:pt x="20198" y="387555"/>
                    <a:pt x="21605" y="392478"/>
                    <a:pt x="22660" y="395995"/>
                  </a:cubicBezTo>
                  <a:cubicBezTo>
                    <a:pt x="23504" y="398808"/>
                    <a:pt x="23011" y="399982"/>
                    <a:pt x="22660" y="400215"/>
                  </a:cubicBezTo>
                  <a:cubicBezTo>
                    <a:pt x="23947" y="401150"/>
                    <a:pt x="26739" y="403520"/>
                    <a:pt x="27583" y="405489"/>
                  </a:cubicBezTo>
                  <a:cubicBezTo>
                    <a:pt x="28638" y="407951"/>
                    <a:pt x="28286" y="409709"/>
                    <a:pt x="27583" y="410764"/>
                  </a:cubicBezTo>
                  <a:cubicBezTo>
                    <a:pt x="26880" y="411819"/>
                    <a:pt x="26528" y="413929"/>
                    <a:pt x="26528" y="418149"/>
                  </a:cubicBezTo>
                  <a:cubicBezTo>
                    <a:pt x="26528" y="419893"/>
                    <a:pt x="26528" y="420554"/>
                    <a:pt x="26851" y="420955"/>
                  </a:cubicBezTo>
                  <a:cubicBezTo>
                    <a:pt x="27048" y="421201"/>
                    <a:pt x="27372" y="421349"/>
                    <a:pt x="27885" y="421588"/>
                  </a:cubicBezTo>
                  <a:cubicBezTo>
                    <a:pt x="28560" y="421898"/>
                    <a:pt x="29573" y="422369"/>
                    <a:pt x="31099" y="423424"/>
                  </a:cubicBezTo>
                  <a:cubicBezTo>
                    <a:pt x="34236" y="425597"/>
                    <a:pt x="33730" y="427271"/>
                    <a:pt x="33104" y="429353"/>
                  </a:cubicBezTo>
                  <a:cubicBezTo>
                    <a:pt x="32815" y="430309"/>
                    <a:pt x="32506" y="431350"/>
                    <a:pt x="32506" y="432567"/>
                  </a:cubicBezTo>
                  <a:cubicBezTo>
                    <a:pt x="32506" y="434979"/>
                    <a:pt x="30178" y="436435"/>
                    <a:pt x="28427" y="437532"/>
                  </a:cubicBezTo>
                  <a:cubicBezTo>
                    <a:pt x="27372" y="438193"/>
                    <a:pt x="26528" y="438721"/>
                    <a:pt x="26528" y="439248"/>
                  </a:cubicBezTo>
                  <a:lnTo>
                    <a:pt x="26528" y="449094"/>
                  </a:lnTo>
                  <a:cubicBezTo>
                    <a:pt x="26528" y="450121"/>
                    <a:pt x="26563" y="450930"/>
                    <a:pt x="26605" y="451760"/>
                  </a:cubicBezTo>
                  <a:cubicBezTo>
                    <a:pt x="26683" y="453469"/>
                    <a:pt x="26767" y="455262"/>
                    <a:pt x="26528" y="459292"/>
                  </a:cubicBezTo>
                  <a:cubicBezTo>
                    <a:pt x="26303" y="463097"/>
                    <a:pt x="24938" y="468034"/>
                    <a:pt x="23891" y="471853"/>
                  </a:cubicBezTo>
                  <a:cubicBezTo>
                    <a:pt x="23286" y="474033"/>
                    <a:pt x="22786" y="475848"/>
                    <a:pt x="22660" y="476875"/>
                  </a:cubicBezTo>
                  <a:cubicBezTo>
                    <a:pt x="22308" y="479688"/>
                    <a:pt x="21605" y="481095"/>
                    <a:pt x="20198" y="483908"/>
                  </a:cubicBezTo>
                  <a:cubicBezTo>
                    <a:pt x="18792" y="486721"/>
                    <a:pt x="16330" y="492348"/>
                    <a:pt x="16330" y="495864"/>
                  </a:cubicBezTo>
                  <a:cubicBezTo>
                    <a:pt x="16330" y="497390"/>
                    <a:pt x="16063" y="499381"/>
                    <a:pt x="15767" y="501631"/>
                  </a:cubicBezTo>
                  <a:cubicBezTo>
                    <a:pt x="15373" y="504571"/>
                    <a:pt x="14923" y="507954"/>
                    <a:pt x="14923" y="511337"/>
                  </a:cubicBezTo>
                  <a:cubicBezTo>
                    <a:pt x="14923" y="514755"/>
                    <a:pt x="14923" y="515416"/>
                    <a:pt x="14593" y="515747"/>
                  </a:cubicBezTo>
                  <a:cubicBezTo>
                    <a:pt x="14515" y="515824"/>
                    <a:pt x="14417" y="515887"/>
                    <a:pt x="14298" y="515957"/>
                  </a:cubicBezTo>
                  <a:cubicBezTo>
                    <a:pt x="14044" y="516119"/>
                    <a:pt x="13679" y="516344"/>
                    <a:pt x="13165" y="516963"/>
                  </a:cubicBezTo>
                  <a:cubicBezTo>
                    <a:pt x="12159" y="518173"/>
                    <a:pt x="11618" y="519952"/>
                    <a:pt x="11133" y="521521"/>
                  </a:cubicBezTo>
                  <a:cubicBezTo>
                    <a:pt x="10774" y="522688"/>
                    <a:pt x="10450" y="523743"/>
                    <a:pt x="10000" y="524348"/>
                  </a:cubicBezTo>
                  <a:cubicBezTo>
                    <a:pt x="9684" y="524770"/>
                    <a:pt x="9142" y="525417"/>
                    <a:pt x="8502" y="526184"/>
                  </a:cubicBezTo>
                  <a:cubicBezTo>
                    <a:pt x="7018" y="527956"/>
                    <a:pt x="5007" y="530368"/>
                    <a:pt x="4022" y="532084"/>
                  </a:cubicBezTo>
                  <a:cubicBezTo>
                    <a:pt x="3354" y="533252"/>
                    <a:pt x="2454" y="534103"/>
                    <a:pt x="1687" y="534820"/>
                  </a:cubicBezTo>
                  <a:cubicBezTo>
                    <a:pt x="836" y="535622"/>
                    <a:pt x="154" y="536269"/>
                    <a:pt x="154" y="537007"/>
                  </a:cubicBezTo>
                  <a:lnTo>
                    <a:pt x="154" y="547909"/>
                  </a:lnTo>
                  <a:cubicBezTo>
                    <a:pt x="154" y="548788"/>
                    <a:pt x="119" y="549878"/>
                    <a:pt x="84" y="551031"/>
                  </a:cubicBezTo>
                  <a:cubicBezTo>
                    <a:pt x="6" y="553563"/>
                    <a:pt x="-85" y="556419"/>
                    <a:pt x="154" y="558107"/>
                  </a:cubicBezTo>
                  <a:cubicBezTo>
                    <a:pt x="449" y="560153"/>
                    <a:pt x="4381" y="565597"/>
                    <a:pt x="6104" y="567988"/>
                  </a:cubicBezTo>
                  <a:cubicBezTo>
                    <a:pt x="6456" y="568474"/>
                    <a:pt x="6716" y="568832"/>
                    <a:pt x="6835" y="569008"/>
                  </a:cubicBezTo>
                  <a:cubicBezTo>
                    <a:pt x="7201" y="569549"/>
                    <a:pt x="8587" y="569627"/>
                    <a:pt x="10232" y="569718"/>
                  </a:cubicBezTo>
                  <a:lnTo>
                    <a:pt x="10232" y="569718"/>
                  </a:lnTo>
                  <a:cubicBezTo>
                    <a:pt x="11787" y="569803"/>
                    <a:pt x="13559" y="569901"/>
                    <a:pt x="14923" y="570414"/>
                  </a:cubicBezTo>
                  <a:cubicBezTo>
                    <a:pt x="17069" y="571216"/>
                    <a:pt x="16759" y="573038"/>
                    <a:pt x="16492" y="574641"/>
                  </a:cubicBezTo>
                  <a:cubicBezTo>
                    <a:pt x="16407" y="575141"/>
                    <a:pt x="16330" y="575619"/>
                    <a:pt x="16330" y="576041"/>
                  </a:cubicBezTo>
                  <a:cubicBezTo>
                    <a:pt x="16330" y="577799"/>
                    <a:pt x="16682" y="583426"/>
                    <a:pt x="17737" y="587645"/>
                  </a:cubicBezTo>
                  <a:cubicBezTo>
                    <a:pt x="18243" y="589671"/>
                    <a:pt x="18989" y="591689"/>
                    <a:pt x="19706" y="593638"/>
                  </a:cubicBezTo>
                  <a:cubicBezTo>
                    <a:pt x="20494" y="595748"/>
                    <a:pt x="21239" y="597773"/>
                    <a:pt x="21605" y="599602"/>
                  </a:cubicBezTo>
                  <a:cubicBezTo>
                    <a:pt x="22076" y="601972"/>
                    <a:pt x="26380" y="602267"/>
                    <a:pt x="30213" y="602528"/>
                  </a:cubicBezTo>
                  <a:lnTo>
                    <a:pt x="30220" y="602528"/>
                  </a:lnTo>
                  <a:cubicBezTo>
                    <a:pt x="32077" y="602654"/>
                    <a:pt x="33821" y="602773"/>
                    <a:pt x="34968" y="603118"/>
                  </a:cubicBezTo>
                  <a:cubicBezTo>
                    <a:pt x="37155" y="603772"/>
                    <a:pt x="40714" y="604159"/>
                    <a:pt x="44104" y="604525"/>
                  </a:cubicBezTo>
                  <a:lnTo>
                    <a:pt x="44104" y="604525"/>
                  </a:lnTo>
                  <a:cubicBezTo>
                    <a:pt x="46157" y="604750"/>
                    <a:pt x="48148" y="604961"/>
                    <a:pt x="49737" y="605228"/>
                  </a:cubicBezTo>
                  <a:cubicBezTo>
                    <a:pt x="53957" y="605931"/>
                    <a:pt x="58528" y="606635"/>
                    <a:pt x="63100" y="606635"/>
                  </a:cubicBezTo>
                  <a:cubicBezTo>
                    <a:pt x="65526" y="606635"/>
                    <a:pt x="68853" y="608027"/>
                    <a:pt x="71779" y="609272"/>
                  </a:cubicBezTo>
                  <a:cubicBezTo>
                    <a:pt x="73319" y="609926"/>
                    <a:pt x="76941" y="607816"/>
                    <a:pt x="75759" y="606635"/>
                  </a:cubicBezTo>
                  <a:cubicBezTo>
                    <a:pt x="75056" y="605931"/>
                    <a:pt x="70133" y="595030"/>
                    <a:pt x="68726" y="591514"/>
                  </a:cubicBezTo>
                  <a:cubicBezTo>
                    <a:pt x="68016" y="589741"/>
                    <a:pt x="67847" y="585901"/>
                    <a:pt x="67664" y="581949"/>
                  </a:cubicBezTo>
                  <a:cubicBezTo>
                    <a:pt x="67495" y="578074"/>
                    <a:pt x="67313" y="574086"/>
                    <a:pt x="66616" y="571821"/>
                  </a:cubicBezTo>
                  <a:cubicBezTo>
                    <a:pt x="65491" y="568164"/>
                    <a:pt x="68494" y="562798"/>
                    <a:pt x="70133" y="560568"/>
                  </a:cubicBezTo>
                  <a:cubicBezTo>
                    <a:pt x="74472" y="557755"/>
                    <a:pt x="83707" y="551777"/>
                    <a:pt x="85957" y="550370"/>
                  </a:cubicBezTo>
                  <a:cubicBezTo>
                    <a:pt x="88770" y="548612"/>
                    <a:pt x="88770" y="547909"/>
                    <a:pt x="88770" y="546150"/>
                  </a:cubicBezTo>
                  <a:lnTo>
                    <a:pt x="88770" y="540524"/>
                  </a:lnTo>
                  <a:cubicBezTo>
                    <a:pt x="88770" y="539399"/>
                    <a:pt x="89706" y="534426"/>
                    <a:pt x="90177" y="532084"/>
                  </a:cubicBezTo>
                  <a:cubicBezTo>
                    <a:pt x="91232" y="529623"/>
                    <a:pt x="93623" y="524348"/>
                    <a:pt x="94749" y="522941"/>
                  </a:cubicBezTo>
                  <a:cubicBezTo>
                    <a:pt x="95515" y="521985"/>
                    <a:pt x="97224" y="520817"/>
                    <a:pt x="98898" y="519671"/>
                  </a:cubicBezTo>
                  <a:cubicBezTo>
                    <a:pt x="100305" y="518707"/>
                    <a:pt x="101683" y="517765"/>
                    <a:pt x="102485" y="516963"/>
                  </a:cubicBezTo>
                  <a:cubicBezTo>
                    <a:pt x="103470" y="515979"/>
                    <a:pt x="105460" y="514657"/>
                    <a:pt x="107570" y="513250"/>
                  </a:cubicBezTo>
                  <a:lnTo>
                    <a:pt x="107577" y="513250"/>
                  </a:lnTo>
                  <a:lnTo>
                    <a:pt x="107577" y="513250"/>
                  </a:lnTo>
                  <a:cubicBezTo>
                    <a:pt x="109223" y="512153"/>
                    <a:pt x="110946" y="511006"/>
                    <a:pt x="112331" y="509930"/>
                  </a:cubicBezTo>
                  <a:cubicBezTo>
                    <a:pt x="114912" y="507926"/>
                    <a:pt x="115855" y="505450"/>
                    <a:pt x="116685" y="503270"/>
                  </a:cubicBezTo>
                  <a:cubicBezTo>
                    <a:pt x="116875" y="502778"/>
                    <a:pt x="117057" y="502299"/>
                    <a:pt x="117254" y="501842"/>
                  </a:cubicBezTo>
                  <a:cubicBezTo>
                    <a:pt x="118309" y="499381"/>
                    <a:pt x="118661" y="492699"/>
                    <a:pt x="118661" y="490941"/>
                  </a:cubicBezTo>
                  <a:cubicBezTo>
                    <a:pt x="118661" y="489577"/>
                    <a:pt x="117606" y="488212"/>
                    <a:pt x="116804" y="487178"/>
                  </a:cubicBezTo>
                  <a:cubicBezTo>
                    <a:pt x="116572" y="486876"/>
                    <a:pt x="116354" y="486609"/>
                    <a:pt x="116199" y="486369"/>
                  </a:cubicBezTo>
                  <a:cubicBezTo>
                    <a:pt x="115623" y="485504"/>
                    <a:pt x="112683" y="484639"/>
                    <a:pt x="111065" y="484161"/>
                  </a:cubicBezTo>
                  <a:cubicBezTo>
                    <a:pt x="110707" y="484056"/>
                    <a:pt x="110411" y="483971"/>
                    <a:pt x="110221" y="483908"/>
                  </a:cubicBezTo>
                  <a:cubicBezTo>
                    <a:pt x="109884" y="483795"/>
                    <a:pt x="109209" y="483535"/>
                    <a:pt x="108372" y="483211"/>
                  </a:cubicBezTo>
                  <a:lnTo>
                    <a:pt x="108372" y="483205"/>
                  </a:lnTo>
                  <a:lnTo>
                    <a:pt x="108365" y="483205"/>
                  </a:lnTo>
                  <a:lnTo>
                    <a:pt x="108358" y="483205"/>
                  </a:lnTo>
                  <a:cubicBezTo>
                    <a:pt x="106613" y="482522"/>
                    <a:pt x="104145" y="481573"/>
                    <a:pt x="102485" y="481095"/>
                  </a:cubicBezTo>
                  <a:cubicBezTo>
                    <a:pt x="100917" y="480644"/>
                    <a:pt x="98926" y="478922"/>
                    <a:pt x="97231" y="477451"/>
                  </a:cubicBezTo>
                  <a:cubicBezTo>
                    <a:pt x="96261" y="476608"/>
                    <a:pt x="95389" y="475855"/>
                    <a:pt x="94749" y="475468"/>
                  </a:cubicBezTo>
                  <a:cubicBezTo>
                    <a:pt x="93272" y="474582"/>
                    <a:pt x="91795" y="470974"/>
                    <a:pt x="90740" y="468379"/>
                  </a:cubicBezTo>
                  <a:lnTo>
                    <a:pt x="90733" y="468372"/>
                  </a:lnTo>
                  <a:cubicBezTo>
                    <a:pt x="90536" y="467880"/>
                    <a:pt x="90346" y="467422"/>
                    <a:pt x="90177" y="467029"/>
                  </a:cubicBezTo>
                  <a:cubicBezTo>
                    <a:pt x="89122" y="464567"/>
                    <a:pt x="89474" y="460699"/>
                    <a:pt x="90177" y="458237"/>
                  </a:cubicBezTo>
                  <a:cubicBezTo>
                    <a:pt x="90880" y="455776"/>
                    <a:pt x="93342" y="449446"/>
                    <a:pt x="94749" y="447688"/>
                  </a:cubicBezTo>
                  <a:cubicBezTo>
                    <a:pt x="96155" y="445929"/>
                    <a:pt x="97562" y="444171"/>
                    <a:pt x="99320" y="442765"/>
                  </a:cubicBezTo>
                  <a:cubicBezTo>
                    <a:pt x="101078" y="441358"/>
                    <a:pt x="103540" y="439951"/>
                    <a:pt x="104947" y="439248"/>
                  </a:cubicBezTo>
                  <a:cubicBezTo>
                    <a:pt x="105298" y="439072"/>
                    <a:pt x="106001" y="438763"/>
                    <a:pt x="106881" y="438383"/>
                  </a:cubicBezTo>
                  <a:cubicBezTo>
                    <a:pt x="109518" y="437229"/>
                    <a:pt x="113738" y="435380"/>
                    <a:pt x="114793" y="434325"/>
                  </a:cubicBezTo>
                  <a:cubicBezTo>
                    <a:pt x="116199" y="432918"/>
                    <a:pt x="121123" y="429050"/>
                    <a:pt x="122881" y="428698"/>
                  </a:cubicBezTo>
                  <a:cubicBezTo>
                    <a:pt x="124140" y="428445"/>
                    <a:pt x="123598" y="425140"/>
                    <a:pt x="123183" y="422629"/>
                  </a:cubicBezTo>
                  <a:cubicBezTo>
                    <a:pt x="123021" y="421630"/>
                    <a:pt x="122881" y="420758"/>
                    <a:pt x="122881" y="420259"/>
                  </a:cubicBezTo>
                  <a:lnTo>
                    <a:pt x="122881" y="409709"/>
                  </a:lnTo>
                  <a:cubicBezTo>
                    <a:pt x="122881" y="406896"/>
                    <a:pt x="127452" y="402325"/>
                    <a:pt x="129562" y="400215"/>
                  </a:cubicBezTo>
                  <a:cubicBezTo>
                    <a:pt x="131250" y="398527"/>
                    <a:pt x="137066" y="394356"/>
                    <a:pt x="139760" y="392478"/>
                  </a:cubicBezTo>
                  <a:cubicBezTo>
                    <a:pt x="138473" y="392246"/>
                    <a:pt x="135400" y="391634"/>
                    <a:pt x="133430" y="391072"/>
                  </a:cubicBezTo>
                  <a:cubicBezTo>
                    <a:pt x="130969" y="390368"/>
                    <a:pt x="129562" y="387555"/>
                    <a:pt x="129562" y="386500"/>
                  </a:cubicBezTo>
                  <a:cubicBezTo>
                    <a:pt x="129562" y="385445"/>
                    <a:pt x="131320" y="384742"/>
                    <a:pt x="133430" y="384390"/>
                  </a:cubicBezTo>
                  <a:cubicBezTo>
                    <a:pt x="134978" y="384130"/>
                    <a:pt x="136722" y="385009"/>
                    <a:pt x="138227" y="385776"/>
                  </a:cubicBezTo>
                  <a:cubicBezTo>
                    <a:pt x="138776" y="386050"/>
                    <a:pt x="139296" y="386310"/>
                    <a:pt x="139760" y="386500"/>
                  </a:cubicBezTo>
                  <a:cubicBezTo>
                    <a:pt x="140154" y="386655"/>
                    <a:pt x="140534" y="386866"/>
                    <a:pt x="140949" y="387105"/>
                  </a:cubicBezTo>
                  <a:lnTo>
                    <a:pt x="140949" y="387105"/>
                  </a:lnTo>
                  <a:cubicBezTo>
                    <a:pt x="142383" y="387907"/>
                    <a:pt x="144268" y="388962"/>
                    <a:pt x="148903" y="388962"/>
                  </a:cubicBezTo>
                  <a:cubicBezTo>
                    <a:pt x="151716" y="387555"/>
                    <a:pt x="151013" y="384622"/>
                    <a:pt x="150310" y="383335"/>
                  </a:cubicBezTo>
                  <a:lnTo>
                    <a:pt x="150310" y="377006"/>
                  </a:lnTo>
                  <a:cubicBezTo>
                    <a:pt x="150310" y="375951"/>
                    <a:pt x="146442" y="375599"/>
                    <a:pt x="145387" y="378060"/>
                  </a:cubicBezTo>
                  <a:cubicBezTo>
                    <a:pt x="144332" y="380522"/>
                    <a:pt x="142925" y="381929"/>
                    <a:pt x="141167" y="381929"/>
                  </a:cubicBezTo>
                  <a:cubicBezTo>
                    <a:pt x="139760" y="381929"/>
                    <a:pt x="137066" y="380522"/>
                    <a:pt x="135892" y="379819"/>
                  </a:cubicBezTo>
                  <a:cubicBezTo>
                    <a:pt x="134366" y="378532"/>
                    <a:pt x="130969" y="375880"/>
                    <a:pt x="129562" y="375599"/>
                  </a:cubicBezTo>
                  <a:cubicBezTo>
                    <a:pt x="128177" y="375325"/>
                    <a:pt x="128978" y="368685"/>
                    <a:pt x="129379" y="365387"/>
                  </a:cubicBezTo>
                  <a:cubicBezTo>
                    <a:pt x="129485" y="364508"/>
                    <a:pt x="129562" y="363868"/>
                    <a:pt x="129562" y="363643"/>
                  </a:cubicBezTo>
                  <a:lnTo>
                    <a:pt x="129562" y="354851"/>
                  </a:lnTo>
                  <a:lnTo>
                    <a:pt x="129562" y="347818"/>
                  </a:lnTo>
                  <a:cubicBezTo>
                    <a:pt x="129562" y="346644"/>
                    <a:pt x="131440" y="347038"/>
                    <a:pt x="133311" y="347424"/>
                  </a:cubicBezTo>
                  <a:lnTo>
                    <a:pt x="133318" y="347424"/>
                  </a:lnTo>
                  <a:cubicBezTo>
                    <a:pt x="134253" y="347622"/>
                    <a:pt x="135189" y="347818"/>
                    <a:pt x="135892" y="347818"/>
                  </a:cubicBezTo>
                  <a:cubicBezTo>
                    <a:pt x="137320" y="347818"/>
                    <a:pt x="138909" y="348944"/>
                    <a:pt x="140555" y="350111"/>
                  </a:cubicBezTo>
                  <a:cubicBezTo>
                    <a:pt x="141336" y="350667"/>
                    <a:pt x="142130" y="351229"/>
                    <a:pt x="142925" y="351687"/>
                  </a:cubicBezTo>
                  <a:cubicBezTo>
                    <a:pt x="145387" y="353093"/>
                    <a:pt x="151013" y="354851"/>
                    <a:pt x="153123" y="354851"/>
                  </a:cubicBezTo>
                  <a:cubicBezTo>
                    <a:pt x="153664" y="354851"/>
                    <a:pt x="154551" y="354901"/>
                    <a:pt x="155641" y="354957"/>
                  </a:cubicBezTo>
                  <a:lnTo>
                    <a:pt x="155641" y="354957"/>
                  </a:lnTo>
                  <a:lnTo>
                    <a:pt x="155641" y="354957"/>
                  </a:lnTo>
                  <a:lnTo>
                    <a:pt x="155641" y="354957"/>
                  </a:lnTo>
                  <a:lnTo>
                    <a:pt x="155648" y="354957"/>
                  </a:lnTo>
                  <a:lnTo>
                    <a:pt x="155648" y="354957"/>
                  </a:lnTo>
                  <a:cubicBezTo>
                    <a:pt x="158813" y="355119"/>
                    <a:pt x="163701" y="355372"/>
                    <a:pt x="166837" y="354851"/>
                  </a:cubicBezTo>
                  <a:cubicBezTo>
                    <a:pt x="169770" y="354366"/>
                    <a:pt x="170663" y="352517"/>
                    <a:pt x="171648" y="350491"/>
                  </a:cubicBezTo>
                  <a:cubicBezTo>
                    <a:pt x="172077" y="349598"/>
                    <a:pt x="172520" y="348677"/>
                    <a:pt x="173167" y="347818"/>
                  </a:cubicBezTo>
                  <a:cubicBezTo>
                    <a:pt x="174440" y="346116"/>
                    <a:pt x="173406" y="344295"/>
                    <a:pt x="172386" y="342494"/>
                  </a:cubicBezTo>
                  <a:cubicBezTo>
                    <a:pt x="171718" y="341313"/>
                    <a:pt x="171057" y="340138"/>
                    <a:pt x="171057" y="339027"/>
                  </a:cubicBezTo>
                  <a:lnTo>
                    <a:pt x="171057" y="331291"/>
                  </a:lnTo>
                  <a:cubicBezTo>
                    <a:pt x="172344" y="328126"/>
                    <a:pt x="174855" y="321022"/>
                    <a:pt x="174574" y="317928"/>
                  </a:cubicBezTo>
                  <a:cubicBezTo>
                    <a:pt x="174370" y="315670"/>
                    <a:pt x="173202" y="314369"/>
                    <a:pt x="172267" y="313328"/>
                  </a:cubicBezTo>
                  <a:cubicBezTo>
                    <a:pt x="171606" y="312590"/>
                    <a:pt x="171057" y="311978"/>
                    <a:pt x="171057" y="311246"/>
                  </a:cubicBezTo>
                  <a:lnTo>
                    <a:pt x="171057" y="305620"/>
                  </a:lnTo>
                  <a:cubicBezTo>
                    <a:pt x="173287" y="306675"/>
                    <a:pt x="178653" y="308785"/>
                    <a:pt x="182310" y="308785"/>
                  </a:cubicBezTo>
                  <a:lnTo>
                    <a:pt x="197431" y="308785"/>
                  </a:lnTo>
                  <a:cubicBezTo>
                    <a:pt x="198479" y="308785"/>
                    <a:pt x="202453" y="308096"/>
                    <a:pt x="206715" y="307357"/>
                  </a:cubicBezTo>
                  <a:cubicBezTo>
                    <a:pt x="211054" y="306605"/>
                    <a:pt x="215696" y="305796"/>
                    <a:pt x="217827" y="305620"/>
                  </a:cubicBezTo>
                  <a:cubicBezTo>
                    <a:pt x="222047" y="305268"/>
                    <a:pt x="230135" y="302103"/>
                    <a:pt x="231541" y="301400"/>
                  </a:cubicBezTo>
                  <a:cubicBezTo>
                    <a:pt x="231865" y="301238"/>
                    <a:pt x="232533" y="300936"/>
                    <a:pt x="233412" y="300528"/>
                  </a:cubicBezTo>
                  <a:lnTo>
                    <a:pt x="233412" y="300528"/>
                  </a:lnTo>
                  <a:lnTo>
                    <a:pt x="233419" y="300528"/>
                  </a:lnTo>
                  <a:lnTo>
                    <a:pt x="233426" y="300521"/>
                  </a:lnTo>
                  <a:lnTo>
                    <a:pt x="233426" y="300521"/>
                  </a:lnTo>
                  <a:lnTo>
                    <a:pt x="233426" y="300521"/>
                  </a:lnTo>
                  <a:lnTo>
                    <a:pt x="233426" y="300521"/>
                  </a:lnTo>
                  <a:cubicBezTo>
                    <a:pt x="236401" y="299157"/>
                    <a:pt x="241761" y="296695"/>
                    <a:pt x="244201" y="295070"/>
                  </a:cubicBezTo>
                  <a:cubicBezTo>
                    <a:pt x="247366" y="292961"/>
                    <a:pt x="251234" y="284873"/>
                    <a:pt x="251234" y="283818"/>
                  </a:cubicBezTo>
                  <a:cubicBezTo>
                    <a:pt x="251234" y="282763"/>
                    <a:pt x="256860" y="271861"/>
                    <a:pt x="258970" y="268696"/>
                  </a:cubicBezTo>
                  <a:cubicBezTo>
                    <a:pt x="260658" y="266165"/>
                    <a:pt x="258267" y="261783"/>
                    <a:pt x="256860" y="259905"/>
                  </a:cubicBezTo>
                  <a:cubicBezTo>
                    <a:pt x="254983" y="259434"/>
                    <a:pt x="250812" y="258147"/>
                    <a:pt x="249124" y="256740"/>
                  </a:cubicBezTo>
                  <a:cubicBezTo>
                    <a:pt x="247914" y="255728"/>
                    <a:pt x="247626" y="254026"/>
                    <a:pt x="247338" y="252288"/>
                  </a:cubicBezTo>
                  <a:cubicBezTo>
                    <a:pt x="247127" y="251001"/>
                    <a:pt x="246909" y="249700"/>
                    <a:pt x="246311" y="248652"/>
                  </a:cubicBezTo>
                  <a:cubicBezTo>
                    <a:pt x="245439" y="247126"/>
                    <a:pt x="246733" y="246549"/>
                    <a:pt x="248336" y="245825"/>
                  </a:cubicBezTo>
                  <a:cubicBezTo>
                    <a:pt x="249328" y="245382"/>
                    <a:pt x="250432" y="244883"/>
                    <a:pt x="251234" y="244081"/>
                  </a:cubicBezTo>
                  <a:cubicBezTo>
                    <a:pt x="253344" y="241971"/>
                    <a:pt x="250179" y="235993"/>
                    <a:pt x="246311" y="234235"/>
                  </a:cubicBezTo>
                  <a:cubicBezTo>
                    <a:pt x="242443" y="232476"/>
                    <a:pt x="232596" y="226498"/>
                    <a:pt x="230135" y="220872"/>
                  </a:cubicBezTo>
                  <a:cubicBezTo>
                    <a:pt x="228166" y="216371"/>
                    <a:pt x="228728" y="212784"/>
                    <a:pt x="232596" y="210674"/>
                  </a:cubicBezTo>
                  <a:cubicBezTo>
                    <a:pt x="235459" y="199505"/>
                    <a:pt x="237105" y="187760"/>
                    <a:pt x="238617" y="176943"/>
                  </a:cubicBezTo>
                  <a:cubicBezTo>
                    <a:pt x="241022" y="159832"/>
                    <a:pt x="243090" y="145048"/>
                    <a:pt x="249124" y="138585"/>
                  </a:cubicBezTo>
                  <a:cubicBezTo>
                    <a:pt x="249138" y="138564"/>
                    <a:pt x="249265" y="138557"/>
                    <a:pt x="249483" y="138550"/>
                  </a:cubicBezTo>
                  <a:cubicBezTo>
                    <a:pt x="256143" y="131636"/>
                    <a:pt x="268514" y="118604"/>
                    <a:pt x="269872" y="116431"/>
                  </a:cubicBezTo>
                  <a:cubicBezTo>
                    <a:pt x="270730" y="115059"/>
                    <a:pt x="271918" y="114026"/>
                    <a:pt x="273241" y="112872"/>
                  </a:cubicBezTo>
                  <a:cubicBezTo>
                    <a:pt x="274633" y="111663"/>
                    <a:pt x="276166" y="110326"/>
                    <a:pt x="277608" y="108343"/>
                  </a:cubicBezTo>
                  <a:cubicBezTo>
                    <a:pt x="280421" y="104475"/>
                    <a:pt x="281125" y="103771"/>
                    <a:pt x="285344" y="100958"/>
                  </a:cubicBezTo>
                  <a:cubicBezTo>
                    <a:pt x="287117" y="99776"/>
                    <a:pt x="288770" y="99151"/>
                    <a:pt x="290317" y="98567"/>
                  </a:cubicBezTo>
                  <a:cubicBezTo>
                    <a:pt x="292455" y="97758"/>
                    <a:pt x="294410" y="97020"/>
                    <a:pt x="296246" y="94980"/>
                  </a:cubicBezTo>
                  <a:cubicBezTo>
                    <a:pt x="298250" y="92758"/>
                    <a:pt x="299403" y="91801"/>
                    <a:pt x="300430" y="90950"/>
                  </a:cubicBezTo>
                  <a:cubicBezTo>
                    <a:pt x="301028" y="90458"/>
                    <a:pt x="301577" y="90001"/>
                    <a:pt x="302224" y="89354"/>
                  </a:cubicBezTo>
                  <a:cubicBezTo>
                    <a:pt x="302871" y="88707"/>
                    <a:pt x="303574" y="88292"/>
                    <a:pt x="304193" y="87926"/>
                  </a:cubicBezTo>
                  <a:cubicBezTo>
                    <a:pt x="305255" y="87307"/>
                    <a:pt x="306092" y="86815"/>
                    <a:pt x="306092" y="85485"/>
                  </a:cubicBezTo>
                  <a:lnTo>
                    <a:pt x="306092" y="79859"/>
                  </a:lnTo>
                  <a:lnTo>
                    <a:pt x="306092" y="68958"/>
                  </a:lnTo>
                  <a:cubicBezTo>
                    <a:pt x="306092" y="68346"/>
                    <a:pt x="304896" y="67607"/>
                    <a:pt x="303623" y="66827"/>
                  </a:cubicBezTo>
                  <a:cubicBezTo>
                    <a:pt x="302709" y="66264"/>
                    <a:pt x="301753" y="65673"/>
                    <a:pt x="301169" y="65090"/>
                  </a:cubicBezTo>
                  <a:cubicBezTo>
                    <a:pt x="300662" y="64583"/>
                    <a:pt x="299889" y="64175"/>
                    <a:pt x="299108" y="63753"/>
                  </a:cubicBezTo>
                  <a:cubicBezTo>
                    <a:pt x="298180" y="63261"/>
                    <a:pt x="297237" y="62755"/>
                    <a:pt x="296696" y="62086"/>
                  </a:cubicBezTo>
                  <a:close/>
                  <a:moveTo>
                    <a:pt x="73649" y="676262"/>
                  </a:moveTo>
                  <a:lnTo>
                    <a:pt x="73649" y="618591"/>
                  </a:lnTo>
                  <a:cubicBezTo>
                    <a:pt x="74001" y="619294"/>
                    <a:pt x="74915" y="621052"/>
                    <a:pt x="75759" y="622459"/>
                  </a:cubicBezTo>
                  <a:cubicBezTo>
                    <a:pt x="76083" y="623001"/>
                    <a:pt x="76378" y="623415"/>
                    <a:pt x="76631" y="623760"/>
                  </a:cubicBezTo>
                  <a:cubicBezTo>
                    <a:pt x="77180" y="624534"/>
                    <a:pt x="77518" y="625005"/>
                    <a:pt x="77518" y="625976"/>
                  </a:cubicBezTo>
                  <a:cubicBezTo>
                    <a:pt x="77518" y="626679"/>
                    <a:pt x="77869" y="628086"/>
                    <a:pt x="78221" y="629492"/>
                  </a:cubicBezTo>
                  <a:cubicBezTo>
                    <a:pt x="78573" y="630899"/>
                    <a:pt x="78924" y="632305"/>
                    <a:pt x="78924" y="633009"/>
                  </a:cubicBezTo>
                  <a:cubicBezTo>
                    <a:pt x="78924" y="633656"/>
                    <a:pt x="79297" y="634233"/>
                    <a:pt x="79733" y="634901"/>
                  </a:cubicBezTo>
                  <a:cubicBezTo>
                    <a:pt x="80246" y="635688"/>
                    <a:pt x="80844" y="636602"/>
                    <a:pt x="81034" y="637932"/>
                  </a:cubicBezTo>
                  <a:cubicBezTo>
                    <a:pt x="81266" y="639556"/>
                    <a:pt x="82567" y="641181"/>
                    <a:pt x="84037" y="643010"/>
                  </a:cubicBezTo>
                  <a:cubicBezTo>
                    <a:pt x="84790" y="643952"/>
                    <a:pt x="85592" y="644944"/>
                    <a:pt x="86309" y="646020"/>
                  </a:cubicBezTo>
                  <a:cubicBezTo>
                    <a:pt x="87976" y="648524"/>
                    <a:pt x="89425" y="649930"/>
                    <a:pt x="91176" y="651625"/>
                  </a:cubicBezTo>
                  <a:lnTo>
                    <a:pt x="91176" y="651625"/>
                  </a:lnTo>
                  <a:lnTo>
                    <a:pt x="91183" y="651625"/>
                  </a:lnTo>
                  <a:lnTo>
                    <a:pt x="91183" y="651625"/>
                  </a:lnTo>
                  <a:lnTo>
                    <a:pt x="91197" y="651639"/>
                  </a:lnTo>
                  <a:cubicBezTo>
                    <a:pt x="91654" y="652082"/>
                    <a:pt x="92132" y="652546"/>
                    <a:pt x="92639" y="653053"/>
                  </a:cubicBezTo>
                  <a:cubicBezTo>
                    <a:pt x="95100" y="655514"/>
                    <a:pt x="96507" y="656569"/>
                    <a:pt x="99672" y="658679"/>
                  </a:cubicBezTo>
                  <a:cubicBezTo>
                    <a:pt x="102837" y="660789"/>
                    <a:pt x="105298" y="663954"/>
                    <a:pt x="106001" y="665009"/>
                  </a:cubicBezTo>
                  <a:cubicBezTo>
                    <a:pt x="106332" y="665508"/>
                    <a:pt x="108245" y="666556"/>
                    <a:pt x="110278" y="667675"/>
                  </a:cubicBezTo>
                  <a:lnTo>
                    <a:pt x="110278" y="667675"/>
                  </a:lnTo>
                  <a:cubicBezTo>
                    <a:pt x="112535" y="668919"/>
                    <a:pt x="114940" y="670249"/>
                    <a:pt x="115496" y="670987"/>
                  </a:cubicBezTo>
                  <a:cubicBezTo>
                    <a:pt x="116340" y="672113"/>
                    <a:pt x="123816" y="673097"/>
                    <a:pt x="127452" y="673449"/>
                  </a:cubicBezTo>
                  <a:cubicBezTo>
                    <a:pt x="127101" y="674152"/>
                    <a:pt x="126046" y="675699"/>
                    <a:pt x="124639" y="676262"/>
                  </a:cubicBezTo>
                  <a:cubicBezTo>
                    <a:pt x="122881" y="676965"/>
                    <a:pt x="121123" y="677669"/>
                    <a:pt x="120068" y="677669"/>
                  </a:cubicBezTo>
                  <a:cubicBezTo>
                    <a:pt x="119681" y="677669"/>
                    <a:pt x="118492" y="677999"/>
                    <a:pt x="116987" y="678414"/>
                  </a:cubicBezTo>
                  <a:cubicBezTo>
                    <a:pt x="114385" y="679138"/>
                    <a:pt x="110819" y="680130"/>
                    <a:pt x="108815" y="680130"/>
                  </a:cubicBezTo>
                  <a:cubicBezTo>
                    <a:pt x="107232" y="680130"/>
                    <a:pt x="106529" y="679954"/>
                    <a:pt x="105826" y="679778"/>
                  </a:cubicBezTo>
                  <a:cubicBezTo>
                    <a:pt x="105122" y="679603"/>
                    <a:pt x="104419" y="679427"/>
                    <a:pt x="102837" y="679427"/>
                  </a:cubicBezTo>
                  <a:cubicBezTo>
                    <a:pt x="100460" y="679427"/>
                    <a:pt x="98089" y="678639"/>
                    <a:pt x="96458" y="678091"/>
                  </a:cubicBezTo>
                  <a:cubicBezTo>
                    <a:pt x="95916" y="677908"/>
                    <a:pt x="95452" y="677760"/>
                    <a:pt x="95100" y="677669"/>
                  </a:cubicBezTo>
                  <a:cubicBezTo>
                    <a:pt x="93694" y="677317"/>
                    <a:pt x="73649" y="675910"/>
                    <a:pt x="73649" y="676262"/>
                  </a:cubicBezTo>
                  <a:close/>
                  <a:moveTo>
                    <a:pt x="134921" y="676037"/>
                  </a:moveTo>
                  <a:cubicBezTo>
                    <a:pt x="134921" y="676881"/>
                    <a:pt x="134921" y="677669"/>
                    <a:pt x="137299" y="677669"/>
                  </a:cubicBezTo>
                  <a:cubicBezTo>
                    <a:pt x="140463" y="677669"/>
                    <a:pt x="143980" y="677317"/>
                    <a:pt x="144683" y="676262"/>
                  </a:cubicBezTo>
                  <a:cubicBezTo>
                    <a:pt x="145246" y="675418"/>
                    <a:pt x="147729" y="673568"/>
                    <a:pt x="148903" y="672745"/>
                  </a:cubicBezTo>
                  <a:cubicBezTo>
                    <a:pt x="148551" y="672042"/>
                    <a:pt x="147637" y="670846"/>
                    <a:pt x="146793" y="671690"/>
                  </a:cubicBezTo>
                  <a:cubicBezTo>
                    <a:pt x="145949" y="672535"/>
                    <a:pt x="143157" y="673217"/>
                    <a:pt x="141870" y="673449"/>
                  </a:cubicBezTo>
                  <a:lnTo>
                    <a:pt x="138354" y="674504"/>
                  </a:lnTo>
                  <a:lnTo>
                    <a:pt x="134837" y="675207"/>
                  </a:lnTo>
                  <a:cubicBezTo>
                    <a:pt x="134921" y="675474"/>
                    <a:pt x="134921" y="675755"/>
                    <a:pt x="134921" y="6760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0" name="Freihandform: Form 35">
              <a:extLst>
                <a:ext uri="{FF2B5EF4-FFF2-40B4-BE49-F238E27FC236}">
                  <a16:creationId xmlns:a16="http://schemas.microsoft.com/office/drawing/2014/main" id="{86CAFE14-E35B-724A-89E2-F3E014CE5D9F}"/>
                </a:ext>
              </a:extLst>
            </p:cNvPr>
            <p:cNvSpPr/>
            <p:nvPr/>
          </p:nvSpPr>
          <p:spPr>
            <a:xfrm>
              <a:off x="4993411" y="4793106"/>
              <a:ext cx="133513" cy="767097"/>
            </a:xfrm>
            <a:custGeom>
              <a:avLst/>
              <a:gdLst>
                <a:gd name="connsiteX0" fmla="*/ 86040 w 133513"/>
                <a:gd name="connsiteY0" fmla="*/ 12371 h 767097"/>
                <a:gd name="connsiteX1" fmla="*/ 80076 w 133513"/>
                <a:gd name="connsiteY1" fmla="*/ 12371 h 767097"/>
                <a:gd name="connsiteX2" fmla="*/ 83930 w 133513"/>
                <a:gd name="connsiteY2" fmla="*/ 39448 h 767097"/>
                <a:gd name="connsiteX3" fmla="*/ 82446 w 133513"/>
                <a:gd name="connsiteY3" fmla="*/ 54436 h 767097"/>
                <a:gd name="connsiteX4" fmla="*/ 82446 w 133513"/>
                <a:gd name="connsiteY4" fmla="*/ 54443 h 767097"/>
                <a:gd name="connsiteX5" fmla="*/ 76545 w 133513"/>
                <a:gd name="connsiteY5" fmla="*/ 117867 h 767097"/>
                <a:gd name="connsiteX6" fmla="*/ 72677 w 133513"/>
                <a:gd name="connsiteY6" fmla="*/ 157604 h 767097"/>
                <a:gd name="connsiteX7" fmla="*/ 72030 w 133513"/>
                <a:gd name="connsiteY7" fmla="*/ 159671 h 767097"/>
                <a:gd name="connsiteX8" fmla="*/ 62128 w 133513"/>
                <a:gd name="connsiteY8" fmla="*/ 196989 h 767097"/>
                <a:gd name="connsiteX9" fmla="*/ 62128 w 133513"/>
                <a:gd name="connsiteY9" fmla="*/ 216330 h 767097"/>
                <a:gd name="connsiteX10" fmla="*/ 61368 w 133513"/>
                <a:gd name="connsiteY10" fmla="*/ 224474 h 767097"/>
                <a:gd name="connsiteX11" fmla="*/ 62128 w 133513"/>
                <a:gd name="connsiteY11" fmla="*/ 251143 h 767097"/>
                <a:gd name="connsiteX12" fmla="*/ 62128 w 133513"/>
                <a:gd name="connsiteY12" fmla="*/ 275759 h 767097"/>
                <a:gd name="connsiteX13" fmla="*/ 47358 w 133513"/>
                <a:gd name="connsiteY13" fmla="*/ 316902 h 767097"/>
                <a:gd name="connsiteX14" fmla="*/ 40360 w 133513"/>
                <a:gd name="connsiteY14" fmla="*/ 335406 h 767097"/>
                <a:gd name="connsiteX15" fmla="*/ 37512 w 133513"/>
                <a:gd name="connsiteY15" fmla="*/ 342573 h 767097"/>
                <a:gd name="connsiteX16" fmla="*/ 29072 w 133513"/>
                <a:gd name="connsiteY16" fmla="*/ 356288 h 767097"/>
                <a:gd name="connsiteX17" fmla="*/ 37512 w 133513"/>
                <a:gd name="connsiteY17" fmla="*/ 388288 h 767097"/>
                <a:gd name="connsiteX18" fmla="*/ 29072 w 133513"/>
                <a:gd name="connsiteY18" fmla="*/ 409035 h 767097"/>
                <a:gd name="connsiteX19" fmla="*/ 29072 w 133513"/>
                <a:gd name="connsiteY19" fmla="*/ 434706 h 767097"/>
                <a:gd name="connsiteX20" fmla="*/ 34699 w 133513"/>
                <a:gd name="connsiteY20" fmla="*/ 441739 h 767097"/>
                <a:gd name="connsiteX21" fmla="*/ 37927 w 133513"/>
                <a:gd name="connsiteY21" fmla="*/ 438026 h 767097"/>
                <a:gd name="connsiteX22" fmla="*/ 39973 w 133513"/>
                <a:gd name="connsiteY22" fmla="*/ 436113 h 767097"/>
                <a:gd name="connsiteX23" fmla="*/ 43842 w 133513"/>
                <a:gd name="connsiteY23" fmla="*/ 444201 h 767097"/>
                <a:gd name="connsiteX24" fmla="*/ 42787 w 133513"/>
                <a:gd name="connsiteY24" fmla="*/ 453344 h 767097"/>
                <a:gd name="connsiteX25" fmla="*/ 39973 w 133513"/>
                <a:gd name="connsiteY25" fmla="*/ 464245 h 767097"/>
                <a:gd name="connsiteX26" fmla="*/ 40156 w 133513"/>
                <a:gd name="connsiteY26" fmla="*/ 466474 h 767097"/>
                <a:gd name="connsiteX27" fmla="*/ 39973 w 133513"/>
                <a:gd name="connsiteY27" fmla="*/ 474794 h 767097"/>
                <a:gd name="connsiteX28" fmla="*/ 38707 w 133513"/>
                <a:gd name="connsiteY28" fmla="*/ 478972 h 767097"/>
                <a:gd name="connsiteX29" fmla="*/ 37512 w 133513"/>
                <a:gd name="connsiteY29" fmla="*/ 484289 h 767097"/>
                <a:gd name="connsiteX30" fmla="*/ 37491 w 133513"/>
                <a:gd name="connsiteY30" fmla="*/ 485710 h 767097"/>
                <a:gd name="connsiteX31" fmla="*/ 38567 w 133513"/>
                <a:gd name="connsiteY31" fmla="*/ 493432 h 767097"/>
                <a:gd name="connsiteX32" fmla="*/ 39973 w 133513"/>
                <a:gd name="connsiteY32" fmla="*/ 498707 h 767097"/>
                <a:gd name="connsiteX33" fmla="*/ 38961 w 133513"/>
                <a:gd name="connsiteY33" fmla="*/ 500979 h 767097"/>
                <a:gd name="connsiteX34" fmla="*/ 37512 w 133513"/>
                <a:gd name="connsiteY34" fmla="*/ 504685 h 767097"/>
                <a:gd name="connsiteX35" fmla="*/ 36105 w 133513"/>
                <a:gd name="connsiteY35" fmla="*/ 515938 h 767097"/>
                <a:gd name="connsiteX36" fmla="*/ 35528 w 133513"/>
                <a:gd name="connsiteY36" fmla="*/ 518962 h 767097"/>
                <a:gd name="connsiteX37" fmla="*/ 34699 w 133513"/>
                <a:gd name="connsiteY37" fmla="*/ 523674 h 767097"/>
                <a:gd name="connsiteX38" fmla="*/ 34438 w 133513"/>
                <a:gd name="connsiteY38" fmla="*/ 524357 h 767097"/>
                <a:gd name="connsiteX39" fmla="*/ 33517 w 133513"/>
                <a:gd name="connsiteY39" fmla="*/ 526860 h 767097"/>
                <a:gd name="connsiteX40" fmla="*/ 33404 w 133513"/>
                <a:gd name="connsiteY40" fmla="*/ 527317 h 767097"/>
                <a:gd name="connsiteX41" fmla="*/ 33404 w 133513"/>
                <a:gd name="connsiteY41" fmla="*/ 527317 h 767097"/>
                <a:gd name="connsiteX42" fmla="*/ 33404 w 133513"/>
                <a:gd name="connsiteY42" fmla="*/ 527324 h 767097"/>
                <a:gd name="connsiteX43" fmla="*/ 33404 w 133513"/>
                <a:gd name="connsiteY43" fmla="*/ 527324 h 767097"/>
                <a:gd name="connsiteX44" fmla="*/ 33404 w 133513"/>
                <a:gd name="connsiteY44" fmla="*/ 527324 h 767097"/>
                <a:gd name="connsiteX45" fmla="*/ 32589 w 133513"/>
                <a:gd name="connsiteY45" fmla="*/ 530356 h 767097"/>
                <a:gd name="connsiteX46" fmla="*/ 32399 w 133513"/>
                <a:gd name="connsiteY46" fmla="*/ 531390 h 767097"/>
                <a:gd name="connsiteX47" fmla="*/ 28721 w 133513"/>
                <a:gd name="connsiteY47" fmla="*/ 544773 h 767097"/>
                <a:gd name="connsiteX48" fmla="*/ 23446 w 133513"/>
                <a:gd name="connsiteY48" fmla="*/ 553565 h 767097"/>
                <a:gd name="connsiteX49" fmla="*/ 21076 w 133513"/>
                <a:gd name="connsiteY49" fmla="*/ 557855 h 767097"/>
                <a:gd name="connsiteX50" fmla="*/ 17819 w 133513"/>
                <a:gd name="connsiteY50" fmla="*/ 563763 h 767097"/>
                <a:gd name="connsiteX51" fmla="*/ 16631 w 133513"/>
                <a:gd name="connsiteY51" fmla="*/ 566351 h 767097"/>
                <a:gd name="connsiteX52" fmla="*/ 16631 w 133513"/>
                <a:gd name="connsiteY52" fmla="*/ 566351 h 767097"/>
                <a:gd name="connsiteX53" fmla="*/ 15709 w 133513"/>
                <a:gd name="connsiteY53" fmla="*/ 572202 h 767097"/>
                <a:gd name="connsiteX54" fmla="*/ 16708 w 133513"/>
                <a:gd name="connsiteY54" fmla="*/ 575578 h 767097"/>
                <a:gd name="connsiteX55" fmla="*/ 17819 w 133513"/>
                <a:gd name="connsiteY55" fmla="*/ 581697 h 767097"/>
                <a:gd name="connsiteX56" fmla="*/ 17819 w 133513"/>
                <a:gd name="connsiteY56" fmla="*/ 589082 h 767097"/>
                <a:gd name="connsiteX57" fmla="*/ 20225 w 133513"/>
                <a:gd name="connsiteY57" fmla="*/ 600925 h 767097"/>
                <a:gd name="connsiteX58" fmla="*/ 21336 w 133513"/>
                <a:gd name="connsiteY58" fmla="*/ 605609 h 767097"/>
                <a:gd name="connsiteX59" fmla="*/ 20668 w 133513"/>
                <a:gd name="connsiteY59" fmla="*/ 608718 h 767097"/>
                <a:gd name="connsiteX60" fmla="*/ 19578 w 133513"/>
                <a:gd name="connsiteY60" fmla="*/ 613697 h 767097"/>
                <a:gd name="connsiteX61" fmla="*/ 19514 w 133513"/>
                <a:gd name="connsiteY61" fmla="*/ 620316 h 767097"/>
                <a:gd name="connsiteX62" fmla="*/ 19578 w 133513"/>
                <a:gd name="connsiteY62" fmla="*/ 622137 h 767097"/>
                <a:gd name="connsiteX63" fmla="*/ 20056 w 133513"/>
                <a:gd name="connsiteY63" fmla="*/ 623199 h 767097"/>
                <a:gd name="connsiteX64" fmla="*/ 19578 w 133513"/>
                <a:gd name="connsiteY64" fmla="*/ 625653 h 767097"/>
                <a:gd name="connsiteX65" fmla="*/ 17967 w 133513"/>
                <a:gd name="connsiteY65" fmla="*/ 629036 h 767097"/>
                <a:gd name="connsiteX66" fmla="*/ 17819 w 133513"/>
                <a:gd name="connsiteY66" fmla="*/ 631632 h 767097"/>
                <a:gd name="connsiteX67" fmla="*/ 20028 w 133513"/>
                <a:gd name="connsiteY67" fmla="*/ 636737 h 767097"/>
                <a:gd name="connsiteX68" fmla="*/ 21336 w 133513"/>
                <a:gd name="connsiteY68" fmla="*/ 639368 h 767097"/>
                <a:gd name="connsiteX69" fmla="*/ 23446 w 133513"/>
                <a:gd name="connsiteY69" fmla="*/ 642181 h 767097"/>
                <a:gd name="connsiteX70" fmla="*/ 27666 w 133513"/>
                <a:gd name="connsiteY70" fmla="*/ 652027 h 767097"/>
                <a:gd name="connsiteX71" fmla="*/ 38918 w 133513"/>
                <a:gd name="connsiteY71" fmla="*/ 661170 h 767097"/>
                <a:gd name="connsiteX72" fmla="*/ 47358 w 133513"/>
                <a:gd name="connsiteY72" fmla="*/ 671368 h 767097"/>
                <a:gd name="connsiteX73" fmla="*/ 47358 w 133513"/>
                <a:gd name="connsiteY73" fmla="*/ 677698 h 767097"/>
                <a:gd name="connsiteX74" fmla="*/ 55446 w 133513"/>
                <a:gd name="connsiteY74" fmla="*/ 693171 h 767097"/>
                <a:gd name="connsiteX75" fmla="*/ 71271 w 133513"/>
                <a:gd name="connsiteY75" fmla="*/ 693171 h 767097"/>
                <a:gd name="connsiteX76" fmla="*/ 76897 w 133513"/>
                <a:gd name="connsiteY76" fmla="*/ 693171 h 767097"/>
                <a:gd name="connsiteX77" fmla="*/ 87798 w 133513"/>
                <a:gd name="connsiteY77" fmla="*/ 688248 h 767097"/>
                <a:gd name="connsiteX78" fmla="*/ 94480 w 133513"/>
                <a:gd name="connsiteY78" fmla="*/ 682973 h 767097"/>
                <a:gd name="connsiteX79" fmla="*/ 94480 w 133513"/>
                <a:gd name="connsiteY79" fmla="*/ 679393 h 767097"/>
                <a:gd name="connsiteX80" fmla="*/ 83578 w 133513"/>
                <a:gd name="connsiteY80" fmla="*/ 678050 h 767097"/>
                <a:gd name="connsiteX81" fmla="*/ 77945 w 133513"/>
                <a:gd name="connsiteY81" fmla="*/ 677346 h 767097"/>
                <a:gd name="connsiteX82" fmla="*/ 77945 w 133513"/>
                <a:gd name="connsiteY82" fmla="*/ 677346 h 767097"/>
                <a:gd name="connsiteX83" fmla="*/ 68809 w 133513"/>
                <a:gd name="connsiteY83" fmla="*/ 675940 h 767097"/>
                <a:gd name="connsiteX84" fmla="*/ 64062 w 133513"/>
                <a:gd name="connsiteY84" fmla="*/ 675349 h 767097"/>
                <a:gd name="connsiteX85" fmla="*/ 64055 w 133513"/>
                <a:gd name="connsiteY85" fmla="*/ 675349 h 767097"/>
                <a:gd name="connsiteX86" fmla="*/ 55446 w 133513"/>
                <a:gd name="connsiteY86" fmla="*/ 672423 h 767097"/>
                <a:gd name="connsiteX87" fmla="*/ 53547 w 133513"/>
                <a:gd name="connsiteY87" fmla="*/ 666459 h 767097"/>
                <a:gd name="connsiteX88" fmla="*/ 51578 w 133513"/>
                <a:gd name="connsiteY88" fmla="*/ 660467 h 767097"/>
                <a:gd name="connsiteX89" fmla="*/ 50171 w 133513"/>
                <a:gd name="connsiteY89" fmla="*/ 648863 h 767097"/>
                <a:gd name="connsiteX90" fmla="*/ 50333 w 133513"/>
                <a:gd name="connsiteY90" fmla="*/ 647463 h 767097"/>
                <a:gd name="connsiteX91" fmla="*/ 48765 w 133513"/>
                <a:gd name="connsiteY91" fmla="*/ 643236 h 767097"/>
                <a:gd name="connsiteX92" fmla="*/ 44074 w 133513"/>
                <a:gd name="connsiteY92" fmla="*/ 642540 h 767097"/>
                <a:gd name="connsiteX93" fmla="*/ 44074 w 133513"/>
                <a:gd name="connsiteY93" fmla="*/ 642540 h 767097"/>
                <a:gd name="connsiteX94" fmla="*/ 40677 w 133513"/>
                <a:gd name="connsiteY94" fmla="*/ 641830 h 767097"/>
                <a:gd name="connsiteX95" fmla="*/ 39945 w 133513"/>
                <a:gd name="connsiteY95" fmla="*/ 640810 h 767097"/>
                <a:gd name="connsiteX96" fmla="*/ 33995 w 133513"/>
                <a:gd name="connsiteY96" fmla="*/ 630928 h 767097"/>
                <a:gd name="connsiteX97" fmla="*/ 33925 w 133513"/>
                <a:gd name="connsiteY97" fmla="*/ 623853 h 767097"/>
                <a:gd name="connsiteX98" fmla="*/ 33995 w 133513"/>
                <a:gd name="connsiteY98" fmla="*/ 620730 h 767097"/>
                <a:gd name="connsiteX99" fmla="*/ 33995 w 133513"/>
                <a:gd name="connsiteY99" fmla="*/ 609829 h 767097"/>
                <a:gd name="connsiteX100" fmla="*/ 35528 w 133513"/>
                <a:gd name="connsiteY100" fmla="*/ 607642 h 767097"/>
                <a:gd name="connsiteX101" fmla="*/ 37863 w 133513"/>
                <a:gd name="connsiteY101" fmla="*/ 604906 h 767097"/>
                <a:gd name="connsiteX102" fmla="*/ 42344 w 133513"/>
                <a:gd name="connsiteY102" fmla="*/ 599005 h 767097"/>
                <a:gd name="connsiteX103" fmla="*/ 43842 w 133513"/>
                <a:gd name="connsiteY103" fmla="*/ 597170 h 767097"/>
                <a:gd name="connsiteX104" fmla="*/ 44974 w 133513"/>
                <a:gd name="connsiteY104" fmla="*/ 594342 h 767097"/>
                <a:gd name="connsiteX105" fmla="*/ 47006 w 133513"/>
                <a:gd name="connsiteY105" fmla="*/ 589785 h 767097"/>
                <a:gd name="connsiteX106" fmla="*/ 48139 w 133513"/>
                <a:gd name="connsiteY106" fmla="*/ 588779 h 767097"/>
                <a:gd name="connsiteX107" fmla="*/ 48434 w 133513"/>
                <a:gd name="connsiteY107" fmla="*/ 588568 h 767097"/>
                <a:gd name="connsiteX108" fmla="*/ 48765 w 133513"/>
                <a:gd name="connsiteY108" fmla="*/ 584158 h 767097"/>
                <a:gd name="connsiteX109" fmla="*/ 49609 w 133513"/>
                <a:gd name="connsiteY109" fmla="*/ 574453 h 767097"/>
                <a:gd name="connsiteX110" fmla="*/ 50171 w 133513"/>
                <a:gd name="connsiteY110" fmla="*/ 568686 h 767097"/>
                <a:gd name="connsiteX111" fmla="*/ 54040 w 133513"/>
                <a:gd name="connsiteY111" fmla="*/ 556730 h 767097"/>
                <a:gd name="connsiteX112" fmla="*/ 56501 w 133513"/>
                <a:gd name="connsiteY112" fmla="*/ 549697 h 767097"/>
                <a:gd name="connsiteX113" fmla="*/ 57732 w 133513"/>
                <a:gd name="connsiteY113" fmla="*/ 544675 h 767097"/>
                <a:gd name="connsiteX114" fmla="*/ 60369 w 133513"/>
                <a:gd name="connsiteY114" fmla="*/ 532114 h 767097"/>
                <a:gd name="connsiteX115" fmla="*/ 60447 w 133513"/>
                <a:gd name="connsiteY115" fmla="*/ 524582 h 767097"/>
                <a:gd name="connsiteX116" fmla="*/ 60369 w 133513"/>
                <a:gd name="connsiteY116" fmla="*/ 521916 h 767097"/>
                <a:gd name="connsiteX117" fmla="*/ 60369 w 133513"/>
                <a:gd name="connsiteY117" fmla="*/ 512070 h 767097"/>
                <a:gd name="connsiteX118" fmla="*/ 62268 w 133513"/>
                <a:gd name="connsiteY118" fmla="*/ 510354 h 767097"/>
                <a:gd name="connsiteX119" fmla="*/ 62268 w 133513"/>
                <a:gd name="connsiteY119" fmla="*/ 510354 h 767097"/>
                <a:gd name="connsiteX120" fmla="*/ 66347 w 133513"/>
                <a:gd name="connsiteY120" fmla="*/ 505388 h 767097"/>
                <a:gd name="connsiteX121" fmla="*/ 66945 w 133513"/>
                <a:gd name="connsiteY121" fmla="*/ 502174 h 767097"/>
                <a:gd name="connsiteX122" fmla="*/ 64941 w 133513"/>
                <a:gd name="connsiteY122" fmla="*/ 496245 h 767097"/>
                <a:gd name="connsiteX123" fmla="*/ 61727 w 133513"/>
                <a:gd name="connsiteY123" fmla="*/ 494410 h 767097"/>
                <a:gd name="connsiteX124" fmla="*/ 60693 w 133513"/>
                <a:gd name="connsiteY124" fmla="*/ 493777 h 767097"/>
                <a:gd name="connsiteX125" fmla="*/ 60369 w 133513"/>
                <a:gd name="connsiteY125" fmla="*/ 490970 h 767097"/>
                <a:gd name="connsiteX126" fmla="*/ 61424 w 133513"/>
                <a:gd name="connsiteY126" fmla="*/ 483586 h 767097"/>
                <a:gd name="connsiteX127" fmla="*/ 61424 w 133513"/>
                <a:gd name="connsiteY127" fmla="*/ 478311 h 767097"/>
                <a:gd name="connsiteX128" fmla="*/ 56501 w 133513"/>
                <a:gd name="connsiteY128" fmla="*/ 473036 h 767097"/>
                <a:gd name="connsiteX129" fmla="*/ 56501 w 133513"/>
                <a:gd name="connsiteY129" fmla="*/ 468816 h 767097"/>
                <a:gd name="connsiteX130" fmla="*/ 54040 w 133513"/>
                <a:gd name="connsiteY130" fmla="*/ 459322 h 767097"/>
                <a:gd name="connsiteX131" fmla="*/ 53660 w 133513"/>
                <a:gd name="connsiteY131" fmla="*/ 458506 h 767097"/>
                <a:gd name="connsiteX132" fmla="*/ 52633 w 133513"/>
                <a:gd name="connsiteY132" fmla="*/ 454750 h 767097"/>
                <a:gd name="connsiteX133" fmla="*/ 53393 w 133513"/>
                <a:gd name="connsiteY133" fmla="*/ 451220 h 767097"/>
                <a:gd name="connsiteX134" fmla="*/ 54040 w 133513"/>
                <a:gd name="connsiteY134" fmla="*/ 448421 h 767097"/>
                <a:gd name="connsiteX135" fmla="*/ 55270 w 133513"/>
                <a:gd name="connsiteY135" fmla="*/ 444728 h 767097"/>
                <a:gd name="connsiteX136" fmla="*/ 56501 w 133513"/>
                <a:gd name="connsiteY136" fmla="*/ 441036 h 767097"/>
                <a:gd name="connsiteX137" fmla="*/ 56501 w 133513"/>
                <a:gd name="connsiteY137" fmla="*/ 434706 h 767097"/>
                <a:gd name="connsiteX138" fmla="*/ 56501 w 133513"/>
                <a:gd name="connsiteY138" fmla="*/ 427673 h 767097"/>
                <a:gd name="connsiteX139" fmla="*/ 56501 w 133513"/>
                <a:gd name="connsiteY139" fmla="*/ 422047 h 767097"/>
                <a:gd name="connsiteX140" fmla="*/ 56501 w 133513"/>
                <a:gd name="connsiteY140" fmla="*/ 416068 h 767097"/>
                <a:gd name="connsiteX141" fmla="*/ 56501 w 133513"/>
                <a:gd name="connsiteY141" fmla="*/ 410090 h 767097"/>
                <a:gd name="connsiteX142" fmla="*/ 57774 w 133513"/>
                <a:gd name="connsiteY142" fmla="*/ 406883 h 767097"/>
                <a:gd name="connsiteX143" fmla="*/ 59666 w 133513"/>
                <a:gd name="connsiteY143" fmla="*/ 402002 h 767097"/>
                <a:gd name="connsiteX144" fmla="*/ 59244 w 133513"/>
                <a:gd name="connsiteY144" fmla="*/ 398584 h 767097"/>
                <a:gd name="connsiteX145" fmla="*/ 59666 w 133513"/>
                <a:gd name="connsiteY145" fmla="*/ 392508 h 767097"/>
                <a:gd name="connsiteX146" fmla="*/ 61319 w 133513"/>
                <a:gd name="connsiteY146" fmla="*/ 388302 h 767097"/>
                <a:gd name="connsiteX147" fmla="*/ 63534 w 133513"/>
                <a:gd name="connsiteY147" fmla="*/ 384068 h 767097"/>
                <a:gd name="connsiteX148" fmla="*/ 65897 w 133513"/>
                <a:gd name="connsiteY148" fmla="*/ 381107 h 767097"/>
                <a:gd name="connsiteX149" fmla="*/ 68106 w 133513"/>
                <a:gd name="connsiteY149" fmla="*/ 378442 h 767097"/>
                <a:gd name="connsiteX150" fmla="*/ 69090 w 133513"/>
                <a:gd name="connsiteY150" fmla="*/ 377583 h 767097"/>
                <a:gd name="connsiteX151" fmla="*/ 70919 w 133513"/>
                <a:gd name="connsiteY151" fmla="*/ 374222 h 767097"/>
                <a:gd name="connsiteX152" fmla="*/ 71010 w 133513"/>
                <a:gd name="connsiteY152" fmla="*/ 369735 h 767097"/>
                <a:gd name="connsiteX153" fmla="*/ 70919 w 133513"/>
                <a:gd name="connsiteY153" fmla="*/ 366837 h 767097"/>
                <a:gd name="connsiteX154" fmla="*/ 70919 w 133513"/>
                <a:gd name="connsiteY154" fmla="*/ 361211 h 767097"/>
                <a:gd name="connsiteX155" fmla="*/ 70919 w 133513"/>
                <a:gd name="connsiteY155" fmla="*/ 355584 h 767097"/>
                <a:gd name="connsiteX156" fmla="*/ 70919 w 133513"/>
                <a:gd name="connsiteY156" fmla="*/ 350309 h 767097"/>
                <a:gd name="connsiteX157" fmla="*/ 70919 w 133513"/>
                <a:gd name="connsiteY157" fmla="*/ 343628 h 767097"/>
                <a:gd name="connsiteX158" fmla="*/ 70919 w 133513"/>
                <a:gd name="connsiteY158" fmla="*/ 337650 h 767097"/>
                <a:gd name="connsiteX159" fmla="*/ 73029 w 133513"/>
                <a:gd name="connsiteY159" fmla="*/ 331672 h 767097"/>
                <a:gd name="connsiteX160" fmla="*/ 75842 w 133513"/>
                <a:gd name="connsiteY160" fmla="*/ 328859 h 767097"/>
                <a:gd name="connsiteX161" fmla="*/ 80062 w 133513"/>
                <a:gd name="connsiteY161" fmla="*/ 321122 h 767097"/>
                <a:gd name="connsiteX162" fmla="*/ 80062 w 133513"/>
                <a:gd name="connsiteY162" fmla="*/ 308463 h 767097"/>
                <a:gd name="connsiteX163" fmla="*/ 82348 w 133513"/>
                <a:gd name="connsiteY163" fmla="*/ 303898 h 767097"/>
                <a:gd name="connsiteX164" fmla="*/ 84282 w 133513"/>
                <a:gd name="connsiteY164" fmla="*/ 300023 h 767097"/>
                <a:gd name="connsiteX165" fmla="*/ 85238 w 133513"/>
                <a:gd name="connsiteY165" fmla="*/ 297962 h 767097"/>
                <a:gd name="connsiteX166" fmla="*/ 86392 w 133513"/>
                <a:gd name="connsiteY166" fmla="*/ 293693 h 767097"/>
                <a:gd name="connsiteX167" fmla="*/ 86877 w 133513"/>
                <a:gd name="connsiteY167" fmla="*/ 290100 h 767097"/>
                <a:gd name="connsiteX168" fmla="*/ 87447 w 133513"/>
                <a:gd name="connsiteY168" fmla="*/ 283495 h 767097"/>
                <a:gd name="connsiteX169" fmla="*/ 87756 w 133513"/>
                <a:gd name="connsiteY169" fmla="*/ 279058 h 767097"/>
                <a:gd name="connsiteX170" fmla="*/ 87447 w 133513"/>
                <a:gd name="connsiteY170" fmla="*/ 275407 h 767097"/>
                <a:gd name="connsiteX171" fmla="*/ 86089 w 133513"/>
                <a:gd name="connsiteY171" fmla="*/ 274317 h 767097"/>
                <a:gd name="connsiteX172" fmla="*/ 84282 w 133513"/>
                <a:gd name="connsiteY172" fmla="*/ 269781 h 767097"/>
                <a:gd name="connsiteX173" fmla="*/ 83719 w 133513"/>
                <a:gd name="connsiteY173" fmla="*/ 264000 h 767097"/>
                <a:gd name="connsiteX174" fmla="*/ 83227 w 133513"/>
                <a:gd name="connsiteY174" fmla="*/ 261341 h 767097"/>
                <a:gd name="connsiteX175" fmla="*/ 83621 w 133513"/>
                <a:gd name="connsiteY175" fmla="*/ 258486 h 767097"/>
                <a:gd name="connsiteX176" fmla="*/ 83227 w 133513"/>
                <a:gd name="connsiteY176" fmla="*/ 254660 h 767097"/>
                <a:gd name="connsiteX177" fmla="*/ 81679 w 133513"/>
                <a:gd name="connsiteY177" fmla="*/ 251783 h 767097"/>
                <a:gd name="connsiteX178" fmla="*/ 80062 w 133513"/>
                <a:gd name="connsiteY178" fmla="*/ 246220 h 767097"/>
                <a:gd name="connsiteX179" fmla="*/ 80062 w 133513"/>
                <a:gd name="connsiteY179" fmla="*/ 239187 h 767097"/>
                <a:gd name="connsiteX180" fmla="*/ 79647 w 133513"/>
                <a:gd name="connsiteY180" fmla="*/ 236156 h 767097"/>
                <a:gd name="connsiteX181" fmla="*/ 80062 w 133513"/>
                <a:gd name="connsiteY181" fmla="*/ 232857 h 767097"/>
                <a:gd name="connsiteX182" fmla="*/ 83079 w 133513"/>
                <a:gd name="connsiteY182" fmla="*/ 227991 h 767097"/>
                <a:gd name="connsiteX183" fmla="*/ 86392 w 133513"/>
                <a:gd name="connsiteY183" fmla="*/ 221956 h 767097"/>
                <a:gd name="connsiteX184" fmla="*/ 86392 w 133513"/>
                <a:gd name="connsiteY184" fmla="*/ 218088 h 767097"/>
                <a:gd name="connsiteX185" fmla="*/ 86392 w 133513"/>
                <a:gd name="connsiteY185" fmla="*/ 213868 h 767097"/>
                <a:gd name="connsiteX186" fmla="*/ 86469 w 133513"/>
                <a:gd name="connsiteY186" fmla="*/ 211653 h 767097"/>
                <a:gd name="connsiteX187" fmla="*/ 86392 w 133513"/>
                <a:gd name="connsiteY187" fmla="*/ 207890 h 767097"/>
                <a:gd name="connsiteX188" fmla="*/ 86392 w 133513"/>
                <a:gd name="connsiteY188" fmla="*/ 199802 h 767097"/>
                <a:gd name="connsiteX189" fmla="*/ 88438 w 133513"/>
                <a:gd name="connsiteY189" fmla="*/ 194394 h 767097"/>
                <a:gd name="connsiteX190" fmla="*/ 88445 w 133513"/>
                <a:gd name="connsiteY190" fmla="*/ 194394 h 767097"/>
                <a:gd name="connsiteX191" fmla="*/ 89556 w 133513"/>
                <a:gd name="connsiteY191" fmla="*/ 191011 h 767097"/>
                <a:gd name="connsiteX192" fmla="*/ 95183 w 133513"/>
                <a:gd name="connsiteY192" fmla="*/ 180110 h 767097"/>
                <a:gd name="connsiteX193" fmla="*/ 99403 w 133513"/>
                <a:gd name="connsiteY193" fmla="*/ 174131 h 767097"/>
                <a:gd name="connsiteX194" fmla="*/ 101773 w 133513"/>
                <a:gd name="connsiteY194" fmla="*/ 171663 h 767097"/>
                <a:gd name="connsiteX195" fmla="*/ 101773 w 133513"/>
                <a:gd name="connsiteY195" fmla="*/ 171663 h 767097"/>
                <a:gd name="connsiteX196" fmla="*/ 101773 w 133513"/>
                <a:gd name="connsiteY196" fmla="*/ 171663 h 767097"/>
                <a:gd name="connsiteX197" fmla="*/ 107139 w 133513"/>
                <a:gd name="connsiteY197" fmla="*/ 165692 h 767097"/>
                <a:gd name="connsiteX198" fmla="*/ 108722 w 133513"/>
                <a:gd name="connsiteY198" fmla="*/ 163497 h 767097"/>
                <a:gd name="connsiteX199" fmla="*/ 108722 w 133513"/>
                <a:gd name="connsiteY199" fmla="*/ 163497 h 767097"/>
                <a:gd name="connsiteX200" fmla="*/ 108722 w 133513"/>
                <a:gd name="connsiteY200" fmla="*/ 163497 h 767097"/>
                <a:gd name="connsiteX201" fmla="*/ 111359 w 133513"/>
                <a:gd name="connsiteY201" fmla="*/ 158659 h 767097"/>
                <a:gd name="connsiteX202" fmla="*/ 111478 w 133513"/>
                <a:gd name="connsiteY202" fmla="*/ 156704 h 767097"/>
                <a:gd name="connsiteX203" fmla="*/ 111359 w 133513"/>
                <a:gd name="connsiteY203" fmla="*/ 153736 h 767097"/>
                <a:gd name="connsiteX204" fmla="*/ 110860 w 133513"/>
                <a:gd name="connsiteY204" fmla="*/ 149987 h 767097"/>
                <a:gd name="connsiteX205" fmla="*/ 110304 w 133513"/>
                <a:gd name="connsiteY205" fmla="*/ 147406 h 767097"/>
                <a:gd name="connsiteX206" fmla="*/ 110199 w 133513"/>
                <a:gd name="connsiteY206" fmla="*/ 144156 h 767097"/>
                <a:gd name="connsiteX207" fmla="*/ 110304 w 133513"/>
                <a:gd name="connsiteY207" fmla="*/ 141428 h 767097"/>
                <a:gd name="connsiteX208" fmla="*/ 110304 w 133513"/>
                <a:gd name="connsiteY208" fmla="*/ 129823 h 767097"/>
                <a:gd name="connsiteX209" fmla="*/ 110009 w 133513"/>
                <a:gd name="connsiteY209" fmla="*/ 128374 h 767097"/>
                <a:gd name="connsiteX210" fmla="*/ 110304 w 133513"/>
                <a:gd name="connsiteY210" fmla="*/ 125955 h 767097"/>
                <a:gd name="connsiteX211" fmla="*/ 110888 w 133513"/>
                <a:gd name="connsiteY211" fmla="*/ 123107 h 767097"/>
                <a:gd name="connsiteX212" fmla="*/ 112414 w 133513"/>
                <a:gd name="connsiteY212" fmla="*/ 118922 h 767097"/>
                <a:gd name="connsiteX213" fmla="*/ 120467 w 133513"/>
                <a:gd name="connsiteY213" fmla="*/ 113028 h 767097"/>
                <a:gd name="connsiteX214" fmla="*/ 120467 w 133513"/>
                <a:gd name="connsiteY214" fmla="*/ 113028 h 767097"/>
                <a:gd name="connsiteX215" fmla="*/ 120467 w 133513"/>
                <a:gd name="connsiteY215" fmla="*/ 113028 h 767097"/>
                <a:gd name="connsiteX216" fmla="*/ 124370 w 133513"/>
                <a:gd name="connsiteY216" fmla="*/ 110482 h 767097"/>
                <a:gd name="connsiteX217" fmla="*/ 125678 w 133513"/>
                <a:gd name="connsiteY217" fmla="*/ 109498 h 767097"/>
                <a:gd name="connsiteX218" fmla="*/ 128238 w 133513"/>
                <a:gd name="connsiteY218" fmla="*/ 106262 h 767097"/>
                <a:gd name="connsiteX219" fmla="*/ 129821 w 133513"/>
                <a:gd name="connsiteY219" fmla="*/ 104019 h 767097"/>
                <a:gd name="connsiteX220" fmla="*/ 130700 w 133513"/>
                <a:gd name="connsiteY220" fmla="*/ 100988 h 767097"/>
                <a:gd name="connsiteX221" fmla="*/ 130784 w 133513"/>
                <a:gd name="connsiteY221" fmla="*/ 95790 h 767097"/>
                <a:gd name="connsiteX222" fmla="*/ 130700 w 133513"/>
                <a:gd name="connsiteY222" fmla="*/ 93251 h 767097"/>
                <a:gd name="connsiteX223" fmla="*/ 130700 w 133513"/>
                <a:gd name="connsiteY223" fmla="*/ 87885 h 767097"/>
                <a:gd name="connsiteX224" fmla="*/ 129293 w 133513"/>
                <a:gd name="connsiteY224" fmla="*/ 88328 h 767097"/>
                <a:gd name="connsiteX225" fmla="*/ 120854 w 133513"/>
                <a:gd name="connsiteY225" fmla="*/ 88328 h 767097"/>
                <a:gd name="connsiteX226" fmla="*/ 118040 w 133513"/>
                <a:gd name="connsiteY226" fmla="*/ 79889 h 767097"/>
                <a:gd name="connsiteX227" fmla="*/ 113820 w 133513"/>
                <a:gd name="connsiteY227" fmla="*/ 68101 h 767097"/>
                <a:gd name="connsiteX228" fmla="*/ 113820 w 133513"/>
                <a:gd name="connsiteY228" fmla="*/ 68094 h 767097"/>
                <a:gd name="connsiteX229" fmla="*/ 113813 w 133513"/>
                <a:gd name="connsiteY229" fmla="*/ 68087 h 767097"/>
                <a:gd name="connsiteX230" fmla="*/ 113469 w 133513"/>
                <a:gd name="connsiteY230" fmla="*/ 67229 h 767097"/>
                <a:gd name="connsiteX231" fmla="*/ 111049 w 133513"/>
                <a:gd name="connsiteY231" fmla="*/ 63684 h 767097"/>
                <a:gd name="connsiteX232" fmla="*/ 108194 w 133513"/>
                <a:gd name="connsiteY232" fmla="*/ 59141 h 767097"/>
                <a:gd name="connsiteX233" fmla="*/ 107448 w 133513"/>
                <a:gd name="connsiteY233" fmla="*/ 54794 h 767097"/>
                <a:gd name="connsiteX234" fmla="*/ 107448 w 133513"/>
                <a:gd name="connsiteY234" fmla="*/ 54794 h 767097"/>
                <a:gd name="connsiteX235" fmla="*/ 106436 w 133513"/>
                <a:gd name="connsiteY235" fmla="*/ 48591 h 767097"/>
                <a:gd name="connsiteX236" fmla="*/ 108194 w 133513"/>
                <a:gd name="connsiteY236" fmla="*/ 38394 h 767097"/>
                <a:gd name="connsiteX237" fmla="*/ 106436 w 133513"/>
                <a:gd name="connsiteY237" fmla="*/ 27844 h 767097"/>
                <a:gd name="connsiteX238" fmla="*/ 101513 w 133513"/>
                <a:gd name="connsiteY238" fmla="*/ 18040 h 767097"/>
                <a:gd name="connsiteX239" fmla="*/ 101513 w 133513"/>
                <a:gd name="connsiteY239" fmla="*/ 18033 h 767097"/>
                <a:gd name="connsiteX240" fmla="*/ 101513 w 133513"/>
                <a:gd name="connsiteY240" fmla="*/ 17294 h 767097"/>
                <a:gd name="connsiteX241" fmla="*/ 99417 w 133513"/>
                <a:gd name="connsiteY241" fmla="*/ 11408 h 767097"/>
                <a:gd name="connsiteX242" fmla="*/ 96589 w 133513"/>
                <a:gd name="connsiteY242" fmla="*/ 6393 h 767097"/>
                <a:gd name="connsiteX243" fmla="*/ 92651 w 133513"/>
                <a:gd name="connsiteY243" fmla="*/ 0 h 767097"/>
                <a:gd name="connsiteX244" fmla="*/ 90611 w 133513"/>
                <a:gd name="connsiteY244" fmla="*/ 4986 h 767097"/>
                <a:gd name="connsiteX245" fmla="*/ 86040 w 133513"/>
                <a:gd name="connsiteY245" fmla="*/ 12371 h 767097"/>
                <a:gd name="connsiteX246" fmla="*/ 94480 w 133513"/>
                <a:gd name="connsiteY246" fmla="*/ 688248 h 767097"/>
                <a:gd name="connsiteX247" fmla="*/ 106787 w 133513"/>
                <a:gd name="connsiteY247" fmla="*/ 693171 h 767097"/>
                <a:gd name="connsiteX248" fmla="*/ 107491 w 133513"/>
                <a:gd name="connsiteY248" fmla="*/ 713152 h 767097"/>
                <a:gd name="connsiteX249" fmla="*/ 107491 w 133513"/>
                <a:gd name="connsiteY249" fmla="*/ 749084 h 767097"/>
                <a:gd name="connsiteX250" fmla="*/ 108883 w 133513"/>
                <a:gd name="connsiteY250" fmla="*/ 749041 h 767097"/>
                <a:gd name="connsiteX251" fmla="*/ 108897 w 133513"/>
                <a:gd name="connsiteY251" fmla="*/ 749435 h 767097"/>
                <a:gd name="connsiteX252" fmla="*/ 127887 w 133513"/>
                <a:gd name="connsiteY252" fmla="*/ 751545 h 767097"/>
                <a:gd name="connsiteX253" fmla="*/ 131403 w 133513"/>
                <a:gd name="connsiteY253" fmla="*/ 756117 h 767097"/>
                <a:gd name="connsiteX254" fmla="*/ 133513 w 133513"/>
                <a:gd name="connsiteY254" fmla="*/ 759985 h 767097"/>
                <a:gd name="connsiteX255" fmla="*/ 118040 w 133513"/>
                <a:gd name="connsiteY255" fmla="*/ 759985 h 767097"/>
                <a:gd name="connsiteX256" fmla="*/ 114524 w 133513"/>
                <a:gd name="connsiteY256" fmla="*/ 756117 h 767097"/>
                <a:gd name="connsiteX257" fmla="*/ 112414 w 133513"/>
                <a:gd name="connsiteY257" fmla="*/ 761040 h 767097"/>
                <a:gd name="connsiteX258" fmla="*/ 114404 w 133513"/>
                <a:gd name="connsiteY258" fmla="*/ 763150 h 767097"/>
                <a:gd name="connsiteX259" fmla="*/ 114404 w 133513"/>
                <a:gd name="connsiteY259" fmla="*/ 763150 h 767097"/>
                <a:gd name="connsiteX260" fmla="*/ 114404 w 133513"/>
                <a:gd name="connsiteY260" fmla="*/ 763150 h 767097"/>
                <a:gd name="connsiteX261" fmla="*/ 115579 w 133513"/>
                <a:gd name="connsiteY261" fmla="*/ 765260 h 767097"/>
                <a:gd name="connsiteX262" fmla="*/ 115424 w 133513"/>
                <a:gd name="connsiteY262" fmla="*/ 765316 h 767097"/>
                <a:gd name="connsiteX263" fmla="*/ 115368 w 133513"/>
                <a:gd name="connsiteY263" fmla="*/ 765337 h 767097"/>
                <a:gd name="connsiteX264" fmla="*/ 115283 w 133513"/>
                <a:gd name="connsiteY264" fmla="*/ 765372 h 767097"/>
                <a:gd name="connsiteX265" fmla="*/ 114875 w 133513"/>
                <a:gd name="connsiteY265" fmla="*/ 765534 h 767097"/>
                <a:gd name="connsiteX266" fmla="*/ 114868 w 133513"/>
                <a:gd name="connsiteY266" fmla="*/ 765541 h 767097"/>
                <a:gd name="connsiteX267" fmla="*/ 114861 w 133513"/>
                <a:gd name="connsiteY267" fmla="*/ 765541 h 767097"/>
                <a:gd name="connsiteX268" fmla="*/ 106787 w 133513"/>
                <a:gd name="connsiteY268" fmla="*/ 766666 h 767097"/>
                <a:gd name="connsiteX269" fmla="*/ 97293 w 133513"/>
                <a:gd name="connsiteY269" fmla="*/ 765260 h 767097"/>
                <a:gd name="connsiteX270" fmla="*/ 94881 w 133513"/>
                <a:gd name="connsiteY270" fmla="*/ 765689 h 767097"/>
                <a:gd name="connsiteX271" fmla="*/ 94881 w 133513"/>
                <a:gd name="connsiteY271" fmla="*/ 765689 h 767097"/>
                <a:gd name="connsiteX272" fmla="*/ 90963 w 133513"/>
                <a:gd name="connsiteY272" fmla="*/ 763853 h 767097"/>
                <a:gd name="connsiteX273" fmla="*/ 89479 w 133513"/>
                <a:gd name="connsiteY273" fmla="*/ 761462 h 767097"/>
                <a:gd name="connsiteX274" fmla="*/ 89205 w 133513"/>
                <a:gd name="connsiteY274" fmla="*/ 756117 h 767097"/>
                <a:gd name="connsiteX275" fmla="*/ 93347 w 133513"/>
                <a:gd name="connsiteY275" fmla="*/ 748275 h 767097"/>
                <a:gd name="connsiteX276" fmla="*/ 94480 w 133513"/>
                <a:gd name="connsiteY276" fmla="*/ 747325 h 767097"/>
                <a:gd name="connsiteX277" fmla="*/ 96027 w 133513"/>
                <a:gd name="connsiteY277" fmla="*/ 745426 h 767097"/>
                <a:gd name="connsiteX278" fmla="*/ 97293 w 133513"/>
                <a:gd name="connsiteY278" fmla="*/ 743105 h 767097"/>
                <a:gd name="connsiteX279" fmla="*/ 100310 w 133513"/>
                <a:gd name="connsiteY279" fmla="*/ 740707 h 767097"/>
                <a:gd name="connsiteX280" fmla="*/ 99754 w 133513"/>
                <a:gd name="connsiteY280" fmla="*/ 737127 h 767097"/>
                <a:gd name="connsiteX281" fmla="*/ 97194 w 133513"/>
                <a:gd name="connsiteY281" fmla="*/ 735784 h 767097"/>
                <a:gd name="connsiteX282" fmla="*/ 97194 w 133513"/>
                <a:gd name="connsiteY282" fmla="*/ 735784 h 767097"/>
                <a:gd name="connsiteX283" fmla="*/ 90963 w 133513"/>
                <a:gd name="connsiteY283" fmla="*/ 731501 h 767097"/>
                <a:gd name="connsiteX284" fmla="*/ 87376 w 133513"/>
                <a:gd name="connsiteY284" fmla="*/ 728990 h 767097"/>
                <a:gd name="connsiteX285" fmla="*/ 84633 w 133513"/>
                <a:gd name="connsiteY285" fmla="*/ 724820 h 767097"/>
                <a:gd name="connsiteX286" fmla="*/ 84739 w 133513"/>
                <a:gd name="connsiteY286" fmla="*/ 723645 h 767097"/>
                <a:gd name="connsiteX287" fmla="*/ 87798 w 133513"/>
                <a:gd name="connsiteY287" fmla="*/ 717786 h 767097"/>
                <a:gd name="connsiteX288" fmla="*/ 93425 w 133513"/>
                <a:gd name="connsiteY288" fmla="*/ 711457 h 767097"/>
                <a:gd name="connsiteX289" fmla="*/ 90963 w 133513"/>
                <a:gd name="connsiteY289" fmla="*/ 708995 h 767097"/>
                <a:gd name="connsiteX290" fmla="*/ 87088 w 133513"/>
                <a:gd name="connsiteY290" fmla="*/ 709431 h 767097"/>
                <a:gd name="connsiteX291" fmla="*/ 83578 w 133513"/>
                <a:gd name="connsiteY291" fmla="*/ 708644 h 767097"/>
                <a:gd name="connsiteX292" fmla="*/ 82179 w 133513"/>
                <a:gd name="connsiteY292" fmla="*/ 707075 h 767097"/>
                <a:gd name="connsiteX293" fmla="*/ 81820 w 133513"/>
                <a:gd name="connsiteY293" fmla="*/ 704072 h 767097"/>
                <a:gd name="connsiteX294" fmla="*/ 82664 w 133513"/>
                <a:gd name="connsiteY294" fmla="*/ 701083 h 767097"/>
                <a:gd name="connsiteX295" fmla="*/ 84633 w 133513"/>
                <a:gd name="connsiteY295" fmla="*/ 697391 h 767097"/>
                <a:gd name="connsiteX296" fmla="*/ 94480 w 133513"/>
                <a:gd name="connsiteY296" fmla="*/ 690006 h 767097"/>
                <a:gd name="connsiteX297" fmla="*/ 94480 w 133513"/>
                <a:gd name="connsiteY297" fmla="*/ 688248 h 767097"/>
                <a:gd name="connsiteX298" fmla="*/ 71271 w 133513"/>
                <a:gd name="connsiteY298" fmla="*/ 708995 h 767097"/>
                <a:gd name="connsiteX299" fmla="*/ 73380 w 133513"/>
                <a:gd name="connsiteY299" fmla="*/ 699149 h 767097"/>
                <a:gd name="connsiteX300" fmla="*/ 67754 w 133513"/>
                <a:gd name="connsiteY300" fmla="*/ 697391 h 767097"/>
                <a:gd name="connsiteX301" fmla="*/ 65292 w 133513"/>
                <a:gd name="connsiteY301" fmla="*/ 699149 h 767097"/>
                <a:gd name="connsiteX302" fmla="*/ 60728 w 133513"/>
                <a:gd name="connsiteY302" fmla="*/ 702588 h 767097"/>
                <a:gd name="connsiteX303" fmla="*/ 59314 w 133513"/>
                <a:gd name="connsiteY303" fmla="*/ 704072 h 767097"/>
                <a:gd name="connsiteX304" fmla="*/ 50171 w 133513"/>
                <a:gd name="connsiteY304" fmla="*/ 708995 h 767097"/>
                <a:gd name="connsiteX305" fmla="*/ 47358 w 133513"/>
                <a:gd name="connsiteY305" fmla="*/ 711457 h 767097"/>
                <a:gd name="connsiteX306" fmla="*/ 57556 w 133513"/>
                <a:gd name="connsiteY306" fmla="*/ 717786 h 767097"/>
                <a:gd name="connsiteX307" fmla="*/ 65110 w 133513"/>
                <a:gd name="connsiteY307" fmla="*/ 721247 h 767097"/>
                <a:gd name="connsiteX308" fmla="*/ 65110 w 133513"/>
                <a:gd name="connsiteY308" fmla="*/ 721247 h 767097"/>
                <a:gd name="connsiteX309" fmla="*/ 65110 w 133513"/>
                <a:gd name="connsiteY309" fmla="*/ 721247 h 767097"/>
                <a:gd name="connsiteX310" fmla="*/ 69864 w 133513"/>
                <a:gd name="connsiteY310" fmla="*/ 723413 h 767097"/>
                <a:gd name="connsiteX311" fmla="*/ 71271 w 133513"/>
                <a:gd name="connsiteY311" fmla="*/ 719545 h 767097"/>
                <a:gd name="connsiteX312" fmla="*/ 71271 w 133513"/>
                <a:gd name="connsiteY312" fmla="*/ 708995 h 767097"/>
                <a:gd name="connsiteX313" fmla="*/ 75905 w 133513"/>
                <a:gd name="connsiteY313" fmla="*/ 751426 h 767097"/>
                <a:gd name="connsiteX314" fmla="*/ 71271 w 133513"/>
                <a:gd name="connsiteY314" fmla="*/ 747325 h 767097"/>
                <a:gd name="connsiteX315" fmla="*/ 63815 w 133513"/>
                <a:gd name="connsiteY315" fmla="*/ 741734 h 767097"/>
                <a:gd name="connsiteX316" fmla="*/ 59314 w 133513"/>
                <a:gd name="connsiteY316" fmla="*/ 738534 h 767097"/>
                <a:gd name="connsiteX317" fmla="*/ 56234 w 133513"/>
                <a:gd name="connsiteY317" fmla="*/ 737592 h 767097"/>
                <a:gd name="connsiteX318" fmla="*/ 50171 w 133513"/>
                <a:gd name="connsiteY318" fmla="*/ 733259 h 767097"/>
                <a:gd name="connsiteX319" fmla="*/ 44228 w 133513"/>
                <a:gd name="connsiteY319" fmla="*/ 727112 h 767097"/>
                <a:gd name="connsiteX320" fmla="*/ 40677 w 133513"/>
                <a:gd name="connsiteY320" fmla="*/ 723413 h 767097"/>
                <a:gd name="connsiteX321" fmla="*/ 33953 w 133513"/>
                <a:gd name="connsiteY321" fmla="*/ 716070 h 767097"/>
                <a:gd name="connsiteX322" fmla="*/ 32940 w 133513"/>
                <a:gd name="connsiteY322" fmla="*/ 715325 h 767097"/>
                <a:gd name="connsiteX323" fmla="*/ 27391 w 133513"/>
                <a:gd name="connsiteY323" fmla="*/ 710177 h 767097"/>
                <a:gd name="connsiteX324" fmla="*/ 24852 w 133513"/>
                <a:gd name="connsiteY324" fmla="*/ 707589 h 767097"/>
                <a:gd name="connsiteX325" fmla="*/ 19578 w 133513"/>
                <a:gd name="connsiteY325" fmla="*/ 700556 h 767097"/>
                <a:gd name="connsiteX326" fmla="*/ 35754 w 133513"/>
                <a:gd name="connsiteY326" fmla="*/ 708995 h 767097"/>
                <a:gd name="connsiteX327" fmla="*/ 38918 w 133513"/>
                <a:gd name="connsiteY327" fmla="*/ 713567 h 767097"/>
                <a:gd name="connsiteX328" fmla="*/ 40093 w 133513"/>
                <a:gd name="connsiteY328" fmla="*/ 714812 h 767097"/>
                <a:gd name="connsiteX329" fmla="*/ 44193 w 133513"/>
                <a:gd name="connsiteY329" fmla="*/ 717786 h 767097"/>
                <a:gd name="connsiteX330" fmla="*/ 50171 w 133513"/>
                <a:gd name="connsiteY330" fmla="*/ 721303 h 767097"/>
                <a:gd name="connsiteX331" fmla="*/ 50411 w 133513"/>
                <a:gd name="connsiteY331" fmla="*/ 721641 h 767097"/>
                <a:gd name="connsiteX332" fmla="*/ 57556 w 133513"/>
                <a:gd name="connsiteY332" fmla="*/ 730446 h 767097"/>
                <a:gd name="connsiteX333" fmla="*/ 61881 w 133513"/>
                <a:gd name="connsiteY333" fmla="*/ 730734 h 767097"/>
                <a:gd name="connsiteX334" fmla="*/ 66699 w 133513"/>
                <a:gd name="connsiteY334" fmla="*/ 730798 h 767097"/>
                <a:gd name="connsiteX335" fmla="*/ 69287 w 133513"/>
                <a:gd name="connsiteY335" fmla="*/ 731297 h 767097"/>
                <a:gd name="connsiteX336" fmla="*/ 75490 w 133513"/>
                <a:gd name="connsiteY336" fmla="*/ 733259 h 767097"/>
                <a:gd name="connsiteX337" fmla="*/ 87798 w 133513"/>
                <a:gd name="connsiteY337" fmla="*/ 738534 h 767097"/>
                <a:gd name="connsiteX338" fmla="*/ 90963 w 133513"/>
                <a:gd name="connsiteY338" fmla="*/ 743105 h 767097"/>
                <a:gd name="connsiteX339" fmla="*/ 88895 w 133513"/>
                <a:gd name="connsiteY339" fmla="*/ 744111 h 767097"/>
                <a:gd name="connsiteX340" fmla="*/ 84633 w 133513"/>
                <a:gd name="connsiteY340" fmla="*/ 747325 h 767097"/>
                <a:gd name="connsiteX341" fmla="*/ 81820 w 133513"/>
                <a:gd name="connsiteY341" fmla="*/ 757523 h 767097"/>
                <a:gd name="connsiteX342" fmla="*/ 75905 w 133513"/>
                <a:gd name="connsiteY342" fmla="*/ 751426 h 767097"/>
                <a:gd name="connsiteX343" fmla="*/ 51578 w 133513"/>
                <a:gd name="connsiteY343" fmla="*/ 701962 h 767097"/>
                <a:gd name="connsiteX344" fmla="*/ 53336 w 133513"/>
                <a:gd name="connsiteY344" fmla="*/ 696336 h 767097"/>
                <a:gd name="connsiteX345" fmla="*/ 51578 w 133513"/>
                <a:gd name="connsiteY345" fmla="*/ 697391 h 767097"/>
                <a:gd name="connsiteX346" fmla="*/ 45248 w 133513"/>
                <a:gd name="connsiteY346" fmla="*/ 682973 h 767097"/>
                <a:gd name="connsiteX347" fmla="*/ 43434 w 133513"/>
                <a:gd name="connsiteY347" fmla="*/ 680532 h 767097"/>
                <a:gd name="connsiteX348" fmla="*/ 43434 w 133513"/>
                <a:gd name="connsiteY348" fmla="*/ 680532 h 767097"/>
                <a:gd name="connsiteX349" fmla="*/ 40677 w 133513"/>
                <a:gd name="connsiteY349" fmla="*/ 675237 h 767097"/>
                <a:gd name="connsiteX350" fmla="*/ 38918 w 133513"/>
                <a:gd name="connsiteY350" fmla="*/ 671368 h 767097"/>
                <a:gd name="connsiteX351" fmla="*/ 25907 w 133513"/>
                <a:gd name="connsiteY351" fmla="*/ 669610 h 767097"/>
                <a:gd name="connsiteX352" fmla="*/ 22946 w 133513"/>
                <a:gd name="connsiteY352" fmla="*/ 669526 h 767097"/>
                <a:gd name="connsiteX353" fmla="*/ 22391 w 133513"/>
                <a:gd name="connsiteY353" fmla="*/ 670313 h 767097"/>
                <a:gd name="connsiteX354" fmla="*/ 21336 w 133513"/>
                <a:gd name="connsiteY354" fmla="*/ 675237 h 767097"/>
                <a:gd name="connsiteX355" fmla="*/ 22398 w 133513"/>
                <a:gd name="connsiteY355" fmla="*/ 679091 h 767097"/>
                <a:gd name="connsiteX356" fmla="*/ 23446 w 133513"/>
                <a:gd name="connsiteY356" fmla="*/ 681918 h 767097"/>
                <a:gd name="connsiteX357" fmla="*/ 25710 w 133513"/>
                <a:gd name="connsiteY357" fmla="*/ 686433 h 767097"/>
                <a:gd name="connsiteX358" fmla="*/ 27666 w 133513"/>
                <a:gd name="connsiteY358" fmla="*/ 690006 h 767097"/>
                <a:gd name="connsiteX359" fmla="*/ 32765 w 133513"/>
                <a:gd name="connsiteY359" fmla="*/ 696188 h 767097"/>
                <a:gd name="connsiteX360" fmla="*/ 32940 w 133513"/>
                <a:gd name="connsiteY360" fmla="*/ 696336 h 767097"/>
                <a:gd name="connsiteX361" fmla="*/ 35929 w 133513"/>
                <a:gd name="connsiteY361" fmla="*/ 699149 h 767097"/>
                <a:gd name="connsiteX362" fmla="*/ 42083 w 133513"/>
                <a:gd name="connsiteY362" fmla="*/ 705127 h 767097"/>
                <a:gd name="connsiteX363" fmla="*/ 45248 w 133513"/>
                <a:gd name="connsiteY363" fmla="*/ 707237 h 767097"/>
                <a:gd name="connsiteX364" fmla="*/ 51578 w 133513"/>
                <a:gd name="connsiteY364" fmla="*/ 701962 h 767097"/>
                <a:gd name="connsiteX365" fmla="*/ 7621 w 133513"/>
                <a:gd name="connsiteY365" fmla="*/ 662929 h 767097"/>
                <a:gd name="connsiteX366" fmla="*/ 13599 w 133513"/>
                <a:gd name="connsiteY366" fmla="*/ 658709 h 767097"/>
                <a:gd name="connsiteX367" fmla="*/ 14992 w 133513"/>
                <a:gd name="connsiteY367" fmla="*/ 657218 h 767097"/>
                <a:gd name="connsiteX368" fmla="*/ 17819 w 133513"/>
                <a:gd name="connsiteY368" fmla="*/ 650269 h 767097"/>
                <a:gd name="connsiteX369" fmla="*/ 16764 w 133513"/>
                <a:gd name="connsiteY369" fmla="*/ 645698 h 767097"/>
                <a:gd name="connsiteX370" fmla="*/ 15709 w 133513"/>
                <a:gd name="connsiteY370" fmla="*/ 642181 h 767097"/>
                <a:gd name="connsiteX371" fmla="*/ 14064 w 133513"/>
                <a:gd name="connsiteY371" fmla="*/ 640648 h 767097"/>
                <a:gd name="connsiteX372" fmla="*/ 11490 w 133513"/>
                <a:gd name="connsiteY372" fmla="*/ 640775 h 767097"/>
                <a:gd name="connsiteX373" fmla="*/ 11124 w 133513"/>
                <a:gd name="connsiteY373" fmla="*/ 642905 h 767097"/>
                <a:gd name="connsiteX374" fmla="*/ 10083 w 133513"/>
                <a:gd name="connsiteY374" fmla="*/ 647104 h 767097"/>
                <a:gd name="connsiteX375" fmla="*/ 6215 w 133513"/>
                <a:gd name="connsiteY375" fmla="*/ 658709 h 767097"/>
                <a:gd name="connsiteX376" fmla="*/ 4808 w 133513"/>
                <a:gd name="connsiteY376" fmla="*/ 662929 h 767097"/>
                <a:gd name="connsiteX377" fmla="*/ 7621 w 133513"/>
                <a:gd name="connsiteY377" fmla="*/ 662929 h 767097"/>
                <a:gd name="connsiteX378" fmla="*/ 10083 w 133513"/>
                <a:gd name="connsiteY378" fmla="*/ 677698 h 767097"/>
                <a:gd name="connsiteX379" fmla="*/ 11490 w 133513"/>
                <a:gd name="connsiteY379" fmla="*/ 671368 h 767097"/>
                <a:gd name="connsiteX380" fmla="*/ 17819 w 133513"/>
                <a:gd name="connsiteY380" fmla="*/ 675237 h 767097"/>
                <a:gd name="connsiteX381" fmla="*/ 15829 w 133513"/>
                <a:gd name="connsiteY381" fmla="*/ 680532 h 767097"/>
                <a:gd name="connsiteX382" fmla="*/ 15829 w 133513"/>
                <a:gd name="connsiteY382" fmla="*/ 680532 h 767097"/>
                <a:gd name="connsiteX383" fmla="*/ 13599 w 133513"/>
                <a:gd name="connsiteY383" fmla="*/ 681918 h 767097"/>
                <a:gd name="connsiteX384" fmla="*/ 10463 w 133513"/>
                <a:gd name="connsiteY384" fmla="*/ 678458 h 767097"/>
                <a:gd name="connsiteX385" fmla="*/ 10463 w 133513"/>
                <a:gd name="connsiteY385" fmla="*/ 678458 h 767097"/>
                <a:gd name="connsiteX386" fmla="*/ 10456 w 133513"/>
                <a:gd name="connsiteY386" fmla="*/ 678444 h 767097"/>
                <a:gd name="connsiteX387" fmla="*/ 10083 w 133513"/>
                <a:gd name="connsiteY387" fmla="*/ 677698 h 767097"/>
                <a:gd name="connsiteX388" fmla="*/ 22742 w 133513"/>
                <a:gd name="connsiteY388" fmla="*/ 657654 h 767097"/>
                <a:gd name="connsiteX389" fmla="*/ 25907 w 133513"/>
                <a:gd name="connsiteY389" fmla="*/ 662929 h 767097"/>
                <a:gd name="connsiteX390" fmla="*/ 32940 w 133513"/>
                <a:gd name="connsiteY390" fmla="*/ 664687 h 767097"/>
                <a:gd name="connsiteX391" fmla="*/ 34347 w 133513"/>
                <a:gd name="connsiteY391" fmla="*/ 664687 h 767097"/>
                <a:gd name="connsiteX392" fmla="*/ 35585 w 133513"/>
                <a:gd name="connsiteY392" fmla="*/ 663667 h 767097"/>
                <a:gd name="connsiteX393" fmla="*/ 32940 w 133513"/>
                <a:gd name="connsiteY393" fmla="*/ 661170 h 767097"/>
                <a:gd name="connsiteX394" fmla="*/ 22742 w 133513"/>
                <a:gd name="connsiteY394" fmla="*/ 657654 h 767097"/>
                <a:gd name="connsiteX395" fmla="*/ 7621 w 133513"/>
                <a:gd name="connsiteY395" fmla="*/ 637961 h 767097"/>
                <a:gd name="connsiteX396" fmla="*/ 4808 w 133513"/>
                <a:gd name="connsiteY396" fmla="*/ 642181 h 767097"/>
                <a:gd name="connsiteX397" fmla="*/ 3753 w 133513"/>
                <a:gd name="connsiteY397" fmla="*/ 640071 h 767097"/>
                <a:gd name="connsiteX398" fmla="*/ 588 w 133513"/>
                <a:gd name="connsiteY398" fmla="*/ 630225 h 767097"/>
                <a:gd name="connsiteX399" fmla="*/ 1995 w 133513"/>
                <a:gd name="connsiteY399" fmla="*/ 625653 h 767097"/>
                <a:gd name="connsiteX400" fmla="*/ 7621 w 133513"/>
                <a:gd name="connsiteY400" fmla="*/ 622137 h 767097"/>
                <a:gd name="connsiteX401" fmla="*/ 10287 w 133513"/>
                <a:gd name="connsiteY401" fmla="*/ 618965 h 767097"/>
                <a:gd name="connsiteX402" fmla="*/ 10083 w 133513"/>
                <a:gd name="connsiteY402" fmla="*/ 617565 h 767097"/>
                <a:gd name="connsiteX403" fmla="*/ 11567 w 133513"/>
                <a:gd name="connsiteY403" fmla="*/ 615041 h 767097"/>
                <a:gd name="connsiteX404" fmla="*/ 13599 w 133513"/>
                <a:gd name="connsiteY404" fmla="*/ 613697 h 767097"/>
                <a:gd name="connsiteX405" fmla="*/ 14591 w 133513"/>
                <a:gd name="connsiteY405" fmla="*/ 614633 h 767097"/>
                <a:gd name="connsiteX406" fmla="*/ 13599 w 133513"/>
                <a:gd name="connsiteY406" fmla="*/ 617565 h 767097"/>
                <a:gd name="connsiteX407" fmla="*/ 13599 w 133513"/>
                <a:gd name="connsiteY407" fmla="*/ 623544 h 767097"/>
                <a:gd name="connsiteX408" fmla="*/ 13599 w 133513"/>
                <a:gd name="connsiteY408" fmla="*/ 627060 h 767097"/>
                <a:gd name="connsiteX409" fmla="*/ 11490 w 133513"/>
                <a:gd name="connsiteY409" fmla="*/ 633038 h 767097"/>
                <a:gd name="connsiteX410" fmla="*/ 7621 w 133513"/>
                <a:gd name="connsiteY410" fmla="*/ 637961 h 767097"/>
                <a:gd name="connsiteX411" fmla="*/ 3753 w 133513"/>
                <a:gd name="connsiteY411" fmla="*/ 617565 h 767097"/>
                <a:gd name="connsiteX412" fmla="*/ 6215 w 133513"/>
                <a:gd name="connsiteY412" fmla="*/ 613697 h 767097"/>
                <a:gd name="connsiteX413" fmla="*/ 6559 w 133513"/>
                <a:gd name="connsiteY413" fmla="*/ 611320 h 767097"/>
                <a:gd name="connsiteX414" fmla="*/ 7621 w 133513"/>
                <a:gd name="connsiteY414" fmla="*/ 609126 h 767097"/>
                <a:gd name="connsiteX415" fmla="*/ 10730 w 133513"/>
                <a:gd name="connsiteY415" fmla="*/ 608050 h 767097"/>
                <a:gd name="connsiteX416" fmla="*/ 13599 w 133513"/>
                <a:gd name="connsiteY416" fmla="*/ 605609 h 767097"/>
                <a:gd name="connsiteX417" fmla="*/ 13599 w 133513"/>
                <a:gd name="connsiteY417" fmla="*/ 600334 h 767097"/>
                <a:gd name="connsiteX418" fmla="*/ 13599 w 133513"/>
                <a:gd name="connsiteY418" fmla="*/ 594005 h 767097"/>
                <a:gd name="connsiteX419" fmla="*/ 14127 w 133513"/>
                <a:gd name="connsiteY419" fmla="*/ 592310 h 767097"/>
                <a:gd name="connsiteX420" fmla="*/ 13599 w 133513"/>
                <a:gd name="connsiteY420" fmla="*/ 589082 h 767097"/>
                <a:gd name="connsiteX421" fmla="*/ 11490 w 133513"/>
                <a:gd name="connsiteY421" fmla="*/ 583104 h 767097"/>
                <a:gd name="connsiteX422" fmla="*/ 11602 w 133513"/>
                <a:gd name="connsiteY422" fmla="*/ 581127 h 767097"/>
                <a:gd name="connsiteX423" fmla="*/ 10083 w 133513"/>
                <a:gd name="connsiteY423" fmla="*/ 575719 h 767097"/>
                <a:gd name="connsiteX424" fmla="*/ 8205 w 133513"/>
                <a:gd name="connsiteY424" fmla="*/ 573250 h 767097"/>
                <a:gd name="connsiteX425" fmla="*/ 5511 w 133513"/>
                <a:gd name="connsiteY425" fmla="*/ 573257 h 767097"/>
                <a:gd name="connsiteX426" fmla="*/ 3247 w 133513"/>
                <a:gd name="connsiteY426" fmla="*/ 576183 h 767097"/>
                <a:gd name="connsiteX427" fmla="*/ 1995 w 133513"/>
                <a:gd name="connsiteY427" fmla="*/ 578532 h 767097"/>
                <a:gd name="connsiteX428" fmla="*/ 1601 w 133513"/>
                <a:gd name="connsiteY428" fmla="*/ 580818 h 767097"/>
                <a:gd name="connsiteX429" fmla="*/ 940 w 133513"/>
                <a:gd name="connsiteY429" fmla="*/ 584158 h 767097"/>
                <a:gd name="connsiteX430" fmla="*/ 391 w 133513"/>
                <a:gd name="connsiteY430" fmla="*/ 586690 h 767097"/>
                <a:gd name="connsiteX431" fmla="*/ 391 w 133513"/>
                <a:gd name="connsiteY431" fmla="*/ 586690 h 767097"/>
                <a:gd name="connsiteX432" fmla="*/ 237 w 133513"/>
                <a:gd name="connsiteY432" fmla="*/ 590137 h 767097"/>
                <a:gd name="connsiteX433" fmla="*/ 1678 w 133513"/>
                <a:gd name="connsiteY433" fmla="*/ 592485 h 767097"/>
                <a:gd name="connsiteX434" fmla="*/ 1678 w 133513"/>
                <a:gd name="connsiteY434" fmla="*/ 592485 h 767097"/>
                <a:gd name="connsiteX435" fmla="*/ 1678 w 133513"/>
                <a:gd name="connsiteY435" fmla="*/ 592485 h 767097"/>
                <a:gd name="connsiteX436" fmla="*/ 3753 w 133513"/>
                <a:gd name="connsiteY436" fmla="*/ 597170 h 767097"/>
                <a:gd name="connsiteX437" fmla="*/ 2614 w 133513"/>
                <a:gd name="connsiteY437" fmla="*/ 602606 h 767097"/>
                <a:gd name="connsiteX438" fmla="*/ 1995 w 133513"/>
                <a:gd name="connsiteY438" fmla="*/ 605609 h 767097"/>
                <a:gd name="connsiteX439" fmla="*/ 2093 w 133513"/>
                <a:gd name="connsiteY439" fmla="*/ 607494 h 767097"/>
                <a:gd name="connsiteX440" fmla="*/ 1995 w 133513"/>
                <a:gd name="connsiteY440" fmla="*/ 609126 h 767097"/>
                <a:gd name="connsiteX441" fmla="*/ 1995 w 133513"/>
                <a:gd name="connsiteY441" fmla="*/ 613697 h 767097"/>
                <a:gd name="connsiteX442" fmla="*/ 3753 w 133513"/>
                <a:gd name="connsiteY442" fmla="*/ 617565 h 767097"/>
                <a:gd name="connsiteX443" fmla="*/ 7621 w 133513"/>
                <a:gd name="connsiteY443" fmla="*/ 547235 h 767097"/>
                <a:gd name="connsiteX444" fmla="*/ 15709 w 133513"/>
                <a:gd name="connsiteY444" fmla="*/ 551455 h 767097"/>
                <a:gd name="connsiteX445" fmla="*/ 21336 w 133513"/>
                <a:gd name="connsiteY445" fmla="*/ 548993 h 767097"/>
                <a:gd name="connsiteX446" fmla="*/ 22771 w 133513"/>
                <a:gd name="connsiteY446" fmla="*/ 545765 h 767097"/>
                <a:gd name="connsiteX447" fmla="*/ 23446 w 133513"/>
                <a:gd name="connsiteY447" fmla="*/ 543367 h 767097"/>
                <a:gd name="connsiteX448" fmla="*/ 24733 w 133513"/>
                <a:gd name="connsiteY448" fmla="*/ 540708 h 767097"/>
                <a:gd name="connsiteX449" fmla="*/ 24733 w 133513"/>
                <a:gd name="connsiteY449" fmla="*/ 540708 h 767097"/>
                <a:gd name="connsiteX450" fmla="*/ 26611 w 133513"/>
                <a:gd name="connsiteY450" fmla="*/ 534927 h 767097"/>
                <a:gd name="connsiteX451" fmla="*/ 26611 w 133513"/>
                <a:gd name="connsiteY451" fmla="*/ 526839 h 767097"/>
                <a:gd name="connsiteX452" fmla="*/ 27933 w 133513"/>
                <a:gd name="connsiteY452" fmla="*/ 520573 h 767097"/>
                <a:gd name="connsiteX453" fmla="*/ 28721 w 133513"/>
                <a:gd name="connsiteY453" fmla="*/ 517344 h 767097"/>
                <a:gd name="connsiteX454" fmla="*/ 29705 w 133513"/>
                <a:gd name="connsiteY454" fmla="*/ 512330 h 767097"/>
                <a:gd name="connsiteX455" fmla="*/ 30830 w 133513"/>
                <a:gd name="connsiteY455" fmla="*/ 506443 h 767097"/>
                <a:gd name="connsiteX456" fmla="*/ 30830 w 133513"/>
                <a:gd name="connsiteY456" fmla="*/ 498707 h 767097"/>
                <a:gd name="connsiteX457" fmla="*/ 29909 w 133513"/>
                <a:gd name="connsiteY457" fmla="*/ 494072 h 767097"/>
                <a:gd name="connsiteX458" fmla="*/ 28721 w 133513"/>
                <a:gd name="connsiteY458" fmla="*/ 487806 h 767097"/>
                <a:gd name="connsiteX459" fmla="*/ 26554 w 133513"/>
                <a:gd name="connsiteY459" fmla="*/ 485611 h 767097"/>
                <a:gd name="connsiteX460" fmla="*/ 24501 w 133513"/>
                <a:gd name="connsiteY460" fmla="*/ 484992 h 767097"/>
                <a:gd name="connsiteX461" fmla="*/ 15709 w 133513"/>
                <a:gd name="connsiteY461" fmla="*/ 498707 h 767097"/>
                <a:gd name="connsiteX462" fmla="*/ 16047 w 133513"/>
                <a:gd name="connsiteY462" fmla="*/ 501429 h 767097"/>
                <a:gd name="connsiteX463" fmla="*/ 16764 w 133513"/>
                <a:gd name="connsiteY463" fmla="*/ 508553 h 767097"/>
                <a:gd name="connsiteX464" fmla="*/ 16764 w 133513"/>
                <a:gd name="connsiteY464" fmla="*/ 515938 h 767097"/>
                <a:gd name="connsiteX465" fmla="*/ 16483 w 133513"/>
                <a:gd name="connsiteY465" fmla="*/ 519658 h 767097"/>
                <a:gd name="connsiteX466" fmla="*/ 16764 w 133513"/>
                <a:gd name="connsiteY466" fmla="*/ 524729 h 767097"/>
                <a:gd name="connsiteX467" fmla="*/ 14887 w 133513"/>
                <a:gd name="connsiteY467" fmla="*/ 529399 h 767097"/>
                <a:gd name="connsiteX468" fmla="*/ 14887 w 133513"/>
                <a:gd name="connsiteY468" fmla="*/ 529399 h 767097"/>
                <a:gd name="connsiteX469" fmla="*/ 13599 w 133513"/>
                <a:gd name="connsiteY469" fmla="*/ 530356 h 767097"/>
                <a:gd name="connsiteX470" fmla="*/ 11321 w 133513"/>
                <a:gd name="connsiteY470" fmla="*/ 535040 h 767097"/>
                <a:gd name="connsiteX471" fmla="*/ 10083 w 133513"/>
                <a:gd name="connsiteY471" fmla="*/ 538444 h 767097"/>
                <a:gd name="connsiteX472" fmla="*/ 1995 w 133513"/>
                <a:gd name="connsiteY472" fmla="*/ 551455 h 767097"/>
                <a:gd name="connsiteX473" fmla="*/ 7621 w 133513"/>
                <a:gd name="connsiteY473" fmla="*/ 547235 h 767097"/>
                <a:gd name="connsiteX474" fmla="*/ 20281 w 133513"/>
                <a:gd name="connsiteY474" fmla="*/ 465652 h 767097"/>
                <a:gd name="connsiteX475" fmla="*/ 21336 w 133513"/>
                <a:gd name="connsiteY475" fmla="*/ 461080 h 767097"/>
                <a:gd name="connsiteX476" fmla="*/ 22004 w 133513"/>
                <a:gd name="connsiteY476" fmla="*/ 459026 h 767097"/>
                <a:gd name="connsiteX477" fmla="*/ 23446 w 133513"/>
                <a:gd name="connsiteY477" fmla="*/ 453344 h 767097"/>
                <a:gd name="connsiteX478" fmla="*/ 24149 w 133513"/>
                <a:gd name="connsiteY478" fmla="*/ 442794 h 767097"/>
                <a:gd name="connsiteX479" fmla="*/ 30830 w 133513"/>
                <a:gd name="connsiteY479" fmla="*/ 442794 h 767097"/>
                <a:gd name="connsiteX480" fmla="*/ 32174 w 133513"/>
                <a:gd name="connsiteY480" fmla="*/ 443750 h 767097"/>
                <a:gd name="connsiteX481" fmla="*/ 34699 w 133513"/>
                <a:gd name="connsiteY481" fmla="*/ 447014 h 767097"/>
                <a:gd name="connsiteX482" fmla="*/ 35170 w 133513"/>
                <a:gd name="connsiteY482" fmla="*/ 449595 h 767097"/>
                <a:gd name="connsiteX483" fmla="*/ 34699 w 133513"/>
                <a:gd name="connsiteY483" fmla="*/ 453344 h 767097"/>
                <a:gd name="connsiteX484" fmla="*/ 29072 w 133513"/>
                <a:gd name="connsiteY484" fmla="*/ 456509 h 767097"/>
                <a:gd name="connsiteX485" fmla="*/ 28699 w 133513"/>
                <a:gd name="connsiteY485" fmla="*/ 457592 h 767097"/>
                <a:gd name="connsiteX486" fmla="*/ 29072 w 133513"/>
                <a:gd name="connsiteY486" fmla="*/ 461080 h 767097"/>
                <a:gd name="connsiteX487" fmla="*/ 30830 w 133513"/>
                <a:gd name="connsiteY487" fmla="*/ 467058 h 767097"/>
                <a:gd name="connsiteX488" fmla="*/ 31189 w 133513"/>
                <a:gd name="connsiteY488" fmla="*/ 468634 h 767097"/>
                <a:gd name="connsiteX489" fmla="*/ 30830 w 133513"/>
                <a:gd name="connsiteY489" fmla="*/ 471981 h 767097"/>
                <a:gd name="connsiteX490" fmla="*/ 29375 w 133513"/>
                <a:gd name="connsiteY490" fmla="*/ 473332 h 767097"/>
                <a:gd name="connsiteX491" fmla="*/ 26611 w 133513"/>
                <a:gd name="connsiteY491" fmla="*/ 474794 h 767097"/>
                <a:gd name="connsiteX492" fmla="*/ 21336 w 133513"/>
                <a:gd name="connsiteY492" fmla="*/ 474794 h 767097"/>
                <a:gd name="connsiteX493" fmla="*/ 19226 w 133513"/>
                <a:gd name="connsiteY493" fmla="*/ 470223 h 767097"/>
                <a:gd name="connsiteX494" fmla="*/ 20281 w 133513"/>
                <a:gd name="connsiteY494" fmla="*/ 465652 h 767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</a:cxnLst>
              <a:rect l="l" t="t" r="r" b="b"/>
              <a:pathLst>
                <a:path w="133513" h="767097">
                  <a:moveTo>
                    <a:pt x="86040" y="12371"/>
                  </a:moveTo>
                  <a:lnTo>
                    <a:pt x="80076" y="12371"/>
                  </a:lnTo>
                  <a:cubicBezTo>
                    <a:pt x="82277" y="23603"/>
                    <a:pt x="84289" y="35496"/>
                    <a:pt x="83930" y="39448"/>
                  </a:cubicBezTo>
                  <a:cubicBezTo>
                    <a:pt x="83754" y="41418"/>
                    <a:pt x="83184" y="47037"/>
                    <a:pt x="82446" y="54436"/>
                  </a:cubicBezTo>
                  <a:lnTo>
                    <a:pt x="82446" y="54443"/>
                  </a:lnTo>
                  <a:cubicBezTo>
                    <a:pt x="80259" y="76154"/>
                    <a:pt x="76545" y="113148"/>
                    <a:pt x="76545" y="117867"/>
                  </a:cubicBezTo>
                  <a:cubicBezTo>
                    <a:pt x="76545" y="124197"/>
                    <a:pt x="74084" y="153032"/>
                    <a:pt x="72677" y="157604"/>
                  </a:cubicBezTo>
                  <a:cubicBezTo>
                    <a:pt x="72536" y="158068"/>
                    <a:pt x="72311" y="158771"/>
                    <a:pt x="72030" y="159671"/>
                  </a:cubicBezTo>
                  <a:cubicBezTo>
                    <a:pt x="69519" y="167703"/>
                    <a:pt x="62128" y="191299"/>
                    <a:pt x="62128" y="196989"/>
                  </a:cubicBezTo>
                  <a:lnTo>
                    <a:pt x="62128" y="216330"/>
                  </a:lnTo>
                  <a:cubicBezTo>
                    <a:pt x="62128" y="218179"/>
                    <a:pt x="61776" y="221084"/>
                    <a:pt x="61368" y="224474"/>
                  </a:cubicBezTo>
                  <a:cubicBezTo>
                    <a:pt x="60299" y="233336"/>
                    <a:pt x="58822" y="245552"/>
                    <a:pt x="62128" y="251143"/>
                  </a:cubicBezTo>
                  <a:cubicBezTo>
                    <a:pt x="65785" y="257332"/>
                    <a:pt x="63654" y="270133"/>
                    <a:pt x="62128" y="275759"/>
                  </a:cubicBezTo>
                  <a:cubicBezTo>
                    <a:pt x="57437" y="288299"/>
                    <a:pt x="47921" y="314089"/>
                    <a:pt x="47358" y="316902"/>
                  </a:cubicBezTo>
                  <a:cubicBezTo>
                    <a:pt x="46880" y="319294"/>
                    <a:pt x="43145" y="328528"/>
                    <a:pt x="40360" y="335406"/>
                  </a:cubicBezTo>
                  <a:cubicBezTo>
                    <a:pt x="39059" y="338634"/>
                    <a:pt x="37962" y="341335"/>
                    <a:pt x="37512" y="342573"/>
                  </a:cubicBezTo>
                  <a:cubicBezTo>
                    <a:pt x="36386" y="345668"/>
                    <a:pt x="31414" y="353003"/>
                    <a:pt x="29072" y="356288"/>
                  </a:cubicBezTo>
                  <a:lnTo>
                    <a:pt x="37512" y="388288"/>
                  </a:lnTo>
                  <a:cubicBezTo>
                    <a:pt x="34699" y="393211"/>
                    <a:pt x="29072" y="404253"/>
                    <a:pt x="29072" y="409035"/>
                  </a:cubicBezTo>
                  <a:lnTo>
                    <a:pt x="29072" y="434706"/>
                  </a:lnTo>
                  <a:cubicBezTo>
                    <a:pt x="29072" y="439629"/>
                    <a:pt x="31885" y="442794"/>
                    <a:pt x="34699" y="441739"/>
                  </a:cubicBezTo>
                  <a:cubicBezTo>
                    <a:pt x="36140" y="441198"/>
                    <a:pt x="37125" y="439453"/>
                    <a:pt x="37927" y="438026"/>
                  </a:cubicBezTo>
                  <a:cubicBezTo>
                    <a:pt x="38686" y="436668"/>
                    <a:pt x="39291" y="435599"/>
                    <a:pt x="39973" y="436113"/>
                  </a:cubicBezTo>
                  <a:cubicBezTo>
                    <a:pt x="41380" y="437168"/>
                    <a:pt x="43842" y="442091"/>
                    <a:pt x="43842" y="444201"/>
                  </a:cubicBezTo>
                  <a:cubicBezTo>
                    <a:pt x="43842" y="446311"/>
                    <a:pt x="43490" y="451234"/>
                    <a:pt x="42787" y="453344"/>
                  </a:cubicBezTo>
                  <a:cubicBezTo>
                    <a:pt x="42083" y="455454"/>
                    <a:pt x="39973" y="462135"/>
                    <a:pt x="39973" y="464245"/>
                  </a:cubicBezTo>
                  <a:cubicBezTo>
                    <a:pt x="39973" y="464836"/>
                    <a:pt x="40058" y="465595"/>
                    <a:pt x="40156" y="466474"/>
                  </a:cubicBezTo>
                  <a:cubicBezTo>
                    <a:pt x="40402" y="468725"/>
                    <a:pt x="40733" y="471756"/>
                    <a:pt x="39973" y="474794"/>
                  </a:cubicBezTo>
                  <a:cubicBezTo>
                    <a:pt x="39572" y="476405"/>
                    <a:pt x="39115" y="477763"/>
                    <a:pt x="38707" y="478972"/>
                  </a:cubicBezTo>
                  <a:cubicBezTo>
                    <a:pt x="38046" y="480942"/>
                    <a:pt x="37512" y="482552"/>
                    <a:pt x="37512" y="484289"/>
                  </a:cubicBezTo>
                  <a:cubicBezTo>
                    <a:pt x="37512" y="484746"/>
                    <a:pt x="37505" y="485217"/>
                    <a:pt x="37491" y="485710"/>
                  </a:cubicBezTo>
                  <a:cubicBezTo>
                    <a:pt x="37441" y="488228"/>
                    <a:pt x="37385" y="491076"/>
                    <a:pt x="38567" y="493432"/>
                  </a:cubicBezTo>
                  <a:cubicBezTo>
                    <a:pt x="39973" y="496245"/>
                    <a:pt x="39973" y="496949"/>
                    <a:pt x="39973" y="498707"/>
                  </a:cubicBezTo>
                  <a:cubicBezTo>
                    <a:pt x="39973" y="499481"/>
                    <a:pt x="39495" y="500191"/>
                    <a:pt x="38961" y="500979"/>
                  </a:cubicBezTo>
                  <a:cubicBezTo>
                    <a:pt x="38279" y="501984"/>
                    <a:pt x="37512" y="503117"/>
                    <a:pt x="37512" y="504685"/>
                  </a:cubicBezTo>
                  <a:cubicBezTo>
                    <a:pt x="37512" y="507498"/>
                    <a:pt x="37512" y="513125"/>
                    <a:pt x="36105" y="515938"/>
                  </a:cubicBezTo>
                  <a:cubicBezTo>
                    <a:pt x="35444" y="517260"/>
                    <a:pt x="35479" y="518034"/>
                    <a:pt x="35528" y="518962"/>
                  </a:cubicBezTo>
                  <a:cubicBezTo>
                    <a:pt x="35578" y="520010"/>
                    <a:pt x="35634" y="521248"/>
                    <a:pt x="34699" y="523674"/>
                  </a:cubicBezTo>
                  <a:lnTo>
                    <a:pt x="34438" y="524357"/>
                  </a:lnTo>
                  <a:cubicBezTo>
                    <a:pt x="33791" y="526030"/>
                    <a:pt x="33637" y="526438"/>
                    <a:pt x="33517" y="526860"/>
                  </a:cubicBezTo>
                  <a:cubicBezTo>
                    <a:pt x="33482" y="527001"/>
                    <a:pt x="33447" y="527134"/>
                    <a:pt x="33404" y="527317"/>
                  </a:cubicBezTo>
                  <a:lnTo>
                    <a:pt x="33404" y="527317"/>
                  </a:lnTo>
                  <a:lnTo>
                    <a:pt x="33404" y="527324"/>
                  </a:lnTo>
                  <a:lnTo>
                    <a:pt x="33404" y="527324"/>
                  </a:lnTo>
                  <a:lnTo>
                    <a:pt x="33404" y="527324"/>
                  </a:lnTo>
                  <a:cubicBezTo>
                    <a:pt x="33285" y="527795"/>
                    <a:pt x="33102" y="528562"/>
                    <a:pt x="32589" y="530356"/>
                  </a:cubicBezTo>
                  <a:cubicBezTo>
                    <a:pt x="32525" y="530707"/>
                    <a:pt x="32462" y="531052"/>
                    <a:pt x="32399" y="531390"/>
                  </a:cubicBezTo>
                  <a:cubicBezTo>
                    <a:pt x="31119" y="538472"/>
                    <a:pt x="30401" y="542424"/>
                    <a:pt x="28721" y="544773"/>
                  </a:cubicBezTo>
                  <a:cubicBezTo>
                    <a:pt x="26962" y="547235"/>
                    <a:pt x="24501" y="550751"/>
                    <a:pt x="23446" y="553565"/>
                  </a:cubicBezTo>
                  <a:cubicBezTo>
                    <a:pt x="22946" y="554894"/>
                    <a:pt x="22060" y="556293"/>
                    <a:pt x="21076" y="557855"/>
                  </a:cubicBezTo>
                  <a:cubicBezTo>
                    <a:pt x="19971" y="559599"/>
                    <a:pt x="18748" y="561533"/>
                    <a:pt x="17819" y="563763"/>
                  </a:cubicBezTo>
                  <a:cubicBezTo>
                    <a:pt x="17369" y="564839"/>
                    <a:pt x="16968" y="565662"/>
                    <a:pt x="16631" y="566351"/>
                  </a:cubicBezTo>
                  <a:lnTo>
                    <a:pt x="16631" y="566351"/>
                  </a:lnTo>
                  <a:cubicBezTo>
                    <a:pt x="15639" y="568390"/>
                    <a:pt x="15182" y="569319"/>
                    <a:pt x="15709" y="572202"/>
                  </a:cubicBezTo>
                  <a:cubicBezTo>
                    <a:pt x="15977" y="573686"/>
                    <a:pt x="16356" y="574657"/>
                    <a:pt x="16708" y="575578"/>
                  </a:cubicBezTo>
                  <a:cubicBezTo>
                    <a:pt x="17285" y="577069"/>
                    <a:pt x="17819" y="578448"/>
                    <a:pt x="17819" y="581697"/>
                  </a:cubicBezTo>
                  <a:lnTo>
                    <a:pt x="17819" y="589082"/>
                  </a:lnTo>
                  <a:cubicBezTo>
                    <a:pt x="17819" y="592162"/>
                    <a:pt x="19198" y="597176"/>
                    <a:pt x="20225" y="600925"/>
                  </a:cubicBezTo>
                  <a:cubicBezTo>
                    <a:pt x="20844" y="603162"/>
                    <a:pt x="21336" y="604955"/>
                    <a:pt x="21336" y="605609"/>
                  </a:cubicBezTo>
                  <a:cubicBezTo>
                    <a:pt x="21336" y="606432"/>
                    <a:pt x="21033" y="607480"/>
                    <a:pt x="20668" y="608718"/>
                  </a:cubicBezTo>
                  <a:cubicBezTo>
                    <a:pt x="20253" y="610146"/>
                    <a:pt x="19767" y="611820"/>
                    <a:pt x="19578" y="613697"/>
                  </a:cubicBezTo>
                  <a:cubicBezTo>
                    <a:pt x="19324" y="616215"/>
                    <a:pt x="19437" y="618550"/>
                    <a:pt x="19514" y="620316"/>
                  </a:cubicBezTo>
                  <a:cubicBezTo>
                    <a:pt x="19549" y="621019"/>
                    <a:pt x="19578" y="621638"/>
                    <a:pt x="19578" y="622137"/>
                  </a:cubicBezTo>
                  <a:cubicBezTo>
                    <a:pt x="19578" y="622812"/>
                    <a:pt x="19831" y="623016"/>
                    <a:pt x="20056" y="623199"/>
                  </a:cubicBezTo>
                  <a:cubicBezTo>
                    <a:pt x="20407" y="623487"/>
                    <a:pt x="20668" y="623698"/>
                    <a:pt x="19578" y="625653"/>
                  </a:cubicBezTo>
                  <a:cubicBezTo>
                    <a:pt x="18593" y="627426"/>
                    <a:pt x="18164" y="628206"/>
                    <a:pt x="17967" y="629036"/>
                  </a:cubicBezTo>
                  <a:cubicBezTo>
                    <a:pt x="17819" y="629697"/>
                    <a:pt x="17819" y="630394"/>
                    <a:pt x="17819" y="631632"/>
                  </a:cubicBezTo>
                  <a:cubicBezTo>
                    <a:pt x="17819" y="633277"/>
                    <a:pt x="19029" y="635169"/>
                    <a:pt x="20028" y="636737"/>
                  </a:cubicBezTo>
                  <a:cubicBezTo>
                    <a:pt x="20731" y="637842"/>
                    <a:pt x="21336" y="638784"/>
                    <a:pt x="21336" y="639368"/>
                  </a:cubicBezTo>
                  <a:cubicBezTo>
                    <a:pt x="21336" y="640493"/>
                    <a:pt x="22742" y="641710"/>
                    <a:pt x="23446" y="642181"/>
                  </a:cubicBezTo>
                  <a:cubicBezTo>
                    <a:pt x="24972" y="644875"/>
                    <a:pt x="27947" y="650621"/>
                    <a:pt x="27666" y="652027"/>
                  </a:cubicBezTo>
                  <a:cubicBezTo>
                    <a:pt x="27314" y="653786"/>
                    <a:pt x="32589" y="658357"/>
                    <a:pt x="38918" y="661170"/>
                  </a:cubicBezTo>
                  <a:cubicBezTo>
                    <a:pt x="45248" y="663984"/>
                    <a:pt x="47358" y="669258"/>
                    <a:pt x="47358" y="671368"/>
                  </a:cubicBezTo>
                  <a:lnTo>
                    <a:pt x="47358" y="677698"/>
                  </a:lnTo>
                  <a:cubicBezTo>
                    <a:pt x="47358" y="679949"/>
                    <a:pt x="52752" y="688951"/>
                    <a:pt x="55446" y="693171"/>
                  </a:cubicBezTo>
                  <a:lnTo>
                    <a:pt x="71271" y="693171"/>
                  </a:lnTo>
                  <a:cubicBezTo>
                    <a:pt x="72093" y="693874"/>
                    <a:pt x="74365" y="694859"/>
                    <a:pt x="76897" y="693171"/>
                  </a:cubicBezTo>
                  <a:cubicBezTo>
                    <a:pt x="79429" y="691483"/>
                    <a:pt x="85217" y="689183"/>
                    <a:pt x="87798" y="688248"/>
                  </a:cubicBezTo>
                  <a:lnTo>
                    <a:pt x="94480" y="682973"/>
                  </a:lnTo>
                  <a:lnTo>
                    <a:pt x="94480" y="679393"/>
                  </a:lnTo>
                  <a:cubicBezTo>
                    <a:pt x="90738" y="679203"/>
                    <a:pt x="87039" y="678626"/>
                    <a:pt x="83578" y="678050"/>
                  </a:cubicBezTo>
                  <a:cubicBezTo>
                    <a:pt x="81989" y="677783"/>
                    <a:pt x="79998" y="677571"/>
                    <a:pt x="77945" y="677346"/>
                  </a:cubicBezTo>
                  <a:lnTo>
                    <a:pt x="77945" y="677346"/>
                  </a:lnTo>
                  <a:cubicBezTo>
                    <a:pt x="74555" y="676981"/>
                    <a:pt x="70996" y="676594"/>
                    <a:pt x="68809" y="675940"/>
                  </a:cubicBezTo>
                  <a:cubicBezTo>
                    <a:pt x="67663" y="675595"/>
                    <a:pt x="65918" y="675476"/>
                    <a:pt x="64062" y="675349"/>
                  </a:cubicBezTo>
                  <a:lnTo>
                    <a:pt x="64055" y="675349"/>
                  </a:lnTo>
                  <a:cubicBezTo>
                    <a:pt x="60222" y="675089"/>
                    <a:pt x="55917" y="674794"/>
                    <a:pt x="55446" y="672423"/>
                  </a:cubicBezTo>
                  <a:cubicBezTo>
                    <a:pt x="55080" y="670595"/>
                    <a:pt x="54335" y="668569"/>
                    <a:pt x="53547" y="666459"/>
                  </a:cubicBezTo>
                  <a:cubicBezTo>
                    <a:pt x="52830" y="664511"/>
                    <a:pt x="52084" y="662493"/>
                    <a:pt x="51578" y="660467"/>
                  </a:cubicBezTo>
                  <a:cubicBezTo>
                    <a:pt x="50523" y="656247"/>
                    <a:pt x="50171" y="650621"/>
                    <a:pt x="50171" y="648863"/>
                  </a:cubicBezTo>
                  <a:cubicBezTo>
                    <a:pt x="50171" y="648441"/>
                    <a:pt x="50249" y="647962"/>
                    <a:pt x="50333" y="647463"/>
                  </a:cubicBezTo>
                  <a:cubicBezTo>
                    <a:pt x="50600" y="645859"/>
                    <a:pt x="50910" y="644038"/>
                    <a:pt x="48765" y="643236"/>
                  </a:cubicBezTo>
                  <a:cubicBezTo>
                    <a:pt x="47400" y="642723"/>
                    <a:pt x="45628" y="642624"/>
                    <a:pt x="44074" y="642540"/>
                  </a:cubicBezTo>
                  <a:lnTo>
                    <a:pt x="44074" y="642540"/>
                  </a:lnTo>
                  <a:cubicBezTo>
                    <a:pt x="42428" y="642448"/>
                    <a:pt x="41042" y="642371"/>
                    <a:pt x="40677" y="641830"/>
                  </a:cubicBezTo>
                  <a:cubicBezTo>
                    <a:pt x="40557" y="641654"/>
                    <a:pt x="40297" y="641295"/>
                    <a:pt x="39945" y="640810"/>
                  </a:cubicBezTo>
                  <a:cubicBezTo>
                    <a:pt x="38222" y="638418"/>
                    <a:pt x="34291" y="632975"/>
                    <a:pt x="33995" y="630928"/>
                  </a:cubicBezTo>
                  <a:cubicBezTo>
                    <a:pt x="33756" y="629240"/>
                    <a:pt x="33848" y="626385"/>
                    <a:pt x="33925" y="623853"/>
                  </a:cubicBezTo>
                  <a:cubicBezTo>
                    <a:pt x="33960" y="622699"/>
                    <a:pt x="33995" y="621609"/>
                    <a:pt x="33995" y="620730"/>
                  </a:cubicBezTo>
                  <a:lnTo>
                    <a:pt x="33995" y="609829"/>
                  </a:lnTo>
                  <a:cubicBezTo>
                    <a:pt x="33995" y="609091"/>
                    <a:pt x="34677" y="608443"/>
                    <a:pt x="35528" y="607642"/>
                  </a:cubicBezTo>
                  <a:cubicBezTo>
                    <a:pt x="36295" y="606925"/>
                    <a:pt x="37195" y="606074"/>
                    <a:pt x="37863" y="604906"/>
                  </a:cubicBezTo>
                  <a:cubicBezTo>
                    <a:pt x="38848" y="603190"/>
                    <a:pt x="40860" y="600777"/>
                    <a:pt x="42344" y="599005"/>
                  </a:cubicBezTo>
                  <a:cubicBezTo>
                    <a:pt x="42984" y="598239"/>
                    <a:pt x="43525" y="597592"/>
                    <a:pt x="43842" y="597170"/>
                  </a:cubicBezTo>
                  <a:cubicBezTo>
                    <a:pt x="44292" y="596565"/>
                    <a:pt x="44615" y="595517"/>
                    <a:pt x="44974" y="594342"/>
                  </a:cubicBezTo>
                  <a:cubicBezTo>
                    <a:pt x="45459" y="592774"/>
                    <a:pt x="46001" y="590995"/>
                    <a:pt x="47006" y="589785"/>
                  </a:cubicBezTo>
                  <a:cubicBezTo>
                    <a:pt x="47520" y="589173"/>
                    <a:pt x="47886" y="588941"/>
                    <a:pt x="48139" y="588779"/>
                  </a:cubicBezTo>
                  <a:cubicBezTo>
                    <a:pt x="48258" y="588709"/>
                    <a:pt x="48357" y="588645"/>
                    <a:pt x="48434" y="588568"/>
                  </a:cubicBezTo>
                  <a:cubicBezTo>
                    <a:pt x="48765" y="588238"/>
                    <a:pt x="48765" y="587576"/>
                    <a:pt x="48765" y="584158"/>
                  </a:cubicBezTo>
                  <a:cubicBezTo>
                    <a:pt x="48765" y="580776"/>
                    <a:pt x="49215" y="577393"/>
                    <a:pt x="49609" y="574453"/>
                  </a:cubicBezTo>
                  <a:cubicBezTo>
                    <a:pt x="49904" y="572202"/>
                    <a:pt x="50171" y="570212"/>
                    <a:pt x="50171" y="568686"/>
                  </a:cubicBezTo>
                  <a:cubicBezTo>
                    <a:pt x="50171" y="565169"/>
                    <a:pt x="52633" y="559543"/>
                    <a:pt x="54040" y="556730"/>
                  </a:cubicBezTo>
                  <a:cubicBezTo>
                    <a:pt x="55446" y="553916"/>
                    <a:pt x="56149" y="552510"/>
                    <a:pt x="56501" y="549697"/>
                  </a:cubicBezTo>
                  <a:cubicBezTo>
                    <a:pt x="56628" y="548677"/>
                    <a:pt x="57127" y="546855"/>
                    <a:pt x="57732" y="544675"/>
                  </a:cubicBezTo>
                  <a:cubicBezTo>
                    <a:pt x="58780" y="540856"/>
                    <a:pt x="60144" y="535919"/>
                    <a:pt x="60369" y="532114"/>
                  </a:cubicBezTo>
                  <a:cubicBezTo>
                    <a:pt x="60608" y="528084"/>
                    <a:pt x="60524" y="526291"/>
                    <a:pt x="60447" y="524582"/>
                  </a:cubicBezTo>
                  <a:cubicBezTo>
                    <a:pt x="60404" y="523751"/>
                    <a:pt x="60369" y="522943"/>
                    <a:pt x="60369" y="521916"/>
                  </a:cubicBezTo>
                  <a:lnTo>
                    <a:pt x="60369" y="512070"/>
                  </a:lnTo>
                  <a:cubicBezTo>
                    <a:pt x="60369" y="511542"/>
                    <a:pt x="61213" y="511015"/>
                    <a:pt x="62268" y="510354"/>
                  </a:cubicBezTo>
                  <a:lnTo>
                    <a:pt x="62268" y="510354"/>
                  </a:lnTo>
                  <a:cubicBezTo>
                    <a:pt x="64019" y="509256"/>
                    <a:pt x="66347" y="507801"/>
                    <a:pt x="66347" y="505388"/>
                  </a:cubicBezTo>
                  <a:cubicBezTo>
                    <a:pt x="66347" y="504172"/>
                    <a:pt x="66657" y="503131"/>
                    <a:pt x="66945" y="502174"/>
                  </a:cubicBezTo>
                  <a:cubicBezTo>
                    <a:pt x="67571" y="500093"/>
                    <a:pt x="68077" y="498418"/>
                    <a:pt x="64941" y="496245"/>
                  </a:cubicBezTo>
                  <a:cubicBezTo>
                    <a:pt x="63415" y="495190"/>
                    <a:pt x="62402" y="494719"/>
                    <a:pt x="61727" y="494410"/>
                  </a:cubicBezTo>
                  <a:cubicBezTo>
                    <a:pt x="61213" y="494170"/>
                    <a:pt x="60890" y="494023"/>
                    <a:pt x="60693" y="493777"/>
                  </a:cubicBezTo>
                  <a:cubicBezTo>
                    <a:pt x="60369" y="493376"/>
                    <a:pt x="60369" y="492715"/>
                    <a:pt x="60369" y="490970"/>
                  </a:cubicBezTo>
                  <a:cubicBezTo>
                    <a:pt x="60369" y="486751"/>
                    <a:pt x="60721" y="484641"/>
                    <a:pt x="61424" y="483586"/>
                  </a:cubicBezTo>
                  <a:cubicBezTo>
                    <a:pt x="62128" y="482531"/>
                    <a:pt x="62479" y="480773"/>
                    <a:pt x="61424" y="478311"/>
                  </a:cubicBezTo>
                  <a:cubicBezTo>
                    <a:pt x="60580" y="476342"/>
                    <a:pt x="57788" y="473972"/>
                    <a:pt x="56501" y="473036"/>
                  </a:cubicBezTo>
                  <a:cubicBezTo>
                    <a:pt x="56853" y="472804"/>
                    <a:pt x="57345" y="471630"/>
                    <a:pt x="56501" y="468816"/>
                  </a:cubicBezTo>
                  <a:cubicBezTo>
                    <a:pt x="55446" y="465300"/>
                    <a:pt x="54040" y="460377"/>
                    <a:pt x="54040" y="459322"/>
                  </a:cubicBezTo>
                  <a:cubicBezTo>
                    <a:pt x="54040" y="458963"/>
                    <a:pt x="53871" y="458766"/>
                    <a:pt x="53660" y="458506"/>
                  </a:cubicBezTo>
                  <a:cubicBezTo>
                    <a:pt x="53238" y="458014"/>
                    <a:pt x="52633" y="457289"/>
                    <a:pt x="52633" y="454750"/>
                  </a:cubicBezTo>
                  <a:cubicBezTo>
                    <a:pt x="52633" y="452718"/>
                    <a:pt x="53020" y="451951"/>
                    <a:pt x="53393" y="451220"/>
                  </a:cubicBezTo>
                  <a:cubicBezTo>
                    <a:pt x="53723" y="450551"/>
                    <a:pt x="54040" y="449926"/>
                    <a:pt x="54040" y="448421"/>
                  </a:cubicBezTo>
                  <a:cubicBezTo>
                    <a:pt x="54040" y="446838"/>
                    <a:pt x="54651" y="445783"/>
                    <a:pt x="55270" y="444728"/>
                  </a:cubicBezTo>
                  <a:cubicBezTo>
                    <a:pt x="55882" y="443673"/>
                    <a:pt x="56501" y="442618"/>
                    <a:pt x="56501" y="441036"/>
                  </a:cubicBezTo>
                  <a:lnTo>
                    <a:pt x="56501" y="434706"/>
                  </a:lnTo>
                  <a:lnTo>
                    <a:pt x="56501" y="427673"/>
                  </a:lnTo>
                  <a:lnTo>
                    <a:pt x="56501" y="422047"/>
                  </a:lnTo>
                  <a:lnTo>
                    <a:pt x="56501" y="416068"/>
                  </a:lnTo>
                  <a:lnTo>
                    <a:pt x="56501" y="410090"/>
                  </a:lnTo>
                  <a:cubicBezTo>
                    <a:pt x="56501" y="409120"/>
                    <a:pt x="57099" y="408072"/>
                    <a:pt x="57774" y="406883"/>
                  </a:cubicBezTo>
                  <a:cubicBezTo>
                    <a:pt x="58569" y="405491"/>
                    <a:pt x="59476" y="403901"/>
                    <a:pt x="59666" y="402002"/>
                  </a:cubicBezTo>
                  <a:cubicBezTo>
                    <a:pt x="59800" y="400652"/>
                    <a:pt x="59518" y="399611"/>
                    <a:pt x="59244" y="398584"/>
                  </a:cubicBezTo>
                  <a:cubicBezTo>
                    <a:pt x="58801" y="396938"/>
                    <a:pt x="58365" y="395321"/>
                    <a:pt x="59666" y="392508"/>
                  </a:cubicBezTo>
                  <a:cubicBezTo>
                    <a:pt x="60503" y="390693"/>
                    <a:pt x="60953" y="389378"/>
                    <a:pt x="61319" y="388302"/>
                  </a:cubicBezTo>
                  <a:cubicBezTo>
                    <a:pt x="61881" y="386656"/>
                    <a:pt x="62261" y="385552"/>
                    <a:pt x="63534" y="384068"/>
                  </a:cubicBezTo>
                  <a:cubicBezTo>
                    <a:pt x="64498" y="382943"/>
                    <a:pt x="65243" y="381965"/>
                    <a:pt x="65897" y="381107"/>
                  </a:cubicBezTo>
                  <a:cubicBezTo>
                    <a:pt x="66678" y="380073"/>
                    <a:pt x="67339" y="379208"/>
                    <a:pt x="68106" y="378442"/>
                  </a:cubicBezTo>
                  <a:cubicBezTo>
                    <a:pt x="68457" y="378090"/>
                    <a:pt x="68788" y="377830"/>
                    <a:pt x="69090" y="377583"/>
                  </a:cubicBezTo>
                  <a:cubicBezTo>
                    <a:pt x="69997" y="376859"/>
                    <a:pt x="70652" y="376332"/>
                    <a:pt x="70919" y="374222"/>
                  </a:cubicBezTo>
                  <a:cubicBezTo>
                    <a:pt x="71144" y="372429"/>
                    <a:pt x="71081" y="371205"/>
                    <a:pt x="71010" y="369735"/>
                  </a:cubicBezTo>
                  <a:cubicBezTo>
                    <a:pt x="70968" y="368898"/>
                    <a:pt x="70919" y="367983"/>
                    <a:pt x="70919" y="366837"/>
                  </a:cubicBezTo>
                  <a:lnTo>
                    <a:pt x="70919" y="361211"/>
                  </a:lnTo>
                  <a:lnTo>
                    <a:pt x="70919" y="355584"/>
                  </a:lnTo>
                  <a:lnTo>
                    <a:pt x="70919" y="350309"/>
                  </a:lnTo>
                  <a:lnTo>
                    <a:pt x="70919" y="343628"/>
                  </a:lnTo>
                  <a:lnTo>
                    <a:pt x="70919" y="337650"/>
                  </a:lnTo>
                  <a:cubicBezTo>
                    <a:pt x="70919" y="335681"/>
                    <a:pt x="72325" y="332846"/>
                    <a:pt x="73029" y="331672"/>
                  </a:cubicBezTo>
                  <a:cubicBezTo>
                    <a:pt x="73613" y="331201"/>
                    <a:pt x="74998" y="329984"/>
                    <a:pt x="75842" y="328859"/>
                  </a:cubicBezTo>
                  <a:cubicBezTo>
                    <a:pt x="76686" y="327733"/>
                    <a:pt x="79007" y="323232"/>
                    <a:pt x="80062" y="321122"/>
                  </a:cubicBezTo>
                  <a:cubicBezTo>
                    <a:pt x="79591" y="318077"/>
                    <a:pt x="78936" y="311276"/>
                    <a:pt x="80062" y="308463"/>
                  </a:cubicBezTo>
                  <a:cubicBezTo>
                    <a:pt x="80779" y="306669"/>
                    <a:pt x="81588" y="305242"/>
                    <a:pt x="82348" y="303898"/>
                  </a:cubicBezTo>
                  <a:cubicBezTo>
                    <a:pt x="83079" y="302611"/>
                    <a:pt x="83768" y="301402"/>
                    <a:pt x="84282" y="300023"/>
                  </a:cubicBezTo>
                  <a:cubicBezTo>
                    <a:pt x="84640" y="299067"/>
                    <a:pt x="84957" y="298476"/>
                    <a:pt x="85238" y="297962"/>
                  </a:cubicBezTo>
                  <a:cubicBezTo>
                    <a:pt x="85773" y="296964"/>
                    <a:pt x="86159" y="296246"/>
                    <a:pt x="86392" y="293693"/>
                  </a:cubicBezTo>
                  <a:cubicBezTo>
                    <a:pt x="86525" y="292259"/>
                    <a:pt x="86701" y="291161"/>
                    <a:pt x="86877" y="290100"/>
                  </a:cubicBezTo>
                  <a:cubicBezTo>
                    <a:pt x="87165" y="288299"/>
                    <a:pt x="87447" y="286590"/>
                    <a:pt x="87447" y="283495"/>
                  </a:cubicBezTo>
                  <a:cubicBezTo>
                    <a:pt x="87447" y="281484"/>
                    <a:pt x="87622" y="280112"/>
                    <a:pt x="87756" y="279058"/>
                  </a:cubicBezTo>
                  <a:cubicBezTo>
                    <a:pt x="87960" y="277531"/>
                    <a:pt x="88072" y="276652"/>
                    <a:pt x="87447" y="275407"/>
                  </a:cubicBezTo>
                  <a:cubicBezTo>
                    <a:pt x="87081" y="274669"/>
                    <a:pt x="86581" y="274493"/>
                    <a:pt x="86089" y="274317"/>
                  </a:cubicBezTo>
                  <a:cubicBezTo>
                    <a:pt x="85175" y="273987"/>
                    <a:pt x="84282" y="273670"/>
                    <a:pt x="84282" y="269781"/>
                  </a:cubicBezTo>
                  <a:cubicBezTo>
                    <a:pt x="84282" y="266068"/>
                    <a:pt x="84007" y="265069"/>
                    <a:pt x="83719" y="264000"/>
                  </a:cubicBezTo>
                  <a:cubicBezTo>
                    <a:pt x="83543" y="263353"/>
                    <a:pt x="83360" y="262671"/>
                    <a:pt x="83227" y="261341"/>
                  </a:cubicBezTo>
                  <a:cubicBezTo>
                    <a:pt x="83079" y="259857"/>
                    <a:pt x="83367" y="259126"/>
                    <a:pt x="83621" y="258486"/>
                  </a:cubicBezTo>
                  <a:cubicBezTo>
                    <a:pt x="83965" y="257607"/>
                    <a:pt x="84246" y="256897"/>
                    <a:pt x="83227" y="254660"/>
                  </a:cubicBezTo>
                  <a:cubicBezTo>
                    <a:pt x="82664" y="253422"/>
                    <a:pt x="82137" y="252543"/>
                    <a:pt x="81679" y="251783"/>
                  </a:cubicBezTo>
                  <a:cubicBezTo>
                    <a:pt x="80709" y="250166"/>
                    <a:pt x="80062" y="249090"/>
                    <a:pt x="80062" y="246220"/>
                  </a:cubicBezTo>
                  <a:lnTo>
                    <a:pt x="80062" y="239187"/>
                  </a:lnTo>
                  <a:cubicBezTo>
                    <a:pt x="80062" y="237605"/>
                    <a:pt x="79823" y="236789"/>
                    <a:pt x="79647" y="236156"/>
                  </a:cubicBezTo>
                  <a:cubicBezTo>
                    <a:pt x="79380" y="235249"/>
                    <a:pt x="79232" y="234728"/>
                    <a:pt x="80062" y="232857"/>
                  </a:cubicBezTo>
                  <a:cubicBezTo>
                    <a:pt x="80653" y="231521"/>
                    <a:pt x="81869" y="229756"/>
                    <a:pt x="83079" y="227991"/>
                  </a:cubicBezTo>
                  <a:cubicBezTo>
                    <a:pt x="84746" y="225578"/>
                    <a:pt x="86392" y="223180"/>
                    <a:pt x="86392" y="221956"/>
                  </a:cubicBezTo>
                  <a:lnTo>
                    <a:pt x="86392" y="218088"/>
                  </a:lnTo>
                  <a:lnTo>
                    <a:pt x="86392" y="213868"/>
                  </a:lnTo>
                  <a:cubicBezTo>
                    <a:pt x="86392" y="213151"/>
                    <a:pt x="86434" y="212391"/>
                    <a:pt x="86469" y="211653"/>
                  </a:cubicBezTo>
                  <a:cubicBezTo>
                    <a:pt x="86546" y="210211"/>
                    <a:pt x="86624" y="208818"/>
                    <a:pt x="86392" y="207890"/>
                  </a:cubicBezTo>
                  <a:cubicBezTo>
                    <a:pt x="86040" y="206483"/>
                    <a:pt x="84985" y="202264"/>
                    <a:pt x="86392" y="199802"/>
                  </a:cubicBezTo>
                  <a:cubicBezTo>
                    <a:pt x="87355" y="197179"/>
                    <a:pt x="87995" y="195533"/>
                    <a:pt x="88438" y="194394"/>
                  </a:cubicBezTo>
                  <a:lnTo>
                    <a:pt x="88445" y="194394"/>
                  </a:lnTo>
                  <a:cubicBezTo>
                    <a:pt x="89127" y="192628"/>
                    <a:pt x="89345" y="192080"/>
                    <a:pt x="89556" y="191011"/>
                  </a:cubicBezTo>
                  <a:cubicBezTo>
                    <a:pt x="90963" y="184822"/>
                    <a:pt x="93896" y="181164"/>
                    <a:pt x="95183" y="180110"/>
                  </a:cubicBezTo>
                  <a:cubicBezTo>
                    <a:pt x="96118" y="178703"/>
                    <a:pt x="98277" y="175538"/>
                    <a:pt x="99403" y="174131"/>
                  </a:cubicBezTo>
                  <a:cubicBezTo>
                    <a:pt x="99923" y="173484"/>
                    <a:pt x="100774" y="172640"/>
                    <a:pt x="101773" y="171663"/>
                  </a:cubicBezTo>
                  <a:lnTo>
                    <a:pt x="101773" y="171663"/>
                  </a:lnTo>
                  <a:lnTo>
                    <a:pt x="101773" y="171663"/>
                  </a:lnTo>
                  <a:cubicBezTo>
                    <a:pt x="103475" y="169989"/>
                    <a:pt x="105585" y="167914"/>
                    <a:pt x="107139" y="165692"/>
                  </a:cubicBezTo>
                  <a:cubicBezTo>
                    <a:pt x="107723" y="164855"/>
                    <a:pt x="108250" y="164137"/>
                    <a:pt x="108722" y="163497"/>
                  </a:cubicBezTo>
                  <a:lnTo>
                    <a:pt x="108722" y="163497"/>
                  </a:lnTo>
                  <a:lnTo>
                    <a:pt x="108722" y="163497"/>
                  </a:lnTo>
                  <a:cubicBezTo>
                    <a:pt x="110213" y="161465"/>
                    <a:pt x="111092" y="160262"/>
                    <a:pt x="111359" y="158659"/>
                  </a:cubicBezTo>
                  <a:cubicBezTo>
                    <a:pt x="111556" y="157498"/>
                    <a:pt x="111535" y="157294"/>
                    <a:pt x="111478" y="156704"/>
                  </a:cubicBezTo>
                  <a:cubicBezTo>
                    <a:pt x="111429" y="156218"/>
                    <a:pt x="111359" y="155473"/>
                    <a:pt x="111359" y="153736"/>
                  </a:cubicBezTo>
                  <a:cubicBezTo>
                    <a:pt x="111359" y="151506"/>
                    <a:pt x="111127" y="150796"/>
                    <a:pt x="110860" y="149987"/>
                  </a:cubicBezTo>
                  <a:cubicBezTo>
                    <a:pt x="110663" y="149396"/>
                    <a:pt x="110452" y="148749"/>
                    <a:pt x="110304" y="147406"/>
                  </a:cubicBezTo>
                  <a:cubicBezTo>
                    <a:pt x="110093" y="145521"/>
                    <a:pt x="110135" y="145007"/>
                    <a:pt x="110199" y="144156"/>
                  </a:cubicBezTo>
                  <a:cubicBezTo>
                    <a:pt x="110248" y="143580"/>
                    <a:pt x="110304" y="142848"/>
                    <a:pt x="110304" y="141428"/>
                  </a:cubicBezTo>
                  <a:lnTo>
                    <a:pt x="110304" y="129823"/>
                  </a:lnTo>
                  <a:cubicBezTo>
                    <a:pt x="110304" y="128993"/>
                    <a:pt x="110142" y="128656"/>
                    <a:pt x="110009" y="128374"/>
                  </a:cubicBezTo>
                  <a:cubicBezTo>
                    <a:pt x="109798" y="127945"/>
                    <a:pt x="109664" y="127664"/>
                    <a:pt x="110304" y="125955"/>
                  </a:cubicBezTo>
                  <a:cubicBezTo>
                    <a:pt x="110719" y="124844"/>
                    <a:pt x="110810" y="123958"/>
                    <a:pt x="110888" y="123107"/>
                  </a:cubicBezTo>
                  <a:cubicBezTo>
                    <a:pt x="111021" y="121812"/>
                    <a:pt x="111134" y="120624"/>
                    <a:pt x="112414" y="118922"/>
                  </a:cubicBezTo>
                  <a:cubicBezTo>
                    <a:pt x="113771" y="117115"/>
                    <a:pt x="117449" y="114871"/>
                    <a:pt x="120467" y="113028"/>
                  </a:cubicBezTo>
                  <a:lnTo>
                    <a:pt x="120467" y="113028"/>
                  </a:lnTo>
                  <a:lnTo>
                    <a:pt x="120467" y="113028"/>
                  </a:lnTo>
                  <a:cubicBezTo>
                    <a:pt x="122148" y="112008"/>
                    <a:pt x="123617" y="111108"/>
                    <a:pt x="124370" y="110482"/>
                  </a:cubicBezTo>
                  <a:cubicBezTo>
                    <a:pt x="124968" y="109990"/>
                    <a:pt x="125362" y="109716"/>
                    <a:pt x="125678" y="109498"/>
                  </a:cubicBezTo>
                  <a:cubicBezTo>
                    <a:pt x="126480" y="108956"/>
                    <a:pt x="126726" y="108787"/>
                    <a:pt x="128238" y="106262"/>
                  </a:cubicBezTo>
                  <a:cubicBezTo>
                    <a:pt x="129005" y="104989"/>
                    <a:pt x="129490" y="104406"/>
                    <a:pt x="129821" y="104019"/>
                  </a:cubicBezTo>
                  <a:cubicBezTo>
                    <a:pt x="130397" y="103330"/>
                    <a:pt x="130475" y="103231"/>
                    <a:pt x="130700" y="100988"/>
                  </a:cubicBezTo>
                  <a:cubicBezTo>
                    <a:pt x="130932" y="98681"/>
                    <a:pt x="130862" y="97281"/>
                    <a:pt x="130784" y="95790"/>
                  </a:cubicBezTo>
                  <a:cubicBezTo>
                    <a:pt x="130742" y="95016"/>
                    <a:pt x="130700" y="94215"/>
                    <a:pt x="130700" y="93251"/>
                  </a:cubicBezTo>
                  <a:lnTo>
                    <a:pt x="130700" y="87885"/>
                  </a:lnTo>
                  <a:cubicBezTo>
                    <a:pt x="130193" y="88166"/>
                    <a:pt x="129715" y="88328"/>
                    <a:pt x="129293" y="88328"/>
                  </a:cubicBezTo>
                  <a:lnTo>
                    <a:pt x="120854" y="88328"/>
                  </a:lnTo>
                  <a:cubicBezTo>
                    <a:pt x="120031" y="86338"/>
                    <a:pt x="118322" y="81858"/>
                    <a:pt x="118040" y="79889"/>
                  </a:cubicBezTo>
                  <a:cubicBezTo>
                    <a:pt x="117731" y="77715"/>
                    <a:pt x="114953" y="70879"/>
                    <a:pt x="113820" y="68101"/>
                  </a:cubicBezTo>
                  <a:lnTo>
                    <a:pt x="113820" y="68094"/>
                  </a:lnTo>
                  <a:lnTo>
                    <a:pt x="113813" y="68087"/>
                  </a:lnTo>
                  <a:cubicBezTo>
                    <a:pt x="113666" y="67721"/>
                    <a:pt x="113553" y="67433"/>
                    <a:pt x="113469" y="67229"/>
                  </a:cubicBezTo>
                  <a:cubicBezTo>
                    <a:pt x="113159" y="66463"/>
                    <a:pt x="112126" y="65098"/>
                    <a:pt x="111049" y="63684"/>
                  </a:cubicBezTo>
                  <a:cubicBezTo>
                    <a:pt x="109650" y="61856"/>
                    <a:pt x="108194" y="59936"/>
                    <a:pt x="108194" y="59141"/>
                  </a:cubicBezTo>
                  <a:cubicBezTo>
                    <a:pt x="108194" y="58508"/>
                    <a:pt x="107835" y="56743"/>
                    <a:pt x="107448" y="54794"/>
                  </a:cubicBezTo>
                  <a:lnTo>
                    <a:pt x="107448" y="54794"/>
                  </a:lnTo>
                  <a:cubicBezTo>
                    <a:pt x="106970" y="52403"/>
                    <a:pt x="106436" y="49752"/>
                    <a:pt x="106436" y="48591"/>
                  </a:cubicBezTo>
                  <a:cubicBezTo>
                    <a:pt x="106436" y="46904"/>
                    <a:pt x="107610" y="41087"/>
                    <a:pt x="108194" y="38394"/>
                  </a:cubicBezTo>
                  <a:cubicBezTo>
                    <a:pt x="109369" y="36051"/>
                    <a:pt x="110656" y="30657"/>
                    <a:pt x="106436" y="27844"/>
                  </a:cubicBezTo>
                  <a:cubicBezTo>
                    <a:pt x="101477" y="24538"/>
                    <a:pt x="101492" y="21852"/>
                    <a:pt x="101513" y="18040"/>
                  </a:cubicBezTo>
                  <a:lnTo>
                    <a:pt x="101513" y="18033"/>
                  </a:lnTo>
                  <a:cubicBezTo>
                    <a:pt x="101513" y="17794"/>
                    <a:pt x="101513" y="17548"/>
                    <a:pt x="101513" y="17294"/>
                  </a:cubicBezTo>
                  <a:cubicBezTo>
                    <a:pt x="101513" y="14678"/>
                    <a:pt x="100704" y="13412"/>
                    <a:pt x="99417" y="11408"/>
                  </a:cubicBezTo>
                  <a:cubicBezTo>
                    <a:pt x="98629" y="10177"/>
                    <a:pt x="97659" y="8665"/>
                    <a:pt x="96589" y="6393"/>
                  </a:cubicBezTo>
                  <a:cubicBezTo>
                    <a:pt x="95914" y="4951"/>
                    <a:pt x="94473" y="2666"/>
                    <a:pt x="92651" y="0"/>
                  </a:cubicBezTo>
                  <a:lnTo>
                    <a:pt x="90611" y="4986"/>
                  </a:lnTo>
                  <a:lnTo>
                    <a:pt x="86040" y="12371"/>
                  </a:lnTo>
                  <a:close/>
                  <a:moveTo>
                    <a:pt x="94480" y="688248"/>
                  </a:moveTo>
                  <a:cubicBezTo>
                    <a:pt x="98580" y="688951"/>
                    <a:pt x="106787" y="690920"/>
                    <a:pt x="106787" y="693171"/>
                  </a:cubicBezTo>
                  <a:cubicBezTo>
                    <a:pt x="106787" y="694219"/>
                    <a:pt x="107090" y="702644"/>
                    <a:pt x="107491" y="713152"/>
                  </a:cubicBezTo>
                  <a:lnTo>
                    <a:pt x="107491" y="749084"/>
                  </a:lnTo>
                  <a:cubicBezTo>
                    <a:pt x="107491" y="749027"/>
                    <a:pt x="108011" y="749013"/>
                    <a:pt x="108883" y="749041"/>
                  </a:cubicBezTo>
                  <a:lnTo>
                    <a:pt x="108897" y="749435"/>
                  </a:lnTo>
                  <a:lnTo>
                    <a:pt x="127887" y="751545"/>
                  </a:lnTo>
                  <a:cubicBezTo>
                    <a:pt x="128709" y="752720"/>
                    <a:pt x="130559" y="755273"/>
                    <a:pt x="131403" y="756117"/>
                  </a:cubicBezTo>
                  <a:cubicBezTo>
                    <a:pt x="132247" y="756961"/>
                    <a:pt x="133161" y="759049"/>
                    <a:pt x="133513" y="759985"/>
                  </a:cubicBezTo>
                  <a:lnTo>
                    <a:pt x="118040" y="759985"/>
                  </a:lnTo>
                  <a:lnTo>
                    <a:pt x="114524" y="756117"/>
                  </a:lnTo>
                  <a:cubicBezTo>
                    <a:pt x="113117" y="756939"/>
                    <a:pt x="110726" y="759071"/>
                    <a:pt x="112414" y="761040"/>
                  </a:cubicBezTo>
                  <a:cubicBezTo>
                    <a:pt x="113117" y="761856"/>
                    <a:pt x="113820" y="762559"/>
                    <a:pt x="114404" y="763150"/>
                  </a:cubicBezTo>
                  <a:lnTo>
                    <a:pt x="114404" y="763150"/>
                  </a:lnTo>
                  <a:lnTo>
                    <a:pt x="114404" y="763150"/>
                  </a:lnTo>
                  <a:cubicBezTo>
                    <a:pt x="115579" y="764324"/>
                    <a:pt x="116282" y="765027"/>
                    <a:pt x="115579" y="765260"/>
                  </a:cubicBezTo>
                  <a:cubicBezTo>
                    <a:pt x="115537" y="765274"/>
                    <a:pt x="115480" y="765295"/>
                    <a:pt x="115424" y="765316"/>
                  </a:cubicBezTo>
                  <a:lnTo>
                    <a:pt x="115368" y="765337"/>
                  </a:lnTo>
                  <a:lnTo>
                    <a:pt x="115283" y="765372"/>
                  </a:lnTo>
                  <a:cubicBezTo>
                    <a:pt x="115164" y="765414"/>
                    <a:pt x="115030" y="765470"/>
                    <a:pt x="114875" y="765534"/>
                  </a:cubicBezTo>
                  <a:lnTo>
                    <a:pt x="114868" y="765541"/>
                  </a:lnTo>
                  <a:lnTo>
                    <a:pt x="114861" y="765541"/>
                  </a:lnTo>
                  <a:cubicBezTo>
                    <a:pt x="113096" y="766265"/>
                    <a:pt x="109179" y="767862"/>
                    <a:pt x="106787" y="766666"/>
                  </a:cubicBezTo>
                  <a:cubicBezTo>
                    <a:pt x="103974" y="765260"/>
                    <a:pt x="100106" y="765260"/>
                    <a:pt x="97293" y="765260"/>
                  </a:cubicBezTo>
                  <a:cubicBezTo>
                    <a:pt x="96449" y="765260"/>
                    <a:pt x="95633" y="765485"/>
                    <a:pt x="94881" y="765689"/>
                  </a:cubicBezTo>
                  <a:lnTo>
                    <a:pt x="94881" y="765689"/>
                  </a:lnTo>
                  <a:cubicBezTo>
                    <a:pt x="93129" y="766167"/>
                    <a:pt x="91702" y="766561"/>
                    <a:pt x="90963" y="763853"/>
                  </a:cubicBezTo>
                  <a:cubicBezTo>
                    <a:pt x="90569" y="762397"/>
                    <a:pt x="89971" y="761891"/>
                    <a:pt x="89479" y="761462"/>
                  </a:cubicBezTo>
                  <a:cubicBezTo>
                    <a:pt x="88656" y="760759"/>
                    <a:pt x="88108" y="760287"/>
                    <a:pt x="89205" y="756117"/>
                  </a:cubicBezTo>
                  <a:cubicBezTo>
                    <a:pt x="90696" y="750441"/>
                    <a:pt x="91434" y="749843"/>
                    <a:pt x="93347" y="748275"/>
                  </a:cubicBezTo>
                  <a:cubicBezTo>
                    <a:pt x="93685" y="748000"/>
                    <a:pt x="94058" y="747698"/>
                    <a:pt x="94480" y="747325"/>
                  </a:cubicBezTo>
                  <a:cubicBezTo>
                    <a:pt x="95950" y="746038"/>
                    <a:pt x="95978" y="745806"/>
                    <a:pt x="96027" y="745426"/>
                  </a:cubicBezTo>
                  <a:cubicBezTo>
                    <a:pt x="96062" y="745082"/>
                    <a:pt x="96118" y="744611"/>
                    <a:pt x="97293" y="743105"/>
                  </a:cubicBezTo>
                  <a:cubicBezTo>
                    <a:pt x="98144" y="742008"/>
                    <a:pt x="99339" y="741291"/>
                    <a:pt x="100310" y="740707"/>
                  </a:cubicBezTo>
                  <a:cubicBezTo>
                    <a:pt x="102146" y="739603"/>
                    <a:pt x="103200" y="738963"/>
                    <a:pt x="99754" y="737127"/>
                  </a:cubicBezTo>
                  <a:cubicBezTo>
                    <a:pt x="98685" y="736558"/>
                    <a:pt x="97863" y="736129"/>
                    <a:pt x="97194" y="735784"/>
                  </a:cubicBezTo>
                  <a:lnTo>
                    <a:pt x="97194" y="735784"/>
                  </a:lnTo>
                  <a:cubicBezTo>
                    <a:pt x="94564" y="734427"/>
                    <a:pt x="94325" y="734307"/>
                    <a:pt x="90963" y="731501"/>
                  </a:cubicBezTo>
                  <a:cubicBezTo>
                    <a:pt x="89556" y="730333"/>
                    <a:pt x="88347" y="729588"/>
                    <a:pt x="87376" y="728990"/>
                  </a:cubicBezTo>
                  <a:cubicBezTo>
                    <a:pt x="85414" y="727788"/>
                    <a:pt x="84401" y="727168"/>
                    <a:pt x="84633" y="724820"/>
                  </a:cubicBezTo>
                  <a:cubicBezTo>
                    <a:pt x="84676" y="724391"/>
                    <a:pt x="84711" y="723997"/>
                    <a:pt x="84739" y="723645"/>
                  </a:cubicBezTo>
                  <a:cubicBezTo>
                    <a:pt x="84950" y="721099"/>
                    <a:pt x="85020" y="720255"/>
                    <a:pt x="87798" y="717786"/>
                  </a:cubicBezTo>
                  <a:cubicBezTo>
                    <a:pt x="90330" y="715536"/>
                    <a:pt x="92602" y="712631"/>
                    <a:pt x="93425" y="711457"/>
                  </a:cubicBezTo>
                  <a:cubicBezTo>
                    <a:pt x="94008" y="710634"/>
                    <a:pt x="94339" y="708995"/>
                    <a:pt x="90963" y="708995"/>
                  </a:cubicBezTo>
                  <a:cubicBezTo>
                    <a:pt x="89402" y="708995"/>
                    <a:pt x="88129" y="709234"/>
                    <a:pt x="87088" y="709431"/>
                  </a:cubicBezTo>
                  <a:cubicBezTo>
                    <a:pt x="85323" y="709769"/>
                    <a:pt x="84239" y="709973"/>
                    <a:pt x="83578" y="708644"/>
                  </a:cubicBezTo>
                  <a:cubicBezTo>
                    <a:pt x="83206" y="707898"/>
                    <a:pt x="82657" y="707455"/>
                    <a:pt x="82179" y="707075"/>
                  </a:cubicBezTo>
                  <a:cubicBezTo>
                    <a:pt x="81307" y="706386"/>
                    <a:pt x="80688" y="705887"/>
                    <a:pt x="81820" y="704072"/>
                  </a:cubicBezTo>
                  <a:cubicBezTo>
                    <a:pt x="82559" y="702890"/>
                    <a:pt x="82615" y="701955"/>
                    <a:pt x="82664" y="701083"/>
                  </a:cubicBezTo>
                  <a:cubicBezTo>
                    <a:pt x="82734" y="699887"/>
                    <a:pt x="82798" y="698818"/>
                    <a:pt x="84633" y="697391"/>
                  </a:cubicBezTo>
                  <a:cubicBezTo>
                    <a:pt x="89978" y="693171"/>
                    <a:pt x="93425" y="690709"/>
                    <a:pt x="94480" y="690006"/>
                  </a:cubicBezTo>
                  <a:lnTo>
                    <a:pt x="94480" y="688248"/>
                  </a:lnTo>
                  <a:close/>
                  <a:moveTo>
                    <a:pt x="71271" y="708995"/>
                  </a:moveTo>
                  <a:cubicBezTo>
                    <a:pt x="71271" y="705338"/>
                    <a:pt x="72677" y="700907"/>
                    <a:pt x="73380" y="699149"/>
                  </a:cubicBezTo>
                  <a:lnTo>
                    <a:pt x="67754" y="697391"/>
                  </a:lnTo>
                  <a:cubicBezTo>
                    <a:pt x="67522" y="697974"/>
                    <a:pt x="66699" y="699149"/>
                    <a:pt x="65292" y="699149"/>
                  </a:cubicBezTo>
                  <a:cubicBezTo>
                    <a:pt x="63928" y="699149"/>
                    <a:pt x="62353" y="700844"/>
                    <a:pt x="60728" y="702588"/>
                  </a:cubicBezTo>
                  <a:cubicBezTo>
                    <a:pt x="60257" y="703094"/>
                    <a:pt x="59785" y="703601"/>
                    <a:pt x="59314" y="704072"/>
                  </a:cubicBezTo>
                  <a:cubicBezTo>
                    <a:pt x="57204" y="706182"/>
                    <a:pt x="55446" y="707237"/>
                    <a:pt x="50171" y="708995"/>
                  </a:cubicBezTo>
                  <a:cubicBezTo>
                    <a:pt x="45952" y="710402"/>
                    <a:pt x="46535" y="711225"/>
                    <a:pt x="47358" y="711457"/>
                  </a:cubicBezTo>
                  <a:cubicBezTo>
                    <a:pt x="49588" y="712863"/>
                    <a:pt x="54743" y="716099"/>
                    <a:pt x="57556" y="717786"/>
                  </a:cubicBezTo>
                  <a:cubicBezTo>
                    <a:pt x="59462" y="718926"/>
                    <a:pt x="62500" y="720178"/>
                    <a:pt x="65110" y="721247"/>
                  </a:cubicBezTo>
                  <a:lnTo>
                    <a:pt x="65110" y="721247"/>
                  </a:lnTo>
                  <a:lnTo>
                    <a:pt x="65110" y="721247"/>
                  </a:lnTo>
                  <a:cubicBezTo>
                    <a:pt x="67318" y="722154"/>
                    <a:pt x="69217" y="722928"/>
                    <a:pt x="69864" y="723413"/>
                  </a:cubicBezTo>
                  <a:cubicBezTo>
                    <a:pt x="71271" y="724468"/>
                    <a:pt x="71271" y="721655"/>
                    <a:pt x="71271" y="719545"/>
                  </a:cubicBezTo>
                  <a:lnTo>
                    <a:pt x="71271" y="708995"/>
                  </a:lnTo>
                  <a:close/>
                  <a:moveTo>
                    <a:pt x="75905" y="751426"/>
                  </a:moveTo>
                  <a:cubicBezTo>
                    <a:pt x="74836" y="750532"/>
                    <a:pt x="73493" y="749414"/>
                    <a:pt x="71271" y="747325"/>
                  </a:cubicBezTo>
                  <a:cubicBezTo>
                    <a:pt x="67888" y="744139"/>
                    <a:pt x="65742" y="742873"/>
                    <a:pt x="63815" y="741734"/>
                  </a:cubicBezTo>
                  <a:cubicBezTo>
                    <a:pt x="62339" y="740855"/>
                    <a:pt x="60995" y="740060"/>
                    <a:pt x="59314" y="738534"/>
                  </a:cubicBezTo>
                  <a:cubicBezTo>
                    <a:pt x="57760" y="737121"/>
                    <a:pt x="57000" y="737352"/>
                    <a:pt x="56234" y="737592"/>
                  </a:cubicBezTo>
                  <a:cubicBezTo>
                    <a:pt x="55102" y="737943"/>
                    <a:pt x="53955" y="738302"/>
                    <a:pt x="50171" y="733259"/>
                  </a:cubicBezTo>
                  <a:cubicBezTo>
                    <a:pt x="46746" y="728688"/>
                    <a:pt x="45375" y="727830"/>
                    <a:pt x="44228" y="727112"/>
                  </a:cubicBezTo>
                  <a:cubicBezTo>
                    <a:pt x="43265" y="726501"/>
                    <a:pt x="42449" y="725994"/>
                    <a:pt x="40677" y="723413"/>
                  </a:cubicBezTo>
                  <a:cubicBezTo>
                    <a:pt x="37308" y="718511"/>
                    <a:pt x="36070" y="717611"/>
                    <a:pt x="33953" y="716070"/>
                  </a:cubicBezTo>
                  <a:cubicBezTo>
                    <a:pt x="33637" y="715838"/>
                    <a:pt x="33306" y="715599"/>
                    <a:pt x="32940" y="715325"/>
                  </a:cubicBezTo>
                  <a:cubicBezTo>
                    <a:pt x="30894" y="713792"/>
                    <a:pt x="29403" y="712251"/>
                    <a:pt x="27391" y="710177"/>
                  </a:cubicBezTo>
                  <a:cubicBezTo>
                    <a:pt x="26639" y="709396"/>
                    <a:pt x="25809" y="708545"/>
                    <a:pt x="24852" y="707589"/>
                  </a:cubicBezTo>
                  <a:cubicBezTo>
                    <a:pt x="21336" y="704072"/>
                    <a:pt x="17819" y="700204"/>
                    <a:pt x="19578" y="700556"/>
                  </a:cubicBezTo>
                  <a:cubicBezTo>
                    <a:pt x="21336" y="700907"/>
                    <a:pt x="34699" y="706534"/>
                    <a:pt x="35754" y="708995"/>
                  </a:cubicBezTo>
                  <a:cubicBezTo>
                    <a:pt x="36809" y="711457"/>
                    <a:pt x="37160" y="711808"/>
                    <a:pt x="38918" y="713567"/>
                  </a:cubicBezTo>
                  <a:cubicBezTo>
                    <a:pt x="39312" y="713961"/>
                    <a:pt x="39699" y="714383"/>
                    <a:pt x="40093" y="714812"/>
                  </a:cubicBezTo>
                  <a:cubicBezTo>
                    <a:pt x="41457" y="716295"/>
                    <a:pt x="42829" y="717786"/>
                    <a:pt x="44193" y="717786"/>
                  </a:cubicBezTo>
                  <a:cubicBezTo>
                    <a:pt x="45952" y="717786"/>
                    <a:pt x="47710" y="717786"/>
                    <a:pt x="50171" y="721303"/>
                  </a:cubicBezTo>
                  <a:lnTo>
                    <a:pt x="50411" y="721641"/>
                  </a:lnTo>
                  <a:cubicBezTo>
                    <a:pt x="52837" y="725108"/>
                    <a:pt x="55854" y="729426"/>
                    <a:pt x="57556" y="730446"/>
                  </a:cubicBezTo>
                  <a:cubicBezTo>
                    <a:pt x="58484" y="731002"/>
                    <a:pt x="60095" y="730875"/>
                    <a:pt x="61881" y="730734"/>
                  </a:cubicBezTo>
                  <a:cubicBezTo>
                    <a:pt x="63478" y="730601"/>
                    <a:pt x="65208" y="730467"/>
                    <a:pt x="66699" y="730798"/>
                  </a:cubicBezTo>
                  <a:cubicBezTo>
                    <a:pt x="67515" y="730980"/>
                    <a:pt x="68401" y="731135"/>
                    <a:pt x="69287" y="731297"/>
                  </a:cubicBezTo>
                  <a:cubicBezTo>
                    <a:pt x="71847" y="731754"/>
                    <a:pt x="74442" y="732218"/>
                    <a:pt x="75490" y="733259"/>
                  </a:cubicBezTo>
                  <a:cubicBezTo>
                    <a:pt x="76897" y="734666"/>
                    <a:pt x="84633" y="738534"/>
                    <a:pt x="87798" y="738534"/>
                  </a:cubicBezTo>
                  <a:cubicBezTo>
                    <a:pt x="90963" y="738534"/>
                    <a:pt x="92721" y="741347"/>
                    <a:pt x="90963" y="743105"/>
                  </a:cubicBezTo>
                  <a:cubicBezTo>
                    <a:pt x="90295" y="743774"/>
                    <a:pt x="89627" y="743935"/>
                    <a:pt x="88895" y="744111"/>
                  </a:cubicBezTo>
                  <a:cubicBezTo>
                    <a:pt x="87714" y="744393"/>
                    <a:pt x="86377" y="744709"/>
                    <a:pt x="84633" y="747325"/>
                  </a:cubicBezTo>
                  <a:cubicBezTo>
                    <a:pt x="82383" y="750701"/>
                    <a:pt x="81820" y="755533"/>
                    <a:pt x="81820" y="757523"/>
                  </a:cubicBezTo>
                  <a:cubicBezTo>
                    <a:pt x="78726" y="753768"/>
                    <a:pt x="77713" y="752924"/>
                    <a:pt x="75905" y="751426"/>
                  </a:cubicBezTo>
                  <a:close/>
                  <a:moveTo>
                    <a:pt x="51578" y="701962"/>
                  </a:moveTo>
                  <a:lnTo>
                    <a:pt x="53336" y="696336"/>
                  </a:lnTo>
                  <a:lnTo>
                    <a:pt x="51578" y="697391"/>
                  </a:lnTo>
                  <a:cubicBezTo>
                    <a:pt x="50171" y="693642"/>
                    <a:pt x="46936" y="685505"/>
                    <a:pt x="45248" y="682973"/>
                  </a:cubicBezTo>
                  <a:cubicBezTo>
                    <a:pt x="44601" y="682009"/>
                    <a:pt x="43989" y="681236"/>
                    <a:pt x="43434" y="680532"/>
                  </a:cubicBezTo>
                  <a:lnTo>
                    <a:pt x="43434" y="680532"/>
                  </a:lnTo>
                  <a:cubicBezTo>
                    <a:pt x="42161" y="678936"/>
                    <a:pt x="41162" y="677677"/>
                    <a:pt x="40677" y="675237"/>
                  </a:cubicBezTo>
                  <a:cubicBezTo>
                    <a:pt x="40114" y="672423"/>
                    <a:pt x="39270" y="671488"/>
                    <a:pt x="38918" y="671368"/>
                  </a:cubicBezTo>
                  <a:cubicBezTo>
                    <a:pt x="35754" y="671368"/>
                    <a:pt x="28721" y="671017"/>
                    <a:pt x="25907" y="669610"/>
                  </a:cubicBezTo>
                  <a:cubicBezTo>
                    <a:pt x="23432" y="668372"/>
                    <a:pt x="23221" y="668879"/>
                    <a:pt x="22946" y="669526"/>
                  </a:cubicBezTo>
                  <a:cubicBezTo>
                    <a:pt x="22834" y="669800"/>
                    <a:pt x="22707" y="670103"/>
                    <a:pt x="22391" y="670313"/>
                  </a:cubicBezTo>
                  <a:cubicBezTo>
                    <a:pt x="21336" y="671017"/>
                    <a:pt x="21336" y="673478"/>
                    <a:pt x="21336" y="675237"/>
                  </a:cubicBezTo>
                  <a:cubicBezTo>
                    <a:pt x="21336" y="676390"/>
                    <a:pt x="21793" y="677543"/>
                    <a:pt x="22398" y="679091"/>
                  </a:cubicBezTo>
                  <a:cubicBezTo>
                    <a:pt x="22721" y="679907"/>
                    <a:pt x="23080" y="680828"/>
                    <a:pt x="23446" y="681918"/>
                  </a:cubicBezTo>
                  <a:cubicBezTo>
                    <a:pt x="24037" y="683704"/>
                    <a:pt x="24859" y="685041"/>
                    <a:pt x="25710" y="686433"/>
                  </a:cubicBezTo>
                  <a:cubicBezTo>
                    <a:pt x="26371" y="687509"/>
                    <a:pt x="27054" y="688627"/>
                    <a:pt x="27666" y="690006"/>
                  </a:cubicBezTo>
                  <a:cubicBezTo>
                    <a:pt x="29030" y="693079"/>
                    <a:pt x="30732" y="694500"/>
                    <a:pt x="32765" y="696188"/>
                  </a:cubicBezTo>
                  <a:lnTo>
                    <a:pt x="32940" y="696336"/>
                  </a:lnTo>
                  <a:cubicBezTo>
                    <a:pt x="33995" y="697215"/>
                    <a:pt x="34699" y="697918"/>
                    <a:pt x="35929" y="699149"/>
                  </a:cubicBezTo>
                  <a:cubicBezTo>
                    <a:pt x="37160" y="700380"/>
                    <a:pt x="38918" y="702138"/>
                    <a:pt x="42083" y="705127"/>
                  </a:cubicBezTo>
                  <a:cubicBezTo>
                    <a:pt x="47147" y="709909"/>
                    <a:pt x="46303" y="708524"/>
                    <a:pt x="45248" y="707237"/>
                  </a:cubicBezTo>
                  <a:lnTo>
                    <a:pt x="51578" y="701962"/>
                  </a:lnTo>
                  <a:close/>
                  <a:moveTo>
                    <a:pt x="7621" y="662929"/>
                  </a:moveTo>
                  <a:cubicBezTo>
                    <a:pt x="8908" y="662345"/>
                    <a:pt x="11912" y="660678"/>
                    <a:pt x="13599" y="658709"/>
                  </a:cubicBezTo>
                  <a:cubicBezTo>
                    <a:pt x="14007" y="658238"/>
                    <a:pt x="14493" y="657738"/>
                    <a:pt x="14992" y="657218"/>
                  </a:cubicBezTo>
                  <a:cubicBezTo>
                    <a:pt x="17102" y="655045"/>
                    <a:pt x="19521" y="652541"/>
                    <a:pt x="17819" y="650269"/>
                  </a:cubicBezTo>
                  <a:cubicBezTo>
                    <a:pt x="16764" y="648863"/>
                    <a:pt x="16764" y="647196"/>
                    <a:pt x="16764" y="645698"/>
                  </a:cubicBezTo>
                  <a:cubicBezTo>
                    <a:pt x="16764" y="644207"/>
                    <a:pt x="16764" y="642884"/>
                    <a:pt x="15709" y="642181"/>
                  </a:cubicBezTo>
                  <a:cubicBezTo>
                    <a:pt x="15041" y="641738"/>
                    <a:pt x="14514" y="641147"/>
                    <a:pt x="14064" y="640648"/>
                  </a:cubicBezTo>
                  <a:cubicBezTo>
                    <a:pt x="13086" y="639558"/>
                    <a:pt x="12453" y="638855"/>
                    <a:pt x="11490" y="640775"/>
                  </a:cubicBezTo>
                  <a:cubicBezTo>
                    <a:pt x="10885" y="641984"/>
                    <a:pt x="10997" y="642413"/>
                    <a:pt x="11124" y="642905"/>
                  </a:cubicBezTo>
                  <a:cubicBezTo>
                    <a:pt x="11293" y="643553"/>
                    <a:pt x="11482" y="644298"/>
                    <a:pt x="10083" y="647104"/>
                  </a:cubicBezTo>
                  <a:cubicBezTo>
                    <a:pt x="8114" y="651043"/>
                    <a:pt x="6686" y="656479"/>
                    <a:pt x="6215" y="658709"/>
                  </a:cubicBezTo>
                  <a:lnTo>
                    <a:pt x="4808" y="662929"/>
                  </a:lnTo>
                  <a:lnTo>
                    <a:pt x="7621" y="662929"/>
                  </a:lnTo>
                  <a:close/>
                  <a:moveTo>
                    <a:pt x="10083" y="677698"/>
                  </a:moveTo>
                  <a:cubicBezTo>
                    <a:pt x="8676" y="674885"/>
                    <a:pt x="10435" y="672423"/>
                    <a:pt x="11490" y="671368"/>
                  </a:cubicBezTo>
                  <a:cubicBezTo>
                    <a:pt x="12193" y="670785"/>
                    <a:pt x="14443" y="670735"/>
                    <a:pt x="17819" y="675237"/>
                  </a:cubicBezTo>
                  <a:cubicBezTo>
                    <a:pt x="19514" y="678345"/>
                    <a:pt x="18487" y="678957"/>
                    <a:pt x="15829" y="680532"/>
                  </a:cubicBezTo>
                  <a:lnTo>
                    <a:pt x="15829" y="680532"/>
                  </a:lnTo>
                  <a:cubicBezTo>
                    <a:pt x="15175" y="680919"/>
                    <a:pt x="14429" y="681362"/>
                    <a:pt x="13599" y="681918"/>
                  </a:cubicBezTo>
                  <a:cubicBezTo>
                    <a:pt x="11701" y="680968"/>
                    <a:pt x="11511" y="680589"/>
                    <a:pt x="10463" y="678458"/>
                  </a:cubicBezTo>
                  <a:lnTo>
                    <a:pt x="10463" y="678458"/>
                  </a:lnTo>
                  <a:lnTo>
                    <a:pt x="10456" y="678444"/>
                  </a:lnTo>
                  <a:cubicBezTo>
                    <a:pt x="10343" y="678219"/>
                    <a:pt x="10217" y="677965"/>
                    <a:pt x="10083" y="677698"/>
                  </a:cubicBezTo>
                  <a:close/>
                  <a:moveTo>
                    <a:pt x="22742" y="657654"/>
                  </a:moveTo>
                  <a:cubicBezTo>
                    <a:pt x="22862" y="659060"/>
                    <a:pt x="23657" y="662085"/>
                    <a:pt x="25907" y="662929"/>
                  </a:cubicBezTo>
                  <a:cubicBezTo>
                    <a:pt x="28158" y="663773"/>
                    <a:pt x="31534" y="664455"/>
                    <a:pt x="32940" y="664687"/>
                  </a:cubicBezTo>
                  <a:lnTo>
                    <a:pt x="34347" y="664687"/>
                  </a:lnTo>
                  <a:cubicBezTo>
                    <a:pt x="34741" y="664194"/>
                    <a:pt x="35219" y="663892"/>
                    <a:pt x="35585" y="663667"/>
                  </a:cubicBezTo>
                  <a:cubicBezTo>
                    <a:pt x="36527" y="663076"/>
                    <a:pt x="36738" y="662943"/>
                    <a:pt x="32940" y="661170"/>
                  </a:cubicBezTo>
                  <a:cubicBezTo>
                    <a:pt x="28721" y="659201"/>
                    <a:pt x="24381" y="658006"/>
                    <a:pt x="22742" y="657654"/>
                  </a:cubicBezTo>
                  <a:close/>
                  <a:moveTo>
                    <a:pt x="7621" y="637961"/>
                  </a:moveTo>
                  <a:cubicBezTo>
                    <a:pt x="5160" y="640423"/>
                    <a:pt x="4808" y="640775"/>
                    <a:pt x="4808" y="642181"/>
                  </a:cubicBezTo>
                  <a:lnTo>
                    <a:pt x="3753" y="640071"/>
                  </a:lnTo>
                  <a:cubicBezTo>
                    <a:pt x="2698" y="637258"/>
                    <a:pt x="588" y="631350"/>
                    <a:pt x="588" y="630225"/>
                  </a:cubicBezTo>
                  <a:cubicBezTo>
                    <a:pt x="588" y="628818"/>
                    <a:pt x="1292" y="627060"/>
                    <a:pt x="1995" y="625653"/>
                  </a:cubicBezTo>
                  <a:cubicBezTo>
                    <a:pt x="2698" y="624247"/>
                    <a:pt x="3402" y="623544"/>
                    <a:pt x="7621" y="622137"/>
                  </a:cubicBezTo>
                  <a:cubicBezTo>
                    <a:pt x="10793" y="621082"/>
                    <a:pt x="10589" y="620224"/>
                    <a:pt x="10287" y="618965"/>
                  </a:cubicBezTo>
                  <a:cubicBezTo>
                    <a:pt x="10188" y="618550"/>
                    <a:pt x="10083" y="618093"/>
                    <a:pt x="10083" y="617565"/>
                  </a:cubicBezTo>
                  <a:cubicBezTo>
                    <a:pt x="10083" y="615983"/>
                    <a:pt x="10083" y="615983"/>
                    <a:pt x="11567" y="615041"/>
                  </a:cubicBezTo>
                  <a:cubicBezTo>
                    <a:pt x="12059" y="614731"/>
                    <a:pt x="12720" y="614316"/>
                    <a:pt x="13599" y="613697"/>
                  </a:cubicBezTo>
                  <a:cubicBezTo>
                    <a:pt x="15730" y="612206"/>
                    <a:pt x="15280" y="613170"/>
                    <a:pt x="14591" y="614633"/>
                  </a:cubicBezTo>
                  <a:cubicBezTo>
                    <a:pt x="14141" y="615575"/>
                    <a:pt x="13599" y="616735"/>
                    <a:pt x="13599" y="617565"/>
                  </a:cubicBezTo>
                  <a:lnTo>
                    <a:pt x="13599" y="623544"/>
                  </a:lnTo>
                  <a:lnTo>
                    <a:pt x="13599" y="627060"/>
                  </a:lnTo>
                  <a:cubicBezTo>
                    <a:pt x="13599" y="628185"/>
                    <a:pt x="12193" y="631512"/>
                    <a:pt x="11490" y="633038"/>
                  </a:cubicBezTo>
                  <a:cubicBezTo>
                    <a:pt x="11018" y="633861"/>
                    <a:pt x="9591" y="635992"/>
                    <a:pt x="7621" y="637961"/>
                  </a:cubicBezTo>
                  <a:close/>
                  <a:moveTo>
                    <a:pt x="3753" y="617565"/>
                  </a:moveTo>
                  <a:cubicBezTo>
                    <a:pt x="4105" y="617094"/>
                    <a:pt x="5089" y="615666"/>
                    <a:pt x="6215" y="613697"/>
                  </a:cubicBezTo>
                  <a:cubicBezTo>
                    <a:pt x="6855" y="612579"/>
                    <a:pt x="6693" y="611897"/>
                    <a:pt x="6559" y="611320"/>
                  </a:cubicBezTo>
                  <a:cubicBezTo>
                    <a:pt x="6405" y="610631"/>
                    <a:pt x="6278" y="610089"/>
                    <a:pt x="7621" y="609126"/>
                  </a:cubicBezTo>
                  <a:cubicBezTo>
                    <a:pt x="8585" y="608437"/>
                    <a:pt x="9710" y="608233"/>
                    <a:pt x="10730" y="608050"/>
                  </a:cubicBezTo>
                  <a:cubicBezTo>
                    <a:pt x="12298" y="607768"/>
                    <a:pt x="13599" y="607537"/>
                    <a:pt x="13599" y="605609"/>
                  </a:cubicBezTo>
                  <a:lnTo>
                    <a:pt x="13599" y="600334"/>
                  </a:lnTo>
                  <a:lnTo>
                    <a:pt x="13599" y="594005"/>
                  </a:lnTo>
                  <a:cubicBezTo>
                    <a:pt x="13599" y="593238"/>
                    <a:pt x="13874" y="592753"/>
                    <a:pt x="14127" y="592310"/>
                  </a:cubicBezTo>
                  <a:cubicBezTo>
                    <a:pt x="14577" y="591522"/>
                    <a:pt x="14943" y="590875"/>
                    <a:pt x="13599" y="589082"/>
                  </a:cubicBezTo>
                  <a:cubicBezTo>
                    <a:pt x="11490" y="586268"/>
                    <a:pt x="11490" y="585917"/>
                    <a:pt x="11490" y="583104"/>
                  </a:cubicBezTo>
                  <a:cubicBezTo>
                    <a:pt x="11490" y="582442"/>
                    <a:pt x="11546" y="581781"/>
                    <a:pt x="11602" y="581127"/>
                  </a:cubicBezTo>
                  <a:cubicBezTo>
                    <a:pt x="11792" y="579024"/>
                    <a:pt x="11968" y="577062"/>
                    <a:pt x="10083" y="575719"/>
                  </a:cubicBezTo>
                  <a:cubicBezTo>
                    <a:pt x="9162" y="575065"/>
                    <a:pt x="8634" y="574059"/>
                    <a:pt x="8205" y="573250"/>
                  </a:cubicBezTo>
                  <a:cubicBezTo>
                    <a:pt x="7495" y="571886"/>
                    <a:pt x="7052" y="571056"/>
                    <a:pt x="5511" y="573257"/>
                  </a:cubicBezTo>
                  <a:cubicBezTo>
                    <a:pt x="4548" y="574636"/>
                    <a:pt x="3802" y="575529"/>
                    <a:pt x="3247" y="576183"/>
                  </a:cubicBezTo>
                  <a:cubicBezTo>
                    <a:pt x="2389" y="577210"/>
                    <a:pt x="1995" y="577674"/>
                    <a:pt x="1995" y="578532"/>
                  </a:cubicBezTo>
                  <a:cubicBezTo>
                    <a:pt x="1995" y="579235"/>
                    <a:pt x="1819" y="579939"/>
                    <a:pt x="1601" y="580818"/>
                  </a:cubicBezTo>
                  <a:cubicBezTo>
                    <a:pt x="1376" y="581697"/>
                    <a:pt x="1116" y="582752"/>
                    <a:pt x="940" y="584158"/>
                  </a:cubicBezTo>
                  <a:cubicBezTo>
                    <a:pt x="813" y="585192"/>
                    <a:pt x="588" y="585994"/>
                    <a:pt x="391" y="586690"/>
                  </a:cubicBezTo>
                  <a:lnTo>
                    <a:pt x="391" y="586690"/>
                  </a:lnTo>
                  <a:cubicBezTo>
                    <a:pt x="47" y="587893"/>
                    <a:pt x="-206" y="588807"/>
                    <a:pt x="237" y="590137"/>
                  </a:cubicBezTo>
                  <a:cubicBezTo>
                    <a:pt x="504" y="590938"/>
                    <a:pt x="1074" y="591691"/>
                    <a:pt x="1678" y="592485"/>
                  </a:cubicBezTo>
                  <a:lnTo>
                    <a:pt x="1678" y="592485"/>
                  </a:lnTo>
                  <a:lnTo>
                    <a:pt x="1678" y="592485"/>
                  </a:lnTo>
                  <a:cubicBezTo>
                    <a:pt x="2670" y="593787"/>
                    <a:pt x="3753" y="595207"/>
                    <a:pt x="3753" y="597170"/>
                  </a:cubicBezTo>
                  <a:cubicBezTo>
                    <a:pt x="3753" y="598893"/>
                    <a:pt x="3127" y="600939"/>
                    <a:pt x="2614" y="602606"/>
                  </a:cubicBezTo>
                  <a:cubicBezTo>
                    <a:pt x="2185" y="603999"/>
                    <a:pt x="1833" y="605131"/>
                    <a:pt x="1995" y="605609"/>
                  </a:cubicBezTo>
                  <a:cubicBezTo>
                    <a:pt x="2213" y="606263"/>
                    <a:pt x="2164" y="606777"/>
                    <a:pt x="2093" y="607494"/>
                  </a:cubicBezTo>
                  <a:cubicBezTo>
                    <a:pt x="2044" y="607937"/>
                    <a:pt x="1995" y="608458"/>
                    <a:pt x="1995" y="609126"/>
                  </a:cubicBezTo>
                  <a:lnTo>
                    <a:pt x="1995" y="613697"/>
                  </a:lnTo>
                  <a:lnTo>
                    <a:pt x="3753" y="617565"/>
                  </a:lnTo>
                  <a:close/>
                  <a:moveTo>
                    <a:pt x="7621" y="547235"/>
                  </a:moveTo>
                  <a:cubicBezTo>
                    <a:pt x="7621" y="547587"/>
                    <a:pt x="15709" y="552158"/>
                    <a:pt x="15709" y="551455"/>
                  </a:cubicBezTo>
                  <a:cubicBezTo>
                    <a:pt x="16996" y="551455"/>
                    <a:pt x="19929" y="550962"/>
                    <a:pt x="21336" y="548993"/>
                  </a:cubicBezTo>
                  <a:cubicBezTo>
                    <a:pt x="22426" y="547474"/>
                    <a:pt x="22567" y="546757"/>
                    <a:pt x="22771" y="545765"/>
                  </a:cubicBezTo>
                  <a:cubicBezTo>
                    <a:pt x="22897" y="545160"/>
                    <a:pt x="23045" y="544443"/>
                    <a:pt x="23446" y="543367"/>
                  </a:cubicBezTo>
                  <a:cubicBezTo>
                    <a:pt x="23797" y="542431"/>
                    <a:pt x="24269" y="541573"/>
                    <a:pt x="24733" y="540708"/>
                  </a:cubicBezTo>
                  <a:lnTo>
                    <a:pt x="24733" y="540708"/>
                  </a:lnTo>
                  <a:cubicBezTo>
                    <a:pt x="25675" y="538992"/>
                    <a:pt x="26611" y="537269"/>
                    <a:pt x="26611" y="534927"/>
                  </a:cubicBezTo>
                  <a:lnTo>
                    <a:pt x="26611" y="526839"/>
                  </a:lnTo>
                  <a:cubicBezTo>
                    <a:pt x="26611" y="524778"/>
                    <a:pt x="27335" y="522478"/>
                    <a:pt x="27933" y="520573"/>
                  </a:cubicBezTo>
                  <a:cubicBezTo>
                    <a:pt x="28362" y="519222"/>
                    <a:pt x="28721" y="518076"/>
                    <a:pt x="28721" y="517344"/>
                  </a:cubicBezTo>
                  <a:cubicBezTo>
                    <a:pt x="28721" y="516508"/>
                    <a:pt x="29199" y="514468"/>
                    <a:pt x="29705" y="512330"/>
                  </a:cubicBezTo>
                  <a:cubicBezTo>
                    <a:pt x="30254" y="509995"/>
                    <a:pt x="30830" y="507547"/>
                    <a:pt x="30830" y="506443"/>
                  </a:cubicBezTo>
                  <a:lnTo>
                    <a:pt x="30830" y="498707"/>
                  </a:lnTo>
                  <a:cubicBezTo>
                    <a:pt x="30830" y="497905"/>
                    <a:pt x="30387" y="496063"/>
                    <a:pt x="29909" y="494072"/>
                  </a:cubicBezTo>
                  <a:cubicBezTo>
                    <a:pt x="29339" y="491716"/>
                    <a:pt x="28721" y="489142"/>
                    <a:pt x="28721" y="487806"/>
                  </a:cubicBezTo>
                  <a:cubicBezTo>
                    <a:pt x="28721" y="486104"/>
                    <a:pt x="27884" y="485914"/>
                    <a:pt x="26554" y="485611"/>
                  </a:cubicBezTo>
                  <a:cubicBezTo>
                    <a:pt x="25957" y="485478"/>
                    <a:pt x="25260" y="485316"/>
                    <a:pt x="24501" y="484992"/>
                  </a:cubicBezTo>
                  <a:cubicBezTo>
                    <a:pt x="22039" y="483937"/>
                    <a:pt x="15709" y="497300"/>
                    <a:pt x="15709" y="498707"/>
                  </a:cubicBezTo>
                  <a:cubicBezTo>
                    <a:pt x="15709" y="499234"/>
                    <a:pt x="15857" y="500212"/>
                    <a:pt x="16047" y="501429"/>
                  </a:cubicBezTo>
                  <a:cubicBezTo>
                    <a:pt x="16356" y="503454"/>
                    <a:pt x="16764" y="506141"/>
                    <a:pt x="16764" y="508553"/>
                  </a:cubicBezTo>
                  <a:lnTo>
                    <a:pt x="16764" y="515938"/>
                  </a:lnTo>
                  <a:cubicBezTo>
                    <a:pt x="16764" y="517527"/>
                    <a:pt x="16617" y="518667"/>
                    <a:pt x="16483" y="519658"/>
                  </a:cubicBezTo>
                  <a:cubicBezTo>
                    <a:pt x="16272" y="521304"/>
                    <a:pt x="16110" y="522535"/>
                    <a:pt x="16764" y="524729"/>
                  </a:cubicBezTo>
                  <a:cubicBezTo>
                    <a:pt x="17601" y="527514"/>
                    <a:pt x="16448" y="528316"/>
                    <a:pt x="14887" y="529399"/>
                  </a:cubicBezTo>
                  <a:lnTo>
                    <a:pt x="14887" y="529399"/>
                  </a:lnTo>
                  <a:cubicBezTo>
                    <a:pt x="14479" y="529687"/>
                    <a:pt x="14036" y="529990"/>
                    <a:pt x="13599" y="530356"/>
                  </a:cubicBezTo>
                  <a:cubicBezTo>
                    <a:pt x="12333" y="531411"/>
                    <a:pt x="11827" y="533225"/>
                    <a:pt x="11321" y="535040"/>
                  </a:cubicBezTo>
                  <a:cubicBezTo>
                    <a:pt x="10983" y="536249"/>
                    <a:pt x="10646" y="537459"/>
                    <a:pt x="10083" y="538444"/>
                  </a:cubicBezTo>
                  <a:cubicBezTo>
                    <a:pt x="8958" y="540413"/>
                    <a:pt x="4224" y="547938"/>
                    <a:pt x="1995" y="551455"/>
                  </a:cubicBezTo>
                  <a:cubicBezTo>
                    <a:pt x="3873" y="549929"/>
                    <a:pt x="7621" y="546954"/>
                    <a:pt x="7621" y="547235"/>
                  </a:cubicBezTo>
                  <a:close/>
                  <a:moveTo>
                    <a:pt x="20281" y="465652"/>
                  </a:moveTo>
                  <a:cubicBezTo>
                    <a:pt x="20808" y="463717"/>
                    <a:pt x="21336" y="461783"/>
                    <a:pt x="21336" y="461080"/>
                  </a:cubicBezTo>
                  <a:cubicBezTo>
                    <a:pt x="21336" y="460553"/>
                    <a:pt x="21631" y="459870"/>
                    <a:pt x="22004" y="459026"/>
                  </a:cubicBezTo>
                  <a:cubicBezTo>
                    <a:pt x="22623" y="457620"/>
                    <a:pt x="23446" y="455756"/>
                    <a:pt x="23446" y="453344"/>
                  </a:cubicBezTo>
                  <a:cubicBezTo>
                    <a:pt x="23446" y="449475"/>
                    <a:pt x="23797" y="443849"/>
                    <a:pt x="24149" y="442794"/>
                  </a:cubicBezTo>
                  <a:cubicBezTo>
                    <a:pt x="24501" y="441739"/>
                    <a:pt x="29072" y="441387"/>
                    <a:pt x="30830" y="442794"/>
                  </a:cubicBezTo>
                  <a:cubicBezTo>
                    <a:pt x="31267" y="443146"/>
                    <a:pt x="31731" y="443455"/>
                    <a:pt x="32174" y="443750"/>
                  </a:cubicBezTo>
                  <a:cubicBezTo>
                    <a:pt x="33510" y="444644"/>
                    <a:pt x="34699" y="445431"/>
                    <a:pt x="34699" y="447014"/>
                  </a:cubicBezTo>
                  <a:cubicBezTo>
                    <a:pt x="34699" y="447717"/>
                    <a:pt x="34931" y="448653"/>
                    <a:pt x="35170" y="449595"/>
                  </a:cubicBezTo>
                  <a:cubicBezTo>
                    <a:pt x="35634" y="451466"/>
                    <a:pt x="36105" y="453344"/>
                    <a:pt x="34699" y="453344"/>
                  </a:cubicBezTo>
                  <a:cubicBezTo>
                    <a:pt x="32589" y="453344"/>
                    <a:pt x="29072" y="455102"/>
                    <a:pt x="29072" y="456509"/>
                  </a:cubicBezTo>
                  <a:cubicBezTo>
                    <a:pt x="29072" y="456966"/>
                    <a:pt x="28889" y="457275"/>
                    <a:pt x="28699" y="457592"/>
                  </a:cubicBezTo>
                  <a:cubicBezTo>
                    <a:pt x="28298" y="458246"/>
                    <a:pt x="27884" y="458942"/>
                    <a:pt x="29072" y="461080"/>
                  </a:cubicBezTo>
                  <a:cubicBezTo>
                    <a:pt x="30830" y="464245"/>
                    <a:pt x="30830" y="465652"/>
                    <a:pt x="30830" y="467058"/>
                  </a:cubicBezTo>
                  <a:cubicBezTo>
                    <a:pt x="30830" y="467501"/>
                    <a:pt x="31006" y="468057"/>
                    <a:pt x="31189" y="468634"/>
                  </a:cubicBezTo>
                  <a:cubicBezTo>
                    <a:pt x="31590" y="469885"/>
                    <a:pt x="32033" y="471264"/>
                    <a:pt x="30830" y="471981"/>
                  </a:cubicBezTo>
                  <a:cubicBezTo>
                    <a:pt x="30176" y="472375"/>
                    <a:pt x="29761" y="472867"/>
                    <a:pt x="29375" y="473332"/>
                  </a:cubicBezTo>
                  <a:cubicBezTo>
                    <a:pt x="28728" y="474105"/>
                    <a:pt x="28151" y="474794"/>
                    <a:pt x="26611" y="474794"/>
                  </a:cubicBezTo>
                  <a:lnTo>
                    <a:pt x="21336" y="474794"/>
                  </a:lnTo>
                  <a:cubicBezTo>
                    <a:pt x="19648" y="474794"/>
                    <a:pt x="19226" y="471749"/>
                    <a:pt x="19226" y="470223"/>
                  </a:cubicBezTo>
                  <a:cubicBezTo>
                    <a:pt x="19226" y="469520"/>
                    <a:pt x="19753" y="467586"/>
                    <a:pt x="20281" y="46565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1" name="Freihandform: Form 36">
              <a:extLst>
                <a:ext uri="{FF2B5EF4-FFF2-40B4-BE49-F238E27FC236}">
                  <a16:creationId xmlns:a16="http://schemas.microsoft.com/office/drawing/2014/main" id="{B41A4B3F-4E19-6C48-B89C-A55DBB887953}"/>
                </a:ext>
              </a:extLst>
            </p:cNvPr>
            <p:cNvSpPr/>
            <p:nvPr/>
          </p:nvSpPr>
          <p:spPr>
            <a:xfrm>
              <a:off x="3981942" y="2771286"/>
              <a:ext cx="1316580" cy="1034088"/>
            </a:xfrm>
            <a:custGeom>
              <a:avLst/>
              <a:gdLst>
                <a:gd name="connsiteX0" fmla="*/ 1179640 w 1316580"/>
                <a:gd name="connsiteY0" fmla="*/ 957761 h 1034088"/>
                <a:gd name="connsiteX1" fmla="*/ 1132041 w 1316580"/>
                <a:gd name="connsiteY1" fmla="*/ 961102 h 1034088"/>
                <a:gd name="connsiteX2" fmla="*/ 1122855 w 1316580"/>
                <a:gd name="connsiteY2" fmla="*/ 952163 h 1034088"/>
                <a:gd name="connsiteX3" fmla="*/ 1122855 w 1316580"/>
                <a:gd name="connsiteY3" fmla="*/ 921857 h 1034088"/>
                <a:gd name="connsiteX4" fmla="*/ 1115344 w 1316580"/>
                <a:gd name="connsiteY4" fmla="*/ 916611 h 1034088"/>
                <a:gd name="connsiteX5" fmla="*/ 1102818 w 1316580"/>
                <a:gd name="connsiteY5" fmla="*/ 914339 h 1034088"/>
                <a:gd name="connsiteX6" fmla="*/ 1086952 w 1316580"/>
                <a:gd name="connsiteY6" fmla="*/ 926865 h 1034088"/>
                <a:gd name="connsiteX7" fmla="*/ 1082781 w 1316580"/>
                <a:gd name="connsiteY7" fmla="*/ 941065 h 1034088"/>
                <a:gd name="connsiteX8" fmla="*/ 1076100 w 1316580"/>
                <a:gd name="connsiteY8" fmla="*/ 956094 h 1034088"/>
                <a:gd name="connsiteX9" fmla="*/ 1064411 w 1316580"/>
                <a:gd name="connsiteY9" fmla="*/ 964443 h 1034088"/>
                <a:gd name="connsiteX10" fmla="*/ 1012633 w 1316580"/>
                <a:gd name="connsiteY10" fmla="*/ 964443 h 1034088"/>
                <a:gd name="connsiteX11" fmla="*/ 983411 w 1316580"/>
                <a:gd name="connsiteY11" fmla="*/ 992835 h 1034088"/>
                <a:gd name="connsiteX12" fmla="*/ 951678 w 1316580"/>
                <a:gd name="connsiteY12" fmla="*/ 997006 h 1034088"/>
                <a:gd name="connsiteX13" fmla="*/ 950011 w 1316580"/>
                <a:gd name="connsiteY13" fmla="*/ 1011205 h 1034088"/>
                <a:gd name="connsiteX14" fmla="*/ 925796 w 1316580"/>
                <a:gd name="connsiteY14" fmla="*/ 1019554 h 1034088"/>
                <a:gd name="connsiteX15" fmla="*/ 913270 w 1316580"/>
                <a:gd name="connsiteY15" fmla="*/ 1024561 h 1034088"/>
                <a:gd name="connsiteX16" fmla="*/ 894900 w 1316580"/>
                <a:gd name="connsiteY16" fmla="*/ 1033746 h 1034088"/>
                <a:gd name="connsiteX17" fmla="*/ 889056 w 1316580"/>
                <a:gd name="connsiteY17" fmla="*/ 1024561 h 1034088"/>
                <a:gd name="connsiteX18" fmla="*/ 898241 w 1316580"/>
                <a:gd name="connsiteY18" fmla="*/ 1006191 h 1034088"/>
                <a:gd name="connsiteX19" fmla="*/ 900744 w 1316580"/>
                <a:gd name="connsiteY19" fmla="*/ 986991 h 1034088"/>
                <a:gd name="connsiteX20" fmla="*/ 896567 w 1316580"/>
                <a:gd name="connsiteY20" fmla="*/ 964443 h 1034088"/>
                <a:gd name="connsiteX21" fmla="*/ 863167 w 1316580"/>
                <a:gd name="connsiteY21" fmla="*/ 931043 h 1034088"/>
                <a:gd name="connsiteX22" fmla="*/ 836448 w 1316580"/>
                <a:gd name="connsiteY22" fmla="*/ 907665 h 1034088"/>
                <a:gd name="connsiteX23" fmla="*/ 806389 w 1316580"/>
                <a:gd name="connsiteY23" fmla="*/ 893465 h 1034088"/>
                <a:gd name="connsiteX24" fmla="*/ 793026 w 1316580"/>
                <a:gd name="connsiteY24" fmla="*/ 895139 h 1034088"/>
                <a:gd name="connsiteX25" fmla="*/ 768811 w 1316580"/>
                <a:gd name="connsiteY25" fmla="*/ 895139 h 1034088"/>
                <a:gd name="connsiteX26" fmla="*/ 746263 w 1316580"/>
                <a:gd name="connsiteY26" fmla="*/ 890961 h 1034088"/>
                <a:gd name="connsiteX27" fmla="*/ 720382 w 1316580"/>
                <a:gd name="connsiteY27" fmla="*/ 884280 h 1034088"/>
                <a:gd name="connsiteX28" fmla="*/ 710360 w 1316580"/>
                <a:gd name="connsiteY28" fmla="*/ 877598 h 1034088"/>
                <a:gd name="connsiteX29" fmla="*/ 704515 w 1316580"/>
                <a:gd name="connsiteY29" fmla="*/ 865073 h 1034088"/>
                <a:gd name="connsiteX30" fmla="*/ 700338 w 1316580"/>
                <a:gd name="connsiteY30" fmla="*/ 874258 h 1034088"/>
                <a:gd name="connsiteX31" fmla="*/ 292856 w 1316580"/>
                <a:gd name="connsiteY31" fmla="*/ 874258 h 1034088"/>
                <a:gd name="connsiteX32" fmla="*/ 276990 w 1316580"/>
                <a:gd name="connsiteY32" fmla="*/ 874258 h 1034088"/>
                <a:gd name="connsiteX33" fmla="*/ 259449 w 1316580"/>
                <a:gd name="connsiteY33" fmla="*/ 859228 h 1034088"/>
                <a:gd name="connsiteX34" fmla="*/ 248597 w 1316580"/>
                <a:gd name="connsiteY34" fmla="*/ 849213 h 1034088"/>
                <a:gd name="connsiteX35" fmla="*/ 235235 w 1316580"/>
                <a:gd name="connsiteY35" fmla="*/ 840858 h 1034088"/>
                <a:gd name="connsiteX36" fmla="*/ 212694 w 1316580"/>
                <a:gd name="connsiteY36" fmla="*/ 837517 h 1034088"/>
                <a:gd name="connsiteX37" fmla="*/ 203508 w 1316580"/>
                <a:gd name="connsiteY37" fmla="*/ 831673 h 1034088"/>
                <a:gd name="connsiteX38" fmla="*/ 183464 w 1316580"/>
                <a:gd name="connsiteY38" fmla="*/ 795769 h 1034088"/>
                <a:gd name="connsiteX39" fmla="*/ 169272 w 1316580"/>
                <a:gd name="connsiteY39" fmla="*/ 768213 h 1034088"/>
                <a:gd name="connsiteX40" fmla="*/ 158279 w 1316580"/>
                <a:gd name="connsiteY40" fmla="*/ 731473 h 1034088"/>
                <a:gd name="connsiteX41" fmla="*/ 152568 w 1316580"/>
                <a:gd name="connsiteY41" fmla="*/ 692228 h 1034088"/>
                <a:gd name="connsiteX42" fmla="*/ 120005 w 1316580"/>
                <a:gd name="connsiteY42" fmla="*/ 636337 h 1034088"/>
                <a:gd name="connsiteX43" fmla="*/ 84931 w 1316580"/>
                <a:gd name="connsiteY43" fmla="*/ 592028 h 1034088"/>
                <a:gd name="connsiteX44" fmla="*/ 54038 w 1316580"/>
                <a:gd name="connsiteY44" fmla="*/ 615575 h 1034088"/>
                <a:gd name="connsiteX45" fmla="*/ 36503 w 1316580"/>
                <a:gd name="connsiteY45" fmla="*/ 592028 h 1034088"/>
                <a:gd name="connsiteX46" fmla="*/ 24813 w 1316580"/>
                <a:gd name="connsiteY46" fmla="*/ 579503 h 1034088"/>
                <a:gd name="connsiteX47" fmla="*/ 0 w 1316580"/>
                <a:gd name="connsiteY47" fmla="*/ 572821 h 1034088"/>
                <a:gd name="connsiteX48" fmla="*/ 0 w 1316580"/>
                <a:gd name="connsiteY48" fmla="*/ 229559 h 1034088"/>
                <a:gd name="connsiteX49" fmla="*/ 43872 w 1316580"/>
                <a:gd name="connsiteY49" fmla="*/ 241065 h 1034088"/>
                <a:gd name="connsiteX50" fmla="*/ 69304 w 1316580"/>
                <a:gd name="connsiteY50" fmla="*/ 241065 h 1034088"/>
                <a:gd name="connsiteX51" fmla="*/ 69304 w 1316580"/>
                <a:gd name="connsiteY51" fmla="*/ 229559 h 1034088"/>
                <a:gd name="connsiteX52" fmla="*/ 93547 w 1316580"/>
                <a:gd name="connsiteY52" fmla="*/ 229559 h 1034088"/>
                <a:gd name="connsiteX53" fmla="*/ 106291 w 1316580"/>
                <a:gd name="connsiteY53" fmla="*/ 220254 h 1034088"/>
                <a:gd name="connsiteX54" fmla="*/ 152477 w 1316580"/>
                <a:gd name="connsiteY54" fmla="*/ 205084 h 1034088"/>
                <a:gd name="connsiteX55" fmla="*/ 140914 w 1316580"/>
                <a:gd name="connsiteY55" fmla="*/ 220254 h 1034088"/>
                <a:gd name="connsiteX56" fmla="*/ 106291 w 1316580"/>
                <a:gd name="connsiteY56" fmla="*/ 241065 h 1034088"/>
                <a:gd name="connsiteX57" fmla="*/ 106291 w 1316580"/>
                <a:gd name="connsiteY57" fmla="*/ 258655 h 1034088"/>
                <a:gd name="connsiteX58" fmla="*/ 140914 w 1316580"/>
                <a:gd name="connsiteY58" fmla="*/ 229559 h 1034088"/>
                <a:gd name="connsiteX59" fmla="*/ 169841 w 1316580"/>
                <a:gd name="connsiteY59" fmla="*/ 214283 h 1034088"/>
                <a:gd name="connsiteX60" fmla="*/ 181404 w 1316580"/>
                <a:gd name="connsiteY60" fmla="*/ 205084 h 1034088"/>
                <a:gd name="connsiteX61" fmla="*/ 196398 w 1316580"/>
                <a:gd name="connsiteY61" fmla="*/ 178675 h 1034088"/>
                <a:gd name="connsiteX62" fmla="*/ 210113 w 1316580"/>
                <a:gd name="connsiteY62" fmla="*/ 205084 h 1034088"/>
                <a:gd name="connsiteX63" fmla="*/ 228497 w 1316580"/>
                <a:gd name="connsiteY63" fmla="*/ 205084 h 1034088"/>
                <a:gd name="connsiteX64" fmla="*/ 243766 w 1316580"/>
                <a:gd name="connsiteY64" fmla="*/ 214283 h 1034088"/>
                <a:gd name="connsiteX65" fmla="*/ 243766 w 1316580"/>
                <a:gd name="connsiteY65" fmla="*/ 229559 h 1034088"/>
                <a:gd name="connsiteX66" fmla="*/ 262101 w 1316580"/>
                <a:gd name="connsiteY66" fmla="*/ 214283 h 1034088"/>
                <a:gd name="connsiteX67" fmla="*/ 292744 w 1316580"/>
                <a:gd name="connsiteY67" fmla="*/ 214283 h 1034088"/>
                <a:gd name="connsiteX68" fmla="*/ 309574 w 1316580"/>
                <a:gd name="connsiteY68" fmla="*/ 229559 h 1034088"/>
                <a:gd name="connsiteX69" fmla="*/ 337101 w 1316580"/>
                <a:gd name="connsiteY69" fmla="*/ 258655 h 1034088"/>
                <a:gd name="connsiteX70" fmla="*/ 393661 w 1316580"/>
                <a:gd name="connsiteY70" fmla="*/ 267854 h 1034088"/>
                <a:gd name="connsiteX71" fmla="*/ 384525 w 1316580"/>
                <a:gd name="connsiteY71" fmla="*/ 277749 h 1034088"/>
                <a:gd name="connsiteX72" fmla="*/ 384525 w 1316580"/>
                <a:gd name="connsiteY72" fmla="*/ 296577 h 1034088"/>
                <a:gd name="connsiteX73" fmla="*/ 404415 w 1316580"/>
                <a:gd name="connsiteY73" fmla="*/ 303026 h 1034088"/>
                <a:gd name="connsiteX74" fmla="*/ 445706 w 1316580"/>
                <a:gd name="connsiteY74" fmla="*/ 296577 h 1034088"/>
                <a:gd name="connsiteX75" fmla="*/ 480871 w 1316580"/>
                <a:gd name="connsiteY75" fmla="*/ 310664 h 1034088"/>
                <a:gd name="connsiteX76" fmla="*/ 505388 w 1316580"/>
                <a:gd name="connsiteY76" fmla="*/ 344655 h 1034088"/>
                <a:gd name="connsiteX77" fmla="*/ 505388 w 1316580"/>
                <a:gd name="connsiteY77" fmla="*/ 329063 h 1034088"/>
                <a:gd name="connsiteX78" fmla="*/ 505388 w 1316580"/>
                <a:gd name="connsiteY78" fmla="*/ 310664 h 1034088"/>
                <a:gd name="connsiteX79" fmla="*/ 572702 w 1316580"/>
                <a:gd name="connsiteY79" fmla="*/ 296577 h 1034088"/>
                <a:gd name="connsiteX80" fmla="*/ 621624 w 1316580"/>
                <a:gd name="connsiteY80" fmla="*/ 296577 h 1034088"/>
                <a:gd name="connsiteX81" fmla="*/ 646085 w 1316580"/>
                <a:gd name="connsiteY81" fmla="*/ 303026 h 1034088"/>
                <a:gd name="connsiteX82" fmla="*/ 658343 w 1316580"/>
                <a:gd name="connsiteY82" fmla="*/ 296577 h 1034088"/>
                <a:gd name="connsiteX83" fmla="*/ 667535 w 1316580"/>
                <a:gd name="connsiteY83" fmla="*/ 277749 h 1034088"/>
                <a:gd name="connsiteX84" fmla="*/ 639959 w 1316580"/>
                <a:gd name="connsiteY84" fmla="*/ 258655 h 1034088"/>
                <a:gd name="connsiteX85" fmla="*/ 639959 w 1316580"/>
                <a:gd name="connsiteY85" fmla="*/ 229559 h 1034088"/>
                <a:gd name="connsiteX86" fmla="*/ 667535 w 1316580"/>
                <a:gd name="connsiteY86" fmla="*/ 214283 h 1034088"/>
                <a:gd name="connsiteX87" fmla="*/ 679745 w 1316580"/>
                <a:gd name="connsiteY87" fmla="*/ 214283 h 1034088"/>
                <a:gd name="connsiteX88" fmla="*/ 688937 w 1316580"/>
                <a:gd name="connsiteY88" fmla="*/ 241817 h 1034088"/>
                <a:gd name="connsiteX89" fmla="*/ 679745 w 1316580"/>
                <a:gd name="connsiteY89" fmla="*/ 277749 h 1034088"/>
                <a:gd name="connsiteX90" fmla="*/ 688937 w 1316580"/>
                <a:gd name="connsiteY90" fmla="*/ 310664 h 1034088"/>
                <a:gd name="connsiteX91" fmla="*/ 708292 w 1316580"/>
                <a:gd name="connsiteY91" fmla="*/ 277749 h 1034088"/>
                <a:gd name="connsiteX92" fmla="*/ 718778 w 1316580"/>
                <a:gd name="connsiteY92" fmla="*/ 258655 h 1034088"/>
                <a:gd name="connsiteX93" fmla="*/ 708292 w 1316580"/>
                <a:gd name="connsiteY93" fmla="*/ 229559 h 1034088"/>
                <a:gd name="connsiteX94" fmla="*/ 688937 w 1316580"/>
                <a:gd name="connsiteY94" fmla="*/ 214283 h 1034088"/>
                <a:gd name="connsiteX95" fmla="*/ 679745 w 1316580"/>
                <a:gd name="connsiteY95" fmla="*/ 177542 h 1034088"/>
                <a:gd name="connsiteX96" fmla="*/ 679745 w 1316580"/>
                <a:gd name="connsiteY96" fmla="*/ 163779 h 1034088"/>
                <a:gd name="connsiteX97" fmla="*/ 688937 w 1316580"/>
                <a:gd name="connsiteY97" fmla="*/ 127038 h 1034088"/>
                <a:gd name="connsiteX98" fmla="*/ 701196 w 1316580"/>
                <a:gd name="connsiteY98" fmla="*/ 93371 h 1034088"/>
                <a:gd name="connsiteX99" fmla="*/ 701196 w 1316580"/>
                <a:gd name="connsiteY99" fmla="*/ 65836 h 1034088"/>
                <a:gd name="connsiteX100" fmla="*/ 708292 w 1316580"/>
                <a:gd name="connsiteY100" fmla="*/ 47438 h 1034088"/>
                <a:gd name="connsiteX101" fmla="*/ 708292 w 1316580"/>
                <a:gd name="connsiteY101" fmla="*/ 21458 h 1034088"/>
                <a:gd name="connsiteX102" fmla="*/ 708292 w 1316580"/>
                <a:gd name="connsiteY102" fmla="*/ 0 h 1034088"/>
                <a:gd name="connsiteX103" fmla="*/ 731789 w 1316580"/>
                <a:gd name="connsiteY103" fmla="*/ 0 h 1034088"/>
                <a:gd name="connsiteX104" fmla="*/ 754316 w 1316580"/>
                <a:gd name="connsiteY104" fmla="*/ 6133 h 1034088"/>
                <a:gd name="connsiteX105" fmla="*/ 766842 w 1316580"/>
                <a:gd name="connsiteY105" fmla="*/ 21458 h 1034088"/>
                <a:gd name="connsiteX106" fmla="*/ 754316 w 1316580"/>
                <a:gd name="connsiteY106" fmla="*/ 47438 h 1034088"/>
                <a:gd name="connsiteX107" fmla="*/ 737592 w 1316580"/>
                <a:gd name="connsiteY107" fmla="*/ 71962 h 1034088"/>
                <a:gd name="connsiteX108" fmla="*/ 718778 w 1316580"/>
                <a:gd name="connsiteY108" fmla="*/ 93371 h 1034088"/>
                <a:gd name="connsiteX109" fmla="*/ 727112 w 1316580"/>
                <a:gd name="connsiteY109" fmla="*/ 127038 h 1034088"/>
                <a:gd name="connsiteX110" fmla="*/ 743830 w 1316580"/>
                <a:gd name="connsiteY110" fmla="*/ 163779 h 1034088"/>
                <a:gd name="connsiteX111" fmla="*/ 743830 w 1316580"/>
                <a:gd name="connsiteY111" fmla="*/ 194380 h 1034088"/>
                <a:gd name="connsiteX112" fmla="*/ 743830 w 1316580"/>
                <a:gd name="connsiteY112" fmla="*/ 214283 h 1034088"/>
                <a:gd name="connsiteX113" fmla="*/ 743830 w 1316580"/>
                <a:gd name="connsiteY113" fmla="*/ 229559 h 1034088"/>
                <a:gd name="connsiteX114" fmla="*/ 766842 w 1316580"/>
                <a:gd name="connsiteY114" fmla="*/ 229559 h 1034088"/>
                <a:gd name="connsiteX115" fmla="*/ 775176 w 1316580"/>
                <a:gd name="connsiteY115" fmla="*/ 267854 h 1034088"/>
                <a:gd name="connsiteX116" fmla="*/ 795066 w 1316580"/>
                <a:gd name="connsiteY116" fmla="*/ 241817 h 1034088"/>
                <a:gd name="connsiteX117" fmla="*/ 820125 w 1316580"/>
                <a:gd name="connsiteY117" fmla="*/ 267854 h 1034088"/>
                <a:gd name="connsiteX118" fmla="*/ 811790 w 1316580"/>
                <a:gd name="connsiteY118" fmla="*/ 310664 h 1034088"/>
                <a:gd name="connsiteX119" fmla="*/ 830604 w 1316580"/>
                <a:gd name="connsiteY119" fmla="*/ 320616 h 1034088"/>
                <a:gd name="connsiteX120" fmla="*/ 842110 w 1316580"/>
                <a:gd name="connsiteY120" fmla="*/ 296577 h 1034088"/>
                <a:gd name="connsiteX121" fmla="*/ 842110 w 1316580"/>
                <a:gd name="connsiteY121" fmla="*/ 267854 h 1034088"/>
                <a:gd name="connsiteX122" fmla="*/ 851091 w 1316580"/>
                <a:gd name="connsiteY122" fmla="*/ 229559 h 1034088"/>
                <a:gd name="connsiteX123" fmla="*/ 897488 w 1316580"/>
                <a:gd name="connsiteY123" fmla="*/ 229559 h 1034088"/>
                <a:gd name="connsiteX124" fmla="*/ 913137 w 1316580"/>
                <a:gd name="connsiteY124" fmla="*/ 277749 h 1034088"/>
                <a:gd name="connsiteX125" fmla="*/ 913137 w 1316580"/>
                <a:gd name="connsiteY125" fmla="*/ 296577 h 1034088"/>
                <a:gd name="connsiteX126" fmla="*/ 913137 w 1316580"/>
                <a:gd name="connsiteY126" fmla="*/ 320616 h 1034088"/>
                <a:gd name="connsiteX127" fmla="*/ 900604 w 1316580"/>
                <a:gd name="connsiteY127" fmla="*/ 344655 h 1034088"/>
                <a:gd name="connsiteX128" fmla="*/ 877599 w 1316580"/>
                <a:gd name="connsiteY128" fmla="*/ 357244 h 1034088"/>
                <a:gd name="connsiteX129" fmla="*/ 830604 w 1316580"/>
                <a:gd name="connsiteY129" fmla="*/ 366654 h 1034088"/>
                <a:gd name="connsiteX130" fmla="*/ 820125 w 1316580"/>
                <a:gd name="connsiteY130" fmla="*/ 424149 h 1034088"/>
                <a:gd name="connsiteX131" fmla="*/ 803400 w 1316580"/>
                <a:gd name="connsiteY131" fmla="*/ 440881 h 1034088"/>
                <a:gd name="connsiteX132" fmla="*/ 795066 w 1316580"/>
                <a:gd name="connsiteY132" fmla="*/ 440881 h 1034088"/>
                <a:gd name="connsiteX133" fmla="*/ 766842 w 1316580"/>
                <a:gd name="connsiteY133" fmla="*/ 468043 h 1034088"/>
                <a:gd name="connsiteX134" fmla="*/ 743830 w 1316580"/>
                <a:gd name="connsiteY134" fmla="*/ 498376 h 1034088"/>
                <a:gd name="connsiteX135" fmla="*/ 743267 w 1316580"/>
                <a:gd name="connsiteY135" fmla="*/ 499283 h 1034088"/>
                <a:gd name="connsiteX136" fmla="*/ 727112 w 1316580"/>
                <a:gd name="connsiteY136" fmla="*/ 526614 h 1034088"/>
                <a:gd name="connsiteX137" fmla="*/ 718778 w 1316580"/>
                <a:gd name="connsiteY137" fmla="*/ 547537 h 1034088"/>
                <a:gd name="connsiteX138" fmla="*/ 708292 w 1316580"/>
                <a:gd name="connsiteY138" fmla="*/ 564262 h 1034088"/>
                <a:gd name="connsiteX139" fmla="*/ 708292 w 1316580"/>
                <a:gd name="connsiteY139" fmla="*/ 586212 h 1034088"/>
                <a:gd name="connsiteX140" fmla="*/ 708292 w 1316580"/>
                <a:gd name="connsiteY140" fmla="*/ 606052 h 1034088"/>
                <a:gd name="connsiteX141" fmla="*/ 727112 w 1316580"/>
                <a:gd name="connsiteY141" fmla="*/ 616546 h 1034088"/>
                <a:gd name="connsiteX142" fmla="*/ 727112 w 1316580"/>
                <a:gd name="connsiteY142" fmla="*/ 639508 h 1034088"/>
                <a:gd name="connsiteX143" fmla="*/ 737592 w 1316580"/>
                <a:gd name="connsiteY143" fmla="*/ 665650 h 1034088"/>
                <a:gd name="connsiteX144" fmla="*/ 754316 w 1316580"/>
                <a:gd name="connsiteY144" fmla="*/ 665650 h 1034088"/>
                <a:gd name="connsiteX145" fmla="*/ 775176 w 1316580"/>
                <a:gd name="connsiteY145" fmla="*/ 657316 h 1034088"/>
                <a:gd name="connsiteX146" fmla="*/ 795066 w 1316580"/>
                <a:gd name="connsiteY146" fmla="*/ 671945 h 1034088"/>
                <a:gd name="connsiteX147" fmla="*/ 811790 w 1316580"/>
                <a:gd name="connsiteY147" fmla="*/ 681355 h 1034088"/>
                <a:gd name="connsiteX148" fmla="*/ 842110 w 1316580"/>
                <a:gd name="connsiteY148" fmla="*/ 708517 h 1034088"/>
                <a:gd name="connsiteX149" fmla="*/ 869264 w 1316580"/>
                <a:gd name="connsiteY149" fmla="*/ 716907 h 1034088"/>
                <a:gd name="connsiteX150" fmla="*/ 891200 w 1316580"/>
                <a:gd name="connsiteY150" fmla="*/ 716907 h 1034088"/>
                <a:gd name="connsiteX151" fmla="*/ 897488 w 1316580"/>
                <a:gd name="connsiteY151" fmla="*/ 738850 h 1034088"/>
                <a:gd name="connsiteX152" fmla="*/ 897488 w 1316580"/>
                <a:gd name="connsiteY152" fmla="*/ 758698 h 1034088"/>
                <a:gd name="connsiteX153" fmla="*/ 904802 w 1316580"/>
                <a:gd name="connsiteY153" fmla="*/ 793230 h 1034088"/>
                <a:gd name="connsiteX154" fmla="*/ 918404 w 1316580"/>
                <a:gd name="connsiteY154" fmla="*/ 802640 h 1034088"/>
                <a:gd name="connsiteX155" fmla="*/ 942436 w 1316580"/>
                <a:gd name="connsiteY155" fmla="*/ 820392 h 1034088"/>
                <a:gd name="connsiteX156" fmla="*/ 950771 w 1316580"/>
                <a:gd name="connsiteY156" fmla="*/ 808935 h 1034088"/>
                <a:gd name="connsiteX157" fmla="*/ 950771 w 1316580"/>
                <a:gd name="connsiteY157" fmla="*/ 786935 h 1034088"/>
                <a:gd name="connsiteX158" fmla="*/ 950771 w 1316580"/>
                <a:gd name="connsiteY158" fmla="*/ 758698 h 1034088"/>
                <a:gd name="connsiteX159" fmla="*/ 950771 w 1316580"/>
                <a:gd name="connsiteY159" fmla="*/ 730516 h 1034088"/>
                <a:gd name="connsiteX160" fmla="*/ 973783 w 1316580"/>
                <a:gd name="connsiteY160" fmla="*/ 716907 h 1034088"/>
                <a:gd name="connsiteX161" fmla="*/ 988404 w 1316580"/>
                <a:gd name="connsiteY161" fmla="*/ 698080 h 1034088"/>
                <a:gd name="connsiteX162" fmla="*/ 988404 w 1316580"/>
                <a:gd name="connsiteY162" fmla="*/ 671945 h 1034088"/>
                <a:gd name="connsiteX163" fmla="*/ 988404 w 1316580"/>
                <a:gd name="connsiteY163" fmla="*/ 657316 h 1034088"/>
                <a:gd name="connsiteX164" fmla="*/ 973783 w 1316580"/>
                <a:gd name="connsiteY164" fmla="*/ 639508 h 1034088"/>
                <a:gd name="connsiteX165" fmla="*/ 961257 w 1316580"/>
                <a:gd name="connsiteY165" fmla="*/ 616546 h 1034088"/>
                <a:gd name="connsiteX166" fmla="*/ 961257 w 1316580"/>
                <a:gd name="connsiteY166" fmla="*/ 606052 h 1034088"/>
                <a:gd name="connsiteX167" fmla="*/ 973783 w 1316580"/>
                <a:gd name="connsiteY167" fmla="*/ 586212 h 1034088"/>
                <a:gd name="connsiteX168" fmla="*/ 973783 w 1316580"/>
                <a:gd name="connsiteY168" fmla="*/ 554852 h 1034088"/>
                <a:gd name="connsiteX169" fmla="*/ 966468 w 1316580"/>
                <a:gd name="connsiteY169" fmla="*/ 526614 h 1034088"/>
                <a:gd name="connsiteX170" fmla="*/ 973783 w 1316580"/>
                <a:gd name="connsiteY170" fmla="*/ 498376 h 1034088"/>
                <a:gd name="connsiteX171" fmla="*/ 988404 w 1316580"/>
                <a:gd name="connsiteY171" fmla="*/ 498376 h 1034088"/>
                <a:gd name="connsiteX172" fmla="*/ 1018731 w 1316580"/>
                <a:gd name="connsiteY172" fmla="*/ 509889 h 1034088"/>
                <a:gd name="connsiteX173" fmla="*/ 1044859 w 1316580"/>
                <a:gd name="connsiteY173" fmla="*/ 509889 h 1034088"/>
                <a:gd name="connsiteX174" fmla="*/ 1060500 w 1316580"/>
                <a:gd name="connsiteY174" fmla="*/ 526614 h 1034088"/>
                <a:gd name="connsiteX175" fmla="*/ 1090827 w 1316580"/>
                <a:gd name="connsiteY175" fmla="*/ 547537 h 1034088"/>
                <a:gd name="connsiteX176" fmla="*/ 1098141 w 1316580"/>
                <a:gd name="connsiteY176" fmla="*/ 577815 h 1034088"/>
                <a:gd name="connsiteX177" fmla="*/ 1105449 w 1316580"/>
                <a:gd name="connsiteY177" fmla="*/ 608155 h 1034088"/>
                <a:gd name="connsiteX178" fmla="*/ 1124269 w 1316580"/>
                <a:gd name="connsiteY178" fmla="*/ 623860 h 1034088"/>
                <a:gd name="connsiteX179" fmla="*/ 1145178 w 1316580"/>
                <a:gd name="connsiteY179" fmla="*/ 616546 h 1034088"/>
                <a:gd name="connsiteX180" fmla="*/ 1170286 w 1316580"/>
                <a:gd name="connsiteY180" fmla="*/ 586212 h 1034088"/>
                <a:gd name="connsiteX181" fmla="*/ 1182819 w 1316580"/>
                <a:gd name="connsiteY181" fmla="*/ 586212 h 1034088"/>
                <a:gd name="connsiteX182" fmla="*/ 1207871 w 1316580"/>
                <a:gd name="connsiteY182" fmla="*/ 639508 h 1034088"/>
                <a:gd name="connsiteX183" fmla="*/ 1233999 w 1316580"/>
                <a:gd name="connsiteY183" fmla="*/ 690765 h 1034088"/>
                <a:gd name="connsiteX184" fmla="*/ 1257011 w 1316580"/>
                <a:gd name="connsiteY184" fmla="*/ 730516 h 1034088"/>
                <a:gd name="connsiteX185" fmla="*/ 1281043 w 1316580"/>
                <a:gd name="connsiteY185" fmla="*/ 751383 h 1034088"/>
                <a:gd name="connsiteX186" fmla="*/ 1302979 w 1316580"/>
                <a:gd name="connsiteY186" fmla="*/ 758698 h 1034088"/>
                <a:gd name="connsiteX187" fmla="*/ 1316581 w 1316580"/>
                <a:gd name="connsiteY187" fmla="*/ 793230 h 1034088"/>
                <a:gd name="connsiteX188" fmla="*/ 1302979 w 1316580"/>
                <a:gd name="connsiteY188" fmla="*/ 808935 h 1034088"/>
                <a:gd name="connsiteX189" fmla="*/ 1273735 w 1316580"/>
                <a:gd name="connsiteY189" fmla="*/ 820392 h 1034088"/>
                <a:gd name="connsiteX190" fmla="*/ 1245505 w 1316580"/>
                <a:gd name="connsiteY190" fmla="*/ 845507 h 1034088"/>
                <a:gd name="connsiteX191" fmla="*/ 1207871 w 1316580"/>
                <a:gd name="connsiteY191" fmla="*/ 845507 h 1034088"/>
                <a:gd name="connsiteX192" fmla="*/ 1145178 w 1316580"/>
                <a:gd name="connsiteY192" fmla="*/ 849705 h 1034088"/>
                <a:gd name="connsiteX193" fmla="*/ 1112763 w 1316580"/>
                <a:gd name="connsiteY193" fmla="*/ 879983 h 1034088"/>
                <a:gd name="connsiteX194" fmla="*/ 1112763 w 1316580"/>
                <a:gd name="connsiteY194" fmla="*/ 889400 h 1034088"/>
                <a:gd name="connsiteX195" fmla="*/ 1153569 w 1316580"/>
                <a:gd name="connsiteY195" fmla="*/ 879983 h 1034088"/>
                <a:gd name="connsiteX196" fmla="*/ 1176525 w 1316580"/>
                <a:gd name="connsiteY196" fmla="*/ 879983 h 1034088"/>
                <a:gd name="connsiteX197" fmla="*/ 1170286 w 1316580"/>
                <a:gd name="connsiteY197" fmla="*/ 916611 h 1034088"/>
                <a:gd name="connsiteX198" fmla="*/ 1203728 w 1316580"/>
                <a:gd name="connsiteY198" fmla="*/ 945875 h 1034088"/>
                <a:gd name="connsiteX199" fmla="*/ 1238190 w 1316580"/>
                <a:gd name="connsiteY199" fmla="*/ 931247 h 1034088"/>
                <a:gd name="connsiteX200" fmla="*/ 1238190 w 1316580"/>
                <a:gd name="connsiteY200" fmla="*/ 952163 h 1034088"/>
                <a:gd name="connsiteX201" fmla="*/ 1197441 w 1316580"/>
                <a:gd name="connsiteY201" fmla="*/ 972010 h 1034088"/>
                <a:gd name="connsiteX202" fmla="*/ 1152085 w 1316580"/>
                <a:gd name="connsiteY202" fmla="*/ 997006 h 1034088"/>
                <a:gd name="connsiteX203" fmla="*/ 1158766 w 1316580"/>
                <a:gd name="connsiteY203" fmla="*/ 967783 h 1034088"/>
                <a:gd name="connsiteX204" fmla="*/ 1179640 w 1316580"/>
                <a:gd name="connsiteY204" fmla="*/ 957761 h 103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</a:cxnLst>
              <a:rect l="l" t="t" r="r" b="b"/>
              <a:pathLst>
                <a:path w="1316580" h="1034088">
                  <a:moveTo>
                    <a:pt x="1179640" y="957761"/>
                  </a:moveTo>
                  <a:cubicBezTo>
                    <a:pt x="1172959" y="945875"/>
                    <a:pt x="1145417" y="955250"/>
                    <a:pt x="1132041" y="961102"/>
                  </a:cubicBezTo>
                  <a:cubicBezTo>
                    <a:pt x="1129262" y="960223"/>
                    <a:pt x="1123523" y="957199"/>
                    <a:pt x="1122855" y="952163"/>
                  </a:cubicBezTo>
                  <a:cubicBezTo>
                    <a:pt x="1122025" y="945875"/>
                    <a:pt x="1122855" y="924361"/>
                    <a:pt x="1122855" y="921857"/>
                  </a:cubicBezTo>
                  <a:cubicBezTo>
                    <a:pt x="1122855" y="919354"/>
                    <a:pt x="1119522" y="916611"/>
                    <a:pt x="1115344" y="916611"/>
                  </a:cubicBezTo>
                  <a:cubicBezTo>
                    <a:pt x="1111166" y="916611"/>
                    <a:pt x="1106159" y="914339"/>
                    <a:pt x="1102818" y="914339"/>
                  </a:cubicBezTo>
                  <a:cubicBezTo>
                    <a:pt x="1099477" y="914339"/>
                    <a:pt x="1086952" y="922490"/>
                    <a:pt x="1086952" y="926865"/>
                  </a:cubicBezTo>
                  <a:cubicBezTo>
                    <a:pt x="1086952" y="931247"/>
                    <a:pt x="1082781" y="938554"/>
                    <a:pt x="1082781" y="941065"/>
                  </a:cubicBezTo>
                  <a:cubicBezTo>
                    <a:pt x="1082781" y="943569"/>
                    <a:pt x="1077766" y="954420"/>
                    <a:pt x="1076100" y="956094"/>
                  </a:cubicBezTo>
                  <a:cubicBezTo>
                    <a:pt x="1074426" y="957761"/>
                    <a:pt x="1067744" y="963606"/>
                    <a:pt x="1064411" y="964443"/>
                  </a:cubicBezTo>
                  <a:cubicBezTo>
                    <a:pt x="1061738" y="965111"/>
                    <a:pt x="1028781" y="964724"/>
                    <a:pt x="1012633" y="964443"/>
                  </a:cubicBezTo>
                  <a:lnTo>
                    <a:pt x="983411" y="992835"/>
                  </a:lnTo>
                  <a:cubicBezTo>
                    <a:pt x="973114" y="993665"/>
                    <a:pt x="952346" y="995669"/>
                    <a:pt x="951678" y="997006"/>
                  </a:cubicBezTo>
                  <a:cubicBezTo>
                    <a:pt x="950848" y="998679"/>
                    <a:pt x="952515" y="1009532"/>
                    <a:pt x="950011" y="1011205"/>
                  </a:cubicBezTo>
                  <a:cubicBezTo>
                    <a:pt x="948006" y="1012542"/>
                    <a:pt x="933033" y="1017324"/>
                    <a:pt x="925796" y="1019554"/>
                  </a:cubicBezTo>
                  <a:lnTo>
                    <a:pt x="913270" y="1024561"/>
                  </a:lnTo>
                  <a:cubicBezTo>
                    <a:pt x="907981" y="1028457"/>
                    <a:pt x="896904" y="1035751"/>
                    <a:pt x="894900" y="1033746"/>
                  </a:cubicBezTo>
                  <a:cubicBezTo>
                    <a:pt x="892396" y="1031243"/>
                    <a:pt x="885715" y="1029576"/>
                    <a:pt x="889056" y="1024561"/>
                  </a:cubicBezTo>
                  <a:cubicBezTo>
                    <a:pt x="892396" y="1019554"/>
                    <a:pt x="896567" y="1011205"/>
                    <a:pt x="898241" y="1006191"/>
                  </a:cubicBezTo>
                  <a:cubicBezTo>
                    <a:pt x="899907" y="1001183"/>
                    <a:pt x="903248" y="993665"/>
                    <a:pt x="900744" y="986991"/>
                  </a:cubicBezTo>
                  <a:cubicBezTo>
                    <a:pt x="898241" y="980309"/>
                    <a:pt x="898241" y="967783"/>
                    <a:pt x="896567" y="964443"/>
                  </a:cubicBezTo>
                  <a:cubicBezTo>
                    <a:pt x="894900" y="961102"/>
                    <a:pt x="874026" y="941895"/>
                    <a:pt x="863167" y="931043"/>
                  </a:cubicBezTo>
                  <a:cubicBezTo>
                    <a:pt x="852315" y="920184"/>
                    <a:pt x="842293" y="910998"/>
                    <a:pt x="836448" y="907665"/>
                  </a:cubicBezTo>
                  <a:cubicBezTo>
                    <a:pt x="830604" y="904324"/>
                    <a:pt x="811396" y="893465"/>
                    <a:pt x="806389" y="893465"/>
                  </a:cubicBezTo>
                  <a:cubicBezTo>
                    <a:pt x="801374" y="893465"/>
                    <a:pt x="799707" y="893465"/>
                    <a:pt x="793026" y="895139"/>
                  </a:cubicBezTo>
                  <a:cubicBezTo>
                    <a:pt x="786345" y="896806"/>
                    <a:pt x="774656" y="895139"/>
                    <a:pt x="768811" y="895139"/>
                  </a:cubicBezTo>
                  <a:cubicBezTo>
                    <a:pt x="762967" y="895139"/>
                    <a:pt x="750441" y="892628"/>
                    <a:pt x="746263" y="890961"/>
                  </a:cubicBezTo>
                  <a:cubicBezTo>
                    <a:pt x="742093" y="889295"/>
                    <a:pt x="726226" y="885954"/>
                    <a:pt x="720382" y="884280"/>
                  </a:cubicBezTo>
                  <a:cubicBezTo>
                    <a:pt x="714537" y="882613"/>
                    <a:pt x="711197" y="882613"/>
                    <a:pt x="710360" y="877598"/>
                  </a:cubicBezTo>
                  <a:cubicBezTo>
                    <a:pt x="709523" y="872591"/>
                    <a:pt x="706189" y="863406"/>
                    <a:pt x="704515" y="865073"/>
                  </a:cubicBezTo>
                  <a:cubicBezTo>
                    <a:pt x="703179" y="866409"/>
                    <a:pt x="701174" y="871754"/>
                    <a:pt x="700338" y="874258"/>
                  </a:cubicBezTo>
                  <a:lnTo>
                    <a:pt x="292856" y="874258"/>
                  </a:lnTo>
                  <a:lnTo>
                    <a:pt x="276990" y="874258"/>
                  </a:lnTo>
                  <a:cubicBezTo>
                    <a:pt x="272257" y="870643"/>
                    <a:pt x="262122" y="862569"/>
                    <a:pt x="259449" y="859228"/>
                  </a:cubicBezTo>
                  <a:cubicBezTo>
                    <a:pt x="256116" y="855057"/>
                    <a:pt x="253605" y="851717"/>
                    <a:pt x="248597" y="849213"/>
                  </a:cubicBezTo>
                  <a:cubicBezTo>
                    <a:pt x="243590" y="846702"/>
                    <a:pt x="239412" y="841695"/>
                    <a:pt x="235235" y="840858"/>
                  </a:cubicBezTo>
                  <a:cubicBezTo>
                    <a:pt x="231064" y="840028"/>
                    <a:pt x="216864" y="837517"/>
                    <a:pt x="212694" y="837517"/>
                  </a:cubicBezTo>
                  <a:cubicBezTo>
                    <a:pt x="209353" y="837517"/>
                    <a:pt x="206772" y="833227"/>
                    <a:pt x="203508" y="831673"/>
                  </a:cubicBezTo>
                  <a:cubicBezTo>
                    <a:pt x="188507" y="815539"/>
                    <a:pt x="197284" y="827017"/>
                    <a:pt x="183464" y="795769"/>
                  </a:cubicBezTo>
                  <a:cubicBezTo>
                    <a:pt x="176530" y="783025"/>
                    <a:pt x="178520" y="782090"/>
                    <a:pt x="169272" y="768213"/>
                  </a:cubicBezTo>
                  <a:cubicBezTo>
                    <a:pt x="160023" y="754337"/>
                    <a:pt x="169841" y="754604"/>
                    <a:pt x="158279" y="731473"/>
                  </a:cubicBezTo>
                  <a:cubicBezTo>
                    <a:pt x="152477" y="722224"/>
                    <a:pt x="180961" y="712265"/>
                    <a:pt x="152568" y="692228"/>
                  </a:cubicBezTo>
                  <a:cubicBezTo>
                    <a:pt x="148869" y="688529"/>
                    <a:pt x="128480" y="640570"/>
                    <a:pt x="120005" y="636337"/>
                  </a:cubicBezTo>
                  <a:cubicBezTo>
                    <a:pt x="120779" y="629775"/>
                    <a:pt x="86781" y="597577"/>
                    <a:pt x="84931" y="592028"/>
                  </a:cubicBezTo>
                  <a:cubicBezTo>
                    <a:pt x="82624" y="585087"/>
                    <a:pt x="60920" y="615575"/>
                    <a:pt x="54038" y="615575"/>
                  </a:cubicBezTo>
                  <a:cubicBezTo>
                    <a:pt x="48533" y="615575"/>
                    <a:pt x="48081" y="595489"/>
                    <a:pt x="36503" y="592028"/>
                  </a:cubicBezTo>
                  <a:lnTo>
                    <a:pt x="24813" y="579503"/>
                  </a:lnTo>
                  <a:cubicBezTo>
                    <a:pt x="18801" y="573060"/>
                    <a:pt x="5766" y="572364"/>
                    <a:pt x="0" y="572821"/>
                  </a:cubicBezTo>
                  <a:lnTo>
                    <a:pt x="0" y="229559"/>
                  </a:lnTo>
                  <a:lnTo>
                    <a:pt x="43872" y="241065"/>
                  </a:lnTo>
                  <a:lnTo>
                    <a:pt x="69304" y="241065"/>
                  </a:lnTo>
                  <a:lnTo>
                    <a:pt x="69304" y="229559"/>
                  </a:lnTo>
                  <a:lnTo>
                    <a:pt x="93547" y="229559"/>
                  </a:lnTo>
                  <a:lnTo>
                    <a:pt x="106291" y="220254"/>
                  </a:lnTo>
                  <a:lnTo>
                    <a:pt x="152477" y="205084"/>
                  </a:lnTo>
                  <a:cubicBezTo>
                    <a:pt x="148622" y="208150"/>
                    <a:pt x="140914" y="215479"/>
                    <a:pt x="140914" y="220254"/>
                  </a:cubicBezTo>
                  <a:cubicBezTo>
                    <a:pt x="140914" y="226225"/>
                    <a:pt x="113225" y="238751"/>
                    <a:pt x="106291" y="241065"/>
                  </a:cubicBezTo>
                  <a:cubicBezTo>
                    <a:pt x="100741" y="242915"/>
                    <a:pt x="103984" y="253563"/>
                    <a:pt x="106291" y="258655"/>
                  </a:cubicBezTo>
                  <a:lnTo>
                    <a:pt x="140914" y="229559"/>
                  </a:lnTo>
                  <a:cubicBezTo>
                    <a:pt x="148622" y="224467"/>
                    <a:pt x="165199" y="214283"/>
                    <a:pt x="169841" y="214283"/>
                  </a:cubicBezTo>
                  <a:cubicBezTo>
                    <a:pt x="174490" y="214283"/>
                    <a:pt x="179484" y="208150"/>
                    <a:pt x="181404" y="205084"/>
                  </a:cubicBezTo>
                  <a:lnTo>
                    <a:pt x="196398" y="178675"/>
                  </a:lnTo>
                  <a:lnTo>
                    <a:pt x="210113" y="205084"/>
                  </a:lnTo>
                  <a:cubicBezTo>
                    <a:pt x="212152" y="213242"/>
                    <a:pt x="218693" y="224664"/>
                    <a:pt x="228497" y="205084"/>
                  </a:cubicBezTo>
                  <a:cubicBezTo>
                    <a:pt x="238308" y="185504"/>
                    <a:pt x="242767" y="203058"/>
                    <a:pt x="243766" y="214283"/>
                  </a:cubicBezTo>
                  <a:cubicBezTo>
                    <a:pt x="240706" y="221935"/>
                    <a:pt x="236416" y="235713"/>
                    <a:pt x="243766" y="229559"/>
                  </a:cubicBezTo>
                  <a:cubicBezTo>
                    <a:pt x="251122" y="223405"/>
                    <a:pt x="259056" y="216808"/>
                    <a:pt x="262101" y="214283"/>
                  </a:cubicBezTo>
                  <a:lnTo>
                    <a:pt x="292744" y="214283"/>
                  </a:lnTo>
                  <a:cubicBezTo>
                    <a:pt x="311135" y="214283"/>
                    <a:pt x="300382" y="229559"/>
                    <a:pt x="309574" y="229559"/>
                  </a:cubicBezTo>
                  <a:cubicBezTo>
                    <a:pt x="318766" y="229559"/>
                    <a:pt x="327909" y="241817"/>
                    <a:pt x="337101" y="258655"/>
                  </a:cubicBezTo>
                  <a:cubicBezTo>
                    <a:pt x="346294" y="275492"/>
                    <a:pt x="350865" y="258655"/>
                    <a:pt x="393661" y="267854"/>
                  </a:cubicBezTo>
                  <a:cubicBezTo>
                    <a:pt x="393661" y="275210"/>
                    <a:pt x="387571" y="277517"/>
                    <a:pt x="384525" y="277749"/>
                  </a:cubicBezTo>
                  <a:lnTo>
                    <a:pt x="384525" y="296577"/>
                  </a:lnTo>
                  <a:cubicBezTo>
                    <a:pt x="388091" y="298722"/>
                    <a:pt x="397058" y="303026"/>
                    <a:pt x="404415" y="303026"/>
                  </a:cubicBezTo>
                  <a:cubicBezTo>
                    <a:pt x="413607" y="303026"/>
                    <a:pt x="428876" y="303026"/>
                    <a:pt x="445706" y="296577"/>
                  </a:cubicBezTo>
                  <a:cubicBezTo>
                    <a:pt x="462536" y="290121"/>
                    <a:pt x="476300" y="310664"/>
                    <a:pt x="480871" y="310664"/>
                  </a:cubicBezTo>
                  <a:cubicBezTo>
                    <a:pt x="485435" y="310664"/>
                    <a:pt x="483930" y="329063"/>
                    <a:pt x="505388" y="344655"/>
                  </a:cubicBezTo>
                  <a:cubicBezTo>
                    <a:pt x="517647" y="344655"/>
                    <a:pt x="510494" y="334260"/>
                    <a:pt x="505388" y="329063"/>
                  </a:cubicBezTo>
                  <a:lnTo>
                    <a:pt x="505388" y="310664"/>
                  </a:lnTo>
                  <a:cubicBezTo>
                    <a:pt x="506387" y="305966"/>
                    <a:pt x="521255" y="296577"/>
                    <a:pt x="572702" y="296577"/>
                  </a:cubicBezTo>
                  <a:cubicBezTo>
                    <a:pt x="607916" y="315397"/>
                    <a:pt x="587970" y="303026"/>
                    <a:pt x="621624" y="296577"/>
                  </a:cubicBezTo>
                  <a:cubicBezTo>
                    <a:pt x="639959" y="290121"/>
                    <a:pt x="635387" y="303026"/>
                    <a:pt x="646085" y="303026"/>
                  </a:cubicBezTo>
                  <a:cubicBezTo>
                    <a:pt x="654644" y="303026"/>
                    <a:pt x="657823" y="298722"/>
                    <a:pt x="658343" y="296577"/>
                  </a:cubicBezTo>
                  <a:lnTo>
                    <a:pt x="667535" y="277749"/>
                  </a:lnTo>
                  <a:cubicBezTo>
                    <a:pt x="661410" y="271384"/>
                    <a:pt x="647315" y="258655"/>
                    <a:pt x="639959" y="258655"/>
                  </a:cubicBezTo>
                  <a:cubicBezTo>
                    <a:pt x="630767" y="258655"/>
                    <a:pt x="639959" y="241817"/>
                    <a:pt x="639959" y="229559"/>
                  </a:cubicBezTo>
                  <a:cubicBezTo>
                    <a:pt x="639959" y="219748"/>
                    <a:pt x="658343" y="215289"/>
                    <a:pt x="667535" y="214283"/>
                  </a:cubicBezTo>
                  <a:lnTo>
                    <a:pt x="679745" y="214283"/>
                  </a:lnTo>
                  <a:cubicBezTo>
                    <a:pt x="682811" y="219375"/>
                    <a:pt x="688937" y="232006"/>
                    <a:pt x="688937" y="241817"/>
                  </a:cubicBezTo>
                  <a:cubicBezTo>
                    <a:pt x="688937" y="254083"/>
                    <a:pt x="688937" y="258655"/>
                    <a:pt x="679745" y="277749"/>
                  </a:cubicBezTo>
                  <a:cubicBezTo>
                    <a:pt x="672388" y="285669"/>
                    <a:pt x="682811" y="302991"/>
                    <a:pt x="688937" y="310664"/>
                  </a:cubicBezTo>
                  <a:cubicBezTo>
                    <a:pt x="693023" y="305966"/>
                    <a:pt x="702616" y="292807"/>
                    <a:pt x="708292" y="277749"/>
                  </a:cubicBezTo>
                  <a:cubicBezTo>
                    <a:pt x="715388" y="258922"/>
                    <a:pt x="718778" y="267854"/>
                    <a:pt x="718778" y="258655"/>
                  </a:cubicBezTo>
                  <a:cubicBezTo>
                    <a:pt x="718778" y="249455"/>
                    <a:pt x="718778" y="241817"/>
                    <a:pt x="708292" y="229559"/>
                  </a:cubicBezTo>
                  <a:cubicBezTo>
                    <a:pt x="697806" y="217293"/>
                    <a:pt x="701196" y="214283"/>
                    <a:pt x="688937" y="214283"/>
                  </a:cubicBezTo>
                  <a:cubicBezTo>
                    <a:pt x="676678" y="214283"/>
                    <a:pt x="679745" y="194380"/>
                    <a:pt x="679745" y="177542"/>
                  </a:cubicBezTo>
                  <a:lnTo>
                    <a:pt x="679745" y="163779"/>
                  </a:lnTo>
                  <a:cubicBezTo>
                    <a:pt x="681784" y="157147"/>
                    <a:pt x="686482" y="140506"/>
                    <a:pt x="688937" y="127038"/>
                  </a:cubicBezTo>
                  <a:cubicBezTo>
                    <a:pt x="692003" y="110208"/>
                    <a:pt x="693508" y="114779"/>
                    <a:pt x="701196" y="93371"/>
                  </a:cubicBezTo>
                  <a:cubicBezTo>
                    <a:pt x="708883" y="71962"/>
                    <a:pt x="708292" y="81105"/>
                    <a:pt x="701196" y="65836"/>
                  </a:cubicBezTo>
                  <a:cubicBezTo>
                    <a:pt x="695520" y="53613"/>
                    <a:pt x="703559" y="48479"/>
                    <a:pt x="708292" y="47438"/>
                  </a:cubicBezTo>
                  <a:lnTo>
                    <a:pt x="708292" y="21458"/>
                  </a:lnTo>
                  <a:lnTo>
                    <a:pt x="708292" y="0"/>
                  </a:lnTo>
                  <a:lnTo>
                    <a:pt x="731789" y="0"/>
                  </a:lnTo>
                  <a:lnTo>
                    <a:pt x="754316" y="6133"/>
                  </a:lnTo>
                  <a:lnTo>
                    <a:pt x="766842" y="21458"/>
                  </a:lnTo>
                  <a:lnTo>
                    <a:pt x="754316" y="47438"/>
                  </a:lnTo>
                  <a:cubicBezTo>
                    <a:pt x="748739" y="53050"/>
                    <a:pt x="737592" y="65808"/>
                    <a:pt x="737592" y="71962"/>
                  </a:cubicBezTo>
                  <a:cubicBezTo>
                    <a:pt x="737592" y="79656"/>
                    <a:pt x="718778" y="79600"/>
                    <a:pt x="718778" y="93371"/>
                  </a:cubicBezTo>
                  <a:cubicBezTo>
                    <a:pt x="718778" y="107142"/>
                    <a:pt x="718778" y="114779"/>
                    <a:pt x="727112" y="127038"/>
                  </a:cubicBezTo>
                  <a:cubicBezTo>
                    <a:pt x="735446" y="139304"/>
                    <a:pt x="727112" y="142314"/>
                    <a:pt x="743830" y="163779"/>
                  </a:cubicBezTo>
                  <a:cubicBezTo>
                    <a:pt x="760555" y="185237"/>
                    <a:pt x="754316" y="185180"/>
                    <a:pt x="743830" y="194380"/>
                  </a:cubicBezTo>
                  <a:cubicBezTo>
                    <a:pt x="733344" y="203579"/>
                    <a:pt x="743830" y="206589"/>
                    <a:pt x="743830" y="214283"/>
                  </a:cubicBezTo>
                  <a:lnTo>
                    <a:pt x="743830" y="229559"/>
                  </a:lnTo>
                  <a:lnTo>
                    <a:pt x="766842" y="229559"/>
                  </a:lnTo>
                  <a:cubicBezTo>
                    <a:pt x="766842" y="238737"/>
                    <a:pt x="768509" y="259245"/>
                    <a:pt x="775176" y="267854"/>
                  </a:cubicBezTo>
                  <a:cubicBezTo>
                    <a:pt x="775176" y="259935"/>
                    <a:pt x="788434" y="247198"/>
                    <a:pt x="795066" y="241817"/>
                  </a:cubicBezTo>
                  <a:cubicBezTo>
                    <a:pt x="800643" y="245390"/>
                    <a:pt x="813457" y="255588"/>
                    <a:pt x="820125" y="267854"/>
                  </a:cubicBezTo>
                  <a:cubicBezTo>
                    <a:pt x="828459" y="283179"/>
                    <a:pt x="811790" y="277749"/>
                    <a:pt x="811790" y="310664"/>
                  </a:cubicBezTo>
                  <a:cubicBezTo>
                    <a:pt x="811790" y="321938"/>
                    <a:pt x="824330" y="321994"/>
                    <a:pt x="830604" y="320616"/>
                  </a:cubicBezTo>
                  <a:lnTo>
                    <a:pt x="842110" y="296577"/>
                  </a:lnTo>
                  <a:lnTo>
                    <a:pt x="842110" y="267854"/>
                  </a:lnTo>
                  <a:cubicBezTo>
                    <a:pt x="842110" y="258655"/>
                    <a:pt x="843910" y="238118"/>
                    <a:pt x="851091" y="229559"/>
                  </a:cubicBezTo>
                  <a:cubicBezTo>
                    <a:pt x="860072" y="218855"/>
                    <a:pt x="869264" y="226492"/>
                    <a:pt x="897488" y="229559"/>
                  </a:cubicBezTo>
                  <a:cubicBezTo>
                    <a:pt x="920071" y="232006"/>
                    <a:pt x="917328" y="262706"/>
                    <a:pt x="913137" y="277749"/>
                  </a:cubicBezTo>
                  <a:lnTo>
                    <a:pt x="913137" y="296577"/>
                  </a:lnTo>
                  <a:lnTo>
                    <a:pt x="913137" y="320616"/>
                  </a:lnTo>
                  <a:cubicBezTo>
                    <a:pt x="911055" y="326193"/>
                    <a:pt x="905639" y="338803"/>
                    <a:pt x="900604" y="344655"/>
                  </a:cubicBezTo>
                  <a:cubicBezTo>
                    <a:pt x="895575" y="350506"/>
                    <a:pt x="883169" y="355486"/>
                    <a:pt x="877599" y="357244"/>
                  </a:cubicBezTo>
                  <a:cubicBezTo>
                    <a:pt x="868202" y="356548"/>
                    <a:pt x="845661" y="357448"/>
                    <a:pt x="830604" y="366654"/>
                  </a:cubicBezTo>
                  <a:cubicBezTo>
                    <a:pt x="827291" y="372506"/>
                    <a:pt x="822234" y="407425"/>
                    <a:pt x="820125" y="424149"/>
                  </a:cubicBezTo>
                  <a:cubicBezTo>
                    <a:pt x="817346" y="427631"/>
                    <a:pt x="810109" y="435845"/>
                    <a:pt x="803400" y="440881"/>
                  </a:cubicBezTo>
                  <a:cubicBezTo>
                    <a:pt x="796690" y="445917"/>
                    <a:pt x="795052" y="442977"/>
                    <a:pt x="795066" y="440881"/>
                  </a:cubicBezTo>
                  <a:cubicBezTo>
                    <a:pt x="788434" y="446099"/>
                    <a:pt x="773509" y="458836"/>
                    <a:pt x="766842" y="468043"/>
                  </a:cubicBezTo>
                  <a:cubicBezTo>
                    <a:pt x="758508" y="479549"/>
                    <a:pt x="754316" y="477453"/>
                    <a:pt x="743830" y="498376"/>
                  </a:cubicBezTo>
                  <a:lnTo>
                    <a:pt x="743267" y="499283"/>
                  </a:lnTo>
                  <a:cubicBezTo>
                    <a:pt x="738239" y="507371"/>
                    <a:pt x="733175" y="515516"/>
                    <a:pt x="727112" y="526614"/>
                  </a:cubicBezTo>
                  <a:cubicBezTo>
                    <a:pt x="720818" y="538127"/>
                    <a:pt x="720874" y="539147"/>
                    <a:pt x="718778" y="547537"/>
                  </a:cubicBezTo>
                  <a:cubicBezTo>
                    <a:pt x="716682" y="555928"/>
                    <a:pt x="716682" y="554852"/>
                    <a:pt x="708292" y="564262"/>
                  </a:cubicBezTo>
                  <a:cubicBezTo>
                    <a:pt x="699901" y="573679"/>
                    <a:pt x="708292" y="577815"/>
                    <a:pt x="708292" y="586212"/>
                  </a:cubicBezTo>
                  <a:cubicBezTo>
                    <a:pt x="708292" y="594602"/>
                    <a:pt x="705176" y="595622"/>
                    <a:pt x="708292" y="606052"/>
                  </a:cubicBezTo>
                  <a:cubicBezTo>
                    <a:pt x="711408" y="616489"/>
                    <a:pt x="727112" y="608155"/>
                    <a:pt x="727112" y="616546"/>
                  </a:cubicBezTo>
                  <a:cubicBezTo>
                    <a:pt x="727112" y="624936"/>
                    <a:pt x="725009" y="632194"/>
                    <a:pt x="727112" y="639508"/>
                  </a:cubicBezTo>
                  <a:cubicBezTo>
                    <a:pt x="729208" y="646823"/>
                    <a:pt x="730228" y="657316"/>
                    <a:pt x="737592" y="665650"/>
                  </a:cubicBezTo>
                  <a:cubicBezTo>
                    <a:pt x="743485" y="672318"/>
                    <a:pt x="751194" y="668428"/>
                    <a:pt x="754316" y="665650"/>
                  </a:cubicBezTo>
                  <a:cubicBezTo>
                    <a:pt x="758487" y="662872"/>
                    <a:pt x="768509" y="657316"/>
                    <a:pt x="775176" y="657316"/>
                  </a:cubicBezTo>
                  <a:cubicBezTo>
                    <a:pt x="783510" y="657316"/>
                    <a:pt x="787758" y="666726"/>
                    <a:pt x="795066" y="671945"/>
                  </a:cubicBezTo>
                  <a:cubicBezTo>
                    <a:pt x="802380" y="677163"/>
                    <a:pt x="807592" y="678233"/>
                    <a:pt x="811790" y="681355"/>
                  </a:cubicBezTo>
                  <a:cubicBezTo>
                    <a:pt x="815982" y="684478"/>
                    <a:pt x="827432" y="690765"/>
                    <a:pt x="842110" y="708517"/>
                  </a:cubicBezTo>
                  <a:cubicBezTo>
                    <a:pt x="846309" y="718954"/>
                    <a:pt x="857758" y="716907"/>
                    <a:pt x="869264" y="716907"/>
                  </a:cubicBezTo>
                  <a:lnTo>
                    <a:pt x="891200" y="716907"/>
                  </a:lnTo>
                  <a:cubicBezTo>
                    <a:pt x="895371" y="716907"/>
                    <a:pt x="897129" y="731536"/>
                    <a:pt x="897488" y="738850"/>
                  </a:cubicBezTo>
                  <a:cubicBezTo>
                    <a:pt x="897129" y="743028"/>
                    <a:pt x="896630" y="752846"/>
                    <a:pt x="897488" y="758698"/>
                  </a:cubicBezTo>
                  <a:cubicBezTo>
                    <a:pt x="898564" y="766012"/>
                    <a:pt x="903726" y="786935"/>
                    <a:pt x="904802" y="793230"/>
                  </a:cubicBezTo>
                  <a:cubicBezTo>
                    <a:pt x="905879" y="799525"/>
                    <a:pt x="915233" y="793230"/>
                    <a:pt x="918404" y="802640"/>
                  </a:cubicBezTo>
                  <a:cubicBezTo>
                    <a:pt x="920943" y="810173"/>
                    <a:pt x="935481" y="817614"/>
                    <a:pt x="942436" y="820392"/>
                  </a:cubicBezTo>
                  <a:lnTo>
                    <a:pt x="950771" y="808935"/>
                  </a:lnTo>
                  <a:lnTo>
                    <a:pt x="950771" y="786935"/>
                  </a:lnTo>
                  <a:lnTo>
                    <a:pt x="950771" y="758698"/>
                  </a:lnTo>
                  <a:cubicBezTo>
                    <a:pt x="950771" y="744013"/>
                    <a:pt x="946579" y="739926"/>
                    <a:pt x="950771" y="730516"/>
                  </a:cubicBezTo>
                  <a:cubicBezTo>
                    <a:pt x="954962" y="721106"/>
                    <a:pt x="966468" y="723202"/>
                    <a:pt x="973783" y="716907"/>
                  </a:cubicBezTo>
                  <a:cubicBezTo>
                    <a:pt x="979627" y="711872"/>
                    <a:pt x="985964" y="702257"/>
                    <a:pt x="988404" y="698080"/>
                  </a:cubicBezTo>
                  <a:lnTo>
                    <a:pt x="988404" y="671945"/>
                  </a:lnTo>
                  <a:lnTo>
                    <a:pt x="988404" y="657316"/>
                  </a:lnTo>
                  <a:lnTo>
                    <a:pt x="973783" y="639508"/>
                  </a:lnTo>
                  <a:cubicBezTo>
                    <a:pt x="969605" y="634290"/>
                    <a:pt x="961257" y="622397"/>
                    <a:pt x="961257" y="616546"/>
                  </a:cubicBezTo>
                  <a:lnTo>
                    <a:pt x="961257" y="606052"/>
                  </a:lnTo>
                  <a:lnTo>
                    <a:pt x="973783" y="586212"/>
                  </a:lnTo>
                  <a:lnTo>
                    <a:pt x="973783" y="554852"/>
                  </a:lnTo>
                  <a:lnTo>
                    <a:pt x="966468" y="526614"/>
                  </a:lnTo>
                  <a:lnTo>
                    <a:pt x="973783" y="498376"/>
                  </a:lnTo>
                  <a:lnTo>
                    <a:pt x="988404" y="498376"/>
                  </a:lnTo>
                  <a:cubicBezTo>
                    <a:pt x="995374" y="500472"/>
                    <a:pt x="1011199" y="505712"/>
                    <a:pt x="1018731" y="509889"/>
                  </a:cubicBezTo>
                  <a:cubicBezTo>
                    <a:pt x="1028134" y="515101"/>
                    <a:pt x="1039640" y="506767"/>
                    <a:pt x="1044859" y="509889"/>
                  </a:cubicBezTo>
                  <a:cubicBezTo>
                    <a:pt x="1050070" y="513005"/>
                    <a:pt x="1055289" y="519300"/>
                    <a:pt x="1060500" y="526614"/>
                  </a:cubicBezTo>
                  <a:cubicBezTo>
                    <a:pt x="1065719" y="533928"/>
                    <a:pt x="1079321" y="542262"/>
                    <a:pt x="1090827" y="547537"/>
                  </a:cubicBezTo>
                  <a:cubicBezTo>
                    <a:pt x="1102333" y="552805"/>
                    <a:pt x="1095018" y="562166"/>
                    <a:pt x="1098141" y="577815"/>
                  </a:cubicBezTo>
                  <a:cubicBezTo>
                    <a:pt x="1101257" y="593470"/>
                    <a:pt x="1101313" y="601917"/>
                    <a:pt x="1105449" y="608155"/>
                  </a:cubicBezTo>
                  <a:cubicBezTo>
                    <a:pt x="1109591" y="614393"/>
                    <a:pt x="1112763" y="622784"/>
                    <a:pt x="1124269" y="623860"/>
                  </a:cubicBezTo>
                  <a:cubicBezTo>
                    <a:pt x="1135775" y="624936"/>
                    <a:pt x="1138891" y="619661"/>
                    <a:pt x="1145178" y="616546"/>
                  </a:cubicBezTo>
                  <a:cubicBezTo>
                    <a:pt x="1151473" y="613423"/>
                    <a:pt x="1153569" y="597718"/>
                    <a:pt x="1170286" y="586212"/>
                  </a:cubicBezTo>
                  <a:cubicBezTo>
                    <a:pt x="1187011" y="574699"/>
                    <a:pt x="1176525" y="580994"/>
                    <a:pt x="1182819" y="586212"/>
                  </a:cubicBezTo>
                  <a:cubicBezTo>
                    <a:pt x="1189107" y="591423"/>
                    <a:pt x="1207871" y="620688"/>
                    <a:pt x="1207871" y="639508"/>
                  </a:cubicBezTo>
                  <a:cubicBezTo>
                    <a:pt x="1207871" y="658336"/>
                    <a:pt x="1222549" y="666726"/>
                    <a:pt x="1233999" y="690765"/>
                  </a:cubicBezTo>
                  <a:cubicBezTo>
                    <a:pt x="1243163" y="710001"/>
                    <a:pt x="1253157" y="725284"/>
                    <a:pt x="1257011" y="730516"/>
                  </a:cubicBezTo>
                  <a:cubicBezTo>
                    <a:pt x="1262588" y="735735"/>
                    <a:pt x="1275191" y="747213"/>
                    <a:pt x="1281043" y="751383"/>
                  </a:cubicBezTo>
                  <a:cubicBezTo>
                    <a:pt x="1286894" y="755561"/>
                    <a:pt x="1298105" y="758001"/>
                    <a:pt x="1302979" y="758698"/>
                  </a:cubicBezTo>
                  <a:cubicBezTo>
                    <a:pt x="1307515" y="766729"/>
                    <a:pt x="1316581" y="784882"/>
                    <a:pt x="1316581" y="793230"/>
                  </a:cubicBezTo>
                  <a:cubicBezTo>
                    <a:pt x="1316581" y="803667"/>
                    <a:pt x="1310293" y="804736"/>
                    <a:pt x="1302979" y="808935"/>
                  </a:cubicBezTo>
                  <a:cubicBezTo>
                    <a:pt x="1295672" y="813134"/>
                    <a:pt x="1281043" y="820392"/>
                    <a:pt x="1273735" y="820392"/>
                  </a:cubicBezTo>
                  <a:cubicBezTo>
                    <a:pt x="1267884" y="820392"/>
                    <a:pt x="1252475" y="837137"/>
                    <a:pt x="1245505" y="845507"/>
                  </a:cubicBezTo>
                  <a:cubicBezTo>
                    <a:pt x="1237157" y="846906"/>
                    <a:pt x="1217935" y="848868"/>
                    <a:pt x="1207871" y="845507"/>
                  </a:cubicBezTo>
                  <a:cubicBezTo>
                    <a:pt x="1195289" y="841315"/>
                    <a:pt x="1153569" y="848629"/>
                    <a:pt x="1145178" y="849705"/>
                  </a:cubicBezTo>
                  <a:cubicBezTo>
                    <a:pt x="1138469" y="850563"/>
                    <a:pt x="1120774" y="870249"/>
                    <a:pt x="1112763" y="879983"/>
                  </a:cubicBezTo>
                  <a:lnTo>
                    <a:pt x="1112763" y="889400"/>
                  </a:lnTo>
                  <a:cubicBezTo>
                    <a:pt x="1120774" y="886263"/>
                    <a:pt x="1140150" y="879983"/>
                    <a:pt x="1153569" y="879983"/>
                  </a:cubicBezTo>
                  <a:cubicBezTo>
                    <a:pt x="1170343" y="879983"/>
                    <a:pt x="1176525" y="873744"/>
                    <a:pt x="1176525" y="879983"/>
                  </a:cubicBezTo>
                  <a:cubicBezTo>
                    <a:pt x="1176525" y="886228"/>
                    <a:pt x="1176525" y="901982"/>
                    <a:pt x="1170286" y="916611"/>
                  </a:cubicBezTo>
                  <a:cubicBezTo>
                    <a:pt x="1164055" y="931247"/>
                    <a:pt x="1182819" y="941677"/>
                    <a:pt x="1203728" y="945875"/>
                  </a:cubicBezTo>
                  <a:cubicBezTo>
                    <a:pt x="1224645" y="950067"/>
                    <a:pt x="1224588" y="937534"/>
                    <a:pt x="1238190" y="931247"/>
                  </a:cubicBezTo>
                  <a:cubicBezTo>
                    <a:pt x="1251799" y="924952"/>
                    <a:pt x="1244485" y="944849"/>
                    <a:pt x="1238190" y="952163"/>
                  </a:cubicBezTo>
                  <a:cubicBezTo>
                    <a:pt x="1231903" y="959477"/>
                    <a:pt x="1207871" y="972010"/>
                    <a:pt x="1197441" y="972010"/>
                  </a:cubicBezTo>
                  <a:cubicBezTo>
                    <a:pt x="1187011" y="972010"/>
                    <a:pt x="1163534" y="997006"/>
                    <a:pt x="1152085" y="997006"/>
                  </a:cubicBezTo>
                  <a:cubicBezTo>
                    <a:pt x="1140635" y="997006"/>
                    <a:pt x="1147077" y="967783"/>
                    <a:pt x="1158766" y="967783"/>
                  </a:cubicBezTo>
                  <a:cubicBezTo>
                    <a:pt x="1163865" y="967783"/>
                    <a:pt x="1194670" y="957761"/>
                    <a:pt x="1179640" y="95776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2" name="Freihandform: Form 37">
              <a:extLst>
                <a:ext uri="{FF2B5EF4-FFF2-40B4-BE49-F238E27FC236}">
                  <a16:creationId xmlns:a16="http://schemas.microsoft.com/office/drawing/2014/main" id="{EFE5A0E8-DE49-674D-BB36-07A62D28CC90}"/>
                </a:ext>
              </a:extLst>
            </p:cNvPr>
            <p:cNvSpPr/>
            <p:nvPr/>
          </p:nvSpPr>
          <p:spPr>
            <a:xfrm>
              <a:off x="4318671" y="2795947"/>
              <a:ext cx="274669" cy="248981"/>
            </a:xfrm>
            <a:custGeom>
              <a:avLst/>
              <a:gdLst>
                <a:gd name="connsiteX0" fmla="*/ 219037 w 274669"/>
                <a:gd name="connsiteY0" fmla="*/ 235197 h 248981"/>
                <a:gd name="connsiteX1" fmla="*/ 251509 w 274669"/>
                <a:gd name="connsiteY1" fmla="*/ 235197 h 248981"/>
                <a:gd name="connsiteX2" fmla="*/ 261348 w 274669"/>
                <a:gd name="connsiteY2" fmla="*/ 226314 h 248981"/>
                <a:gd name="connsiteX3" fmla="*/ 251509 w 274669"/>
                <a:gd name="connsiteY3" fmla="*/ 211559 h 248981"/>
                <a:gd name="connsiteX4" fmla="*/ 236726 w 274669"/>
                <a:gd name="connsiteY4" fmla="*/ 206607 h 248981"/>
                <a:gd name="connsiteX5" fmla="*/ 228877 w 274669"/>
                <a:gd name="connsiteY5" fmla="*/ 198744 h 248981"/>
                <a:gd name="connsiteX6" fmla="*/ 244631 w 274669"/>
                <a:gd name="connsiteY6" fmla="*/ 192816 h 248981"/>
                <a:gd name="connsiteX7" fmla="*/ 269197 w 274669"/>
                <a:gd name="connsiteY7" fmla="*/ 192816 h 248981"/>
                <a:gd name="connsiteX8" fmla="*/ 261348 w 274669"/>
                <a:gd name="connsiteY8" fmla="*/ 167187 h 248981"/>
                <a:gd name="connsiteX9" fmla="*/ 244631 w 274669"/>
                <a:gd name="connsiteY9" fmla="*/ 162236 h 248981"/>
                <a:gd name="connsiteX10" fmla="*/ 228877 w 274669"/>
                <a:gd name="connsiteY10" fmla="*/ 145483 h 248981"/>
                <a:gd name="connsiteX11" fmla="*/ 219037 w 274669"/>
                <a:gd name="connsiteY11" fmla="*/ 133640 h 248981"/>
                <a:gd name="connsiteX12" fmla="*/ 209198 w 274669"/>
                <a:gd name="connsiteY12" fmla="*/ 97187 h 248981"/>
                <a:gd name="connsiteX13" fmla="*/ 209198 w 274669"/>
                <a:gd name="connsiteY13" fmla="*/ 74513 h 248981"/>
                <a:gd name="connsiteX14" fmla="*/ 200323 w 274669"/>
                <a:gd name="connsiteY14" fmla="*/ 48884 h 248981"/>
                <a:gd name="connsiteX15" fmla="*/ 209198 w 274669"/>
                <a:gd name="connsiteY15" fmla="*/ 31168 h 248981"/>
                <a:gd name="connsiteX16" fmla="*/ 209198 w 274669"/>
                <a:gd name="connsiteY16" fmla="*/ 13395 h 248981"/>
                <a:gd name="connsiteX17" fmla="*/ 190483 w 274669"/>
                <a:gd name="connsiteY17" fmla="*/ 581 h 248981"/>
                <a:gd name="connsiteX18" fmla="*/ 174729 w 274669"/>
                <a:gd name="connsiteY18" fmla="*/ 23249 h 248981"/>
                <a:gd name="connsiteX19" fmla="*/ 167851 w 274669"/>
                <a:gd name="connsiteY19" fmla="*/ 36070 h 248981"/>
                <a:gd name="connsiteX20" fmla="*/ 167851 w 274669"/>
                <a:gd name="connsiteY20" fmla="*/ 59757 h 248981"/>
                <a:gd name="connsiteX21" fmla="*/ 167851 w 274669"/>
                <a:gd name="connsiteY21" fmla="*/ 85336 h 248981"/>
                <a:gd name="connsiteX22" fmla="*/ 167851 w 274669"/>
                <a:gd name="connsiteY22" fmla="*/ 102138 h 248981"/>
                <a:gd name="connsiteX23" fmla="*/ 156021 w 274669"/>
                <a:gd name="connsiteY23" fmla="*/ 91258 h 248981"/>
                <a:gd name="connsiteX24" fmla="*/ 150106 w 274669"/>
                <a:gd name="connsiteY24" fmla="*/ 54806 h 248981"/>
                <a:gd name="connsiteX25" fmla="*/ 143228 w 274669"/>
                <a:gd name="connsiteY25" fmla="*/ 41992 h 248981"/>
                <a:gd name="connsiteX26" fmla="*/ 124513 w 274669"/>
                <a:gd name="connsiteY26" fmla="*/ 48884 h 248981"/>
                <a:gd name="connsiteX27" fmla="*/ 143228 w 274669"/>
                <a:gd name="connsiteY27" fmla="*/ 59757 h 248981"/>
                <a:gd name="connsiteX28" fmla="*/ 132418 w 274669"/>
                <a:gd name="connsiteY28" fmla="*/ 74513 h 248981"/>
                <a:gd name="connsiteX29" fmla="*/ 110750 w 274669"/>
                <a:gd name="connsiteY29" fmla="*/ 67620 h 248981"/>
                <a:gd name="connsiteX30" fmla="*/ 102901 w 274669"/>
                <a:gd name="connsiteY30" fmla="*/ 54806 h 248981"/>
                <a:gd name="connsiteX31" fmla="*/ 93061 w 274669"/>
                <a:gd name="connsiteY31" fmla="*/ 36070 h 248981"/>
                <a:gd name="connsiteX32" fmla="*/ 70429 w 274669"/>
                <a:gd name="connsiteY32" fmla="*/ 54806 h 248981"/>
                <a:gd name="connsiteX33" fmla="*/ 63487 w 274669"/>
                <a:gd name="connsiteY33" fmla="*/ 48884 h 248981"/>
                <a:gd name="connsiteX34" fmla="*/ 63487 w 274669"/>
                <a:gd name="connsiteY34" fmla="*/ 31168 h 248981"/>
                <a:gd name="connsiteX35" fmla="*/ 65478 w 274669"/>
                <a:gd name="connsiteY35" fmla="*/ 13395 h 248981"/>
                <a:gd name="connsiteX36" fmla="*/ 49724 w 274669"/>
                <a:gd name="connsiteY36" fmla="*/ 23249 h 248981"/>
                <a:gd name="connsiteX37" fmla="*/ 37950 w 274669"/>
                <a:gd name="connsiteY37" fmla="*/ 36070 h 248981"/>
                <a:gd name="connsiteX38" fmla="*/ 16282 w 274669"/>
                <a:gd name="connsiteY38" fmla="*/ 48884 h 248981"/>
                <a:gd name="connsiteX39" fmla="*/ 3488 w 274669"/>
                <a:gd name="connsiteY39" fmla="*/ 67620 h 248981"/>
                <a:gd name="connsiteX40" fmla="*/ 3488 w 274669"/>
                <a:gd name="connsiteY40" fmla="*/ 102138 h 248981"/>
                <a:gd name="connsiteX41" fmla="*/ 16282 w 274669"/>
                <a:gd name="connsiteY41" fmla="*/ 111992 h 248981"/>
                <a:gd name="connsiteX42" fmla="*/ 41875 w 274669"/>
                <a:gd name="connsiteY42" fmla="*/ 111992 h 248981"/>
                <a:gd name="connsiteX43" fmla="*/ 37950 w 274669"/>
                <a:gd name="connsiteY43" fmla="*/ 116894 h 248981"/>
                <a:gd name="connsiteX44" fmla="*/ 16282 w 274669"/>
                <a:gd name="connsiteY44" fmla="*/ 133640 h 248981"/>
                <a:gd name="connsiteX45" fmla="*/ 3488 w 274669"/>
                <a:gd name="connsiteY45" fmla="*/ 145483 h 248981"/>
                <a:gd name="connsiteX46" fmla="*/ 16282 w 274669"/>
                <a:gd name="connsiteY46" fmla="*/ 151412 h 248981"/>
                <a:gd name="connsiteX47" fmla="*/ 37950 w 274669"/>
                <a:gd name="connsiteY47" fmla="*/ 151412 h 248981"/>
                <a:gd name="connsiteX48" fmla="*/ 65478 w 274669"/>
                <a:gd name="connsiteY48" fmla="*/ 151412 h 248981"/>
                <a:gd name="connsiteX49" fmla="*/ 81232 w 274669"/>
                <a:gd name="connsiteY49" fmla="*/ 151412 h 248981"/>
                <a:gd name="connsiteX50" fmla="*/ 93061 w 274669"/>
                <a:gd name="connsiteY50" fmla="*/ 151412 h 248981"/>
                <a:gd name="connsiteX51" fmla="*/ 102901 w 274669"/>
                <a:gd name="connsiteY51" fmla="*/ 162236 h 248981"/>
                <a:gd name="connsiteX52" fmla="*/ 110750 w 274669"/>
                <a:gd name="connsiteY52" fmla="*/ 180001 h 248981"/>
                <a:gd name="connsiteX53" fmla="*/ 81232 w 274669"/>
                <a:gd name="connsiteY53" fmla="*/ 175050 h 248981"/>
                <a:gd name="connsiteX54" fmla="*/ 37950 w 274669"/>
                <a:gd name="connsiteY54" fmla="*/ 175050 h 248981"/>
                <a:gd name="connsiteX55" fmla="*/ 16282 w 274669"/>
                <a:gd name="connsiteY55" fmla="*/ 192816 h 248981"/>
                <a:gd name="connsiteX56" fmla="*/ 37950 w 274669"/>
                <a:gd name="connsiteY56" fmla="*/ 211559 h 248981"/>
                <a:gd name="connsiteX57" fmla="*/ 70429 w 274669"/>
                <a:gd name="connsiteY57" fmla="*/ 211559 h 248981"/>
                <a:gd name="connsiteX58" fmla="*/ 81232 w 274669"/>
                <a:gd name="connsiteY58" fmla="*/ 220392 h 248981"/>
                <a:gd name="connsiteX59" fmla="*/ 81232 w 274669"/>
                <a:gd name="connsiteY59" fmla="*/ 248982 h 248981"/>
                <a:gd name="connsiteX60" fmla="*/ 110750 w 274669"/>
                <a:gd name="connsiteY60" fmla="*/ 248982 h 248981"/>
                <a:gd name="connsiteX61" fmla="*/ 143228 w 274669"/>
                <a:gd name="connsiteY61" fmla="*/ 235197 h 248981"/>
                <a:gd name="connsiteX62" fmla="*/ 161936 w 274669"/>
                <a:gd name="connsiteY62" fmla="*/ 226314 h 248981"/>
                <a:gd name="connsiteX63" fmla="*/ 183605 w 274669"/>
                <a:gd name="connsiteY63" fmla="*/ 211559 h 248981"/>
                <a:gd name="connsiteX64" fmla="*/ 219037 w 274669"/>
                <a:gd name="connsiteY64" fmla="*/ 235197 h 24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74669" h="248981">
                  <a:moveTo>
                    <a:pt x="219037" y="235197"/>
                  </a:moveTo>
                  <a:cubicBezTo>
                    <a:pt x="227723" y="243081"/>
                    <a:pt x="244307" y="238481"/>
                    <a:pt x="251509" y="235197"/>
                  </a:cubicBezTo>
                  <a:cubicBezTo>
                    <a:pt x="251509" y="232236"/>
                    <a:pt x="253478" y="226314"/>
                    <a:pt x="261348" y="226314"/>
                  </a:cubicBezTo>
                  <a:cubicBezTo>
                    <a:pt x="269218" y="226314"/>
                    <a:pt x="258071" y="216475"/>
                    <a:pt x="251509" y="211559"/>
                  </a:cubicBezTo>
                  <a:cubicBezTo>
                    <a:pt x="249216" y="211559"/>
                    <a:pt x="243048" y="210567"/>
                    <a:pt x="236726" y="206607"/>
                  </a:cubicBezTo>
                  <a:cubicBezTo>
                    <a:pt x="230403" y="202641"/>
                    <a:pt x="228856" y="199708"/>
                    <a:pt x="228877" y="198744"/>
                  </a:cubicBezTo>
                  <a:cubicBezTo>
                    <a:pt x="230846" y="196768"/>
                    <a:pt x="236754" y="192816"/>
                    <a:pt x="244631" y="192816"/>
                  </a:cubicBezTo>
                  <a:lnTo>
                    <a:pt x="269197" y="192816"/>
                  </a:lnTo>
                  <a:cubicBezTo>
                    <a:pt x="277046" y="192816"/>
                    <a:pt x="278073" y="192816"/>
                    <a:pt x="261348" y="167187"/>
                  </a:cubicBezTo>
                  <a:cubicBezTo>
                    <a:pt x="252529" y="159324"/>
                    <a:pt x="251509" y="162236"/>
                    <a:pt x="244631" y="162236"/>
                  </a:cubicBezTo>
                  <a:cubicBezTo>
                    <a:pt x="237745" y="162236"/>
                    <a:pt x="234792" y="151412"/>
                    <a:pt x="228877" y="145483"/>
                  </a:cubicBezTo>
                  <a:cubicBezTo>
                    <a:pt x="222962" y="139561"/>
                    <a:pt x="219037" y="139561"/>
                    <a:pt x="219037" y="133640"/>
                  </a:cubicBezTo>
                  <a:cubicBezTo>
                    <a:pt x="219037" y="127718"/>
                    <a:pt x="219037" y="116894"/>
                    <a:pt x="209198" y="97187"/>
                  </a:cubicBezTo>
                  <a:cubicBezTo>
                    <a:pt x="205274" y="86307"/>
                    <a:pt x="209198" y="85336"/>
                    <a:pt x="209198" y="74513"/>
                  </a:cubicBezTo>
                  <a:cubicBezTo>
                    <a:pt x="209198" y="65855"/>
                    <a:pt x="203283" y="53821"/>
                    <a:pt x="200323" y="48884"/>
                  </a:cubicBezTo>
                  <a:cubicBezTo>
                    <a:pt x="203283" y="44608"/>
                    <a:pt x="209198" y="35085"/>
                    <a:pt x="209198" y="31168"/>
                  </a:cubicBezTo>
                  <a:lnTo>
                    <a:pt x="209198" y="13395"/>
                  </a:lnTo>
                  <a:cubicBezTo>
                    <a:pt x="206561" y="7811"/>
                    <a:pt x="199134" y="-2563"/>
                    <a:pt x="190483" y="581"/>
                  </a:cubicBezTo>
                  <a:cubicBezTo>
                    <a:pt x="179681" y="4513"/>
                    <a:pt x="183605" y="23249"/>
                    <a:pt x="174729" y="23249"/>
                  </a:cubicBezTo>
                  <a:cubicBezTo>
                    <a:pt x="165861" y="23249"/>
                    <a:pt x="167851" y="31168"/>
                    <a:pt x="167851" y="36070"/>
                  </a:cubicBezTo>
                  <a:lnTo>
                    <a:pt x="167851" y="59757"/>
                  </a:lnTo>
                  <a:cubicBezTo>
                    <a:pt x="167851" y="64716"/>
                    <a:pt x="173766" y="74513"/>
                    <a:pt x="167851" y="85336"/>
                  </a:cubicBezTo>
                  <a:cubicBezTo>
                    <a:pt x="161936" y="96160"/>
                    <a:pt x="171775" y="96217"/>
                    <a:pt x="167851" y="102138"/>
                  </a:cubicBezTo>
                  <a:cubicBezTo>
                    <a:pt x="164714" y="106879"/>
                    <a:pt x="158659" y="96864"/>
                    <a:pt x="156021" y="91258"/>
                  </a:cubicBezTo>
                  <a:cubicBezTo>
                    <a:pt x="154052" y="87650"/>
                    <a:pt x="150106" y="75314"/>
                    <a:pt x="150106" y="54806"/>
                  </a:cubicBezTo>
                  <a:cubicBezTo>
                    <a:pt x="150106" y="41992"/>
                    <a:pt x="143228" y="48884"/>
                    <a:pt x="143228" y="41992"/>
                  </a:cubicBezTo>
                  <a:cubicBezTo>
                    <a:pt x="143228" y="35099"/>
                    <a:pt x="122579" y="36070"/>
                    <a:pt x="124513" y="48884"/>
                  </a:cubicBezTo>
                  <a:cubicBezTo>
                    <a:pt x="126454" y="61698"/>
                    <a:pt x="143228" y="54806"/>
                    <a:pt x="143228" y="59757"/>
                  </a:cubicBezTo>
                  <a:cubicBezTo>
                    <a:pt x="143228" y="63724"/>
                    <a:pt x="136019" y="71249"/>
                    <a:pt x="132418" y="74513"/>
                  </a:cubicBezTo>
                  <a:lnTo>
                    <a:pt x="110750" y="67620"/>
                  </a:lnTo>
                  <a:lnTo>
                    <a:pt x="102901" y="54806"/>
                  </a:lnTo>
                  <a:cubicBezTo>
                    <a:pt x="102901" y="50213"/>
                    <a:pt x="100931" y="40030"/>
                    <a:pt x="93061" y="36070"/>
                  </a:cubicBezTo>
                  <a:cubicBezTo>
                    <a:pt x="89116" y="40339"/>
                    <a:pt x="79073" y="50066"/>
                    <a:pt x="70429" y="54806"/>
                  </a:cubicBezTo>
                  <a:cubicBezTo>
                    <a:pt x="61778" y="59546"/>
                    <a:pt x="62200" y="52830"/>
                    <a:pt x="63487" y="48884"/>
                  </a:cubicBezTo>
                  <a:cubicBezTo>
                    <a:pt x="64156" y="44608"/>
                    <a:pt x="65084" y="35085"/>
                    <a:pt x="63487" y="31168"/>
                  </a:cubicBezTo>
                  <a:cubicBezTo>
                    <a:pt x="61898" y="27243"/>
                    <a:pt x="64156" y="17686"/>
                    <a:pt x="65478" y="13395"/>
                  </a:cubicBezTo>
                  <a:cubicBezTo>
                    <a:pt x="61877" y="15372"/>
                    <a:pt x="53683" y="20105"/>
                    <a:pt x="49724" y="23249"/>
                  </a:cubicBezTo>
                  <a:cubicBezTo>
                    <a:pt x="44779" y="27180"/>
                    <a:pt x="41875" y="29178"/>
                    <a:pt x="37950" y="36070"/>
                  </a:cubicBezTo>
                  <a:cubicBezTo>
                    <a:pt x="34026" y="42962"/>
                    <a:pt x="25157" y="44953"/>
                    <a:pt x="16282" y="48884"/>
                  </a:cubicBezTo>
                  <a:cubicBezTo>
                    <a:pt x="7413" y="52816"/>
                    <a:pt x="11337" y="60728"/>
                    <a:pt x="3488" y="67620"/>
                  </a:cubicBezTo>
                  <a:cubicBezTo>
                    <a:pt x="-4361" y="74513"/>
                    <a:pt x="3488" y="74513"/>
                    <a:pt x="3488" y="102138"/>
                  </a:cubicBezTo>
                  <a:cubicBezTo>
                    <a:pt x="14502" y="109249"/>
                    <a:pt x="16605" y="111668"/>
                    <a:pt x="16282" y="111992"/>
                  </a:cubicBezTo>
                  <a:cubicBezTo>
                    <a:pt x="23504" y="111654"/>
                    <a:pt x="38738" y="111176"/>
                    <a:pt x="41875" y="111992"/>
                  </a:cubicBezTo>
                  <a:cubicBezTo>
                    <a:pt x="45019" y="112815"/>
                    <a:pt x="40567" y="115600"/>
                    <a:pt x="37950" y="116894"/>
                  </a:cubicBezTo>
                  <a:cubicBezTo>
                    <a:pt x="33688" y="120839"/>
                    <a:pt x="23378" y="129722"/>
                    <a:pt x="16282" y="133640"/>
                  </a:cubicBezTo>
                  <a:cubicBezTo>
                    <a:pt x="7413" y="138542"/>
                    <a:pt x="4459" y="137627"/>
                    <a:pt x="3488" y="145483"/>
                  </a:cubicBezTo>
                  <a:cubicBezTo>
                    <a:pt x="2715" y="151778"/>
                    <a:pt x="11696" y="152059"/>
                    <a:pt x="16282" y="151412"/>
                  </a:cubicBezTo>
                  <a:lnTo>
                    <a:pt x="37950" y="151412"/>
                  </a:lnTo>
                  <a:lnTo>
                    <a:pt x="65478" y="151412"/>
                  </a:lnTo>
                  <a:lnTo>
                    <a:pt x="81232" y="151412"/>
                  </a:lnTo>
                  <a:lnTo>
                    <a:pt x="93061" y="151412"/>
                  </a:lnTo>
                  <a:cubicBezTo>
                    <a:pt x="95354" y="153381"/>
                    <a:pt x="100538" y="158311"/>
                    <a:pt x="102901" y="162236"/>
                  </a:cubicBezTo>
                  <a:cubicBezTo>
                    <a:pt x="105264" y="166153"/>
                    <a:pt x="109118" y="175711"/>
                    <a:pt x="110750" y="180001"/>
                  </a:cubicBezTo>
                  <a:cubicBezTo>
                    <a:pt x="105840" y="178349"/>
                    <a:pt x="93061" y="175050"/>
                    <a:pt x="81232" y="175050"/>
                  </a:cubicBezTo>
                  <a:cubicBezTo>
                    <a:pt x="66448" y="175050"/>
                    <a:pt x="65478" y="166167"/>
                    <a:pt x="37950" y="175050"/>
                  </a:cubicBezTo>
                  <a:cubicBezTo>
                    <a:pt x="24187" y="180972"/>
                    <a:pt x="32036" y="176070"/>
                    <a:pt x="16282" y="192816"/>
                  </a:cubicBezTo>
                  <a:cubicBezTo>
                    <a:pt x="16282" y="200735"/>
                    <a:pt x="24137" y="201649"/>
                    <a:pt x="37950" y="211559"/>
                  </a:cubicBezTo>
                  <a:cubicBezTo>
                    <a:pt x="51770" y="221468"/>
                    <a:pt x="57629" y="211559"/>
                    <a:pt x="70429" y="211559"/>
                  </a:cubicBezTo>
                  <a:cubicBezTo>
                    <a:pt x="80662" y="211559"/>
                    <a:pt x="81900" y="217445"/>
                    <a:pt x="81232" y="220392"/>
                  </a:cubicBezTo>
                  <a:lnTo>
                    <a:pt x="81232" y="248982"/>
                  </a:lnTo>
                  <a:lnTo>
                    <a:pt x="110750" y="248982"/>
                  </a:lnTo>
                  <a:lnTo>
                    <a:pt x="143228" y="235197"/>
                  </a:lnTo>
                  <a:lnTo>
                    <a:pt x="161936" y="226314"/>
                  </a:lnTo>
                  <a:lnTo>
                    <a:pt x="183605" y="211559"/>
                  </a:lnTo>
                  <a:cubicBezTo>
                    <a:pt x="191791" y="216151"/>
                    <a:pt x="210345" y="227313"/>
                    <a:pt x="219037" y="23519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3" name="Freihandform: Form 38">
              <a:extLst>
                <a:ext uri="{FF2B5EF4-FFF2-40B4-BE49-F238E27FC236}">
                  <a16:creationId xmlns:a16="http://schemas.microsoft.com/office/drawing/2014/main" id="{F0EC34DB-F3A4-DC45-8B98-3E0BA2F23F0F}"/>
                </a:ext>
              </a:extLst>
            </p:cNvPr>
            <p:cNvSpPr/>
            <p:nvPr/>
          </p:nvSpPr>
          <p:spPr>
            <a:xfrm>
              <a:off x="4202982" y="2750215"/>
              <a:ext cx="153638" cy="171508"/>
            </a:xfrm>
            <a:custGeom>
              <a:avLst/>
              <a:gdLst>
                <a:gd name="connsiteX0" fmla="*/ 131970 w 153638"/>
                <a:gd name="connsiteY0" fmla="*/ 20677 h 171508"/>
                <a:gd name="connsiteX1" fmla="*/ 112292 w 153638"/>
                <a:gd name="connsiteY1" fmla="*/ 13785 h 171508"/>
                <a:gd name="connsiteX2" fmla="*/ 64066 w 153638"/>
                <a:gd name="connsiteY2" fmla="*/ 0 h 171508"/>
                <a:gd name="connsiteX3" fmla="*/ 23689 w 153638"/>
                <a:gd name="connsiteY3" fmla="*/ 5929 h 171508"/>
                <a:gd name="connsiteX4" fmla="*/ 27670 w 153638"/>
                <a:gd name="connsiteY4" fmla="*/ 20677 h 171508"/>
                <a:gd name="connsiteX5" fmla="*/ 27670 w 153638"/>
                <a:gd name="connsiteY5" fmla="*/ 46313 h 171508"/>
                <a:gd name="connsiteX6" fmla="*/ 23689 w 153638"/>
                <a:gd name="connsiteY6" fmla="*/ 63058 h 171508"/>
                <a:gd name="connsiteX7" fmla="*/ 19765 w 153638"/>
                <a:gd name="connsiteY7" fmla="*/ 94109 h 171508"/>
                <a:gd name="connsiteX8" fmla="*/ 19765 w 153638"/>
                <a:gd name="connsiteY8" fmla="*/ 94616 h 171508"/>
                <a:gd name="connsiteX9" fmla="*/ 3040 w 153638"/>
                <a:gd name="connsiteY9" fmla="*/ 113352 h 171508"/>
                <a:gd name="connsiteX10" fmla="*/ 3040 w 153638"/>
                <a:gd name="connsiteY10" fmla="*/ 131068 h 171508"/>
                <a:gd name="connsiteX11" fmla="*/ 19765 w 153638"/>
                <a:gd name="connsiteY11" fmla="*/ 142919 h 171508"/>
                <a:gd name="connsiteX12" fmla="*/ 27670 w 153638"/>
                <a:gd name="connsiteY12" fmla="*/ 162625 h 171508"/>
                <a:gd name="connsiteX13" fmla="*/ 42397 w 153638"/>
                <a:gd name="connsiteY13" fmla="*/ 171508 h 171508"/>
                <a:gd name="connsiteX14" fmla="*/ 64066 w 153638"/>
                <a:gd name="connsiteY14" fmla="*/ 162625 h 171508"/>
                <a:gd name="connsiteX15" fmla="*/ 84715 w 153638"/>
                <a:gd name="connsiteY15" fmla="*/ 147870 h 171508"/>
                <a:gd name="connsiteX16" fmla="*/ 84715 w 153638"/>
                <a:gd name="connsiteY16" fmla="*/ 131068 h 171508"/>
                <a:gd name="connsiteX17" fmla="*/ 94554 w 153638"/>
                <a:gd name="connsiteY17" fmla="*/ 100538 h 171508"/>
                <a:gd name="connsiteX18" fmla="*/ 112292 w 153638"/>
                <a:gd name="connsiteY18" fmla="*/ 76899 h 171508"/>
                <a:gd name="connsiteX19" fmla="*/ 139826 w 153638"/>
                <a:gd name="connsiteY19" fmla="*/ 68980 h 171508"/>
                <a:gd name="connsiteX20" fmla="*/ 153639 w 153638"/>
                <a:gd name="connsiteY20" fmla="*/ 46313 h 171508"/>
                <a:gd name="connsiteX21" fmla="*/ 144770 w 153638"/>
                <a:gd name="connsiteY21" fmla="*/ 29567 h 171508"/>
                <a:gd name="connsiteX22" fmla="*/ 131970 w 153638"/>
                <a:gd name="connsiteY22" fmla="*/ 20677 h 17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3638" h="171508">
                  <a:moveTo>
                    <a:pt x="131970" y="20677"/>
                  </a:moveTo>
                  <a:cubicBezTo>
                    <a:pt x="126055" y="16696"/>
                    <a:pt x="119177" y="15782"/>
                    <a:pt x="112292" y="13785"/>
                  </a:cubicBezTo>
                  <a:cubicBezTo>
                    <a:pt x="103099" y="9192"/>
                    <a:pt x="80587" y="0"/>
                    <a:pt x="64066" y="0"/>
                  </a:cubicBezTo>
                  <a:cubicBezTo>
                    <a:pt x="54227" y="0"/>
                    <a:pt x="42397" y="971"/>
                    <a:pt x="23689" y="5929"/>
                  </a:cubicBezTo>
                  <a:cubicBezTo>
                    <a:pt x="23689" y="8890"/>
                    <a:pt x="23689" y="13785"/>
                    <a:pt x="27670" y="20677"/>
                  </a:cubicBezTo>
                  <a:cubicBezTo>
                    <a:pt x="31644" y="27570"/>
                    <a:pt x="27670" y="29567"/>
                    <a:pt x="27670" y="46313"/>
                  </a:cubicBezTo>
                  <a:cubicBezTo>
                    <a:pt x="27670" y="63058"/>
                    <a:pt x="27670" y="52235"/>
                    <a:pt x="23689" y="63058"/>
                  </a:cubicBezTo>
                  <a:cubicBezTo>
                    <a:pt x="19765" y="73742"/>
                    <a:pt x="19765" y="81590"/>
                    <a:pt x="19765" y="94109"/>
                  </a:cubicBezTo>
                  <a:lnTo>
                    <a:pt x="19765" y="94616"/>
                  </a:lnTo>
                  <a:cubicBezTo>
                    <a:pt x="19765" y="107430"/>
                    <a:pt x="9925" y="105489"/>
                    <a:pt x="3040" y="113352"/>
                  </a:cubicBezTo>
                  <a:cubicBezTo>
                    <a:pt x="-2467" y="119639"/>
                    <a:pt x="747" y="127784"/>
                    <a:pt x="3040" y="131068"/>
                  </a:cubicBezTo>
                  <a:cubicBezTo>
                    <a:pt x="6986" y="133044"/>
                    <a:pt x="15847" y="138178"/>
                    <a:pt x="19765" y="142919"/>
                  </a:cubicBezTo>
                  <a:cubicBezTo>
                    <a:pt x="24653" y="148841"/>
                    <a:pt x="24709" y="157723"/>
                    <a:pt x="27670" y="162625"/>
                  </a:cubicBezTo>
                  <a:cubicBezTo>
                    <a:pt x="30033" y="166543"/>
                    <a:pt x="38473" y="170179"/>
                    <a:pt x="42397" y="171508"/>
                  </a:cubicBezTo>
                  <a:cubicBezTo>
                    <a:pt x="47651" y="168547"/>
                    <a:pt x="59333" y="162625"/>
                    <a:pt x="64066" y="162625"/>
                  </a:cubicBezTo>
                  <a:cubicBezTo>
                    <a:pt x="68799" y="162625"/>
                    <a:pt x="79799" y="152786"/>
                    <a:pt x="84715" y="147870"/>
                  </a:cubicBezTo>
                  <a:lnTo>
                    <a:pt x="84715" y="131068"/>
                  </a:lnTo>
                  <a:cubicBezTo>
                    <a:pt x="84715" y="126328"/>
                    <a:pt x="91270" y="108738"/>
                    <a:pt x="94554" y="100538"/>
                  </a:cubicBezTo>
                  <a:cubicBezTo>
                    <a:pt x="99161" y="95277"/>
                    <a:pt x="109155" y="83187"/>
                    <a:pt x="112292" y="76899"/>
                  </a:cubicBezTo>
                  <a:cubicBezTo>
                    <a:pt x="116216" y="69036"/>
                    <a:pt x="131970" y="68980"/>
                    <a:pt x="139826" y="68980"/>
                  </a:cubicBezTo>
                  <a:cubicBezTo>
                    <a:pt x="147675" y="68980"/>
                    <a:pt x="153639" y="52235"/>
                    <a:pt x="153639" y="46313"/>
                  </a:cubicBezTo>
                  <a:cubicBezTo>
                    <a:pt x="153639" y="40391"/>
                    <a:pt x="153639" y="33498"/>
                    <a:pt x="144770" y="29567"/>
                  </a:cubicBezTo>
                  <a:cubicBezTo>
                    <a:pt x="135895" y="25636"/>
                    <a:pt x="137885" y="24665"/>
                    <a:pt x="131970" y="2067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4" name="Freihandform: Form 39">
              <a:extLst>
                <a:ext uri="{FF2B5EF4-FFF2-40B4-BE49-F238E27FC236}">
                  <a16:creationId xmlns:a16="http://schemas.microsoft.com/office/drawing/2014/main" id="{D7865DD1-B86B-DD47-B330-52AD7A5EF7F2}"/>
                </a:ext>
              </a:extLst>
            </p:cNvPr>
            <p:cNvSpPr/>
            <p:nvPr/>
          </p:nvSpPr>
          <p:spPr>
            <a:xfrm>
              <a:off x="4341941" y="2604689"/>
              <a:ext cx="178303" cy="148161"/>
            </a:xfrm>
            <a:custGeom>
              <a:avLst/>
              <a:gdLst>
                <a:gd name="connsiteX0" fmla="*/ 101243 w 178303"/>
                <a:gd name="connsiteY0" fmla="*/ 2617 h 148161"/>
                <a:gd name="connsiteX1" fmla="*/ 126837 w 178303"/>
                <a:gd name="connsiteY1" fmla="*/ 2617 h 148161"/>
                <a:gd name="connsiteX2" fmla="*/ 131950 w 178303"/>
                <a:gd name="connsiteY2" fmla="*/ 16401 h 148161"/>
                <a:gd name="connsiteX3" fmla="*/ 138666 w 178303"/>
                <a:gd name="connsiteY3" fmla="*/ 28248 h 148161"/>
                <a:gd name="connsiteX4" fmla="*/ 144581 w 178303"/>
                <a:gd name="connsiteY4" fmla="*/ 55818 h 148161"/>
                <a:gd name="connsiteX5" fmla="*/ 151459 w 178303"/>
                <a:gd name="connsiteY5" fmla="*/ 60772 h 148161"/>
                <a:gd name="connsiteX6" fmla="*/ 167213 w 178303"/>
                <a:gd name="connsiteY6" fmla="*/ 46933 h 148161"/>
                <a:gd name="connsiteX7" fmla="*/ 178023 w 178303"/>
                <a:gd name="connsiteY7" fmla="*/ 60772 h 148161"/>
                <a:gd name="connsiteX8" fmla="*/ 178023 w 178303"/>
                <a:gd name="connsiteY8" fmla="*/ 88341 h 148161"/>
                <a:gd name="connsiteX9" fmla="*/ 172108 w 178303"/>
                <a:gd name="connsiteY9" fmla="*/ 101155 h 148161"/>
                <a:gd name="connsiteX10" fmla="*/ 132751 w 178303"/>
                <a:gd name="connsiteY10" fmla="*/ 105087 h 148161"/>
                <a:gd name="connsiteX11" fmla="*/ 119958 w 178303"/>
                <a:gd name="connsiteY11" fmla="*/ 111016 h 148161"/>
                <a:gd name="connsiteX12" fmla="*/ 103234 w 178303"/>
                <a:gd name="connsiteY12" fmla="*/ 115967 h 148161"/>
                <a:gd name="connsiteX13" fmla="*/ 87480 w 178303"/>
                <a:gd name="connsiteY13" fmla="*/ 129752 h 148161"/>
                <a:gd name="connsiteX14" fmla="*/ 69791 w 178303"/>
                <a:gd name="connsiteY14" fmla="*/ 145527 h 148161"/>
                <a:gd name="connsiteX15" fmla="*/ 47159 w 178303"/>
                <a:gd name="connsiteY15" fmla="*/ 145527 h 148161"/>
                <a:gd name="connsiteX16" fmla="*/ 40218 w 178303"/>
                <a:gd name="connsiteY16" fmla="*/ 129752 h 148161"/>
                <a:gd name="connsiteX17" fmla="*/ 54037 w 178303"/>
                <a:gd name="connsiteY17" fmla="*/ 120869 h 148161"/>
                <a:gd name="connsiteX18" fmla="*/ 79631 w 178303"/>
                <a:gd name="connsiteY18" fmla="*/ 115967 h 148161"/>
                <a:gd name="connsiteX19" fmla="*/ 87480 w 178303"/>
                <a:gd name="connsiteY19" fmla="*/ 98194 h 148161"/>
                <a:gd name="connsiteX20" fmla="*/ 79631 w 178303"/>
                <a:gd name="connsiteY20" fmla="*/ 98194 h 148161"/>
                <a:gd name="connsiteX21" fmla="*/ 57962 w 178303"/>
                <a:gd name="connsiteY21" fmla="*/ 98194 h 148161"/>
                <a:gd name="connsiteX22" fmla="*/ 40218 w 178303"/>
                <a:gd name="connsiteY22" fmla="*/ 98194 h 148161"/>
                <a:gd name="connsiteX23" fmla="*/ 26454 w 178303"/>
                <a:gd name="connsiteY23" fmla="*/ 105087 h 148161"/>
                <a:gd name="connsiteX24" fmla="*/ 5812 w 178303"/>
                <a:gd name="connsiteY24" fmla="*/ 98194 h 148161"/>
                <a:gd name="connsiteX25" fmla="*/ 868 w 178303"/>
                <a:gd name="connsiteY25" fmla="*/ 83446 h 148161"/>
                <a:gd name="connsiteX26" fmla="*/ 868 w 178303"/>
                <a:gd name="connsiteY26" fmla="*/ 66693 h 148161"/>
                <a:gd name="connsiteX27" fmla="*/ 14680 w 178303"/>
                <a:gd name="connsiteY27" fmla="*/ 46933 h 148161"/>
                <a:gd name="connsiteX28" fmla="*/ 18605 w 178303"/>
                <a:gd name="connsiteY28" fmla="*/ 28248 h 148161"/>
                <a:gd name="connsiteX29" fmla="*/ 40218 w 178303"/>
                <a:gd name="connsiteY29" fmla="*/ 21356 h 148161"/>
                <a:gd name="connsiteX30" fmla="*/ 57962 w 178303"/>
                <a:gd name="connsiteY30" fmla="*/ 28248 h 148161"/>
                <a:gd name="connsiteX31" fmla="*/ 79631 w 178303"/>
                <a:gd name="connsiteY31" fmla="*/ 55818 h 148161"/>
                <a:gd name="connsiteX32" fmla="*/ 79631 w 178303"/>
                <a:gd name="connsiteY32" fmla="*/ 73586 h 148161"/>
                <a:gd name="connsiteX33" fmla="*/ 103234 w 178303"/>
                <a:gd name="connsiteY33" fmla="*/ 78488 h 148161"/>
                <a:gd name="connsiteX34" fmla="*/ 126837 w 178303"/>
                <a:gd name="connsiteY34" fmla="*/ 73586 h 148161"/>
                <a:gd name="connsiteX35" fmla="*/ 126837 w 178303"/>
                <a:gd name="connsiteY35" fmla="*/ 60772 h 148161"/>
                <a:gd name="connsiteX36" fmla="*/ 109148 w 178303"/>
                <a:gd name="connsiteY36" fmla="*/ 38103 h 148161"/>
                <a:gd name="connsiteX37" fmla="*/ 101243 w 178303"/>
                <a:gd name="connsiteY37" fmla="*/ 21356 h 148161"/>
                <a:gd name="connsiteX38" fmla="*/ 101243 w 178303"/>
                <a:gd name="connsiteY38" fmla="*/ 2617 h 14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78303" h="148161">
                  <a:moveTo>
                    <a:pt x="101243" y="2617"/>
                  </a:moveTo>
                  <a:cubicBezTo>
                    <a:pt x="101243" y="-2122"/>
                    <a:pt x="118305" y="642"/>
                    <a:pt x="126837" y="2617"/>
                  </a:cubicBezTo>
                  <a:cubicBezTo>
                    <a:pt x="128257" y="5686"/>
                    <a:pt x="130691" y="11573"/>
                    <a:pt x="131950" y="16401"/>
                  </a:cubicBezTo>
                  <a:lnTo>
                    <a:pt x="138666" y="28248"/>
                  </a:lnTo>
                  <a:cubicBezTo>
                    <a:pt x="140635" y="31533"/>
                    <a:pt x="144581" y="41646"/>
                    <a:pt x="144581" y="55818"/>
                  </a:cubicBezTo>
                  <a:cubicBezTo>
                    <a:pt x="144581" y="73537"/>
                    <a:pt x="144581" y="60772"/>
                    <a:pt x="151459" y="60772"/>
                  </a:cubicBezTo>
                  <a:cubicBezTo>
                    <a:pt x="158345" y="60772"/>
                    <a:pt x="162269" y="55818"/>
                    <a:pt x="167213" y="46933"/>
                  </a:cubicBezTo>
                  <a:cubicBezTo>
                    <a:pt x="172165" y="38048"/>
                    <a:pt x="177053" y="55818"/>
                    <a:pt x="178023" y="60772"/>
                  </a:cubicBezTo>
                  <a:cubicBezTo>
                    <a:pt x="178994" y="65730"/>
                    <a:pt x="177053" y="73586"/>
                    <a:pt x="178023" y="88341"/>
                  </a:cubicBezTo>
                  <a:cubicBezTo>
                    <a:pt x="178994" y="103097"/>
                    <a:pt x="177053" y="98194"/>
                    <a:pt x="172108" y="101155"/>
                  </a:cubicBezTo>
                  <a:cubicBezTo>
                    <a:pt x="167164" y="104123"/>
                    <a:pt x="156354" y="112036"/>
                    <a:pt x="132751" y="105087"/>
                  </a:cubicBezTo>
                  <a:cubicBezTo>
                    <a:pt x="123292" y="100354"/>
                    <a:pt x="120282" y="107063"/>
                    <a:pt x="119958" y="111016"/>
                  </a:cubicBezTo>
                  <a:lnTo>
                    <a:pt x="103234" y="115967"/>
                  </a:lnTo>
                  <a:cubicBezTo>
                    <a:pt x="102573" y="120560"/>
                    <a:pt x="98493" y="129752"/>
                    <a:pt x="87480" y="129752"/>
                  </a:cubicBezTo>
                  <a:cubicBezTo>
                    <a:pt x="73716" y="129752"/>
                    <a:pt x="79631" y="139605"/>
                    <a:pt x="69791" y="145527"/>
                  </a:cubicBezTo>
                  <a:cubicBezTo>
                    <a:pt x="59952" y="151456"/>
                    <a:pt x="54037" y="145527"/>
                    <a:pt x="47159" y="145527"/>
                  </a:cubicBezTo>
                  <a:cubicBezTo>
                    <a:pt x="40274" y="145527"/>
                    <a:pt x="42208" y="137671"/>
                    <a:pt x="40218" y="129752"/>
                  </a:cubicBezTo>
                  <a:cubicBezTo>
                    <a:pt x="38234" y="121840"/>
                    <a:pt x="47159" y="122859"/>
                    <a:pt x="54037" y="120869"/>
                  </a:cubicBezTo>
                  <a:cubicBezTo>
                    <a:pt x="60923" y="118872"/>
                    <a:pt x="69791" y="118928"/>
                    <a:pt x="79631" y="115967"/>
                  </a:cubicBezTo>
                  <a:cubicBezTo>
                    <a:pt x="87501" y="113597"/>
                    <a:pt x="88148" y="103132"/>
                    <a:pt x="87480" y="98194"/>
                  </a:cubicBezTo>
                  <a:lnTo>
                    <a:pt x="79631" y="98194"/>
                  </a:lnTo>
                  <a:cubicBezTo>
                    <a:pt x="74039" y="98863"/>
                    <a:pt x="61879" y="99791"/>
                    <a:pt x="57962" y="98194"/>
                  </a:cubicBezTo>
                  <a:cubicBezTo>
                    <a:pt x="53074" y="96204"/>
                    <a:pt x="42208" y="98194"/>
                    <a:pt x="40218" y="98194"/>
                  </a:cubicBezTo>
                  <a:cubicBezTo>
                    <a:pt x="38628" y="98194"/>
                    <a:pt x="30378" y="102794"/>
                    <a:pt x="26454" y="105087"/>
                  </a:cubicBezTo>
                  <a:lnTo>
                    <a:pt x="5812" y="98194"/>
                  </a:lnTo>
                  <a:cubicBezTo>
                    <a:pt x="-3064" y="95234"/>
                    <a:pt x="868" y="89368"/>
                    <a:pt x="868" y="83446"/>
                  </a:cubicBezTo>
                  <a:lnTo>
                    <a:pt x="868" y="66693"/>
                  </a:lnTo>
                  <a:cubicBezTo>
                    <a:pt x="868" y="59801"/>
                    <a:pt x="10707" y="52857"/>
                    <a:pt x="14680" y="46933"/>
                  </a:cubicBezTo>
                  <a:cubicBezTo>
                    <a:pt x="18661" y="41010"/>
                    <a:pt x="14680" y="38103"/>
                    <a:pt x="18605" y="28248"/>
                  </a:cubicBezTo>
                  <a:cubicBezTo>
                    <a:pt x="22529" y="18394"/>
                    <a:pt x="26454" y="21356"/>
                    <a:pt x="40218" y="21356"/>
                  </a:cubicBezTo>
                  <a:cubicBezTo>
                    <a:pt x="53988" y="21356"/>
                    <a:pt x="47159" y="21356"/>
                    <a:pt x="57962" y="28248"/>
                  </a:cubicBezTo>
                  <a:cubicBezTo>
                    <a:pt x="68772" y="35141"/>
                    <a:pt x="79631" y="45964"/>
                    <a:pt x="79631" y="55818"/>
                  </a:cubicBezTo>
                  <a:lnTo>
                    <a:pt x="79631" y="73586"/>
                  </a:lnTo>
                  <a:cubicBezTo>
                    <a:pt x="82571" y="75225"/>
                    <a:pt x="91404" y="78488"/>
                    <a:pt x="103234" y="78488"/>
                  </a:cubicBezTo>
                  <a:cubicBezTo>
                    <a:pt x="118017" y="78488"/>
                    <a:pt x="119958" y="77517"/>
                    <a:pt x="126837" y="73586"/>
                  </a:cubicBezTo>
                  <a:cubicBezTo>
                    <a:pt x="132343" y="70442"/>
                    <a:pt x="129129" y="63732"/>
                    <a:pt x="126837" y="60772"/>
                  </a:cubicBezTo>
                  <a:cubicBezTo>
                    <a:pt x="124544" y="56824"/>
                    <a:pt x="117792" y="46761"/>
                    <a:pt x="109148" y="38103"/>
                  </a:cubicBezTo>
                  <a:cubicBezTo>
                    <a:pt x="98339" y="27279"/>
                    <a:pt x="101243" y="28248"/>
                    <a:pt x="101243" y="21356"/>
                  </a:cubicBezTo>
                  <a:lnTo>
                    <a:pt x="101243" y="26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5" name="Freihandform: Form 40">
              <a:extLst>
                <a:ext uri="{FF2B5EF4-FFF2-40B4-BE49-F238E27FC236}">
                  <a16:creationId xmlns:a16="http://schemas.microsoft.com/office/drawing/2014/main" id="{0CB5055C-37CF-974C-A555-7EF59C17F999}"/>
                </a:ext>
              </a:extLst>
            </p:cNvPr>
            <p:cNvSpPr/>
            <p:nvPr/>
          </p:nvSpPr>
          <p:spPr>
            <a:xfrm>
              <a:off x="4264430" y="2555072"/>
              <a:ext cx="89122" cy="100474"/>
            </a:xfrm>
            <a:custGeom>
              <a:avLst/>
              <a:gdLst>
                <a:gd name="connsiteX0" fmla="*/ 44929 w 89122"/>
                <a:gd name="connsiteY0" fmla="*/ 13785 h 100474"/>
                <a:gd name="connsiteX1" fmla="*/ 83323 w 89122"/>
                <a:gd name="connsiteY1" fmla="*/ 4900 h 100474"/>
                <a:gd name="connsiteX2" fmla="*/ 88218 w 89122"/>
                <a:gd name="connsiteY2" fmla="*/ 0 h 100474"/>
                <a:gd name="connsiteX3" fmla="*/ 83323 w 89122"/>
                <a:gd name="connsiteY3" fmla="*/ 46310 h 100474"/>
                <a:gd name="connsiteX4" fmla="*/ 78378 w 89122"/>
                <a:gd name="connsiteY4" fmla="*/ 66018 h 100474"/>
                <a:gd name="connsiteX5" fmla="*/ 44929 w 89122"/>
                <a:gd name="connsiteY5" fmla="*/ 87719 h 100474"/>
                <a:gd name="connsiteX6" fmla="*/ 33107 w 89122"/>
                <a:gd name="connsiteY6" fmla="*/ 96550 h 100474"/>
                <a:gd name="connsiteX7" fmla="*/ 8533 w 89122"/>
                <a:gd name="connsiteY7" fmla="*/ 96550 h 100474"/>
                <a:gd name="connsiteX8" fmla="*/ 2618 w 89122"/>
                <a:gd name="connsiteY8" fmla="*/ 77864 h 100474"/>
                <a:gd name="connsiteX9" fmla="*/ 2618 w 89122"/>
                <a:gd name="connsiteY9" fmla="*/ 66018 h 100474"/>
                <a:gd name="connsiteX10" fmla="*/ 8533 w 89122"/>
                <a:gd name="connsiteY10" fmla="*/ 46310 h 100474"/>
                <a:gd name="connsiteX11" fmla="*/ 23267 w 89122"/>
                <a:gd name="connsiteY11" fmla="*/ 29563 h 100474"/>
                <a:gd name="connsiteX12" fmla="*/ 44929 w 89122"/>
                <a:gd name="connsiteY12" fmla="*/ 13785 h 10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122" h="100474">
                  <a:moveTo>
                    <a:pt x="44929" y="13785"/>
                  </a:moveTo>
                  <a:lnTo>
                    <a:pt x="83323" y="4900"/>
                  </a:lnTo>
                  <a:lnTo>
                    <a:pt x="88218" y="0"/>
                  </a:lnTo>
                  <a:cubicBezTo>
                    <a:pt x="89540" y="4595"/>
                    <a:pt x="90419" y="20290"/>
                    <a:pt x="83323" y="46310"/>
                  </a:cubicBezTo>
                  <a:cubicBezTo>
                    <a:pt x="74447" y="53202"/>
                    <a:pt x="80362" y="57133"/>
                    <a:pt x="78378" y="66018"/>
                  </a:cubicBezTo>
                  <a:cubicBezTo>
                    <a:pt x="76388" y="74903"/>
                    <a:pt x="64608" y="70972"/>
                    <a:pt x="44929" y="87719"/>
                  </a:cubicBezTo>
                  <a:cubicBezTo>
                    <a:pt x="34696" y="95602"/>
                    <a:pt x="32783" y="96891"/>
                    <a:pt x="33107" y="96550"/>
                  </a:cubicBezTo>
                  <a:cubicBezTo>
                    <a:pt x="29822" y="99511"/>
                    <a:pt x="20321" y="103658"/>
                    <a:pt x="8533" y="96550"/>
                  </a:cubicBezTo>
                  <a:cubicBezTo>
                    <a:pt x="-6201" y="87665"/>
                    <a:pt x="2618" y="87719"/>
                    <a:pt x="2618" y="77864"/>
                  </a:cubicBezTo>
                  <a:lnTo>
                    <a:pt x="2618" y="66018"/>
                  </a:lnTo>
                  <a:cubicBezTo>
                    <a:pt x="2618" y="61064"/>
                    <a:pt x="2618" y="52233"/>
                    <a:pt x="8533" y="46310"/>
                  </a:cubicBezTo>
                  <a:cubicBezTo>
                    <a:pt x="13266" y="41571"/>
                    <a:pt x="20328" y="33171"/>
                    <a:pt x="23267" y="29563"/>
                  </a:cubicBezTo>
                  <a:lnTo>
                    <a:pt x="44929" y="1378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6" name="Freihandform: Form 41">
              <a:extLst>
                <a:ext uri="{FF2B5EF4-FFF2-40B4-BE49-F238E27FC236}">
                  <a16:creationId xmlns:a16="http://schemas.microsoft.com/office/drawing/2014/main" id="{8893F137-8F65-9E42-A0CF-857AF53DD313}"/>
                </a:ext>
              </a:extLst>
            </p:cNvPr>
            <p:cNvSpPr/>
            <p:nvPr/>
          </p:nvSpPr>
          <p:spPr>
            <a:xfrm>
              <a:off x="4576531" y="2770893"/>
              <a:ext cx="79793" cy="134972"/>
            </a:xfrm>
            <a:custGeom>
              <a:avLst/>
              <a:gdLst>
                <a:gd name="connsiteX0" fmla="*/ 65485 w 79793"/>
                <a:gd name="connsiteY0" fmla="*/ 25636 h 134972"/>
                <a:gd name="connsiteX1" fmla="*/ 65485 w 79793"/>
                <a:gd name="connsiteY1" fmla="*/ 32528 h 134972"/>
                <a:gd name="connsiteX2" fmla="*/ 65485 w 79793"/>
                <a:gd name="connsiteY2" fmla="*/ 56222 h 134972"/>
                <a:gd name="connsiteX3" fmla="*/ 71400 w 79793"/>
                <a:gd name="connsiteY3" fmla="*/ 73938 h 134972"/>
                <a:gd name="connsiteX4" fmla="*/ 79248 w 79793"/>
                <a:gd name="connsiteY4" fmla="*/ 92675 h 134972"/>
                <a:gd name="connsiteX5" fmla="*/ 65485 w 79793"/>
                <a:gd name="connsiteY5" fmla="*/ 127193 h 134972"/>
                <a:gd name="connsiteX6" fmla="*/ 36931 w 79793"/>
                <a:gd name="connsiteY6" fmla="*/ 127193 h 134972"/>
                <a:gd name="connsiteX7" fmla="*/ 17252 w 79793"/>
                <a:gd name="connsiteY7" fmla="*/ 116313 h 134972"/>
                <a:gd name="connsiteX8" fmla="*/ 3488 w 79793"/>
                <a:gd name="connsiteY8" fmla="*/ 84812 h 134972"/>
                <a:gd name="connsiteX9" fmla="*/ 3488 w 79793"/>
                <a:gd name="connsiteY9" fmla="*/ 61124 h 134972"/>
                <a:gd name="connsiteX10" fmla="*/ 3488 w 79793"/>
                <a:gd name="connsiteY10" fmla="*/ 48303 h 134972"/>
                <a:gd name="connsiteX11" fmla="*/ 17252 w 79793"/>
                <a:gd name="connsiteY11" fmla="*/ 48303 h 134972"/>
                <a:gd name="connsiteX12" fmla="*/ 11337 w 79793"/>
                <a:gd name="connsiteY12" fmla="*/ 32528 h 134972"/>
                <a:gd name="connsiteX13" fmla="*/ 3488 w 79793"/>
                <a:gd name="connsiteY13" fmla="*/ 17773 h 134972"/>
                <a:gd name="connsiteX14" fmla="*/ 11337 w 79793"/>
                <a:gd name="connsiteY14" fmla="*/ 8890 h 134972"/>
                <a:gd name="connsiteX15" fmla="*/ 51721 w 79793"/>
                <a:gd name="connsiteY15" fmla="*/ 0 h 134972"/>
                <a:gd name="connsiteX16" fmla="*/ 65485 w 79793"/>
                <a:gd name="connsiteY16" fmla="*/ 8890 h 134972"/>
                <a:gd name="connsiteX17" fmla="*/ 65485 w 79793"/>
                <a:gd name="connsiteY17" fmla="*/ 25636 h 134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793" h="134972">
                  <a:moveTo>
                    <a:pt x="65485" y="25636"/>
                  </a:moveTo>
                  <a:lnTo>
                    <a:pt x="65485" y="32528"/>
                  </a:lnTo>
                  <a:lnTo>
                    <a:pt x="65485" y="56222"/>
                  </a:lnTo>
                  <a:cubicBezTo>
                    <a:pt x="65485" y="64134"/>
                    <a:pt x="65485" y="67046"/>
                    <a:pt x="71400" y="73938"/>
                  </a:cubicBezTo>
                  <a:cubicBezTo>
                    <a:pt x="77307" y="80831"/>
                    <a:pt x="77307" y="84812"/>
                    <a:pt x="79248" y="92675"/>
                  </a:cubicBezTo>
                  <a:cubicBezTo>
                    <a:pt x="81183" y="100538"/>
                    <a:pt x="78278" y="104525"/>
                    <a:pt x="65485" y="127193"/>
                  </a:cubicBezTo>
                  <a:cubicBezTo>
                    <a:pt x="59570" y="138073"/>
                    <a:pt x="43816" y="137046"/>
                    <a:pt x="36931" y="127193"/>
                  </a:cubicBezTo>
                  <a:cubicBezTo>
                    <a:pt x="30052" y="117339"/>
                    <a:pt x="30052" y="122242"/>
                    <a:pt x="17252" y="116313"/>
                  </a:cubicBezTo>
                  <a:cubicBezTo>
                    <a:pt x="4459" y="110391"/>
                    <a:pt x="11337" y="99567"/>
                    <a:pt x="3488" y="84812"/>
                  </a:cubicBezTo>
                  <a:cubicBezTo>
                    <a:pt x="-4361" y="70063"/>
                    <a:pt x="3488" y="67046"/>
                    <a:pt x="3488" y="61124"/>
                  </a:cubicBezTo>
                  <a:lnTo>
                    <a:pt x="3488" y="48303"/>
                  </a:lnTo>
                  <a:lnTo>
                    <a:pt x="17252" y="48303"/>
                  </a:lnTo>
                  <a:lnTo>
                    <a:pt x="11337" y="32528"/>
                  </a:lnTo>
                  <a:lnTo>
                    <a:pt x="3488" y="17773"/>
                  </a:lnTo>
                  <a:lnTo>
                    <a:pt x="11337" y="8890"/>
                  </a:lnTo>
                  <a:cubicBezTo>
                    <a:pt x="22506" y="5929"/>
                    <a:pt x="46214" y="0"/>
                    <a:pt x="51721" y="0"/>
                  </a:cubicBezTo>
                  <a:cubicBezTo>
                    <a:pt x="58599" y="0"/>
                    <a:pt x="60534" y="8890"/>
                    <a:pt x="65485" y="8890"/>
                  </a:cubicBezTo>
                  <a:cubicBezTo>
                    <a:pt x="70429" y="8890"/>
                    <a:pt x="65485" y="15782"/>
                    <a:pt x="65485" y="25636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7" name="Freihandform: Form 42">
              <a:extLst>
                <a:ext uri="{FF2B5EF4-FFF2-40B4-BE49-F238E27FC236}">
                  <a16:creationId xmlns:a16="http://schemas.microsoft.com/office/drawing/2014/main" id="{AB215AB5-7293-B943-AC1F-B91CCBD8CA9C}"/>
                </a:ext>
              </a:extLst>
            </p:cNvPr>
            <p:cNvSpPr/>
            <p:nvPr/>
          </p:nvSpPr>
          <p:spPr>
            <a:xfrm>
              <a:off x="4752680" y="2788665"/>
              <a:ext cx="444679" cy="505852"/>
            </a:xfrm>
            <a:custGeom>
              <a:avLst/>
              <a:gdLst>
                <a:gd name="connsiteX0" fmla="*/ 321453 w 444679"/>
                <a:gd name="connsiteY0" fmla="*/ 477636 h 505852"/>
                <a:gd name="connsiteX1" fmla="*/ 379575 w 444679"/>
                <a:gd name="connsiteY1" fmla="*/ 505852 h 505852"/>
                <a:gd name="connsiteX2" fmla="*/ 379575 w 444679"/>
                <a:gd name="connsiteY2" fmla="*/ 477636 h 505852"/>
                <a:gd name="connsiteX3" fmla="*/ 363708 w 444679"/>
                <a:gd name="connsiteY3" fmla="*/ 454694 h 505852"/>
                <a:gd name="connsiteX4" fmla="*/ 353173 w 444679"/>
                <a:gd name="connsiteY4" fmla="*/ 437083 h 505852"/>
                <a:gd name="connsiteX5" fmla="*/ 379575 w 444679"/>
                <a:gd name="connsiteY5" fmla="*/ 454694 h 505852"/>
                <a:gd name="connsiteX6" fmla="*/ 391882 w 444679"/>
                <a:gd name="connsiteY6" fmla="*/ 467079 h 505852"/>
                <a:gd name="connsiteX7" fmla="*/ 407742 w 444679"/>
                <a:gd name="connsiteY7" fmla="*/ 437083 h 505852"/>
                <a:gd name="connsiteX8" fmla="*/ 379575 w 444679"/>
                <a:gd name="connsiteY8" fmla="*/ 408874 h 505852"/>
                <a:gd name="connsiteX9" fmla="*/ 353173 w 444679"/>
                <a:gd name="connsiteY9" fmla="*/ 385988 h 505852"/>
                <a:gd name="connsiteX10" fmla="*/ 353173 w 444679"/>
                <a:gd name="connsiteY10" fmla="*/ 329555 h 505852"/>
                <a:gd name="connsiteX11" fmla="*/ 391882 w 444679"/>
                <a:gd name="connsiteY11" fmla="*/ 355992 h 505852"/>
                <a:gd name="connsiteX12" fmla="*/ 407742 w 444679"/>
                <a:gd name="connsiteY12" fmla="*/ 385988 h 505852"/>
                <a:gd name="connsiteX13" fmla="*/ 444679 w 444679"/>
                <a:gd name="connsiteY13" fmla="*/ 355992 h 505852"/>
                <a:gd name="connsiteX14" fmla="*/ 444679 w 444679"/>
                <a:gd name="connsiteY14" fmla="*/ 318942 h 505852"/>
                <a:gd name="connsiteX15" fmla="*/ 420057 w 444679"/>
                <a:gd name="connsiteY15" fmla="*/ 318942 h 505852"/>
                <a:gd name="connsiteX16" fmla="*/ 391882 w 444679"/>
                <a:gd name="connsiteY16" fmla="*/ 280176 h 505852"/>
                <a:gd name="connsiteX17" fmla="*/ 363708 w 444679"/>
                <a:gd name="connsiteY17" fmla="*/ 256263 h 505852"/>
                <a:gd name="connsiteX18" fmla="*/ 353173 w 444679"/>
                <a:gd name="connsiteY18" fmla="*/ 242479 h 505852"/>
                <a:gd name="connsiteX19" fmla="*/ 321453 w 444679"/>
                <a:gd name="connsiteY19" fmla="*/ 200097 h 505852"/>
                <a:gd name="connsiteX20" fmla="*/ 286288 w 444679"/>
                <a:gd name="connsiteY20" fmla="*/ 140921 h 505852"/>
                <a:gd name="connsiteX21" fmla="*/ 272201 w 444679"/>
                <a:gd name="connsiteY21" fmla="*/ 119274 h 505852"/>
                <a:gd name="connsiteX22" fmla="*/ 254562 w 444679"/>
                <a:gd name="connsiteY22" fmla="*/ 104469 h 505852"/>
                <a:gd name="connsiteX23" fmla="*/ 236986 w 444679"/>
                <a:gd name="connsiteY23" fmla="*/ 67039 h 505852"/>
                <a:gd name="connsiteX24" fmla="*/ 219348 w 444679"/>
                <a:gd name="connsiteY24" fmla="*/ 56166 h 505852"/>
                <a:gd name="connsiteX25" fmla="*/ 184189 w 444679"/>
                <a:gd name="connsiteY25" fmla="*/ 30531 h 505852"/>
                <a:gd name="connsiteX26" fmla="*/ 175370 w 444679"/>
                <a:gd name="connsiteY26" fmla="*/ 30531 h 505852"/>
                <a:gd name="connsiteX27" fmla="*/ 156015 w 444679"/>
                <a:gd name="connsiteY27" fmla="*/ 38450 h 505852"/>
                <a:gd name="connsiteX28" fmla="*/ 143700 w 444679"/>
                <a:gd name="connsiteY28" fmla="*/ 38450 h 505852"/>
                <a:gd name="connsiteX29" fmla="*/ 143700 w 444679"/>
                <a:gd name="connsiteY29" fmla="*/ 14755 h 505852"/>
                <a:gd name="connsiteX30" fmla="*/ 126068 w 444679"/>
                <a:gd name="connsiteY30" fmla="*/ 7863 h 505852"/>
                <a:gd name="connsiteX31" fmla="*/ 96171 w 444679"/>
                <a:gd name="connsiteY31" fmla="*/ 30531 h 505852"/>
                <a:gd name="connsiteX32" fmla="*/ 85579 w 444679"/>
                <a:gd name="connsiteY32" fmla="*/ 67039 h 505852"/>
                <a:gd name="connsiteX33" fmla="*/ 85579 w 444679"/>
                <a:gd name="connsiteY33" fmla="*/ 98540 h 505852"/>
                <a:gd name="connsiteX34" fmla="*/ 71492 w 444679"/>
                <a:gd name="connsiteY34" fmla="*/ 133058 h 505852"/>
                <a:gd name="connsiteX35" fmla="*/ 60956 w 444679"/>
                <a:gd name="connsiteY35" fmla="*/ 109420 h 505852"/>
                <a:gd name="connsiteX36" fmla="*/ 71492 w 444679"/>
                <a:gd name="connsiteY36" fmla="*/ 43352 h 505852"/>
                <a:gd name="connsiteX37" fmla="*/ 71492 w 444679"/>
                <a:gd name="connsiteY37" fmla="*/ 0 h 505852"/>
                <a:gd name="connsiteX38" fmla="*/ 60956 w 444679"/>
                <a:gd name="connsiteY38" fmla="*/ 0 h 505852"/>
                <a:gd name="connsiteX39" fmla="*/ 36277 w 444679"/>
                <a:gd name="connsiteY39" fmla="*/ 14755 h 505852"/>
                <a:gd name="connsiteX40" fmla="*/ 15199 w 444679"/>
                <a:gd name="connsiteY40" fmla="*/ 43352 h 505852"/>
                <a:gd name="connsiteX41" fmla="*/ 1112 w 444679"/>
                <a:gd name="connsiteY41" fmla="*/ 98540 h 505852"/>
                <a:gd name="connsiteX42" fmla="*/ 15199 w 444679"/>
                <a:gd name="connsiteY42" fmla="*/ 140921 h 505852"/>
                <a:gd name="connsiteX43" fmla="*/ 36277 w 444679"/>
                <a:gd name="connsiteY43" fmla="*/ 174469 h 505852"/>
                <a:gd name="connsiteX44" fmla="*/ 71492 w 444679"/>
                <a:gd name="connsiteY44" fmla="*/ 187283 h 505852"/>
                <a:gd name="connsiteX45" fmla="*/ 106706 w 444679"/>
                <a:gd name="connsiteY45" fmla="*/ 187283 h 505852"/>
                <a:gd name="connsiteX46" fmla="*/ 184189 w 444679"/>
                <a:gd name="connsiteY46" fmla="*/ 187283 h 505852"/>
                <a:gd name="connsiteX47" fmla="*/ 219348 w 444679"/>
                <a:gd name="connsiteY47" fmla="*/ 200097 h 505852"/>
                <a:gd name="connsiteX48" fmla="*/ 236986 w 444679"/>
                <a:gd name="connsiteY48" fmla="*/ 218841 h 505852"/>
                <a:gd name="connsiteX49" fmla="*/ 254562 w 444679"/>
                <a:gd name="connsiteY49" fmla="*/ 242479 h 505852"/>
                <a:gd name="connsiteX50" fmla="*/ 286288 w 444679"/>
                <a:gd name="connsiteY50" fmla="*/ 280176 h 505852"/>
                <a:gd name="connsiteX51" fmla="*/ 286288 w 444679"/>
                <a:gd name="connsiteY51" fmla="*/ 306613 h 505852"/>
                <a:gd name="connsiteX52" fmla="*/ 272201 w 444679"/>
                <a:gd name="connsiteY52" fmla="*/ 329555 h 505852"/>
                <a:gd name="connsiteX53" fmla="*/ 207040 w 444679"/>
                <a:gd name="connsiteY53" fmla="*/ 385988 h 505852"/>
                <a:gd name="connsiteX54" fmla="*/ 175370 w 444679"/>
                <a:gd name="connsiteY54" fmla="*/ 408874 h 505852"/>
                <a:gd name="connsiteX55" fmla="*/ 219348 w 444679"/>
                <a:gd name="connsiteY55" fmla="*/ 421203 h 505852"/>
                <a:gd name="connsiteX56" fmla="*/ 254562 w 444679"/>
                <a:gd name="connsiteY56" fmla="*/ 421203 h 505852"/>
                <a:gd name="connsiteX57" fmla="*/ 272201 w 444679"/>
                <a:gd name="connsiteY57" fmla="*/ 437083 h 505852"/>
                <a:gd name="connsiteX58" fmla="*/ 321453 w 444679"/>
                <a:gd name="connsiteY58" fmla="*/ 477636 h 505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44679" h="505852">
                  <a:moveTo>
                    <a:pt x="321453" y="477636"/>
                  </a:moveTo>
                  <a:cubicBezTo>
                    <a:pt x="335541" y="486448"/>
                    <a:pt x="366880" y="504432"/>
                    <a:pt x="379575" y="505852"/>
                  </a:cubicBezTo>
                  <a:cubicBezTo>
                    <a:pt x="381326" y="498798"/>
                    <a:pt x="383787" y="483276"/>
                    <a:pt x="379575" y="477636"/>
                  </a:cubicBezTo>
                  <a:cubicBezTo>
                    <a:pt x="374300" y="470582"/>
                    <a:pt x="363708" y="467079"/>
                    <a:pt x="363708" y="454694"/>
                  </a:cubicBezTo>
                  <a:cubicBezTo>
                    <a:pt x="363708" y="444784"/>
                    <a:pt x="356682" y="438827"/>
                    <a:pt x="353173" y="437083"/>
                  </a:cubicBezTo>
                  <a:cubicBezTo>
                    <a:pt x="356682" y="437083"/>
                    <a:pt x="366880" y="440607"/>
                    <a:pt x="379575" y="454694"/>
                  </a:cubicBezTo>
                  <a:cubicBezTo>
                    <a:pt x="392262" y="468781"/>
                    <a:pt x="393064" y="468823"/>
                    <a:pt x="391882" y="467079"/>
                  </a:cubicBezTo>
                  <a:cubicBezTo>
                    <a:pt x="397171" y="460025"/>
                    <a:pt x="407742" y="444151"/>
                    <a:pt x="407742" y="437083"/>
                  </a:cubicBezTo>
                  <a:cubicBezTo>
                    <a:pt x="407742" y="428257"/>
                    <a:pt x="391882" y="421203"/>
                    <a:pt x="379575" y="408874"/>
                  </a:cubicBezTo>
                  <a:cubicBezTo>
                    <a:pt x="367260" y="396538"/>
                    <a:pt x="363708" y="385988"/>
                    <a:pt x="353173" y="385988"/>
                  </a:cubicBezTo>
                  <a:cubicBezTo>
                    <a:pt x="342637" y="385988"/>
                    <a:pt x="353173" y="347159"/>
                    <a:pt x="353173" y="329555"/>
                  </a:cubicBezTo>
                  <a:cubicBezTo>
                    <a:pt x="353173" y="315468"/>
                    <a:pt x="378977" y="341307"/>
                    <a:pt x="391882" y="355992"/>
                  </a:cubicBezTo>
                  <a:lnTo>
                    <a:pt x="407742" y="385988"/>
                  </a:lnTo>
                  <a:lnTo>
                    <a:pt x="444679" y="355992"/>
                  </a:lnTo>
                  <a:lnTo>
                    <a:pt x="444679" y="318942"/>
                  </a:lnTo>
                  <a:lnTo>
                    <a:pt x="420057" y="318942"/>
                  </a:lnTo>
                  <a:lnTo>
                    <a:pt x="391882" y="280176"/>
                  </a:lnTo>
                  <a:cubicBezTo>
                    <a:pt x="387782" y="272200"/>
                    <a:pt x="376403" y="256263"/>
                    <a:pt x="363708" y="256263"/>
                  </a:cubicBezTo>
                  <a:cubicBezTo>
                    <a:pt x="351020" y="256263"/>
                    <a:pt x="351400" y="247071"/>
                    <a:pt x="353173" y="242479"/>
                  </a:cubicBezTo>
                  <a:cubicBezTo>
                    <a:pt x="346132" y="230325"/>
                    <a:pt x="329921" y="204838"/>
                    <a:pt x="321453" y="200097"/>
                  </a:cubicBezTo>
                  <a:cubicBezTo>
                    <a:pt x="310862" y="194176"/>
                    <a:pt x="321453" y="187283"/>
                    <a:pt x="286288" y="140921"/>
                  </a:cubicBezTo>
                  <a:cubicBezTo>
                    <a:pt x="273973" y="129078"/>
                    <a:pt x="272201" y="124176"/>
                    <a:pt x="272201" y="119274"/>
                  </a:cubicBezTo>
                  <a:cubicBezTo>
                    <a:pt x="272201" y="115356"/>
                    <a:pt x="260442" y="107767"/>
                    <a:pt x="254562" y="104469"/>
                  </a:cubicBezTo>
                  <a:lnTo>
                    <a:pt x="236986" y="67039"/>
                  </a:lnTo>
                  <a:lnTo>
                    <a:pt x="219348" y="56166"/>
                  </a:lnTo>
                  <a:cubicBezTo>
                    <a:pt x="215247" y="50258"/>
                    <a:pt x="202468" y="36867"/>
                    <a:pt x="184189" y="30531"/>
                  </a:cubicBezTo>
                  <a:cubicBezTo>
                    <a:pt x="165903" y="24201"/>
                    <a:pt x="170693" y="27893"/>
                    <a:pt x="175370" y="30531"/>
                  </a:cubicBezTo>
                  <a:lnTo>
                    <a:pt x="156015" y="38450"/>
                  </a:lnTo>
                  <a:lnTo>
                    <a:pt x="143700" y="38450"/>
                  </a:lnTo>
                  <a:lnTo>
                    <a:pt x="143700" y="14755"/>
                  </a:lnTo>
                  <a:lnTo>
                    <a:pt x="126068" y="7863"/>
                  </a:lnTo>
                  <a:lnTo>
                    <a:pt x="96171" y="30531"/>
                  </a:lnTo>
                  <a:lnTo>
                    <a:pt x="85579" y="67039"/>
                  </a:lnTo>
                  <a:lnTo>
                    <a:pt x="85579" y="98540"/>
                  </a:lnTo>
                  <a:cubicBezTo>
                    <a:pt x="86170" y="110046"/>
                    <a:pt x="84179" y="133058"/>
                    <a:pt x="71492" y="133058"/>
                  </a:cubicBezTo>
                  <a:cubicBezTo>
                    <a:pt x="55632" y="133058"/>
                    <a:pt x="71492" y="119274"/>
                    <a:pt x="60956" y="109420"/>
                  </a:cubicBezTo>
                  <a:cubicBezTo>
                    <a:pt x="50414" y="99567"/>
                    <a:pt x="71492" y="56166"/>
                    <a:pt x="71492" y="43352"/>
                  </a:cubicBezTo>
                  <a:lnTo>
                    <a:pt x="71492" y="0"/>
                  </a:lnTo>
                  <a:lnTo>
                    <a:pt x="60956" y="0"/>
                  </a:lnTo>
                  <a:cubicBezTo>
                    <a:pt x="56258" y="0"/>
                    <a:pt x="44752" y="2954"/>
                    <a:pt x="36277" y="14755"/>
                  </a:cubicBezTo>
                  <a:cubicBezTo>
                    <a:pt x="25685" y="29511"/>
                    <a:pt x="36277" y="30531"/>
                    <a:pt x="15199" y="43352"/>
                  </a:cubicBezTo>
                  <a:cubicBezTo>
                    <a:pt x="-5879" y="56166"/>
                    <a:pt x="1112" y="81794"/>
                    <a:pt x="1112" y="98540"/>
                  </a:cubicBezTo>
                  <a:cubicBezTo>
                    <a:pt x="1112" y="115293"/>
                    <a:pt x="8159" y="119274"/>
                    <a:pt x="15199" y="140921"/>
                  </a:cubicBezTo>
                  <a:cubicBezTo>
                    <a:pt x="22239" y="162569"/>
                    <a:pt x="25735" y="158694"/>
                    <a:pt x="36277" y="174469"/>
                  </a:cubicBezTo>
                  <a:cubicBezTo>
                    <a:pt x="44703" y="187093"/>
                    <a:pt x="63263" y="188275"/>
                    <a:pt x="71492" y="187283"/>
                  </a:cubicBezTo>
                  <a:lnTo>
                    <a:pt x="106706" y="187283"/>
                  </a:lnTo>
                  <a:lnTo>
                    <a:pt x="184189" y="187283"/>
                  </a:lnTo>
                  <a:cubicBezTo>
                    <a:pt x="193002" y="187283"/>
                    <a:pt x="207040" y="187283"/>
                    <a:pt x="219348" y="200097"/>
                  </a:cubicBezTo>
                  <a:cubicBezTo>
                    <a:pt x="231662" y="212919"/>
                    <a:pt x="228167" y="206026"/>
                    <a:pt x="236986" y="218841"/>
                  </a:cubicBezTo>
                  <a:cubicBezTo>
                    <a:pt x="245799" y="231655"/>
                    <a:pt x="254562" y="233596"/>
                    <a:pt x="254562" y="242479"/>
                  </a:cubicBezTo>
                  <a:cubicBezTo>
                    <a:pt x="254562" y="251361"/>
                    <a:pt x="272201" y="266067"/>
                    <a:pt x="286288" y="280176"/>
                  </a:cubicBezTo>
                  <a:cubicBezTo>
                    <a:pt x="300375" y="294284"/>
                    <a:pt x="286288" y="296056"/>
                    <a:pt x="286288" y="306613"/>
                  </a:cubicBezTo>
                  <a:cubicBezTo>
                    <a:pt x="286288" y="317170"/>
                    <a:pt x="272201" y="317219"/>
                    <a:pt x="272201" y="329555"/>
                  </a:cubicBezTo>
                  <a:cubicBezTo>
                    <a:pt x="272201" y="341884"/>
                    <a:pt x="272201" y="354213"/>
                    <a:pt x="207040" y="385988"/>
                  </a:cubicBezTo>
                  <a:cubicBezTo>
                    <a:pt x="194725" y="385988"/>
                    <a:pt x="177142" y="400040"/>
                    <a:pt x="175370" y="408874"/>
                  </a:cubicBezTo>
                  <a:cubicBezTo>
                    <a:pt x="173590" y="417700"/>
                    <a:pt x="207040" y="421203"/>
                    <a:pt x="219348" y="421203"/>
                  </a:cubicBezTo>
                  <a:cubicBezTo>
                    <a:pt x="231662" y="421203"/>
                    <a:pt x="236986" y="419479"/>
                    <a:pt x="254562" y="421203"/>
                  </a:cubicBezTo>
                  <a:cubicBezTo>
                    <a:pt x="268628" y="422581"/>
                    <a:pt x="272180" y="432364"/>
                    <a:pt x="272201" y="437083"/>
                  </a:cubicBezTo>
                  <a:lnTo>
                    <a:pt x="321453" y="47763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8" name="Freihandform: Form 43">
              <a:extLst>
                <a:ext uri="{FF2B5EF4-FFF2-40B4-BE49-F238E27FC236}">
                  <a16:creationId xmlns:a16="http://schemas.microsoft.com/office/drawing/2014/main" id="{8A4F8FFC-3064-F54B-AA41-5B9E7E77286E}"/>
                </a:ext>
              </a:extLst>
            </p:cNvPr>
            <p:cNvSpPr/>
            <p:nvPr/>
          </p:nvSpPr>
          <p:spPr>
            <a:xfrm>
              <a:off x="4670407" y="2581378"/>
              <a:ext cx="257642" cy="159763"/>
            </a:xfrm>
            <a:custGeom>
              <a:avLst/>
              <a:gdLst>
                <a:gd name="connsiteX0" fmla="*/ 238288 w 257642"/>
                <a:gd name="connsiteY0" fmla="*/ 144179 h 159763"/>
                <a:gd name="connsiteX1" fmla="*/ 257643 w 257642"/>
                <a:gd name="connsiteY1" fmla="*/ 128397 h 159763"/>
                <a:gd name="connsiteX2" fmla="*/ 238288 w 257642"/>
                <a:gd name="connsiteY2" fmla="*/ 101798 h 159763"/>
                <a:gd name="connsiteX3" fmla="*/ 214790 w 257642"/>
                <a:gd name="connsiteY3" fmla="*/ 90004 h 159763"/>
                <a:gd name="connsiteX4" fmla="*/ 203769 w 257642"/>
                <a:gd name="connsiteY4" fmla="*/ 90004 h 159763"/>
                <a:gd name="connsiteX5" fmla="*/ 178444 w 257642"/>
                <a:gd name="connsiteY5" fmla="*/ 96896 h 159763"/>
                <a:gd name="connsiteX6" fmla="*/ 143229 w 257642"/>
                <a:gd name="connsiteY6" fmla="*/ 106756 h 159763"/>
                <a:gd name="connsiteX7" fmla="*/ 118550 w 257642"/>
                <a:gd name="connsiteY7" fmla="*/ 84082 h 159763"/>
                <a:gd name="connsiteX8" fmla="*/ 106826 w 257642"/>
                <a:gd name="connsiteY8" fmla="*/ 70190 h 159763"/>
                <a:gd name="connsiteX9" fmla="*/ 93329 w 257642"/>
                <a:gd name="connsiteY9" fmla="*/ 32065 h 159763"/>
                <a:gd name="connsiteX10" fmla="*/ 57742 w 257642"/>
                <a:gd name="connsiteY10" fmla="*/ 25927 h 159763"/>
                <a:gd name="connsiteX11" fmla="*/ 45483 w 257642"/>
                <a:gd name="connsiteY11" fmla="*/ 18549 h 159763"/>
                <a:gd name="connsiteX12" fmla="*/ 28274 w 257642"/>
                <a:gd name="connsiteY12" fmla="*/ 1372 h 159763"/>
                <a:gd name="connsiteX13" fmla="*/ 50 w 257642"/>
                <a:gd name="connsiteY13" fmla="*/ 20004 h 159763"/>
                <a:gd name="connsiteX14" fmla="*/ 9889 w 257642"/>
                <a:gd name="connsiteY14" fmla="*/ 39712 h 159763"/>
                <a:gd name="connsiteX15" fmla="*/ 28274 w 257642"/>
                <a:gd name="connsiteY15" fmla="*/ 51558 h 159763"/>
                <a:gd name="connsiteX16" fmla="*/ 51609 w 257642"/>
                <a:gd name="connsiteY16" fmla="*/ 70190 h 159763"/>
                <a:gd name="connsiteX17" fmla="*/ 57742 w 257642"/>
                <a:gd name="connsiteY17" fmla="*/ 92325 h 159763"/>
                <a:gd name="connsiteX18" fmla="*/ 63868 w 257642"/>
                <a:gd name="connsiteY18" fmla="*/ 134326 h 159763"/>
                <a:gd name="connsiteX19" fmla="*/ 72469 w 257642"/>
                <a:gd name="connsiteY19" fmla="*/ 153062 h 159763"/>
                <a:gd name="connsiteX20" fmla="*/ 131343 w 257642"/>
                <a:gd name="connsiteY20" fmla="*/ 158660 h 159763"/>
                <a:gd name="connsiteX21" fmla="*/ 178444 w 257642"/>
                <a:gd name="connsiteY21" fmla="*/ 158660 h 159763"/>
                <a:gd name="connsiteX22" fmla="*/ 203769 w 257642"/>
                <a:gd name="connsiteY22" fmla="*/ 158660 h 159763"/>
                <a:gd name="connsiteX23" fmla="*/ 238288 w 257642"/>
                <a:gd name="connsiteY23" fmla="*/ 144179 h 15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7642" h="159763">
                  <a:moveTo>
                    <a:pt x="238288" y="144179"/>
                  </a:moveTo>
                  <a:cubicBezTo>
                    <a:pt x="248134" y="137069"/>
                    <a:pt x="255294" y="130697"/>
                    <a:pt x="257643" y="128397"/>
                  </a:cubicBezTo>
                  <a:cubicBezTo>
                    <a:pt x="257643" y="115780"/>
                    <a:pt x="244737" y="105406"/>
                    <a:pt x="238288" y="101798"/>
                  </a:cubicBezTo>
                  <a:cubicBezTo>
                    <a:pt x="234180" y="97867"/>
                    <a:pt x="223736" y="90004"/>
                    <a:pt x="214790" y="90004"/>
                  </a:cubicBezTo>
                  <a:lnTo>
                    <a:pt x="203769" y="90004"/>
                  </a:lnTo>
                  <a:cubicBezTo>
                    <a:pt x="200900" y="90777"/>
                    <a:pt x="191820" y="93239"/>
                    <a:pt x="178444" y="96896"/>
                  </a:cubicBezTo>
                  <a:cubicBezTo>
                    <a:pt x="161726" y="101475"/>
                    <a:pt x="153764" y="106756"/>
                    <a:pt x="143229" y="106756"/>
                  </a:cubicBezTo>
                  <a:cubicBezTo>
                    <a:pt x="132686" y="106756"/>
                    <a:pt x="125217" y="97220"/>
                    <a:pt x="118550" y="84082"/>
                  </a:cubicBezTo>
                  <a:cubicBezTo>
                    <a:pt x="113212" y="73572"/>
                    <a:pt x="108514" y="70441"/>
                    <a:pt x="106826" y="70190"/>
                  </a:cubicBezTo>
                  <a:cubicBezTo>
                    <a:pt x="103710" y="63979"/>
                    <a:pt x="96642" y="47660"/>
                    <a:pt x="93329" y="32065"/>
                  </a:cubicBezTo>
                  <a:cubicBezTo>
                    <a:pt x="89194" y="12573"/>
                    <a:pt x="82259" y="32065"/>
                    <a:pt x="57742" y="25927"/>
                  </a:cubicBezTo>
                  <a:cubicBezTo>
                    <a:pt x="46714" y="20973"/>
                    <a:pt x="51609" y="20004"/>
                    <a:pt x="45483" y="18549"/>
                  </a:cubicBezTo>
                  <a:cubicBezTo>
                    <a:pt x="39351" y="17096"/>
                    <a:pt x="35644" y="7511"/>
                    <a:pt x="28274" y="1372"/>
                  </a:cubicBezTo>
                  <a:cubicBezTo>
                    <a:pt x="20910" y="-4767"/>
                    <a:pt x="-1188" y="11172"/>
                    <a:pt x="50" y="20004"/>
                  </a:cubicBezTo>
                  <a:cubicBezTo>
                    <a:pt x="1288" y="28834"/>
                    <a:pt x="4994" y="25927"/>
                    <a:pt x="9889" y="39712"/>
                  </a:cubicBezTo>
                  <a:cubicBezTo>
                    <a:pt x="13800" y="50740"/>
                    <a:pt x="23779" y="52205"/>
                    <a:pt x="28274" y="51558"/>
                  </a:cubicBezTo>
                  <a:cubicBezTo>
                    <a:pt x="33598" y="54843"/>
                    <a:pt x="45716" y="63168"/>
                    <a:pt x="51609" y="70190"/>
                  </a:cubicBezTo>
                  <a:cubicBezTo>
                    <a:pt x="58973" y="78967"/>
                    <a:pt x="56504" y="79129"/>
                    <a:pt x="57742" y="92325"/>
                  </a:cubicBezTo>
                  <a:cubicBezTo>
                    <a:pt x="58973" y="105512"/>
                    <a:pt x="58973" y="121505"/>
                    <a:pt x="63868" y="134326"/>
                  </a:cubicBezTo>
                  <a:cubicBezTo>
                    <a:pt x="67785" y="144573"/>
                    <a:pt x="71232" y="151086"/>
                    <a:pt x="72469" y="153062"/>
                  </a:cubicBezTo>
                  <a:cubicBezTo>
                    <a:pt x="87830" y="154926"/>
                    <a:pt x="121110" y="158660"/>
                    <a:pt x="131343" y="158660"/>
                  </a:cubicBezTo>
                  <a:lnTo>
                    <a:pt x="178444" y="158660"/>
                  </a:lnTo>
                  <a:cubicBezTo>
                    <a:pt x="189035" y="158660"/>
                    <a:pt x="188979" y="161143"/>
                    <a:pt x="203769" y="158660"/>
                  </a:cubicBezTo>
                  <a:cubicBezTo>
                    <a:pt x="218553" y="156185"/>
                    <a:pt x="225973" y="153062"/>
                    <a:pt x="238288" y="144179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9" name="Freihandform: Form 44">
              <a:extLst>
                <a:ext uri="{FF2B5EF4-FFF2-40B4-BE49-F238E27FC236}">
                  <a16:creationId xmlns:a16="http://schemas.microsoft.com/office/drawing/2014/main" id="{7C2656CF-600F-FB49-81C5-504C24BF5AB7}"/>
                </a:ext>
              </a:extLst>
            </p:cNvPr>
            <p:cNvSpPr/>
            <p:nvPr/>
          </p:nvSpPr>
          <p:spPr>
            <a:xfrm>
              <a:off x="4547548" y="2606142"/>
              <a:ext cx="169809" cy="129001"/>
            </a:xfrm>
            <a:custGeom>
              <a:avLst/>
              <a:gdLst>
                <a:gd name="connsiteX0" fmla="*/ 132749 w 169809"/>
                <a:gd name="connsiteY0" fmla="*/ 109562 h 129001"/>
                <a:gd name="connsiteX1" fmla="*/ 162210 w 169809"/>
                <a:gd name="connsiteY1" fmla="*/ 129002 h 129001"/>
                <a:gd name="connsiteX2" fmla="*/ 162210 w 169809"/>
                <a:gd name="connsiteY2" fmla="*/ 114513 h 129001"/>
                <a:gd name="connsiteX3" fmla="*/ 151133 w 169809"/>
                <a:gd name="connsiteY3" fmla="*/ 96741 h 129001"/>
                <a:gd name="connsiteX4" fmla="*/ 145008 w 169809"/>
                <a:gd name="connsiteY4" fmla="*/ 76120 h 129001"/>
                <a:gd name="connsiteX5" fmla="*/ 132749 w 169809"/>
                <a:gd name="connsiteY5" fmla="*/ 65240 h 129001"/>
                <a:gd name="connsiteX6" fmla="*/ 108232 w 169809"/>
                <a:gd name="connsiteY6" fmla="*/ 65240 h 129001"/>
                <a:gd name="connsiteX7" fmla="*/ 94468 w 169809"/>
                <a:gd name="connsiteY7" fmla="*/ 45426 h 129001"/>
                <a:gd name="connsiteX8" fmla="*/ 80704 w 169809"/>
                <a:gd name="connsiteY8" fmla="*/ 14948 h 129001"/>
                <a:gd name="connsiteX9" fmla="*/ 65914 w 169809"/>
                <a:gd name="connsiteY9" fmla="*/ 59318 h 129001"/>
                <a:gd name="connsiteX10" fmla="*/ 52959 w 169809"/>
                <a:gd name="connsiteY10" fmla="*/ 54365 h 129001"/>
                <a:gd name="connsiteX11" fmla="*/ 46235 w 169809"/>
                <a:gd name="connsiteY11" fmla="*/ 14948 h 129001"/>
                <a:gd name="connsiteX12" fmla="*/ 40321 w 169809"/>
                <a:gd name="connsiteY12" fmla="*/ 36649 h 129001"/>
                <a:gd name="connsiteX13" fmla="*/ 32472 w 169809"/>
                <a:gd name="connsiteY13" fmla="*/ 45480 h 129001"/>
                <a:gd name="connsiteX14" fmla="*/ 22632 w 169809"/>
                <a:gd name="connsiteY14" fmla="*/ 26794 h 129001"/>
                <a:gd name="connsiteX15" fmla="*/ 7849 w 169809"/>
                <a:gd name="connsiteY15" fmla="*/ 1163 h 129001"/>
                <a:gd name="connsiteX16" fmla="*/ 0 w 169809"/>
                <a:gd name="connsiteY16" fmla="*/ 19902 h 129001"/>
                <a:gd name="connsiteX17" fmla="*/ 0 w 169809"/>
                <a:gd name="connsiteY17" fmla="*/ 54365 h 129001"/>
                <a:gd name="connsiteX18" fmla="*/ 15754 w 169809"/>
                <a:gd name="connsiteY18" fmla="*/ 86888 h 129001"/>
                <a:gd name="connsiteX19" fmla="*/ 46235 w 169809"/>
                <a:gd name="connsiteY19" fmla="*/ 109562 h 129001"/>
                <a:gd name="connsiteX20" fmla="*/ 100383 w 169809"/>
                <a:gd name="connsiteY20" fmla="*/ 86888 h 129001"/>
                <a:gd name="connsiteX21" fmla="*/ 108232 w 169809"/>
                <a:gd name="connsiteY21" fmla="*/ 86888 h 129001"/>
                <a:gd name="connsiteX22" fmla="*/ 132749 w 169809"/>
                <a:gd name="connsiteY22" fmla="*/ 109562 h 129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9809" h="129001">
                  <a:moveTo>
                    <a:pt x="132749" y="109562"/>
                  </a:moveTo>
                  <a:cubicBezTo>
                    <a:pt x="142588" y="119415"/>
                    <a:pt x="156028" y="124043"/>
                    <a:pt x="162210" y="129002"/>
                  </a:cubicBezTo>
                  <a:cubicBezTo>
                    <a:pt x="175974" y="125077"/>
                    <a:pt x="167942" y="117706"/>
                    <a:pt x="162210" y="114513"/>
                  </a:cubicBezTo>
                  <a:lnTo>
                    <a:pt x="151133" y="96741"/>
                  </a:lnTo>
                  <a:cubicBezTo>
                    <a:pt x="151133" y="91825"/>
                    <a:pt x="149910" y="80818"/>
                    <a:pt x="145008" y="76120"/>
                  </a:cubicBezTo>
                  <a:cubicBezTo>
                    <a:pt x="140099" y="71422"/>
                    <a:pt x="134789" y="66914"/>
                    <a:pt x="132749" y="65240"/>
                  </a:cubicBezTo>
                  <a:lnTo>
                    <a:pt x="108232" y="65240"/>
                  </a:lnTo>
                  <a:cubicBezTo>
                    <a:pt x="105615" y="61618"/>
                    <a:pt x="99194" y="52577"/>
                    <a:pt x="94468" y="45426"/>
                  </a:cubicBezTo>
                  <a:cubicBezTo>
                    <a:pt x="89735" y="38275"/>
                    <a:pt x="83321" y="22128"/>
                    <a:pt x="80704" y="14948"/>
                  </a:cubicBezTo>
                  <a:cubicBezTo>
                    <a:pt x="80704" y="25107"/>
                    <a:pt x="77743" y="48204"/>
                    <a:pt x="65914" y="59318"/>
                  </a:cubicBezTo>
                  <a:lnTo>
                    <a:pt x="52959" y="54365"/>
                  </a:lnTo>
                  <a:cubicBezTo>
                    <a:pt x="53782" y="42878"/>
                    <a:pt x="53592" y="18911"/>
                    <a:pt x="46235" y="14948"/>
                  </a:cubicBezTo>
                  <a:cubicBezTo>
                    <a:pt x="37043" y="9994"/>
                    <a:pt x="40321" y="19902"/>
                    <a:pt x="40321" y="36649"/>
                  </a:cubicBezTo>
                  <a:cubicBezTo>
                    <a:pt x="40321" y="50046"/>
                    <a:pt x="35088" y="48119"/>
                    <a:pt x="32472" y="45480"/>
                  </a:cubicBezTo>
                  <a:cubicBezTo>
                    <a:pt x="32472" y="42536"/>
                    <a:pt x="30502" y="34678"/>
                    <a:pt x="22632" y="26794"/>
                  </a:cubicBezTo>
                  <a:cubicBezTo>
                    <a:pt x="12793" y="16940"/>
                    <a:pt x="7849" y="7302"/>
                    <a:pt x="7849" y="1163"/>
                  </a:cubicBezTo>
                  <a:cubicBezTo>
                    <a:pt x="7849" y="-4976"/>
                    <a:pt x="0" y="14948"/>
                    <a:pt x="0" y="19902"/>
                  </a:cubicBezTo>
                  <a:lnTo>
                    <a:pt x="0" y="54365"/>
                  </a:lnTo>
                  <a:cubicBezTo>
                    <a:pt x="0" y="63306"/>
                    <a:pt x="7849" y="72132"/>
                    <a:pt x="15754" y="86888"/>
                  </a:cubicBezTo>
                  <a:cubicBezTo>
                    <a:pt x="23652" y="101643"/>
                    <a:pt x="32472" y="99702"/>
                    <a:pt x="46235" y="109562"/>
                  </a:cubicBezTo>
                  <a:cubicBezTo>
                    <a:pt x="59999" y="119415"/>
                    <a:pt x="65914" y="109562"/>
                    <a:pt x="100383" y="86888"/>
                  </a:cubicBezTo>
                  <a:cubicBezTo>
                    <a:pt x="127952" y="68756"/>
                    <a:pt x="117100" y="79334"/>
                    <a:pt x="108232" y="86888"/>
                  </a:cubicBezTo>
                  <a:cubicBezTo>
                    <a:pt x="113120" y="91164"/>
                    <a:pt x="124879" y="101678"/>
                    <a:pt x="132749" y="109562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0" name="Freihandform: Form 45">
              <a:extLst>
                <a:ext uri="{FF2B5EF4-FFF2-40B4-BE49-F238E27FC236}">
                  <a16:creationId xmlns:a16="http://schemas.microsoft.com/office/drawing/2014/main" id="{D4ECD3D0-4982-D748-BAED-CFA70AF2606E}"/>
                </a:ext>
              </a:extLst>
            </p:cNvPr>
            <p:cNvSpPr/>
            <p:nvPr/>
          </p:nvSpPr>
          <p:spPr>
            <a:xfrm>
              <a:off x="4667836" y="2014762"/>
              <a:ext cx="523739" cy="618645"/>
            </a:xfrm>
            <a:custGeom>
              <a:avLst/>
              <a:gdLst>
                <a:gd name="connsiteX0" fmla="*/ 109397 w 523739"/>
                <a:gd name="connsiteY0" fmla="*/ 598682 h 618645"/>
                <a:gd name="connsiteX1" fmla="*/ 109397 w 523739"/>
                <a:gd name="connsiteY1" fmla="*/ 578650 h 618645"/>
                <a:gd name="connsiteX2" fmla="*/ 145801 w 523739"/>
                <a:gd name="connsiteY2" fmla="*/ 560180 h 618645"/>
                <a:gd name="connsiteX3" fmla="*/ 121121 w 523739"/>
                <a:gd name="connsiteY3" fmla="*/ 538318 h 618645"/>
                <a:gd name="connsiteX4" fmla="*/ 145801 w 523739"/>
                <a:gd name="connsiteY4" fmla="*/ 512309 h 618645"/>
                <a:gd name="connsiteX5" fmla="*/ 167948 w 523739"/>
                <a:gd name="connsiteY5" fmla="*/ 512309 h 618645"/>
                <a:gd name="connsiteX6" fmla="*/ 185530 w 523739"/>
                <a:gd name="connsiteY6" fmla="*/ 499709 h 618645"/>
                <a:gd name="connsiteX7" fmla="*/ 185530 w 523739"/>
                <a:gd name="connsiteY7" fmla="*/ 482046 h 618645"/>
                <a:gd name="connsiteX8" fmla="*/ 156336 w 523739"/>
                <a:gd name="connsiteY8" fmla="*/ 463577 h 618645"/>
                <a:gd name="connsiteX9" fmla="*/ 167948 w 523739"/>
                <a:gd name="connsiteY9" fmla="*/ 445106 h 618645"/>
                <a:gd name="connsiteX10" fmla="*/ 95901 w 523739"/>
                <a:gd name="connsiteY10" fmla="*/ 482046 h 618645"/>
                <a:gd name="connsiteX11" fmla="*/ 66439 w 523739"/>
                <a:gd name="connsiteY11" fmla="*/ 482046 h 618645"/>
                <a:gd name="connsiteX12" fmla="*/ 30845 w 523739"/>
                <a:gd name="connsiteY12" fmla="*/ 426960 h 618645"/>
                <a:gd name="connsiteX13" fmla="*/ 30845 w 523739"/>
                <a:gd name="connsiteY13" fmla="*/ 397559 h 618645"/>
                <a:gd name="connsiteX14" fmla="*/ 12461 w 523739"/>
                <a:gd name="connsiteY14" fmla="*/ 368211 h 618645"/>
                <a:gd name="connsiteX15" fmla="*/ 2622 w 523739"/>
                <a:gd name="connsiteY15" fmla="*/ 309463 h 618645"/>
                <a:gd name="connsiteX16" fmla="*/ 12461 w 523739"/>
                <a:gd name="connsiteY16" fmla="*/ 245491 h 618645"/>
                <a:gd name="connsiteX17" fmla="*/ 30845 w 523739"/>
                <a:gd name="connsiteY17" fmla="*/ 207474 h 618645"/>
                <a:gd name="connsiteX18" fmla="*/ 48055 w 523739"/>
                <a:gd name="connsiteY18" fmla="*/ 224759 h 618645"/>
                <a:gd name="connsiteX19" fmla="*/ 121121 w 523739"/>
                <a:gd name="connsiteY19" fmla="*/ 295624 h 618645"/>
                <a:gd name="connsiteX20" fmla="*/ 162680 w 523739"/>
                <a:gd name="connsiteY20" fmla="*/ 295624 h 618645"/>
                <a:gd name="connsiteX21" fmla="*/ 210912 w 523739"/>
                <a:gd name="connsiteY21" fmla="*/ 288731 h 618645"/>
                <a:gd name="connsiteX22" fmla="*/ 251775 w 523739"/>
                <a:gd name="connsiteY22" fmla="*/ 274893 h 618645"/>
                <a:gd name="connsiteX23" fmla="*/ 210912 w 523739"/>
                <a:gd name="connsiteY23" fmla="*/ 262777 h 618645"/>
                <a:gd name="connsiteX24" fmla="*/ 145801 w 523739"/>
                <a:gd name="connsiteY24" fmla="*/ 262777 h 618645"/>
                <a:gd name="connsiteX25" fmla="*/ 100043 w 523739"/>
                <a:gd name="connsiteY25" fmla="*/ 245491 h 618645"/>
                <a:gd name="connsiteX26" fmla="*/ 75041 w 523739"/>
                <a:gd name="connsiteY26" fmla="*/ 207474 h 618645"/>
                <a:gd name="connsiteX27" fmla="*/ 60314 w 523739"/>
                <a:gd name="connsiteY27" fmla="*/ 176404 h 618645"/>
                <a:gd name="connsiteX28" fmla="*/ 75041 w 523739"/>
                <a:gd name="connsiteY28" fmla="*/ 143557 h 618645"/>
                <a:gd name="connsiteX29" fmla="*/ 100043 w 523739"/>
                <a:gd name="connsiteY29" fmla="*/ 133164 h 618645"/>
                <a:gd name="connsiteX30" fmla="*/ 145801 w 523739"/>
                <a:gd name="connsiteY30" fmla="*/ 112433 h 618645"/>
                <a:gd name="connsiteX31" fmla="*/ 156336 w 523739"/>
                <a:gd name="connsiteY31" fmla="*/ 81362 h 618645"/>
                <a:gd name="connsiteX32" fmla="*/ 200637 w 523739"/>
                <a:gd name="connsiteY32" fmla="*/ 100370 h 618645"/>
                <a:gd name="connsiteX33" fmla="*/ 240859 w 523739"/>
                <a:gd name="connsiteY33" fmla="*/ 133164 h 618645"/>
                <a:gd name="connsiteX34" fmla="*/ 240859 w 523739"/>
                <a:gd name="connsiteY34" fmla="*/ 112433 h 618645"/>
                <a:gd name="connsiteX35" fmla="*/ 210912 w 523739"/>
                <a:gd name="connsiteY35" fmla="*/ 93424 h 618645"/>
                <a:gd name="connsiteX36" fmla="*/ 217362 w 523739"/>
                <a:gd name="connsiteY36" fmla="*/ 51961 h 618645"/>
                <a:gd name="connsiteX37" fmla="*/ 228544 w 523739"/>
                <a:gd name="connsiteY37" fmla="*/ 51961 h 618645"/>
                <a:gd name="connsiteX38" fmla="*/ 260214 w 523739"/>
                <a:gd name="connsiteY38" fmla="*/ 32952 h 618645"/>
                <a:gd name="connsiteX39" fmla="*/ 269034 w 523739"/>
                <a:gd name="connsiteY39" fmla="*/ 32952 h 618645"/>
                <a:gd name="connsiteX40" fmla="*/ 308763 w 523739"/>
                <a:gd name="connsiteY40" fmla="*/ 32952 h 618645"/>
                <a:gd name="connsiteX41" fmla="*/ 355913 w 523739"/>
                <a:gd name="connsiteY41" fmla="*/ 32952 h 618645"/>
                <a:gd name="connsiteX42" fmla="*/ 339406 w 523739"/>
                <a:gd name="connsiteY42" fmla="*/ 5328 h 618645"/>
                <a:gd name="connsiteX43" fmla="*/ 371132 w 523739"/>
                <a:gd name="connsiteY43" fmla="*/ 5328 h 618645"/>
                <a:gd name="connsiteX44" fmla="*/ 433551 w 523739"/>
                <a:gd name="connsiteY44" fmla="*/ 51961 h 618645"/>
                <a:gd name="connsiteX45" fmla="*/ 480166 w 523739"/>
                <a:gd name="connsiteY45" fmla="*/ 41622 h 618645"/>
                <a:gd name="connsiteX46" fmla="*/ 502587 w 523739"/>
                <a:gd name="connsiteY46" fmla="*/ 51961 h 618645"/>
                <a:gd name="connsiteX47" fmla="*/ 521570 w 523739"/>
                <a:gd name="connsiteY47" fmla="*/ 112433 h 618645"/>
                <a:gd name="connsiteX48" fmla="*/ 502587 w 523739"/>
                <a:gd name="connsiteY48" fmla="*/ 143557 h 618645"/>
                <a:gd name="connsiteX49" fmla="*/ 445655 w 523739"/>
                <a:gd name="connsiteY49" fmla="*/ 176404 h 618645"/>
                <a:gd name="connsiteX50" fmla="*/ 424949 w 523739"/>
                <a:gd name="connsiteY50" fmla="*/ 207474 h 618645"/>
                <a:gd name="connsiteX51" fmla="*/ 469792 w 523739"/>
                <a:gd name="connsiteY51" fmla="*/ 186743 h 618645"/>
                <a:gd name="connsiteX52" fmla="*/ 445655 w 523739"/>
                <a:gd name="connsiteY52" fmla="*/ 224759 h 618645"/>
                <a:gd name="connsiteX53" fmla="*/ 424949 w 523739"/>
                <a:gd name="connsiteY53" fmla="*/ 262777 h 618645"/>
                <a:gd name="connsiteX54" fmla="*/ 406298 w 523739"/>
                <a:gd name="connsiteY54" fmla="*/ 309463 h 618645"/>
                <a:gd name="connsiteX55" fmla="*/ 371132 w 523739"/>
                <a:gd name="connsiteY55" fmla="*/ 356095 h 618645"/>
                <a:gd name="connsiteX56" fmla="*/ 339406 w 523739"/>
                <a:gd name="connsiteY56" fmla="*/ 383773 h 618645"/>
                <a:gd name="connsiteX57" fmla="*/ 320537 w 523739"/>
                <a:gd name="connsiteY57" fmla="*/ 383773 h 618645"/>
                <a:gd name="connsiteX58" fmla="*/ 328062 w 523739"/>
                <a:gd name="connsiteY58" fmla="*/ 445106 h 618645"/>
                <a:gd name="connsiteX59" fmla="*/ 320537 w 523739"/>
                <a:gd name="connsiteY59" fmla="*/ 463577 h 618645"/>
                <a:gd name="connsiteX60" fmla="*/ 308763 w 523739"/>
                <a:gd name="connsiteY60" fmla="*/ 482046 h 618645"/>
                <a:gd name="connsiteX61" fmla="*/ 289514 w 523739"/>
                <a:gd name="connsiteY61" fmla="*/ 499709 h 618645"/>
                <a:gd name="connsiteX62" fmla="*/ 282797 w 523739"/>
                <a:gd name="connsiteY62" fmla="*/ 512309 h 618645"/>
                <a:gd name="connsiteX63" fmla="*/ 282797 w 523739"/>
                <a:gd name="connsiteY63" fmla="*/ 531587 h 618645"/>
                <a:gd name="connsiteX64" fmla="*/ 265215 w 523739"/>
                <a:gd name="connsiteY64" fmla="*/ 541710 h 618645"/>
                <a:gd name="connsiteX65" fmla="*/ 246774 w 523739"/>
                <a:gd name="connsiteY65" fmla="*/ 538318 h 618645"/>
                <a:gd name="connsiteX66" fmla="*/ 210912 w 523739"/>
                <a:gd name="connsiteY66" fmla="*/ 550057 h 618645"/>
                <a:gd name="connsiteX67" fmla="*/ 210912 w 523739"/>
                <a:gd name="connsiteY67" fmla="*/ 560180 h 618645"/>
                <a:gd name="connsiteX68" fmla="*/ 246774 w 523739"/>
                <a:gd name="connsiteY68" fmla="*/ 560180 h 618645"/>
                <a:gd name="connsiteX69" fmla="*/ 253441 w 523739"/>
                <a:gd name="connsiteY69" fmla="*/ 571919 h 618645"/>
                <a:gd name="connsiteX70" fmla="*/ 251775 w 523739"/>
                <a:gd name="connsiteY70" fmla="*/ 578650 h 618645"/>
                <a:gd name="connsiteX71" fmla="*/ 269034 w 523739"/>
                <a:gd name="connsiteY71" fmla="*/ 578650 h 618645"/>
                <a:gd name="connsiteX72" fmla="*/ 298706 w 523739"/>
                <a:gd name="connsiteY72" fmla="*/ 585166 h 618645"/>
                <a:gd name="connsiteX73" fmla="*/ 260214 w 523739"/>
                <a:gd name="connsiteY73" fmla="*/ 606328 h 618645"/>
                <a:gd name="connsiteX74" fmla="*/ 246774 w 523739"/>
                <a:gd name="connsiteY74" fmla="*/ 618174 h 618645"/>
                <a:gd name="connsiteX75" fmla="*/ 228544 w 523739"/>
                <a:gd name="connsiteY75" fmla="*/ 606328 h 618645"/>
                <a:gd name="connsiteX76" fmla="*/ 210912 w 523739"/>
                <a:gd name="connsiteY76" fmla="*/ 606328 h 618645"/>
                <a:gd name="connsiteX77" fmla="*/ 185530 w 523739"/>
                <a:gd name="connsiteY77" fmla="*/ 606328 h 618645"/>
                <a:gd name="connsiteX78" fmla="*/ 167948 w 523739"/>
                <a:gd name="connsiteY78" fmla="*/ 606328 h 618645"/>
                <a:gd name="connsiteX79" fmla="*/ 133915 w 523739"/>
                <a:gd name="connsiteY79" fmla="*/ 611282 h 618645"/>
                <a:gd name="connsiteX80" fmla="*/ 121121 w 523739"/>
                <a:gd name="connsiteY80" fmla="*/ 611282 h 618645"/>
                <a:gd name="connsiteX81" fmla="*/ 109397 w 523739"/>
                <a:gd name="connsiteY81" fmla="*/ 598682 h 61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523739" h="618645">
                  <a:moveTo>
                    <a:pt x="109397" y="598682"/>
                  </a:moveTo>
                  <a:cubicBezTo>
                    <a:pt x="104798" y="592564"/>
                    <a:pt x="107484" y="582779"/>
                    <a:pt x="109397" y="578650"/>
                  </a:cubicBezTo>
                  <a:lnTo>
                    <a:pt x="145801" y="560180"/>
                  </a:lnTo>
                  <a:cubicBezTo>
                    <a:pt x="141841" y="556805"/>
                    <a:pt x="131355" y="547709"/>
                    <a:pt x="121121" y="538318"/>
                  </a:cubicBezTo>
                  <a:cubicBezTo>
                    <a:pt x="108321" y="526579"/>
                    <a:pt x="121121" y="522002"/>
                    <a:pt x="145801" y="512309"/>
                  </a:cubicBezTo>
                  <a:cubicBezTo>
                    <a:pt x="170479" y="502616"/>
                    <a:pt x="156336" y="531587"/>
                    <a:pt x="167948" y="512309"/>
                  </a:cubicBezTo>
                  <a:cubicBezTo>
                    <a:pt x="179566" y="493032"/>
                    <a:pt x="185530" y="512309"/>
                    <a:pt x="185530" y="499709"/>
                  </a:cubicBezTo>
                  <a:lnTo>
                    <a:pt x="185530" y="482046"/>
                  </a:lnTo>
                  <a:lnTo>
                    <a:pt x="156336" y="463577"/>
                  </a:lnTo>
                  <a:lnTo>
                    <a:pt x="167948" y="445106"/>
                  </a:lnTo>
                  <a:cubicBezTo>
                    <a:pt x="156603" y="451263"/>
                    <a:pt x="126312" y="467270"/>
                    <a:pt x="95901" y="482046"/>
                  </a:cubicBezTo>
                  <a:lnTo>
                    <a:pt x="66439" y="482046"/>
                  </a:lnTo>
                  <a:cubicBezTo>
                    <a:pt x="57838" y="482046"/>
                    <a:pt x="60314" y="445106"/>
                    <a:pt x="30845" y="426960"/>
                  </a:cubicBezTo>
                  <a:cubicBezTo>
                    <a:pt x="19768" y="418344"/>
                    <a:pt x="30845" y="413121"/>
                    <a:pt x="30845" y="397559"/>
                  </a:cubicBezTo>
                  <a:cubicBezTo>
                    <a:pt x="30845" y="381996"/>
                    <a:pt x="12461" y="383773"/>
                    <a:pt x="12461" y="368211"/>
                  </a:cubicBezTo>
                  <a:cubicBezTo>
                    <a:pt x="12461" y="352649"/>
                    <a:pt x="2622" y="340533"/>
                    <a:pt x="2622" y="309463"/>
                  </a:cubicBezTo>
                  <a:cubicBezTo>
                    <a:pt x="8157" y="300847"/>
                    <a:pt x="-12056" y="288731"/>
                    <a:pt x="12461" y="245491"/>
                  </a:cubicBezTo>
                  <a:cubicBezTo>
                    <a:pt x="12461" y="231663"/>
                    <a:pt x="24719" y="214385"/>
                    <a:pt x="30845" y="207474"/>
                  </a:cubicBezTo>
                  <a:lnTo>
                    <a:pt x="48055" y="224759"/>
                  </a:lnTo>
                  <a:cubicBezTo>
                    <a:pt x="52141" y="228224"/>
                    <a:pt x="72474" y="247246"/>
                    <a:pt x="121121" y="295624"/>
                  </a:cubicBezTo>
                  <a:cubicBezTo>
                    <a:pt x="132839" y="302516"/>
                    <a:pt x="135096" y="297347"/>
                    <a:pt x="162680" y="295624"/>
                  </a:cubicBezTo>
                  <a:cubicBezTo>
                    <a:pt x="190263" y="293901"/>
                    <a:pt x="185530" y="293901"/>
                    <a:pt x="210912" y="288731"/>
                  </a:cubicBezTo>
                  <a:cubicBezTo>
                    <a:pt x="236288" y="283562"/>
                    <a:pt x="240859" y="280062"/>
                    <a:pt x="251775" y="274893"/>
                  </a:cubicBezTo>
                  <a:cubicBezTo>
                    <a:pt x="262683" y="269723"/>
                    <a:pt x="252414" y="236875"/>
                    <a:pt x="210912" y="262777"/>
                  </a:cubicBezTo>
                  <a:cubicBezTo>
                    <a:pt x="193274" y="280062"/>
                    <a:pt x="181015" y="262777"/>
                    <a:pt x="145801" y="262777"/>
                  </a:cubicBezTo>
                  <a:cubicBezTo>
                    <a:pt x="135258" y="262777"/>
                    <a:pt x="109397" y="252437"/>
                    <a:pt x="100043" y="245491"/>
                  </a:cubicBezTo>
                  <a:cubicBezTo>
                    <a:pt x="90689" y="238545"/>
                    <a:pt x="85042" y="224759"/>
                    <a:pt x="75041" y="207474"/>
                  </a:cubicBezTo>
                  <a:cubicBezTo>
                    <a:pt x="67044" y="193646"/>
                    <a:pt x="61889" y="180999"/>
                    <a:pt x="60314" y="176404"/>
                  </a:cubicBezTo>
                  <a:cubicBezTo>
                    <a:pt x="62353" y="171216"/>
                    <a:pt x="68163" y="157385"/>
                    <a:pt x="75041" y="143557"/>
                  </a:cubicBezTo>
                  <a:cubicBezTo>
                    <a:pt x="83642" y="126271"/>
                    <a:pt x="86765" y="143557"/>
                    <a:pt x="100043" y="133164"/>
                  </a:cubicBezTo>
                  <a:cubicBezTo>
                    <a:pt x="110670" y="124849"/>
                    <a:pt x="134977" y="115879"/>
                    <a:pt x="145801" y="112433"/>
                  </a:cubicBezTo>
                  <a:cubicBezTo>
                    <a:pt x="145801" y="108412"/>
                    <a:pt x="147903" y="96569"/>
                    <a:pt x="156336" y="81362"/>
                  </a:cubicBezTo>
                  <a:cubicBezTo>
                    <a:pt x="166872" y="62354"/>
                    <a:pt x="185530" y="93424"/>
                    <a:pt x="200637" y="100370"/>
                  </a:cubicBezTo>
                  <a:cubicBezTo>
                    <a:pt x="215751" y="107317"/>
                    <a:pt x="228544" y="131441"/>
                    <a:pt x="240859" y="133164"/>
                  </a:cubicBezTo>
                  <a:cubicBezTo>
                    <a:pt x="250705" y="134542"/>
                    <a:pt x="244960" y="119917"/>
                    <a:pt x="240859" y="112433"/>
                  </a:cubicBezTo>
                  <a:cubicBezTo>
                    <a:pt x="233024" y="112433"/>
                    <a:pt x="216068" y="108630"/>
                    <a:pt x="210912" y="93424"/>
                  </a:cubicBezTo>
                  <a:cubicBezTo>
                    <a:pt x="204456" y="74415"/>
                    <a:pt x="210912" y="70969"/>
                    <a:pt x="217362" y="51961"/>
                  </a:cubicBezTo>
                  <a:cubicBezTo>
                    <a:pt x="222524" y="36754"/>
                    <a:pt x="226969" y="45625"/>
                    <a:pt x="228544" y="51961"/>
                  </a:cubicBezTo>
                  <a:cubicBezTo>
                    <a:pt x="240768" y="51961"/>
                    <a:pt x="264216" y="48159"/>
                    <a:pt x="260214" y="32952"/>
                  </a:cubicBezTo>
                  <a:cubicBezTo>
                    <a:pt x="253160" y="26017"/>
                    <a:pt x="263154" y="30062"/>
                    <a:pt x="269034" y="32952"/>
                  </a:cubicBezTo>
                  <a:cubicBezTo>
                    <a:pt x="278922" y="28931"/>
                    <a:pt x="300718" y="23303"/>
                    <a:pt x="308763" y="32952"/>
                  </a:cubicBezTo>
                  <a:cubicBezTo>
                    <a:pt x="318821" y="45014"/>
                    <a:pt x="339406" y="41622"/>
                    <a:pt x="355913" y="32952"/>
                  </a:cubicBezTo>
                  <a:cubicBezTo>
                    <a:pt x="372420" y="24282"/>
                    <a:pt x="339406" y="17390"/>
                    <a:pt x="339406" y="5328"/>
                  </a:cubicBezTo>
                  <a:cubicBezTo>
                    <a:pt x="339406" y="-4322"/>
                    <a:pt x="360555" y="1307"/>
                    <a:pt x="371132" y="5328"/>
                  </a:cubicBezTo>
                  <a:cubicBezTo>
                    <a:pt x="382850" y="8774"/>
                    <a:pt x="411748" y="22926"/>
                    <a:pt x="433551" y="51961"/>
                  </a:cubicBezTo>
                  <a:cubicBezTo>
                    <a:pt x="442159" y="81308"/>
                    <a:pt x="445655" y="60631"/>
                    <a:pt x="480166" y="41622"/>
                  </a:cubicBezTo>
                  <a:cubicBezTo>
                    <a:pt x="507785" y="26415"/>
                    <a:pt x="506624" y="42178"/>
                    <a:pt x="502587" y="51961"/>
                  </a:cubicBezTo>
                  <a:cubicBezTo>
                    <a:pt x="512377" y="68097"/>
                    <a:pt x="529868" y="102782"/>
                    <a:pt x="521570" y="112433"/>
                  </a:cubicBezTo>
                  <a:cubicBezTo>
                    <a:pt x="511196" y="124494"/>
                    <a:pt x="511245" y="131441"/>
                    <a:pt x="502587" y="143557"/>
                  </a:cubicBezTo>
                  <a:cubicBezTo>
                    <a:pt x="493937" y="155672"/>
                    <a:pt x="487051" y="159119"/>
                    <a:pt x="445655" y="176404"/>
                  </a:cubicBezTo>
                  <a:cubicBezTo>
                    <a:pt x="421510" y="181627"/>
                    <a:pt x="424949" y="200582"/>
                    <a:pt x="424949" y="207474"/>
                  </a:cubicBezTo>
                  <a:cubicBezTo>
                    <a:pt x="424949" y="212988"/>
                    <a:pt x="454847" y="195951"/>
                    <a:pt x="469792" y="186743"/>
                  </a:cubicBezTo>
                  <a:cubicBezTo>
                    <a:pt x="466353" y="193653"/>
                    <a:pt x="456704" y="210931"/>
                    <a:pt x="445655" y="224759"/>
                  </a:cubicBezTo>
                  <a:cubicBezTo>
                    <a:pt x="431835" y="242045"/>
                    <a:pt x="437046" y="240322"/>
                    <a:pt x="424949" y="262777"/>
                  </a:cubicBezTo>
                  <a:cubicBezTo>
                    <a:pt x="412853" y="285231"/>
                    <a:pt x="406298" y="287008"/>
                    <a:pt x="406298" y="309463"/>
                  </a:cubicBezTo>
                  <a:cubicBezTo>
                    <a:pt x="406298" y="331918"/>
                    <a:pt x="386992" y="337087"/>
                    <a:pt x="371132" y="356095"/>
                  </a:cubicBezTo>
                  <a:cubicBezTo>
                    <a:pt x="355273" y="375104"/>
                    <a:pt x="357045" y="364765"/>
                    <a:pt x="339406" y="383773"/>
                  </a:cubicBezTo>
                  <a:cubicBezTo>
                    <a:pt x="325305" y="398980"/>
                    <a:pt x="320952" y="390109"/>
                    <a:pt x="320537" y="383773"/>
                  </a:cubicBezTo>
                  <a:cubicBezTo>
                    <a:pt x="316612" y="397792"/>
                    <a:pt x="312625" y="429684"/>
                    <a:pt x="328062" y="445106"/>
                  </a:cubicBezTo>
                  <a:cubicBezTo>
                    <a:pt x="335594" y="449307"/>
                    <a:pt x="326395" y="454368"/>
                    <a:pt x="320537" y="463577"/>
                  </a:cubicBezTo>
                  <a:cubicBezTo>
                    <a:pt x="314678" y="472784"/>
                    <a:pt x="313820" y="473700"/>
                    <a:pt x="308763" y="482046"/>
                  </a:cubicBezTo>
                  <a:cubicBezTo>
                    <a:pt x="303707" y="490393"/>
                    <a:pt x="304192" y="487969"/>
                    <a:pt x="289514" y="499709"/>
                  </a:cubicBezTo>
                  <a:cubicBezTo>
                    <a:pt x="274836" y="511448"/>
                    <a:pt x="282797" y="505578"/>
                    <a:pt x="282797" y="512309"/>
                  </a:cubicBezTo>
                  <a:cubicBezTo>
                    <a:pt x="282797" y="519040"/>
                    <a:pt x="284464" y="520710"/>
                    <a:pt x="282797" y="531587"/>
                  </a:cubicBezTo>
                  <a:cubicBezTo>
                    <a:pt x="281130" y="542464"/>
                    <a:pt x="273598" y="538318"/>
                    <a:pt x="265215" y="541710"/>
                  </a:cubicBezTo>
                  <a:cubicBezTo>
                    <a:pt x="256824" y="545102"/>
                    <a:pt x="253441" y="539987"/>
                    <a:pt x="246774" y="538318"/>
                  </a:cubicBezTo>
                  <a:cubicBezTo>
                    <a:pt x="240107" y="536649"/>
                    <a:pt x="222412" y="545049"/>
                    <a:pt x="210912" y="550057"/>
                  </a:cubicBezTo>
                  <a:cubicBezTo>
                    <a:pt x="201706" y="554063"/>
                    <a:pt x="207072" y="558475"/>
                    <a:pt x="210912" y="560180"/>
                  </a:cubicBezTo>
                  <a:cubicBezTo>
                    <a:pt x="218382" y="560737"/>
                    <a:pt x="236021" y="561515"/>
                    <a:pt x="246774" y="560180"/>
                  </a:cubicBezTo>
                  <a:cubicBezTo>
                    <a:pt x="260214" y="558511"/>
                    <a:pt x="251775" y="567988"/>
                    <a:pt x="253441" y="571919"/>
                  </a:cubicBezTo>
                  <a:cubicBezTo>
                    <a:pt x="254771" y="575064"/>
                    <a:pt x="252886" y="577717"/>
                    <a:pt x="251775" y="578650"/>
                  </a:cubicBezTo>
                  <a:cubicBezTo>
                    <a:pt x="256255" y="578075"/>
                    <a:pt x="265974" y="577272"/>
                    <a:pt x="269034" y="578650"/>
                  </a:cubicBezTo>
                  <a:cubicBezTo>
                    <a:pt x="272086" y="580029"/>
                    <a:pt x="290091" y="583568"/>
                    <a:pt x="298706" y="585166"/>
                  </a:cubicBezTo>
                  <a:cubicBezTo>
                    <a:pt x="288818" y="589671"/>
                    <a:pt x="267268" y="600211"/>
                    <a:pt x="260214" y="606328"/>
                  </a:cubicBezTo>
                  <a:cubicBezTo>
                    <a:pt x="251395" y="613974"/>
                    <a:pt x="254299" y="618174"/>
                    <a:pt x="246774" y="618174"/>
                  </a:cubicBezTo>
                  <a:cubicBezTo>
                    <a:pt x="239242" y="618174"/>
                    <a:pt x="236717" y="622267"/>
                    <a:pt x="228544" y="606328"/>
                  </a:cubicBezTo>
                  <a:cubicBezTo>
                    <a:pt x="223762" y="601374"/>
                    <a:pt x="217362" y="606328"/>
                    <a:pt x="210912" y="606328"/>
                  </a:cubicBezTo>
                  <a:lnTo>
                    <a:pt x="185530" y="606328"/>
                  </a:lnTo>
                  <a:lnTo>
                    <a:pt x="167948" y="606328"/>
                  </a:lnTo>
                  <a:cubicBezTo>
                    <a:pt x="160563" y="606328"/>
                    <a:pt x="143423" y="607319"/>
                    <a:pt x="133915" y="611282"/>
                  </a:cubicBezTo>
                  <a:cubicBezTo>
                    <a:pt x="122036" y="616236"/>
                    <a:pt x="126874" y="611282"/>
                    <a:pt x="121121" y="611282"/>
                  </a:cubicBezTo>
                  <a:cubicBezTo>
                    <a:pt x="115368" y="611282"/>
                    <a:pt x="115150" y="606328"/>
                    <a:pt x="109397" y="598682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1" name="Freihandform: Form 46">
              <a:extLst>
                <a:ext uri="{FF2B5EF4-FFF2-40B4-BE49-F238E27FC236}">
                  <a16:creationId xmlns:a16="http://schemas.microsoft.com/office/drawing/2014/main" id="{68823F18-918D-A643-BF76-4907725371EB}"/>
                </a:ext>
              </a:extLst>
            </p:cNvPr>
            <p:cNvSpPr/>
            <p:nvPr/>
          </p:nvSpPr>
          <p:spPr>
            <a:xfrm>
              <a:off x="4600507" y="2337687"/>
              <a:ext cx="27745" cy="30693"/>
            </a:xfrm>
            <a:custGeom>
              <a:avLst/>
              <a:gdLst>
                <a:gd name="connsiteX0" fmla="*/ 0 w 27745"/>
                <a:gd name="connsiteY0" fmla="*/ 18847 h 30693"/>
                <a:gd name="connsiteX1" fmla="*/ 12955 w 27745"/>
                <a:gd name="connsiteY1" fmla="*/ 0 h 30693"/>
                <a:gd name="connsiteX2" fmla="*/ 27745 w 27745"/>
                <a:gd name="connsiteY2" fmla="*/ 30694 h 30693"/>
                <a:gd name="connsiteX3" fmla="*/ 0 w 27745"/>
                <a:gd name="connsiteY3" fmla="*/ 18847 h 30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45" h="30693">
                  <a:moveTo>
                    <a:pt x="0" y="18847"/>
                  </a:moveTo>
                  <a:lnTo>
                    <a:pt x="12955" y="0"/>
                  </a:lnTo>
                  <a:lnTo>
                    <a:pt x="27745" y="30694"/>
                  </a:lnTo>
                  <a:lnTo>
                    <a:pt x="0" y="1884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2" name="Freihandform: Form 47">
              <a:extLst>
                <a:ext uri="{FF2B5EF4-FFF2-40B4-BE49-F238E27FC236}">
                  <a16:creationId xmlns:a16="http://schemas.microsoft.com/office/drawing/2014/main" id="{8A28542A-FB18-874F-8812-16F8A3E9430C}"/>
                </a:ext>
              </a:extLst>
            </p:cNvPr>
            <p:cNvSpPr/>
            <p:nvPr/>
          </p:nvSpPr>
          <p:spPr>
            <a:xfrm>
              <a:off x="4639401" y="2459868"/>
              <a:ext cx="52098" cy="72422"/>
            </a:xfrm>
            <a:custGeom>
              <a:avLst/>
              <a:gdLst>
                <a:gd name="connsiteX0" fmla="*/ 2615 w 52098"/>
                <a:gd name="connsiteY0" fmla="*/ 36940 h 72422"/>
                <a:gd name="connsiteX1" fmla="*/ 2615 w 52098"/>
                <a:gd name="connsiteY1" fmla="*/ 0 h 72422"/>
                <a:gd name="connsiteX2" fmla="*/ 16378 w 52098"/>
                <a:gd name="connsiteY2" fmla="*/ 6462 h 72422"/>
                <a:gd name="connsiteX3" fmla="*/ 47992 w 52098"/>
                <a:gd name="connsiteY3" fmla="*/ 21809 h 72422"/>
                <a:gd name="connsiteX4" fmla="*/ 40896 w 52098"/>
                <a:gd name="connsiteY4" fmla="*/ 67203 h 72422"/>
                <a:gd name="connsiteX5" fmla="*/ 31056 w 52098"/>
                <a:gd name="connsiteY5" fmla="*/ 72410 h 72422"/>
                <a:gd name="connsiteX6" fmla="*/ 8529 w 52098"/>
                <a:gd name="connsiteY6" fmla="*/ 54603 h 72422"/>
                <a:gd name="connsiteX7" fmla="*/ 2615 w 52098"/>
                <a:gd name="connsiteY7" fmla="*/ 36940 h 72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98" h="72422">
                  <a:moveTo>
                    <a:pt x="2615" y="36940"/>
                  </a:moveTo>
                  <a:cubicBezTo>
                    <a:pt x="-2119" y="36940"/>
                    <a:pt x="638" y="12313"/>
                    <a:pt x="2615" y="0"/>
                  </a:cubicBezTo>
                  <a:cubicBezTo>
                    <a:pt x="7200" y="0"/>
                    <a:pt x="16378" y="1293"/>
                    <a:pt x="16378" y="6462"/>
                  </a:cubicBezTo>
                  <a:cubicBezTo>
                    <a:pt x="16378" y="12923"/>
                    <a:pt x="40896" y="18470"/>
                    <a:pt x="47992" y="21809"/>
                  </a:cubicBezTo>
                  <a:cubicBezTo>
                    <a:pt x="55088" y="25147"/>
                    <a:pt x="53154" y="36940"/>
                    <a:pt x="40896" y="67203"/>
                  </a:cubicBezTo>
                  <a:cubicBezTo>
                    <a:pt x="37119" y="71082"/>
                    <a:pt x="33996" y="72573"/>
                    <a:pt x="31056" y="72410"/>
                  </a:cubicBezTo>
                  <a:cubicBezTo>
                    <a:pt x="24438" y="72045"/>
                    <a:pt x="18720" y="63323"/>
                    <a:pt x="8529" y="54603"/>
                  </a:cubicBezTo>
                  <a:cubicBezTo>
                    <a:pt x="-6205" y="42001"/>
                    <a:pt x="8529" y="36940"/>
                    <a:pt x="2615" y="3694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3" name="Freihandform: Form 48">
              <a:extLst>
                <a:ext uri="{FF2B5EF4-FFF2-40B4-BE49-F238E27FC236}">
                  <a16:creationId xmlns:a16="http://schemas.microsoft.com/office/drawing/2014/main" id="{F2203B50-1EE5-614E-B61E-138A315642B0}"/>
                </a:ext>
              </a:extLst>
            </p:cNvPr>
            <p:cNvSpPr/>
            <p:nvPr/>
          </p:nvSpPr>
          <p:spPr>
            <a:xfrm>
              <a:off x="4670457" y="2532153"/>
              <a:ext cx="36424" cy="20926"/>
            </a:xfrm>
            <a:custGeom>
              <a:avLst/>
              <a:gdLst>
                <a:gd name="connsiteX0" fmla="*/ 28224 w 36424"/>
                <a:gd name="connsiteY0" fmla="*/ 14196 h 20926"/>
                <a:gd name="connsiteX1" fmla="*/ 9839 w 36424"/>
                <a:gd name="connsiteY1" fmla="*/ 20926 h 20926"/>
                <a:gd name="connsiteX2" fmla="*/ 0 w 36424"/>
                <a:gd name="connsiteY2" fmla="*/ 20926 h 20926"/>
                <a:gd name="connsiteX3" fmla="*/ 0 w 36424"/>
                <a:gd name="connsiteY3" fmla="*/ 8595 h 20926"/>
                <a:gd name="connsiteX4" fmla="*/ 28224 w 36424"/>
                <a:gd name="connsiteY4" fmla="*/ 125 h 20926"/>
                <a:gd name="connsiteX5" fmla="*/ 35805 w 36424"/>
                <a:gd name="connsiteY5" fmla="*/ 8595 h 20926"/>
                <a:gd name="connsiteX6" fmla="*/ 28224 w 36424"/>
                <a:gd name="connsiteY6" fmla="*/ 14196 h 2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24" h="20926">
                  <a:moveTo>
                    <a:pt x="28224" y="14196"/>
                  </a:moveTo>
                  <a:cubicBezTo>
                    <a:pt x="24461" y="16439"/>
                    <a:pt x="15515" y="20926"/>
                    <a:pt x="9839" y="20926"/>
                  </a:cubicBezTo>
                  <a:lnTo>
                    <a:pt x="0" y="20926"/>
                  </a:lnTo>
                  <a:lnTo>
                    <a:pt x="0" y="8595"/>
                  </a:lnTo>
                  <a:cubicBezTo>
                    <a:pt x="5641" y="6226"/>
                    <a:pt x="19193" y="1215"/>
                    <a:pt x="28224" y="125"/>
                  </a:cubicBezTo>
                  <a:cubicBezTo>
                    <a:pt x="37261" y="-965"/>
                    <a:pt x="37043" y="5318"/>
                    <a:pt x="35805" y="8595"/>
                  </a:cubicBezTo>
                  <a:lnTo>
                    <a:pt x="28224" y="1419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4" name="Freihandform: Form 49">
              <a:extLst>
                <a:ext uri="{FF2B5EF4-FFF2-40B4-BE49-F238E27FC236}">
                  <a16:creationId xmlns:a16="http://schemas.microsoft.com/office/drawing/2014/main" id="{5577B7D8-16F2-0B45-800D-6E8BCB47DCC1}"/>
                </a:ext>
              </a:extLst>
            </p:cNvPr>
            <p:cNvSpPr/>
            <p:nvPr/>
          </p:nvSpPr>
          <p:spPr>
            <a:xfrm>
              <a:off x="4734275" y="2533640"/>
              <a:ext cx="25021" cy="33319"/>
            </a:xfrm>
            <a:custGeom>
              <a:avLst/>
              <a:gdLst>
                <a:gd name="connsiteX0" fmla="*/ 0 w 25021"/>
                <a:gd name="connsiteY0" fmla="*/ 26332 h 33319"/>
                <a:gd name="connsiteX1" fmla="*/ 8601 w 25021"/>
                <a:gd name="connsiteY1" fmla="*/ 7108 h 33319"/>
                <a:gd name="connsiteX2" fmla="*/ 21507 w 25021"/>
                <a:gd name="connsiteY2" fmla="*/ 0 h 33319"/>
                <a:gd name="connsiteX3" fmla="*/ 21507 w 25021"/>
                <a:gd name="connsiteY3" fmla="*/ 31178 h 33319"/>
                <a:gd name="connsiteX4" fmla="*/ 8601 w 25021"/>
                <a:gd name="connsiteY4" fmla="*/ 31178 h 33319"/>
                <a:gd name="connsiteX5" fmla="*/ 0 w 25021"/>
                <a:gd name="connsiteY5" fmla="*/ 26332 h 3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21" h="33319">
                  <a:moveTo>
                    <a:pt x="0" y="26332"/>
                  </a:moveTo>
                  <a:lnTo>
                    <a:pt x="8601" y="7108"/>
                  </a:lnTo>
                  <a:lnTo>
                    <a:pt x="21507" y="0"/>
                  </a:lnTo>
                  <a:cubicBezTo>
                    <a:pt x="24159" y="8777"/>
                    <a:pt x="27872" y="27302"/>
                    <a:pt x="21507" y="31178"/>
                  </a:cubicBezTo>
                  <a:cubicBezTo>
                    <a:pt x="15142" y="35056"/>
                    <a:pt x="10254" y="32794"/>
                    <a:pt x="8601" y="31178"/>
                  </a:cubicBezTo>
                  <a:lnTo>
                    <a:pt x="0" y="263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5" name="Freihandform: Form 50">
              <a:extLst>
                <a:ext uri="{FF2B5EF4-FFF2-40B4-BE49-F238E27FC236}">
                  <a16:creationId xmlns:a16="http://schemas.microsoft.com/office/drawing/2014/main" id="{A03A6E2C-B9FE-0C47-8E06-0987A1B251E7}"/>
                </a:ext>
              </a:extLst>
            </p:cNvPr>
            <p:cNvSpPr/>
            <p:nvPr/>
          </p:nvSpPr>
          <p:spPr>
            <a:xfrm>
              <a:off x="4519964" y="2412321"/>
              <a:ext cx="82220" cy="121472"/>
            </a:xfrm>
            <a:custGeom>
              <a:avLst/>
              <a:gdLst>
                <a:gd name="connsiteX0" fmla="*/ 7905 w 82220"/>
                <a:gd name="connsiteY0" fmla="*/ 29401 h 121472"/>
                <a:gd name="connsiteX1" fmla="*/ 0 w 82220"/>
                <a:gd name="connsiteY1" fmla="*/ 0 h 121472"/>
                <a:gd name="connsiteX2" fmla="*/ 60055 w 82220"/>
                <a:gd name="connsiteY2" fmla="*/ 29401 h 121472"/>
                <a:gd name="connsiteX3" fmla="*/ 73819 w 82220"/>
                <a:gd name="connsiteY3" fmla="*/ 66018 h 121472"/>
                <a:gd name="connsiteX4" fmla="*/ 80543 w 82220"/>
                <a:gd name="connsiteY4" fmla="*/ 84487 h 121472"/>
                <a:gd name="connsiteX5" fmla="*/ 73819 w 82220"/>
                <a:gd name="connsiteY5" fmla="*/ 121319 h 121472"/>
                <a:gd name="connsiteX6" fmla="*/ 60055 w 82220"/>
                <a:gd name="connsiteY6" fmla="*/ 114751 h 121472"/>
                <a:gd name="connsiteX7" fmla="*/ 60055 w 82220"/>
                <a:gd name="connsiteY7" fmla="*/ 102150 h 121472"/>
                <a:gd name="connsiteX8" fmla="*/ 50216 w 82220"/>
                <a:gd name="connsiteY8" fmla="*/ 84487 h 121472"/>
                <a:gd name="connsiteX9" fmla="*/ 16563 w 82220"/>
                <a:gd name="connsiteY9" fmla="*/ 76464 h 121472"/>
                <a:gd name="connsiteX10" fmla="*/ 27584 w 82220"/>
                <a:gd name="connsiteY10" fmla="*/ 54010 h 121472"/>
                <a:gd name="connsiteX11" fmla="*/ 7905 w 82220"/>
                <a:gd name="connsiteY11" fmla="*/ 29401 h 121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2220" h="121472">
                  <a:moveTo>
                    <a:pt x="7905" y="29401"/>
                  </a:moveTo>
                  <a:cubicBezTo>
                    <a:pt x="7905" y="22939"/>
                    <a:pt x="2637" y="7108"/>
                    <a:pt x="0" y="0"/>
                  </a:cubicBezTo>
                  <a:cubicBezTo>
                    <a:pt x="9192" y="0"/>
                    <a:pt x="34075" y="5880"/>
                    <a:pt x="60055" y="29401"/>
                  </a:cubicBezTo>
                  <a:cubicBezTo>
                    <a:pt x="76780" y="46094"/>
                    <a:pt x="67904" y="38663"/>
                    <a:pt x="73819" y="66018"/>
                  </a:cubicBezTo>
                  <a:cubicBezTo>
                    <a:pt x="79734" y="78026"/>
                    <a:pt x="80543" y="76464"/>
                    <a:pt x="80543" y="84487"/>
                  </a:cubicBezTo>
                  <a:cubicBezTo>
                    <a:pt x="80543" y="92511"/>
                    <a:pt x="87259" y="102150"/>
                    <a:pt x="73819" y="121319"/>
                  </a:cubicBezTo>
                  <a:cubicBezTo>
                    <a:pt x="68446" y="122410"/>
                    <a:pt x="62404" y="117394"/>
                    <a:pt x="60055" y="114751"/>
                  </a:cubicBezTo>
                  <a:cubicBezTo>
                    <a:pt x="62672" y="110550"/>
                    <a:pt x="66336" y="102150"/>
                    <a:pt x="60055" y="102150"/>
                  </a:cubicBezTo>
                  <a:cubicBezTo>
                    <a:pt x="52206" y="102150"/>
                    <a:pt x="60055" y="84487"/>
                    <a:pt x="50216" y="84487"/>
                  </a:cubicBezTo>
                  <a:cubicBezTo>
                    <a:pt x="40377" y="84487"/>
                    <a:pt x="27584" y="84487"/>
                    <a:pt x="16563" y="76464"/>
                  </a:cubicBezTo>
                  <a:cubicBezTo>
                    <a:pt x="5535" y="68441"/>
                    <a:pt x="27584" y="66018"/>
                    <a:pt x="27584" y="54010"/>
                  </a:cubicBezTo>
                  <a:cubicBezTo>
                    <a:pt x="27584" y="42001"/>
                    <a:pt x="7905" y="37478"/>
                    <a:pt x="7905" y="2940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6" name="Freihandform: Form 51">
              <a:extLst>
                <a:ext uri="{FF2B5EF4-FFF2-40B4-BE49-F238E27FC236}">
                  <a16:creationId xmlns:a16="http://schemas.microsoft.com/office/drawing/2014/main" id="{484FAA3C-3A1D-7149-9F30-4FB3A25A123B}"/>
                </a:ext>
              </a:extLst>
            </p:cNvPr>
            <p:cNvSpPr/>
            <p:nvPr/>
          </p:nvSpPr>
          <p:spPr>
            <a:xfrm>
              <a:off x="4402001" y="2456907"/>
              <a:ext cx="59898" cy="34645"/>
            </a:xfrm>
            <a:custGeom>
              <a:avLst/>
              <a:gdLst>
                <a:gd name="connsiteX0" fmla="*/ 1292 w 59898"/>
                <a:gd name="connsiteY0" fmla="*/ 16531 h 34645"/>
                <a:gd name="connsiteX1" fmla="*/ 27419 w 59898"/>
                <a:gd name="connsiteY1" fmla="*/ 2962 h 34645"/>
                <a:gd name="connsiteX2" fmla="*/ 35486 w 59898"/>
                <a:gd name="connsiteY2" fmla="*/ 0 h 34645"/>
                <a:gd name="connsiteX3" fmla="*/ 59898 w 59898"/>
                <a:gd name="connsiteY3" fmla="*/ 9424 h 34645"/>
                <a:gd name="connsiteX4" fmla="*/ 49088 w 59898"/>
                <a:gd name="connsiteY4" fmla="*/ 24770 h 34645"/>
                <a:gd name="connsiteX5" fmla="*/ 41183 w 59898"/>
                <a:gd name="connsiteY5" fmla="*/ 31878 h 34645"/>
                <a:gd name="connsiteX6" fmla="*/ 1292 w 59898"/>
                <a:gd name="connsiteY6" fmla="*/ 16531 h 34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898" h="34645">
                  <a:moveTo>
                    <a:pt x="1292" y="16531"/>
                  </a:moveTo>
                  <a:cubicBezTo>
                    <a:pt x="-5460" y="9941"/>
                    <a:pt x="15899" y="4739"/>
                    <a:pt x="27419" y="2962"/>
                  </a:cubicBezTo>
                  <a:lnTo>
                    <a:pt x="35486" y="0"/>
                  </a:lnTo>
                  <a:cubicBezTo>
                    <a:pt x="43624" y="987"/>
                    <a:pt x="59898" y="4254"/>
                    <a:pt x="59898" y="9424"/>
                  </a:cubicBezTo>
                  <a:cubicBezTo>
                    <a:pt x="59898" y="15885"/>
                    <a:pt x="59898" y="21432"/>
                    <a:pt x="49088" y="24770"/>
                  </a:cubicBezTo>
                  <a:cubicBezTo>
                    <a:pt x="38278" y="28109"/>
                    <a:pt x="43173" y="24770"/>
                    <a:pt x="41183" y="31878"/>
                  </a:cubicBezTo>
                  <a:cubicBezTo>
                    <a:pt x="39193" y="38986"/>
                    <a:pt x="9731" y="31878"/>
                    <a:pt x="1292" y="1653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7" name="Freihandform: Form 52">
              <a:extLst>
                <a:ext uri="{FF2B5EF4-FFF2-40B4-BE49-F238E27FC236}">
                  <a16:creationId xmlns:a16="http://schemas.microsoft.com/office/drawing/2014/main" id="{F6730F6C-F5BC-CA4D-B285-8E71914E060F}"/>
                </a:ext>
              </a:extLst>
            </p:cNvPr>
            <p:cNvSpPr/>
            <p:nvPr/>
          </p:nvSpPr>
          <p:spPr>
            <a:xfrm>
              <a:off x="4385130" y="2514471"/>
              <a:ext cx="65959" cy="45501"/>
            </a:xfrm>
            <a:custGeom>
              <a:avLst/>
              <a:gdLst>
                <a:gd name="connsiteX0" fmla="*/ 10848 w 65959"/>
                <a:gd name="connsiteY0" fmla="*/ 0 h 45501"/>
                <a:gd name="connsiteX1" fmla="*/ 52357 w 65959"/>
                <a:gd name="connsiteY1" fmla="*/ 6192 h 45501"/>
                <a:gd name="connsiteX2" fmla="*/ 65959 w 65959"/>
                <a:gd name="connsiteY2" fmla="*/ 31878 h 45501"/>
                <a:gd name="connsiteX3" fmla="*/ 26602 w 65959"/>
                <a:gd name="connsiteY3" fmla="*/ 45501 h 45501"/>
                <a:gd name="connsiteX4" fmla="*/ 3970 w 65959"/>
                <a:gd name="connsiteY4" fmla="*/ 31878 h 45501"/>
                <a:gd name="connsiteX5" fmla="*/ 10848 w 65959"/>
                <a:gd name="connsiteY5" fmla="*/ 0 h 45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959" h="45501">
                  <a:moveTo>
                    <a:pt x="10848" y="0"/>
                  </a:moveTo>
                  <a:cubicBezTo>
                    <a:pt x="16355" y="0"/>
                    <a:pt x="40816" y="4128"/>
                    <a:pt x="52357" y="6192"/>
                  </a:cubicBezTo>
                  <a:cubicBezTo>
                    <a:pt x="54917" y="6192"/>
                    <a:pt x="61226" y="11330"/>
                    <a:pt x="65959" y="31878"/>
                  </a:cubicBezTo>
                  <a:cubicBezTo>
                    <a:pt x="65959" y="44586"/>
                    <a:pt x="60044" y="42001"/>
                    <a:pt x="26602" y="45501"/>
                  </a:cubicBezTo>
                  <a:cubicBezTo>
                    <a:pt x="8914" y="45501"/>
                    <a:pt x="10848" y="38609"/>
                    <a:pt x="3970" y="31878"/>
                  </a:cubicBezTo>
                  <a:cubicBezTo>
                    <a:pt x="-2916" y="25147"/>
                    <a:pt x="-982" y="12600"/>
                    <a:pt x="10848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8" name="Freihandform: Form 53">
              <a:extLst>
                <a:ext uri="{FF2B5EF4-FFF2-40B4-BE49-F238E27FC236}">
                  <a16:creationId xmlns:a16="http://schemas.microsoft.com/office/drawing/2014/main" id="{C3D67EF2-36FF-324D-A82A-CFEA1FE90334}"/>
                </a:ext>
              </a:extLst>
            </p:cNvPr>
            <p:cNvSpPr/>
            <p:nvPr/>
          </p:nvSpPr>
          <p:spPr>
            <a:xfrm>
              <a:off x="4509154" y="2533640"/>
              <a:ext cx="27372" cy="41301"/>
            </a:xfrm>
            <a:custGeom>
              <a:avLst/>
              <a:gdLst>
                <a:gd name="connsiteX0" fmla="*/ 4895 w 27372"/>
                <a:gd name="connsiteY0" fmla="*/ 26332 h 41301"/>
                <a:gd name="connsiteX1" fmla="*/ 0 w 27372"/>
                <a:gd name="connsiteY1" fmla="*/ 0 h 41301"/>
                <a:gd name="connsiteX2" fmla="*/ 4895 w 27372"/>
                <a:gd name="connsiteY2" fmla="*/ 0 h 41301"/>
                <a:gd name="connsiteX3" fmla="*/ 18715 w 27372"/>
                <a:gd name="connsiteY3" fmla="*/ 7108 h 41301"/>
                <a:gd name="connsiteX4" fmla="*/ 27373 w 27372"/>
                <a:gd name="connsiteY4" fmla="*/ 26332 h 41301"/>
                <a:gd name="connsiteX5" fmla="*/ 27373 w 27372"/>
                <a:gd name="connsiteY5" fmla="*/ 41302 h 41301"/>
                <a:gd name="connsiteX6" fmla="*/ 4895 w 27372"/>
                <a:gd name="connsiteY6" fmla="*/ 26332 h 41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72" h="41301">
                  <a:moveTo>
                    <a:pt x="4895" y="26332"/>
                  </a:moveTo>
                  <a:lnTo>
                    <a:pt x="0" y="0"/>
                  </a:lnTo>
                  <a:lnTo>
                    <a:pt x="4895" y="0"/>
                  </a:lnTo>
                  <a:lnTo>
                    <a:pt x="18715" y="7108"/>
                  </a:lnTo>
                  <a:lnTo>
                    <a:pt x="27373" y="26332"/>
                  </a:lnTo>
                  <a:lnTo>
                    <a:pt x="27373" y="41302"/>
                  </a:lnTo>
                  <a:lnTo>
                    <a:pt x="4895" y="263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9" name="Freihandform: Form 54">
              <a:extLst>
                <a:ext uri="{FF2B5EF4-FFF2-40B4-BE49-F238E27FC236}">
                  <a16:creationId xmlns:a16="http://schemas.microsoft.com/office/drawing/2014/main" id="{1E74FE75-3B53-CC4F-BF96-8AEAFB4D23B8}"/>
                </a:ext>
              </a:extLst>
            </p:cNvPr>
            <p:cNvSpPr/>
            <p:nvPr/>
          </p:nvSpPr>
          <p:spPr>
            <a:xfrm>
              <a:off x="4803691" y="3161508"/>
              <a:ext cx="105003" cy="81850"/>
            </a:xfrm>
            <a:custGeom>
              <a:avLst/>
              <a:gdLst>
                <a:gd name="connsiteX0" fmla="*/ 92689 w 105003"/>
                <a:gd name="connsiteY0" fmla="*/ 48359 h 81850"/>
                <a:gd name="connsiteX1" fmla="*/ 34568 w 105003"/>
                <a:gd name="connsiteY1" fmla="*/ 0 h 81850"/>
                <a:gd name="connsiteX2" fmla="*/ 20480 w 105003"/>
                <a:gd name="connsiteY2" fmla="*/ 20466 h 81850"/>
                <a:gd name="connsiteX3" fmla="*/ 20480 w 105003"/>
                <a:gd name="connsiteY3" fmla="*/ 48359 h 81850"/>
                <a:gd name="connsiteX4" fmla="*/ 2145 w 105003"/>
                <a:gd name="connsiteY4" fmla="*/ 64240 h 81850"/>
                <a:gd name="connsiteX5" fmla="*/ 9945 w 105003"/>
                <a:gd name="connsiteY5" fmla="*/ 73453 h 81850"/>
                <a:gd name="connsiteX6" fmla="*/ 34568 w 105003"/>
                <a:gd name="connsiteY6" fmla="*/ 81851 h 81850"/>
                <a:gd name="connsiteX7" fmla="*/ 45159 w 105003"/>
                <a:gd name="connsiteY7" fmla="*/ 73453 h 81850"/>
                <a:gd name="connsiteX8" fmla="*/ 59894 w 105003"/>
                <a:gd name="connsiteY8" fmla="*/ 54176 h 81850"/>
                <a:gd name="connsiteX9" fmla="*/ 86345 w 105003"/>
                <a:gd name="connsiteY9" fmla="*/ 73453 h 81850"/>
                <a:gd name="connsiteX10" fmla="*/ 105004 w 105003"/>
                <a:gd name="connsiteY10" fmla="*/ 64240 h 81850"/>
                <a:gd name="connsiteX11" fmla="*/ 92689 w 105003"/>
                <a:gd name="connsiteY11" fmla="*/ 48359 h 8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003" h="81850">
                  <a:moveTo>
                    <a:pt x="92689" y="48359"/>
                  </a:moveTo>
                  <a:lnTo>
                    <a:pt x="34568" y="0"/>
                  </a:lnTo>
                  <a:lnTo>
                    <a:pt x="20480" y="20466"/>
                  </a:lnTo>
                  <a:lnTo>
                    <a:pt x="20480" y="48359"/>
                  </a:lnTo>
                  <a:cubicBezTo>
                    <a:pt x="20480" y="60688"/>
                    <a:pt x="9945" y="64240"/>
                    <a:pt x="2145" y="64240"/>
                  </a:cubicBezTo>
                  <a:cubicBezTo>
                    <a:pt x="-4093" y="64240"/>
                    <a:pt x="4747" y="70380"/>
                    <a:pt x="9945" y="73453"/>
                  </a:cubicBezTo>
                  <a:cubicBezTo>
                    <a:pt x="13454" y="76252"/>
                    <a:pt x="23301" y="81851"/>
                    <a:pt x="34568" y="81851"/>
                  </a:cubicBezTo>
                  <a:cubicBezTo>
                    <a:pt x="48655" y="81851"/>
                    <a:pt x="39406" y="77061"/>
                    <a:pt x="45159" y="73453"/>
                  </a:cubicBezTo>
                  <a:cubicBezTo>
                    <a:pt x="50912" y="69845"/>
                    <a:pt x="55695" y="64240"/>
                    <a:pt x="59894" y="54176"/>
                  </a:cubicBezTo>
                  <a:cubicBezTo>
                    <a:pt x="64085" y="44104"/>
                    <a:pt x="74297" y="64240"/>
                    <a:pt x="86345" y="73453"/>
                  </a:cubicBezTo>
                  <a:cubicBezTo>
                    <a:pt x="98386" y="82660"/>
                    <a:pt x="105004" y="73453"/>
                    <a:pt x="105004" y="64240"/>
                  </a:cubicBezTo>
                  <a:cubicBezTo>
                    <a:pt x="105004" y="56876"/>
                    <a:pt x="96796" y="50582"/>
                    <a:pt x="92689" y="48359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0" name="Freihandform: Form 55">
              <a:extLst>
                <a:ext uri="{FF2B5EF4-FFF2-40B4-BE49-F238E27FC236}">
                  <a16:creationId xmlns:a16="http://schemas.microsoft.com/office/drawing/2014/main" id="{FA63788A-3A25-9E4F-ACF5-2AB86B594EF3}"/>
                </a:ext>
              </a:extLst>
            </p:cNvPr>
            <p:cNvSpPr/>
            <p:nvPr/>
          </p:nvSpPr>
          <p:spPr>
            <a:xfrm>
              <a:off x="5233974" y="3598704"/>
              <a:ext cx="104630" cy="99450"/>
            </a:xfrm>
            <a:custGeom>
              <a:avLst/>
              <a:gdLst>
                <a:gd name="connsiteX0" fmla="*/ 54147 w 104630"/>
                <a:gd name="connsiteY0" fmla="*/ 18096 h 99450"/>
                <a:gd name="connsiteX1" fmla="*/ 54147 w 104630"/>
                <a:gd name="connsiteY1" fmla="*/ 0 h 99450"/>
                <a:gd name="connsiteX2" fmla="*/ 20431 w 104630"/>
                <a:gd name="connsiteY2" fmla="*/ 36136 h 99450"/>
                <a:gd name="connsiteX3" fmla="*/ 7483 w 104630"/>
                <a:gd name="connsiteY3" fmla="*/ 64219 h 99450"/>
                <a:gd name="connsiteX4" fmla="*/ 7209 w 104630"/>
                <a:gd name="connsiteY4" fmla="*/ 65049 h 99450"/>
                <a:gd name="connsiteX5" fmla="*/ 0 w 104630"/>
                <a:gd name="connsiteY5" fmla="*/ 85564 h 99450"/>
                <a:gd name="connsiteX6" fmla="*/ 36080 w 104630"/>
                <a:gd name="connsiteY6" fmla="*/ 85564 h 99450"/>
                <a:gd name="connsiteX7" fmla="*/ 73397 w 104630"/>
                <a:gd name="connsiteY7" fmla="*/ 85564 h 99450"/>
                <a:gd name="connsiteX8" fmla="*/ 81780 w 104630"/>
                <a:gd name="connsiteY8" fmla="*/ 98814 h 99450"/>
                <a:gd name="connsiteX9" fmla="*/ 104631 w 104630"/>
                <a:gd name="connsiteY9" fmla="*/ 85564 h 99450"/>
                <a:gd name="connsiteX10" fmla="*/ 96247 w 104630"/>
                <a:gd name="connsiteY10" fmla="*/ 50617 h 99450"/>
                <a:gd name="connsiteX11" fmla="*/ 73397 w 104630"/>
                <a:gd name="connsiteY11" fmla="*/ 42163 h 99450"/>
                <a:gd name="connsiteX12" fmla="*/ 48127 w 104630"/>
                <a:gd name="connsiteY12" fmla="*/ 36136 h 99450"/>
                <a:gd name="connsiteX13" fmla="*/ 54147 w 104630"/>
                <a:gd name="connsiteY13" fmla="*/ 18096 h 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630" h="99450">
                  <a:moveTo>
                    <a:pt x="54147" y="18096"/>
                  </a:moveTo>
                  <a:cubicBezTo>
                    <a:pt x="58965" y="12322"/>
                    <a:pt x="56152" y="3629"/>
                    <a:pt x="54147" y="0"/>
                  </a:cubicBezTo>
                  <a:cubicBezTo>
                    <a:pt x="48127" y="6034"/>
                    <a:pt x="32950" y="21704"/>
                    <a:pt x="20431" y="36136"/>
                  </a:cubicBezTo>
                  <a:cubicBezTo>
                    <a:pt x="14530" y="43211"/>
                    <a:pt x="12139" y="50336"/>
                    <a:pt x="7483" y="64219"/>
                  </a:cubicBezTo>
                  <a:lnTo>
                    <a:pt x="7209" y="65049"/>
                  </a:lnTo>
                  <a:cubicBezTo>
                    <a:pt x="3334" y="76597"/>
                    <a:pt x="795" y="83539"/>
                    <a:pt x="0" y="85564"/>
                  </a:cubicBezTo>
                  <a:lnTo>
                    <a:pt x="36080" y="85564"/>
                  </a:lnTo>
                  <a:lnTo>
                    <a:pt x="73397" y="85564"/>
                  </a:lnTo>
                  <a:cubicBezTo>
                    <a:pt x="88792" y="85564"/>
                    <a:pt x="85402" y="94398"/>
                    <a:pt x="81780" y="98814"/>
                  </a:cubicBezTo>
                  <a:cubicBezTo>
                    <a:pt x="86605" y="100411"/>
                    <a:pt x="97921" y="99996"/>
                    <a:pt x="104631" y="85564"/>
                  </a:cubicBezTo>
                  <a:cubicBezTo>
                    <a:pt x="104631" y="79586"/>
                    <a:pt x="96247" y="60259"/>
                    <a:pt x="96247" y="50617"/>
                  </a:cubicBezTo>
                  <a:cubicBezTo>
                    <a:pt x="96247" y="40982"/>
                    <a:pt x="86619" y="45771"/>
                    <a:pt x="73397" y="42163"/>
                  </a:cubicBezTo>
                  <a:cubicBezTo>
                    <a:pt x="60168" y="38555"/>
                    <a:pt x="62531" y="38555"/>
                    <a:pt x="48127" y="36136"/>
                  </a:cubicBezTo>
                  <a:cubicBezTo>
                    <a:pt x="33716" y="33710"/>
                    <a:pt x="48127" y="25312"/>
                    <a:pt x="54147" y="18096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1" name="Freihandform: Form 56">
              <a:extLst>
                <a:ext uri="{FF2B5EF4-FFF2-40B4-BE49-F238E27FC236}">
                  <a16:creationId xmlns:a16="http://schemas.microsoft.com/office/drawing/2014/main" id="{9E74E8D9-9F84-F446-A6E9-FDA7EEE8BD2F}"/>
                </a:ext>
              </a:extLst>
            </p:cNvPr>
            <p:cNvSpPr/>
            <p:nvPr/>
          </p:nvSpPr>
          <p:spPr>
            <a:xfrm>
              <a:off x="3566276" y="2921321"/>
              <a:ext cx="585866" cy="581951"/>
            </a:xfrm>
            <a:custGeom>
              <a:avLst/>
              <a:gdLst>
                <a:gd name="connsiteX0" fmla="*/ 415688 w 585866"/>
                <a:gd name="connsiteY0" fmla="*/ 78076 h 581951"/>
                <a:gd name="connsiteX1" fmla="*/ 415688 w 585866"/>
                <a:gd name="connsiteY1" fmla="*/ 421380 h 581951"/>
                <a:gd name="connsiteX2" fmla="*/ 421554 w 585866"/>
                <a:gd name="connsiteY2" fmla="*/ 423877 h 581951"/>
                <a:gd name="connsiteX3" fmla="*/ 423635 w 585866"/>
                <a:gd name="connsiteY3" fmla="*/ 421380 h 581951"/>
                <a:gd name="connsiteX4" fmla="*/ 430121 w 585866"/>
                <a:gd name="connsiteY4" fmla="*/ 423877 h 581951"/>
                <a:gd name="connsiteX5" fmla="*/ 435544 w 585866"/>
                <a:gd name="connsiteY5" fmla="*/ 421380 h 581951"/>
                <a:gd name="connsiteX6" fmla="*/ 444531 w 585866"/>
                <a:gd name="connsiteY6" fmla="*/ 421380 h 581951"/>
                <a:gd name="connsiteX7" fmla="*/ 444531 w 585866"/>
                <a:gd name="connsiteY7" fmla="*/ 427639 h 581951"/>
                <a:gd name="connsiteX8" fmla="*/ 452898 w 585866"/>
                <a:gd name="connsiteY8" fmla="*/ 438112 h 581951"/>
                <a:gd name="connsiteX9" fmla="*/ 453091 w 585866"/>
                <a:gd name="connsiteY9" fmla="*/ 438302 h 581951"/>
                <a:gd name="connsiteX10" fmla="*/ 467951 w 585866"/>
                <a:gd name="connsiteY10" fmla="*/ 455469 h 581951"/>
                <a:gd name="connsiteX11" fmla="*/ 469212 w 585866"/>
                <a:gd name="connsiteY11" fmla="*/ 462573 h 581951"/>
                <a:gd name="connsiteX12" fmla="*/ 483226 w 585866"/>
                <a:gd name="connsiteY12" fmla="*/ 455469 h 581951"/>
                <a:gd name="connsiteX13" fmla="*/ 487608 w 585866"/>
                <a:gd name="connsiteY13" fmla="*/ 445419 h 581951"/>
                <a:gd name="connsiteX14" fmla="*/ 501421 w 585866"/>
                <a:gd name="connsiteY14" fmla="*/ 438112 h 581951"/>
                <a:gd name="connsiteX15" fmla="*/ 506647 w 585866"/>
                <a:gd name="connsiteY15" fmla="*/ 445419 h 581951"/>
                <a:gd name="connsiteX16" fmla="*/ 511028 w 585866"/>
                <a:gd name="connsiteY16" fmla="*/ 454006 h 581951"/>
                <a:gd name="connsiteX17" fmla="*/ 516472 w 585866"/>
                <a:gd name="connsiteY17" fmla="*/ 460892 h 581951"/>
                <a:gd name="connsiteX18" fmla="*/ 532141 w 585866"/>
                <a:gd name="connsiteY18" fmla="*/ 477004 h 581951"/>
                <a:gd name="connsiteX19" fmla="*/ 546777 w 585866"/>
                <a:gd name="connsiteY19" fmla="*/ 505650 h 581951"/>
                <a:gd name="connsiteX20" fmla="*/ 550758 w 585866"/>
                <a:gd name="connsiteY20" fmla="*/ 516938 h 581951"/>
                <a:gd name="connsiteX21" fmla="*/ 552643 w 585866"/>
                <a:gd name="connsiteY21" fmla="*/ 518598 h 581951"/>
                <a:gd name="connsiteX22" fmla="*/ 558065 w 585866"/>
                <a:gd name="connsiteY22" fmla="*/ 528845 h 581951"/>
                <a:gd name="connsiteX23" fmla="*/ 581063 w 585866"/>
                <a:gd name="connsiteY23" fmla="*/ 543699 h 581951"/>
                <a:gd name="connsiteX24" fmla="*/ 583785 w 585866"/>
                <a:gd name="connsiteY24" fmla="*/ 548924 h 581951"/>
                <a:gd name="connsiteX25" fmla="*/ 583785 w 585866"/>
                <a:gd name="connsiteY25" fmla="*/ 557069 h 581951"/>
                <a:gd name="connsiteX26" fmla="*/ 585867 w 585866"/>
                <a:gd name="connsiteY26" fmla="*/ 566479 h 581951"/>
                <a:gd name="connsiteX27" fmla="*/ 573960 w 585866"/>
                <a:gd name="connsiteY27" fmla="*/ 581952 h 581951"/>
                <a:gd name="connsiteX28" fmla="*/ 571238 w 585866"/>
                <a:gd name="connsiteY28" fmla="*/ 576304 h 581951"/>
                <a:gd name="connsiteX29" fmla="*/ 571238 w 585866"/>
                <a:gd name="connsiteY29" fmla="*/ 568357 h 581951"/>
                <a:gd name="connsiteX30" fmla="*/ 571238 w 585866"/>
                <a:gd name="connsiteY30" fmla="*/ 563975 h 581951"/>
                <a:gd name="connsiteX31" fmla="*/ 571238 w 585866"/>
                <a:gd name="connsiteY31" fmla="*/ 557069 h 581951"/>
                <a:gd name="connsiteX32" fmla="*/ 567890 w 585866"/>
                <a:gd name="connsiteY32" fmla="*/ 551224 h 581951"/>
                <a:gd name="connsiteX33" fmla="*/ 565169 w 585866"/>
                <a:gd name="connsiteY33" fmla="*/ 548924 h 581951"/>
                <a:gd name="connsiteX34" fmla="*/ 554281 w 585866"/>
                <a:gd name="connsiteY34" fmla="*/ 539760 h 581951"/>
                <a:gd name="connsiteX35" fmla="*/ 546777 w 585866"/>
                <a:gd name="connsiteY35" fmla="*/ 531722 h 581951"/>
                <a:gd name="connsiteX36" fmla="*/ 542241 w 585866"/>
                <a:gd name="connsiteY36" fmla="*/ 522269 h 581951"/>
                <a:gd name="connsiteX37" fmla="*/ 536811 w 585866"/>
                <a:gd name="connsiteY37" fmla="*/ 515651 h 581951"/>
                <a:gd name="connsiteX38" fmla="*/ 532141 w 585866"/>
                <a:gd name="connsiteY38" fmla="*/ 510630 h 581951"/>
                <a:gd name="connsiteX39" fmla="*/ 530573 w 585866"/>
                <a:gd name="connsiteY39" fmla="*/ 505650 h 581951"/>
                <a:gd name="connsiteX40" fmla="*/ 525347 w 585866"/>
                <a:gd name="connsiteY40" fmla="*/ 494953 h 581951"/>
                <a:gd name="connsiteX41" fmla="*/ 523357 w 585866"/>
                <a:gd name="connsiteY41" fmla="*/ 487941 h 581951"/>
                <a:gd name="connsiteX42" fmla="*/ 520544 w 585866"/>
                <a:gd name="connsiteY42" fmla="*/ 484108 h 581951"/>
                <a:gd name="connsiteX43" fmla="*/ 513905 w 585866"/>
                <a:gd name="connsiteY43" fmla="*/ 480901 h 581951"/>
                <a:gd name="connsiteX44" fmla="*/ 511028 w 585866"/>
                <a:gd name="connsiteY44" fmla="*/ 477004 h 581951"/>
                <a:gd name="connsiteX45" fmla="*/ 506647 w 585866"/>
                <a:gd name="connsiteY45" fmla="*/ 468459 h 581951"/>
                <a:gd name="connsiteX46" fmla="*/ 505472 w 585866"/>
                <a:gd name="connsiteY46" fmla="*/ 473882 h 581951"/>
                <a:gd name="connsiteX47" fmla="*/ 506647 w 585866"/>
                <a:gd name="connsiteY47" fmla="*/ 478088 h 581951"/>
                <a:gd name="connsiteX48" fmla="*/ 506464 w 585866"/>
                <a:gd name="connsiteY48" fmla="*/ 481892 h 581951"/>
                <a:gd name="connsiteX49" fmla="*/ 501421 w 585866"/>
                <a:gd name="connsiteY49" fmla="*/ 481892 h 581951"/>
                <a:gd name="connsiteX50" fmla="*/ 493227 w 585866"/>
                <a:gd name="connsiteY50" fmla="*/ 478088 h 581951"/>
                <a:gd name="connsiteX51" fmla="*/ 488600 w 585866"/>
                <a:gd name="connsiteY51" fmla="*/ 480704 h 581951"/>
                <a:gd name="connsiteX52" fmla="*/ 483226 w 585866"/>
                <a:gd name="connsiteY52" fmla="*/ 481892 h 581951"/>
                <a:gd name="connsiteX53" fmla="*/ 478155 w 585866"/>
                <a:gd name="connsiteY53" fmla="*/ 480901 h 581951"/>
                <a:gd name="connsiteX54" fmla="*/ 472134 w 585866"/>
                <a:gd name="connsiteY54" fmla="*/ 477004 h 581951"/>
                <a:gd name="connsiteX55" fmla="*/ 466312 w 585866"/>
                <a:gd name="connsiteY55" fmla="*/ 472067 h 581951"/>
                <a:gd name="connsiteX56" fmla="*/ 463900 w 585866"/>
                <a:gd name="connsiteY56" fmla="*/ 468459 h 581951"/>
                <a:gd name="connsiteX57" fmla="*/ 458874 w 585866"/>
                <a:gd name="connsiteY57" fmla="*/ 460892 h 581951"/>
                <a:gd name="connsiteX58" fmla="*/ 447630 w 585866"/>
                <a:gd name="connsiteY58" fmla="*/ 454006 h 581951"/>
                <a:gd name="connsiteX59" fmla="*/ 435544 w 585866"/>
                <a:gd name="connsiteY59" fmla="*/ 448359 h 581951"/>
                <a:gd name="connsiteX60" fmla="*/ 430121 w 585866"/>
                <a:gd name="connsiteY60" fmla="*/ 442936 h 581951"/>
                <a:gd name="connsiteX61" fmla="*/ 422307 w 585866"/>
                <a:gd name="connsiteY61" fmla="*/ 437113 h 581951"/>
                <a:gd name="connsiteX62" fmla="*/ 422150 w 585866"/>
                <a:gd name="connsiteY62" fmla="*/ 437057 h 581951"/>
                <a:gd name="connsiteX63" fmla="*/ 411681 w 585866"/>
                <a:gd name="connsiteY63" fmla="*/ 433906 h 581951"/>
                <a:gd name="connsiteX64" fmla="*/ 403026 w 585866"/>
                <a:gd name="connsiteY64" fmla="*/ 433906 h 581951"/>
                <a:gd name="connsiteX65" fmla="*/ 394593 w 585866"/>
                <a:gd name="connsiteY65" fmla="*/ 430896 h 581951"/>
                <a:gd name="connsiteX66" fmla="*/ 389369 w 585866"/>
                <a:gd name="connsiteY66" fmla="*/ 429679 h 581951"/>
                <a:gd name="connsiteX67" fmla="*/ 384565 w 585866"/>
                <a:gd name="connsiteY67" fmla="*/ 429679 h 581951"/>
                <a:gd name="connsiteX68" fmla="*/ 377925 w 585866"/>
                <a:gd name="connsiteY68" fmla="*/ 429679 h 581951"/>
                <a:gd name="connsiteX69" fmla="*/ 372900 w 585866"/>
                <a:gd name="connsiteY69" fmla="*/ 429679 h 581951"/>
                <a:gd name="connsiteX70" fmla="*/ 355036 w 585866"/>
                <a:gd name="connsiteY70" fmla="*/ 421443 h 581951"/>
                <a:gd name="connsiteX71" fmla="*/ 339166 w 585866"/>
                <a:gd name="connsiteY71" fmla="*/ 414628 h 581951"/>
                <a:gd name="connsiteX72" fmla="*/ 333941 w 585866"/>
                <a:gd name="connsiteY72" fmla="*/ 408805 h 581951"/>
                <a:gd name="connsiteX73" fmla="*/ 327522 w 585866"/>
                <a:gd name="connsiteY73" fmla="*/ 403776 h 581951"/>
                <a:gd name="connsiteX74" fmla="*/ 321479 w 585866"/>
                <a:gd name="connsiteY74" fmla="*/ 402764 h 581951"/>
                <a:gd name="connsiteX75" fmla="*/ 313046 w 585866"/>
                <a:gd name="connsiteY75" fmla="*/ 403776 h 581951"/>
                <a:gd name="connsiteX76" fmla="*/ 306626 w 585866"/>
                <a:gd name="connsiteY76" fmla="*/ 408805 h 581951"/>
                <a:gd name="connsiteX77" fmla="*/ 304213 w 585866"/>
                <a:gd name="connsiteY77" fmla="*/ 411618 h 581951"/>
                <a:gd name="connsiteX78" fmla="*/ 305408 w 585866"/>
                <a:gd name="connsiteY78" fmla="*/ 417435 h 581951"/>
                <a:gd name="connsiteX79" fmla="*/ 306626 w 585866"/>
                <a:gd name="connsiteY79" fmla="*/ 421443 h 581951"/>
                <a:gd name="connsiteX80" fmla="*/ 308840 w 585866"/>
                <a:gd name="connsiteY80" fmla="*/ 429679 h 581951"/>
                <a:gd name="connsiteX81" fmla="*/ 306626 w 585866"/>
                <a:gd name="connsiteY81" fmla="*/ 432091 h 581951"/>
                <a:gd name="connsiteX82" fmla="*/ 299387 w 585866"/>
                <a:gd name="connsiteY82" fmla="*/ 432091 h 581951"/>
                <a:gd name="connsiteX83" fmla="*/ 289758 w 585866"/>
                <a:gd name="connsiteY83" fmla="*/ 432091 h 581951"/>
                <a:gd name="connsiteX84" fmla="*/ 285531 w 585866"/>
                <a:gd name="connsiteY84" fmla="*/ 433906 h 581951"/>
                <a:gd name="connsiteX85" fmla="*/ 280506 w 585866"/>
                <a:gd name="connsiteY85" fmla="*/ 438731 h 581951"/>
                <a:gd name="connsiteX86" fmla="*/ 273290 w 585866"/>
                <a:gd name="connsiteY86" fmla="*/ 445349 h 581951"/>
                <a:gd name="connsiteX87" fmla="*/ 268265 w 585866"/>
                <a:gd name="connsiteY87" fmla="*/ 447965 h 581951"/>
                <a:gd name="connsiteX88" fmla="*/ 261824 w 585866"/>
                <a:gd name="connsiteY88" fmla="*/ 451573 h 581951"/>
                <a:gd name="connsiteX89" fmla="*/ 253788 w 585866"/>
                <a:gd name="connsiteY89" fmla="*/ 452987 h 581951"/>
                <a:gd name="connsiteX90" fmla="*/ 250380 w 585866"/>
                <a:gd name="connsiteY90" fmla="*/ 452987 h 581951"/>
                <a:gd name="connsiteX91" fmla="*/ 250380 w 585866"/>
                <a:gd name="connsiteY91" fmla="*/ 447965 h 581951"/>
                <a:gd name="connsiteX92" fmla="*/ 255803 w 585866"/>
                <a:gd name="connsiteY92" fmla="*/ 442936 h 581951"/>
                <a:gd name="connsiteX93" fmla="*/ 261824 w 585866"/>
                <a:gd name="connsiteY93" fmla="*/ 438731 h 581951"/>
                <a:gd name="connsiteX94" fmla="*/ 261824 w 585866"/>
                <a:gd name="connsiteY94" fmla="*/ 435917 h 581951"/>
                <a:gd name="connsiteX95" fmla="*/ 253788 w 585866"/>
                <a:gd name="connsiteY95" fmla="*/ 440524 h 581951"/>
                <a:gd name="connsiteX96" fmla="*/ 249383 w 585866"/>
                <a:gd name="connsiteY96" fmla="*/ 439131 h 581951"/>
                <a:gd name="connsiteX97" fmla="*/ 249383 w 585866"/>
                <a:gd name="connsiteY97" fmla="*/ 432091 h 581951"/>
                <a:gd name="connsiteX98" fmla="*/ 253788 w 585866"/>
                <a:gd name="connsiteY98" fmla="*/ 423856 h 581951"/>
                <a:gd name="connsiteX99" fmla="*/ 255803 w 585866"/>
                <a:gd name="connsiteY99" fmla="*/ 419432 h 581951"/>
                <a:gd name="connsiteX100" fmla="*/ 257618 w 585866"/>
                <a:gd name="connsiteY100" fmla="*/ 410394 h 581951"/>
                <a:gd name="connsiteX101" fmla="*/ 259632 w 585866"/>
                <a:gd name="connsiteY101" fmla="*/ 407187 h 581951"/>
                <a:gd name="connsiteX102" fmla="*/ 266848 w 585866"/>
                <a:gd name="connsiteY102" fmla="*/ 401364 h 581951"/>
                <a:gd name="connsiteX103" fmla="*/ 270058 w 585866"/>
                <a:gd name="connsiteY103" fmla="*/ 399753 h 581951"/>
                <a:gd name="connsiteX104" fmla="*/ 273290 w 585866"/>
                <a:gd name="connsiteY104" fmla="*/ 402764 h 581951"/>
                <a:gd name="connsiteX105" fmla="*/ 280506 w 585866"/>
                <a:gd name="connsiteY105" fmla="*/ 401364 h 581951"/>
                <a:gd name="connsiteX106" fmla="*/ 285531 w 585866"/>
                <a:gd name="connsiteY106" fmla="*/ 401364 h 581951"/>
                <a:gd name="connsiteX107" fmla="*/ 292769 w 585866"/>
                <a:gd name="connsiteY107" fmla="*/ 402764 h 581951"/>
                <a:gd name="connsiteX108" fmla="*/ 278292 w 585866"/>
                <a:gd name="connsiteY108" fmla="*/ 396539 h 581951"/>
                <a:gd name="connsiteX109" fmla="*/ 285531 w 585866"/>
                <a:gd name="connsiteY109" fmla="*/ 386292 h 581951"/>
                <a:gd name="connsiteX110" fmla="*/ 271275 w 585866"/>
                <a:gd name="connsiteY110" fmla="*/ 390716 h 581951"/>
                <a:gd name="connsiteX111" fmla="*/ 253788 w 585866"/>
                <a:gd name="connsiteY111" fmla="*/ 401364 h 581951"/>
                <a:gd name="connsiteX112" fmla="*/ 244757 w 585866"/>
                <a:gd name="connsiteY112" fmla="*/ 407187 h 581951"/>
                <a:gd name="connsiteX113" fmla="*/ 239732 w 585866"/>
                <a:gd name="connsiteY113" fmla="*/ 419432 h 581951"/>
                <a:gd name="connsiteX114" fmla="*/ 236721 w 585866"/>
                <a:gd name="connsiteY114" fmla="*/ 423856 h 581951"/>
                <a:gd name="connsiteX115" fmla="*/ 232095 w 585866"/>
                <a:gd name="connsiteY115" fmla="*/ 435917 h 581951"/>
                <a:gd name="connsiteX116" fmla="*/ 228288 w 585866"/>
                <a:gd name="connsiteY116" fmla="*/ 440524 h 581951"/>
                <a:gd name="connsiteX117" fmla="*/ 225078 w 585866"/>
                <a:gd name="connsiteY117" fmla="*/ 445349 h 581951"/>
                <a:gd name="connsiteX118" fmla="*/ 215427 w 585866"/>
                <a:gd name="connsiteY118" fmla="*/ 451573 h 581951"/>
                <a:gd name="connsiteX119" fmla="*/ 211222 w 585866"/>
                <a:gd name="connsiteY119" fmla="*/ 459204 h 581951"/>
                <a:gd name="connsiteX120" fmla="*/ 216645 w 585866"/>
                <a:gd name="connsiteY120" fmla="*/ 459204 h 581951"/>
                <a:gd name="connsiteX121" fmla="*/ 225078 w 585866"/>
                <a:gd name="connsiteY121" fmla="*/ 462812 h 581951"/>
                <a:gd name="connsiteX122" fmla="*/ 225078 w 585866"/>
                <a:gd name="connsiteY122" fmla="*/ 467440 h 581951"/>
                <a:gd name="connsiteX123" fmla="*/ 219854 w 585866"/>
                <a:gd name="connsiteY123" fmla="*/ 473664 h 581951"/>
                <a:gd name="connsiteX124" fmla="*/ 213634 w 585866"/>
                <a:gd name="connsiteY124" fmla="*/ 477687 h 581951"/>
                <a:gd name="connsiteX125" fmla="*/ 211222 w 585866"/>
                <a:gd name="connsiteY125" fmla="*/ 483116 h 581951"/>
                <a:gd name="connsiteX126" fmla="*/ 207813 w 585866"/>
                <a:gd name="connsiteY126" fmla="*/ 486323 h 581951"/>
                <a:gd name="connsiteX127" fmla="*/ 197563 w 585866"/>
                <a:gd name="connsiteY127" fmla="*/ 493961 h 581951"/>
                <a:gd name="connsiteX128" fmla="*/ 187514 w 585866"/>
                <a:gd name="connsiteY128" fmla="*/ 501395 h 581951"/>
                <a:gd name="connsiteX129" fmla="*/ 182091 w 585866"/>
                <a:gd name="connsiteY129" fmla="*/ 507021 h 581951"/>
                <a:gd name="connsiteX130" fmla="*/ 178284 w 585866"/>
                <a:gd name="connsiteY130" fmla="*/ 510630 h 581951"/>
                <a:gd name="connsiteX131" fmla="*/ 175672 w 585866"/>
                <a:gd name="connsiteY131" fmla="*/ 513640 h 581951"/>
                <a:gd name="connsiteX132" fmla="*/ 171842 w 585866"/>
                <a:gd name="connsiteY132" fmla="*/ 518661 h 581951"/>
                <a:gd name="connsiteX133" fmla="*/ 162412 w 585866"/>
                <a:gd name="connsiteY133" fmla="*/ 527298 h 581951"/>
                <a:gd name="connsiteX134" fmla="*/ 155573 w 585866"/>
                <a:gd name="connsiteY134" fmla="*/ 532720 h 581951"/>
                <a:gd name="connsiteX135" fmla="*/ 152363 w 585866"/>
                <a:gd name="connsiteY135" fmla="*/ 536546 h 581951"/>
                <a:gd name="connsiteX136" fmla="*/ 148755 w 585866"/>
                <a:gd name="connsiteY136" fmla="*/ 538544 h 581951"/>
                <a:gd name="connsiteX137" fmla="*/ 150348 w 585866"/>
                <a:gd name="connsiteY137" fmla="*/ 540752 h 581951"/>
                <a:gd name="connsiteX138" fmla="*/ 148755 w 585866"/>
                <a:gd name="connsiteY138" fmla="*/ 543164 h 581951"/>
                <a:gd name="connsiteX139" fmla="*/ 136093 w 585866"/>
                <a:gd name="connsiteY139" fmla="*/ 549185 h 581951"/>
                <a:gd name="connsiteX140" fmla="*/ 131666 w 585866"/>
                <a:gd name="connsiteY140" fmla="*/ 550605 h 581951"/>
                <a:gd name="connsiteX141" fmla="*/ 128457 w 585866"/>
                <a:gd name="connsiteY141" fmla="*/ 551801 h 581951"/>
                <a:gd name="connsiteX142" fmla="*/ 124450 w 585866"/>
                <a:gd name="connsiteY142" fmla="*/ 554016 h 581951"/>
                <a:gd name="connsiteX143" fmla="*/ 120023 w 585866"/>
                <a:gd name="connsiteY143" fmla="*/ 557624 h 581951"/>
                <a:gd name="connsiteX144" fmla="*/ 114400 w 585866"/>
                <a:gd name="connsiteY144" fmla="*/ 560234 h 581951"/>
                <a:gd name="connsiteX145" fmla="*/ 108778 w 585866"/>
                <a:gd name="connsiteY145" fmla="*/ 561851 h 581951"/>
                <a:gd name="connsiteX146" fmla="*/ 104771 w 585866"/>
                <a:gd name="connsiteY146" fmla="*/ 561851 h 581951"/>
                <a:gd name="connsiteX147" fmla="*/ 100145 w 585866"/>
                <a:gd name="connsiteY147" fmla="*/ 561851 h 581951"/>
                <a:gd name="connsiteX148" fmla="*/ 93505 w 585866"/>
                <a:gd name="connsiteY148" fmla="*/ 567871 h 581951"/>
                <a:gd name="connsiteX149" fmla="*/ 90295 w 585866"/>
                <a:gd name="connsiteY149" fmla="*/ 570882 h 581951"/>
                <a:gd name="connsiteX150" fmla="*/ 90191 w 585866"/>
                <a:gd name="connsiteY150" fmla="*/ 570959 h 581951"/>
                <a:gd name="connsiteX151" fmla="*/ 85890 w 585866"/>
                <a:gd name="connsiteY151" fmla="*/ 572696 h 581951"/>
                <a:gd name="connsiteX152" fmla="*/ 82879 w 585866"/>
                <a:gd name="connsiteY152" fmla="*/ 569686 h 581951"/>
                <a:gd name="connsiteX153" fmla="*/ 82879 w 585866"/>
                <a:gd name="connsiteY153" fmla="*/ 561851 h 581951"/>
                <a:gd name="connsiteX154" fmla="*/ 85890 w 585866"/>
                <a:gd name="connsiteY154" fmla="*/ 557624 h 581951"/>
                <a:gd name="connsiteX155" fmla="*/ 93505 w 585866"/>
                <a:gd name="connsiteY155" fmla="*/ 554016 h 581951"/>
                <a:gd name="connsiteX156" fmla="*/ 98330 w 585866"/>
                <a:gd name="connsiteY156" fmla="*/ 549185 h 581951"/>
                <a:gd name="connsiteX157" fmla="*/ 102358 w 585866"/>
                <a:gd name="connsiteY157" fmla="*/ 549185 h 581951"/>
                <a:gd name="connsiteX158" fmla="*/ 112186 w 585866"/>
                <a:gd name="connsiteY158" fmla="*/ 551801 h 581951"/>
                <a:gd name="connsiteX159" fmla="*/ 112186 w 585866"/>
                <a:gd name="connsiteY159" fmla="*/ 550605 h 581951"/>
                <a:gd name="connsiteX160" fmla="*/ 116016 w 585866"/>
                <a:gd name="connsiteY160" fmla="*/ 550605 h 581951"/>
                <a:gd name="connsiteX161" fmla="*/ 117610 w 585866"/>
                <a:gd name="connsiteY161" fmla="*/ 550605 h 581951"/>
                <a:gd name="connsiteX162" fmla="*/ 117665 w 585866"/>
                <a:gd name="connsiteY162" fmla="*/ 550683 h 581951"/>
                <a:gd name="connsiteX163" fmla="*/ 117610 w 585866"/>
                <a:gd name="connsiteY163" fmla="*/ 546772 h 581951"/>
                <a:gd name="connsiteX164" fmla="*/ 120023 w 585866"/>
                <a:gd name="connsiteY164" fmla="*/ 536546 h 581951"/>
                <a:gd name="connsiteX165" fmla="*/ 127062 w 585866"/>
                <a:gd name="connsiteY165" fmla="*/ 532720 h 581951"/>
                <a:gd name="connsiteX166" fmla="*/ 134079 w 585866"/>
                <a:gd name="connsiteY166" fmla="*/ 527298 h 581951"/>
                <a:gd name="connsiteX167" fmla="*/ 138506 w 585866"/>
                <a:gd name="connsiteY167" fmla="*/ 524682 h 581951"/>
                <a:gd name="connsiteX168" fmla="*/ 144128 w 585866"/>
                <a:gd name="connsiteY168" fmla="*/ 523289 h 581951"/>
                <a:gd name="connsiteX169" fmla="*/ 148755 w 585866"/>
                <a:gd name="connsiteY169" fmla="*/ 516650 h 581951"/>
                <a:gd name="connsiteX170" fmla="*/ 152363 w 585866"/>
                <a:gd name="connsiteY170" fmla="*/ 510630 h 581951"/>
                <a:gd name="connsiteX171" fmla="*/ 160199 w 585866"/>
                <a:gd name="connsiteY171" fmla="*/ 505207 h 581951"/>
                <a:gd name="connsiteX172" fmla="*/ 160797 w 585866"/>
                <a:gd name="connsiteY172" fmla="*/ 494953 h 581951"/>
                <a:gd name="connsiteX173" fmla="*/ 160797 w 585866"/>
                <a:gd name="connsiteY173" fmla="*/ 488539 h 581951"/>
                <a:gd name="connsiteX174" fmla="*/ 160797 w 585866"/>
                <a:gd name="connsiteY174" fmla="*/ 483116 h 581951"/>
                <a:gd name="connsiteX175" fmla="*/ 162412 w 585866"/>
                <a:gd name="connsiteY175" fmla="*/ 476273 h 581951"/>
                <a:gd name="connsiteX176" fmla="*/ 162412 w 585866"/>
                <a:gd name="connsiteY176" fmla="*/ 476153 h 581951"/>
                <a:gd name="connsiteX177" fmla="*/ 163807 w 585866"/>
                <a:gd name="connsiteY177" fmla="*/ 472067 h 581951"/>
                <a:gd name="connsiteX178" fmla="*/ 167238 w 585866"/>
                <a:gd name="connsiteY178" fmla="*/ 468459 h 581951"/>
                <a:gd name="connsiteX179" fmla="*/ 169850 w 585866"/>
                <a:gd name="connsiteY179" fmla="*/ 462812 h 581951"/>
                <a:gd name="connsiteX180" fmla="*/ 163807 w 585866"/>
                <a:gd name="connsiteY180" fmla="*/ 467440 h 581951"/>
                <a:gd name="connsiteX181" fmla="*/ 160199 w 585866"/>
                <a:gd name="connsiteY181" fmla="*/ 467440 h 581951"/>
                <a:gd name="connsiteX182" fmla="*/ 155573 w 585866"/>
                <a:gd name="connsiteY182" fmla="*/ 470851 h 581951"/>
                <a:gd name="connsiteX183" fmla="*/ 150348 w 585866"/>
                <a:gd name="connsiteY183" fmla="*/ 472067 h 581951"/>
                <a:gd name="connsiteX184" fmla="*/ 147736 w 585866"/>
                <a:gd name="connsiteY184" fmla="*/ 470851 h 581951"/>
                <a:gd name="connsiteX185" fmla="*/ 147736 w 585866"/>
                <a:gd name="connsiteY185" fmla="*/ 467440 h 581951"/>
                <a:gd name="connsiteX186" fmla="*/ 145944 w 585866"/>
                <a:gd name="connsiteY186" fmla="*/ 464232 h 581951"/>
                <a:gd name="connsiteX187" fmla="*/ 142114 w 585866"/>
                <a:gd name="connsiteY187" fmla="*/ 466047 h 581951"/>
                <a:gd name="connsiteX188" fmla="*/ 142114 w 585866"/>
                <a:gd name="connsiteY188" fmla="*/ 468459 h 581951"/>
                <a:gd name="connsiteX189" fmla="*/ 142933 w 585866"/>
                <a:gd name="connsiteY189" fmla="*/ 475675 h 581951"/>
                <a:gd name="connsiteX190" fmla="*/ 142114 w 585866"/>
                <a:gd name="connsiteY190" fmla="*/ 477687 h 581951"/>
                <a:gd name="connsiteX191" fmla="*/ 138506 w 585866"/>
                <a:gd name="connsiteY191" fmla="*/ 476273 h 581951"/>
                <a:gd name="connsiteX192" fmla="*/ 136093 w 585866"/>
                <a:gd name="connsiteY192" fmla="*/ 470851 h 581951"/>
                <a:gd name="connsiteX193" fmla="*/ 132684 w 585866"/>
                <a:gd name="connsiteY193" fmla="*/ 466047 h 581951"/>
                <a:gd name="connsiteX194" fmla="*/ 128630 w 585866"/>
                <a:gd name="connsiteY194" fmla="*/ 464331 h 581951"/>
                <a:gd name="connsiteX195" fmla="*/ 127062 w 585866"/>
                <a:gd name="connsiteY195" fmla="*/ 466047 h 581951"/>
                <a:gd name="connsiteX196" fmla="*/ 121240 w 585866"/>
                <a:gd name="connsiteY196" fmla="*/ 466047 h 581951"/>
                <a:gd name="connsiteX197" fmla="*/ 114400 w 585866"/>
                <a:gd name="connsiteY197" fmla="*/ 460428 h 581951"/>
                <a:gd name="connsiteX198" fmla="*/ 102358 w 585866"/>
                <a:gd name="connsiteY198" fmla="*/ 467440 h 581951"/>
                <a:gd name="connsiteX199" fmla="*/ 98330 w 585866"/>
                <a:gd name="connsiteY199" fmla="*/ 470851 h 581951"/>
                <a:gd name="connsiteX200" fmla="*/ 95718 w 585866"/>
                <a:gd name="connsiteY200" fmla="*/ 473664 h 581951"/>
                <a:gd name="connsiteX201" fmla="*/ 93505 w 585866"/>
                <a:gd name="connsiteY201" fmla="*/ 472067 h 581951"/>
                <a:gd name="connsiteX202" fmla="*/ 94522 w 585866"/>
                <a:gd name="connsiteY202" fmla="*/ 467440 h 581951"/>
                <a:gd name="connsiteX203" fmla="*/ 97334 w 585866"/>
                <a:gd name="connsiteY203" fmla="*/ 460006 h 581951"/>
                <a:gd name="connsiteX204" fmla="*/ 95718 w 585866"/>
                <a:gd name="connsiteY204" fmla="*/ 452987 h 581951"/>
                <a:gd name="connsiteX205" fmla="*/ 95718 w 585866"/>
                <a:gd name="connsiteY205" fmla="*/ 447965 h 581951"/>
                <a:gd name="connsiteX206" fmla="*/ 93505 w 585866"/>
                <a:gd name="connsiteY206" fmla="*/ 440524 h 581951"/>
                <a:gd name="connsiteX207" fmla="*/ 91711 w 585866"/>
                <a:gd name="connsiteY207" fmla="*/ 435917 h 581951"/>
                <a:gd name="connsiteX208" fmla="*/ 90295 w 585866"/>
                <a:gd name="connsiteY208" fmla="*/ 430699 h 581951"/>
                <a:gd name="connsiteX209" fmla="*/ 87882 w 585866"/>
                <a:gd name="connsiteY209" fmla="*/ 425670 h 581951"/>
                <a:gd name="connsiteX210" fmla="*/ 85890 w 585866"/>
                <a:gd name="connsiteY210" fmla="*/ 421640 h 581951"/>
                <a:gd name="connsiteX211" fmla="*/ 85890 w 585866"/>
                <a:gd name="connsiteY211" fmla="*/ 419432 h 581951"/>
                <a:gd name="connsiteX212" fmla="*/ 83676 w 585866"/>
                <a:gd name="connsiteY212" fmla="*/ 424854 h 581951"/>
                <a:gd name="connsiteX213" fmla="*/ 83676 w 585866"/>
                <a:gd name="connsiteY213" fmla="*/ 428680 h 581951"/>
                <a:gd name="connsiteX214" fmla="*/ 80666 w 585866"/>
                <a:gd name="connsiteY214" fmla="*/ 432091 h 581951"/>
                <a:gd name="connsiteX215" fmla="*/ 75641 w 585866"/>
                <a:gd name="connsiteY215" fmla="*/ 434701 h 581951"/>
                <a:gd name="connsiteX216" fmla="*/ 66388 w 585866"/>
                <a:gd name="connsiteY216" fmla="*/ 435917 h 581951"/>
                <a:gd name="connsiteX217" fmla="*/ 59571 w 585866"/>
                <a:gd name="connsiteY217" fmla="*/ 435917 h 581951"/>
                <a:gd name="connsiteX218" fmla="*/ 56959 w 585866"/>
                <a:gd name="connsiteY218" fmla="*/ 432091 h 581951"/>
                <a:gd name="connsiteX219" fmla="*/ 54347 w 585866"/>
                <a:gd name="connsiteY219" fmla="*/ 427464 h 581951"/>
                <a:gd name="connsiteX220" fmla="*/ 51535 w 585866"/>
                <a:gd name="connsiteY220" fmla="*/ 423856 h 581951"/>
                <a:gd name="connsiteX221" fmla="*/ 46112 w 585866"/>
                <a:gd name="connsiteY221" fmla="*/ 419432 h 581951"/>
                <a:gd name="connsiteX222" fmla="*/ 46112 w 585866"/>
                <a:gd name="connsiteY222" fmla="*/ 414424 h 581951"/>
                <a:gd name="connsiteX223" fmla="*/ 41087 w 585866"/>
                <a:gd name="connsiteY223" fmla="*/ 414424 h 581951"/>
                <a:gd name="connsiteX224" fmla="*/ 40091 w 585866"/>
                <a:gd name="connsiteY224" fmla="*/ 414227 h 581951"/>
                <a:gd name="connsiteX225" fmla="*/ 47506 w 585866"/>
                <a:gd name="connsiteY225" fmla="*/ 405774 h 581951"/>
                <a:gd name="connsiteX226" fmla="*/ 51535 w 585866"/>
                <a:gd name="connsiteY226" fmla="*/ 405774 h 581951"/>
                <a:gd name="connsiteX227" fmla="*/ 54347 w 585866"/>
                <a:gd name="connsiteY227" fmla="*/ 405774 h 581951"/>
                <a:gd name="connsiteX228" fmla="*/ 60766 w 585866"/>
                <a:gd name="connsiteY228" fmla="*/ 406786 h 581951"/>
                <a:gd name="connsiteX229" fmla="*/ 64994 w 585866"/>
                <a:gd name="connsiteY229" fmla="*/ 409403 h 581951"/>
                <a:gd name="connsiteX230" fmla="*/ 69176 w 585866"/>
                <a:gd name="connsiteY230" fmla="*/ 409459 h 581951"/>
                <a:gd name="connsiteX231" fmla="*/ 69200 w 585866"/>
                <a:gd name="connsiteY231" fmla="*/ 409403 h 581951"/>
                <a:gd name="connsiteX232" fmla="*/ 69200 w 585866"/>
                <a:gd name="connsiteY232" fmla="*/ 405774 h 581951"/>
                <a:gd name="connsiteX233" fmla="*/ 56959 w 585866"/>
                <a:gd name="connsiteY233" fmla="*/ 401167 h 581951"/>
                <a:gd name="connsiteX234" fmla="*/ 44297 w 585866"/>
                <a:gd name="connsiteY234" fmla="*/ 399549 h 581951"/>
                <a:gd name="connsiteX235" fmla="*/ 36881 w 585866"/>
                <a:gd name="connsiteY235" fmla="*/ 390125 h 581951"/>
                <a:gd name="connsiteX236" fmla="*/ 32255 w 585866"/>
                <a:gd name="connsiteY236" fmla="*/ 383085 h 581951"/>
                <a:gd name="connsiteX237" fmla="*/ 32255 w 585866"/>
                <a:gd name="connsiteY237" fmla="*/ 374252 h 581951"/>
                <a:gd name="connsiteX238" fmla="*/ 35465 w 585866"/>
                <a:gd name="connsiteY238" fmla="*/ 367211 h 581951"/>
                <a:gd name="connsiteX239" fmla="*/ 39073 w 585866"/>
                <a:gd name="connsiteY239" fmla="*/ 360790 h 581951"/>
                <a:gd name="connsiteX240" fmla="*/ 41087 w 585866"/>
                <a:gd name="connsiteY240" fmla="*/ 352555 h 581951"/>
                <a:gd name="connsiteX241" fmla="*/ 46112 w 585866"/>
                <a:gd name="connsiteY241" fmla="*/ 350142 h 581951"/>
                <a:gd name="connsiteX242" fmla="*/ 47506 w 585866"/>
                <a:gd name="connsiteY242" fmla="*/ 340690 h 581951"/>
                <a:gd name="connsiteX243" fmla="*/ 53151 w 585866"/>
                <a:gd name="connsiteY243" fmla="*/ 330668 h 581951"/>
                <a:gd name="connsiteX244" fmla="*/ 62581 w 585866"/>
                <a:gd name="connsiteY244" fmla="*/ 325639 h 581951"/>
                <a:gd name="connsiteX245" fmla="*/ 73228 w 585866"/>
                <a:gd name="connsiteY245" fmla="*/ 332060 h 581951"/>
                <a:gd name="connsiteX246" fmla="*/ 82060 w 585866"/>
                <a:gd name="connsiteY246" fmla="*/ 325639 h 581951"/>
                <a:gd name="connsiteX247" fmla="*/ 86687 w 585866"/>
                <a:gd name="connsiteY247" fmla="*/ 318402 h 581951"/>
                <a:gd name="connsiteX248" fmla="*/ 97334 w 585866"/>
                <a:gd name="connsiteY248" fmla="*/ 318402 h 581951"/>
                <a:gd name="connsiteX249" fmla="*/ 104572 w 585866"/>
                <a:gd name="connsiteY249" fmla="*/ 317010 h 581951"/>
                <a:gd name="connsiteX250" fmla="*/ 108379 w 585866"/>
                <a:gd name="connsiteY250" fmla="*/ 310166 h 581951"/>
                <a:gd name="connsiteX251" fmla="*/ 110991 w 585866"/>
                <a:gd name="connsiteY251" fmla="*/ 303351 h 581951"/>
                <a:gd name="connsiteX252" fmla="*/ 110991 w 585866"/>
                <a:gd name="connsiteY252" fmla="*/ 296508 h 581951"/>
                <a:gd name="connsiteX253" fmla="*/ 108379 w 585866"/>
                <a:gd name="connsiteY253" fmla="*/ 290094 h 581951"/>
                <a:gd name="connsiteX254" fmla="*/ 103355 w 585866"/>
                <a:gd name="connsiteY254" fmla="*/ 285065 h 581951"/>
                <a:gd name="connsiteX255" fmla="*/ 98529 w 585866"/>
                <a:gd name="connsiteY255" fmla="*/ 282653 h 581951"/>
                <a:gd name="connsiteX256" fmla="*/ 106564 w 585866"/>
                <a:gd name="connsiteY256" fmla="*/ 280642 h 581951"/>
                <a:gd name="connsiteX257" fmla="*/ 108379 w 585866"/>
                <a:gd name="connsiteY257" fmla="*/ 276633 h 581951"/>
                <a:gd name="connsiteX258" fmla="*/ 108379 w 585866"/>
                <a:gd name="connsiteY258" fmla="*/ 270809 h 581951"/>
                <a:gd name="connsiteX259" fmla="*/ 101960 w 585866"/>
                <a:gd name="connsiteY259" fmla="*/ 269593 h 581951"/>
                <a:gd name="connsiteX260" fmla="*/ 92907 w 585866"/>
                <a:gd name="connsiteY260" fmla="*/ 273623 h 581951"/>
                <a:gd name="connsiteX261" fmla="*/ 87683 w 585866"/>
                <a:gd name="connsiteY261" fmla="*/ 277427 h 581951"/>
                <a:gd name="connsiteX262" fmla="*/ 82060 w 585866"/>
                <a:gd name="connsiteY262" fmla="*/ 283870 h 581951"/>
                <a:gd name="connsiteX263" fmla="*/ 82060 w 585866"/>
                <a:gd name="connsiteY263" fmla="*/ 287281 h 581951"/>
                <a:gd name="connsiteX264" fmla="*/ 78054 w 585866"/>
                <a:gd name="connsiteY264" fmla="*/ 279446 h 581951"/>
                <a:gd name="connsiteX265" fmla="*/ 73228 w 585866"/>
                <a:gd name="connsiteY265" fmla="*/ 277427 h 581951"/>
                <a:gd name="connsiteX266" fmla="*/ 66388 w 585866"/>
                <a:gd name="connsiteY266" fmla="*/ 279446 h 581951"/>
                <a:gd name="connsiteX267" fmla="*/ 59172 w 585866"/>
                <a:gd name="connsiteY267" fmla="*/ 280642 h 581951"/>
                <a:gd name="connsiteX268" fmla="*/ 51535 w 585866"/>
                <a:gd name="connsiteY268" fmla="*/ 280642 h 581951"/>
                <a:gd name="connsiteX269" fmla="*/ 43300 w 585866"/>
                <a:gd name="connsiteY269" fmla="*/ 282055 h 581951"/>
                <a:gd name="connsiteX270" fmla="*/ 36881 w 585866"/>
                <a:gd name="connsiteY270" fmla="*/ 280642 h 581951"/>
                <a:gd name="connsiteX271" fmla="*/ 29643 w 585866"/>
                <a:gd name="connsiteY271" fmla="*/ 279446 h 581951"/>
                <a:gd name="connsiteX272" fmla="*/ 26832 w 585866"/>
                <a:gd name="connsiteY272" fmla="*/ 276633 h 581951"/>
                <a:gd name="connsiteX273" fmla="*/ 23224 w 585866"/>
                <a:gd name="connsiteY273" fmla="*/ 269593 h 581951"/>
                <a:gd name="connsiteX274" fmla="*/ 21807 w 585866"/>
                <a:gd name="connsiteY274" fmla="*/ 263572 h 581951"/>
                <a:gd name="connsiteX275" fmla="*/ 18199 w 585866"/>
                <a:gd name="connsiteY275" fmla="*/ 259149 h 581951"/>
                <a:gd name="connsiteX276" fmla="*/ 23224 w 585866"/>
                <a:gd name="connsiteY276" fmla="*/ 254542 h 581951"/>
                <a:gd name="connsiteX277" fmla="*/ 28426 w 585866"/>
                <a:gd name="connsiteY277" fmla="*/ 251328 h 581951"/>
                <a:gd name="connsiteX278" fmla="*/ 19792 w 585866"/>
                <a:gd name="connsiteY278" fmla="*/ 251328 h 581951"/>
                <a:gd name="connsiteX279" fmla="*/ 12577 w 585866"/>
                <a:gd name="connsiteY279" fmla="*/ 249316 h 581951"/>
                <a:gd name="connsiteX280" fmla="*/ 6733 w 585866"/>
                <a:gd name="connsiteY280" fmla="*/ 246503 h 581951"/>
                <a:gd name="connsiteX281" fmla="*/ 1929 w 585866"/>
                <a:gd name="connsiteY281" fmla="*/ 243894 h 581951"/>
                <a:gd name="connsiteX282" fmla="*/ 911 w 585866"/>
                <a:gd name="connsiteY282" fmla="*/ 238275 h 581951"/>
                <a:gd name="connsiteX283" fmla="*/ 6733 w 585866"/>
                <a:gd name="connsiteY283" fmla="*/ 236059 h 581951"/>
                <a:gd name="connsiteX284" fmla="*/ 10363 w 585866"/>
                <a:gd name="connsiteY284" fmla="*/ 233844 h 581951"/>
                <a:gd name="connsiteX285" fmla="*/ 14369 w 585866"/>
                <a:gd name="connsiteY285" fmla="*/ 231431 h 581951"/>
                <a:gd name="connsiteX286" fmla="*/ 18199 w 585866"/>
                <a:gd name="connsiteY286" fmla="*/ 226607 h 581951"/>
                <a:gd name="connsiteX287" fmla="*/ 23224 w 585866"/>
                <a:gd name="connsiteY287" fmla="*/ 222000 h 581951"/>
                <a:gd name="connsiteX288" fmla="*/ 29643 w 585866"/>
                <a:gd name="connsiteY288" fmla="*/ 220586 h 581951"/>
                <a:gd name="connsiteX289" fmla="*/ 36561 w 585866"/>
                <a:gd name="connsiteY289" fmla="*/ 220178 h 581951"/>
                <a:gd name="connsiteX290" fmla="*/ 35863 w 585866"/>
                <a:gd name="connsiteY290" fmla="*/ 215762 h 581951"/>
                <a:gd name="connsiteX291" fmla="*/ 39493 w 585866"/>
                <a:gd name="connsiteY291" fmla="*/ 211155 h 581951"/>
                <a:gd name="connsiteX292" fmla="*/ 44695 w 585866"/>
                <a:gd name="connsiteY292" fmla="*/ 209537 h 581951"/>
                <a:gd name="connsiteX293" fmla="*/ 48923 w 585866"/>
                <a:gd name="connsiteY293" fmla="*/ 208145 h 581951"/>
                <a:gd name="connsiteX294" fmla="*/ 59172 w 585866"/>
                <a:gd name="connsiteY294" fmla="*/ 205332 h 581951"/>
                <a:gd name="connsiteX295" fmla="*/ 62581 w 585866"/>
                <a:gd name="connsiteY295" fmla="*/ 205332 h 581951"/>
                <a:gd name="connsiteX296" fmla="*/ 64794 w 585866"/>
                <a:gd name="connsiteY296" fmla="*/ 209537 h 581951"/>
                <a:gd name="connsiteX297" fmla="*/ 63776 w 585866"/>
                <a:gd name="connsiteY297" fmla="*/ 214165 h 581951"/>
                <a:gd name="connsiteX298" fmla="*/ 63776 w 585866"/>
                <a:gd name="connsiteY298" fmla="*/ 219391 h 581951"/>
                <a:gd name="connsiteX299" fmla="*/ 67805 w 585866"/>
                <a:gd name="connsiteY299" fmla="*/ 223196 h 581951"/>
                <a:gd name="connsiteX300" fmla="*/ 74623 w 585866"/>
                <a:gd name="connsiteY300" fmla="*/ 223196 h 581951"/>
                <a:gd name="connsiteX301" fmla="*/ 82060 w 585866"/>
                <a:gd name="connsiteY301" fmla="*/ 223196 h 581951"/>
                <a:gd name="connsiteX302" fmla="*/ 92907 w 585866"/>
                <a:gd name="connsiteY302" fmla="*/ 225010 h 581951"/>
                <a:gd name="connsiteX303" fmla="*/ 95519 w 585866"/>
                <a:gd name="connsiteY303" fmla="*/ 223196 h 581951"/>
                <a:gd name="connsiteX304" fmla="*/ 98529 w 585866"/>
                <a:gd name="connsiteY304" fmla="*/ 217175 h 581951"/>
                <a:gd name="connsiteX305" fmla="*/ 101960 w 585866"/>
                <a:gd name="connsiteY305" fmla="*/ 215762 h 581951"/>
                <a:gd name="connsiteX306" fmla="*/ 108379 w 585866"/>
                <a:gd name="connsiteY306" fmla="*/ 219391 h 581951"/>
                <a:gd name="connsiteX307" fmla="*/ 106564 w 585866"/>
                <a:gd name="connsiteY307" fmla="*/ 214165 h 581951"/>
                <a:gd name="connsiteX308" fmla="*/ 103355 w 585866"/>
                <a:gd name="connsiteY308" fmla="*/ 209537 h 581951"/>
                <a:gd name="connsiteX309" fmla="*/ 92907 w 585866"/>
                <a:gd name="connsiteY309" fmla="*/ 209537 h 581951"/>
                <a:gd name="connsiteX310" fmla="*/ 89697 w 585866"/>
                <a:gd name="connsiteY310" fmla="*/ 205332 h 581951"/>
                <a:gd name="connsiteX311" fmla="*/ 89697 w 585866"/>
                <a:gd name="connsiteY311" fmla="*/ 201302 h 581951"/>
                <a:gd name="connsiteX312" fmla="*/ 91512 w 585866"/>
                <a:gd name="connsiteY312" fmla="*/ 198292 h 581951"/>
                <a:gd name="connsiteX313" fmla="*/ 97334 w 585866"/>
                <a:gd name="connsiteY313" fmla="*/ 192672 h 581951"/>
                <a:gd name="connsiteX314" fmla="*/ 85691 w 585866"/>
                <a:gd name="connsiteY314" fmla="*/ 186251 h 581951"/>
                <a:gd name="connsiteX315" fmla="*/ 76039 w 585866"/>
                <a:gd name="connsiteY315" fmla="*/ 186251 h 581951"/>
                <a:gd name="connsiteX316" fmla="*/ 66808 w 585866"/>
                <a:gd name="connsiteY316" fmla="*/ 182425 h 581951"/>
                <a:gd name="connsiteX317" fmla="*/ 63776 w 585866"/>
                <a:gd name="connsiteY317" fmla="*/ 175209 h 581951"/>
                <a:gd name="connsiteX318" fmla="*/ 62581 w 585866"/>
                <a:gd name="connsiteY318" fmla="*/ 166973 h 581951"/>
                <a:gd name="connsiteX319" fmla="*/ 59172 w 585866"/>
                <a:gd name="connsiteY319" fmla="*/ 163344 h 581951"/>
                <a:gd name="connsiteX320" fmla="*/ 53749 w 585866"/>
                <a:gd name="connsiteY320" fmla="*/ 155903 h 581951"/>
                <a:gd name="connsiteX321" fmla="*/ 48923 w 585866"/>
                <a:gd name="connsiteY321" fmla="*/ 151698 h 581951"/>
                <a:gd name="connsiteX322" fmla="*/ 42106 w 585866"/>
                <a:gd name="connsiteY322" fmla="*/ 148687 h 581951"/>
                <a:gd name="connsiteX323" fmla="*/ 35863 w 585866"/>
                <a:gd name="connsiteY323" fmla="*/ 145276 h 581951"/>
                <a:gd name="connsiteX324" fmla="*/ 27430 w 585866"/>
                <a:gd name="connsiteY324" fmla="*/ 138243 h 581951"/>
                <a:gd name="connsiteX325" fmla="*/ 23224 w 585866"/>
                <a:gd name="connsiteY325" fmla="*/ 134635 h 581951"/>
                <a:gd name="connsiteX326" fmla="*/ 20191 w 585866"/>
                <a:gd name="connsiteY326" fmla="*/ 134635 h 581951"/>
                <a:gd name="connsiteX327" fmla="*/ 26035 w 585866"/>
                <a:gd name="connsiteY327" fmla="*/ 129410 h 581951"/>
                <a:gd name="connsiteX328" fmla="*/ 26035 w 585866"/>
                <a:gd name="connsiteY328" fmla="*/ 119557 h 581951"/>
                <a:gd name="connsiteX329" fmla="*/ 26035 w 585866"/>
                <a:gd name="connsiteY329" fmla="*/ 113937 h 581951"/>
                <a:gd name="connsiteX330" fmla="*/ 32255 w 585866"/>
                <a:gd name="connsiteY330" fmla="*/ 112320 h 581951"/>
                <a:gd name="connsiteX331" fmla="*/ 42106 w 585866"/>
                <a:gd name="connsiteY331" fmla="*/ 111124 h 581951"/>
                <a:gd name="connsiteX332" fmla="*/ 48923 w 585866"/>
                <a:gd name="connsiteY332" fmla="*/ 111124 h 581951"/>
                <a:gd name="connsiteX333" fmla="*/ 56162 w 585866"/>
                <a:gd name="connsiteY333" fmla="*/ 109506 h 581951"/>
                <a:gd name="connsiteX334" fmla="*/ 56569 w 585866"/>
                <a:gd name="connsiteY334" fmla="*/ 109422 h 581951"/>
                <a:gd name="connsiteX335" fmla="*/ 64794 w 585866"/>
                <a:gd name="connsiteY335" fmla="*/ 106700 h 581951"/>
                <a:gd name="connsiteX336" fmla="*/ 68004 w 585866"/>
                <a:gd name="connsiteY336" fmla="*/ 103690 h 581951"/>
                <a:gd name="connsiteX337" fmla="*/ 69620 w 585866"/>
                <a:gd name="connsiteY337" fmla="*/ 100877 h 581951"/>
                <a:gd name="connsiteX338" fmla="*/ 74224 w 585866"/>
                <a:gd name="connsiteY338" fmla="*/ 89434 h 581951"/>
                <a:gd name="connsiteX339" fmla="*/ 74224 w 585866"/>
                <a:gd name="connsiteY339" fmla="*/ 86621 h 581951"/>
                <a:gd name="connsiteX340" fmla="*/ 76438 w 585866"/>
                <a:gd name="connsiteY340" fmla="*/ 76571 h 581951"/>
                <a:gd name="connsiteX341" fmla="*/ 80267 w 585866"/>
                <a:gd name="connsiteY341" fmla="*/ 67941 h 581951"/>
                <a:gd name="connsiteX342" fmla="*/ 85469 w 585866"/>
                <a:gd name="connsiteY342" fmla="*/ 61316 h 581951"/>
                <a:gd name="connsiteX343" fmla="*/ 89099 w 585866"/>
                <a:gd name="connsiteY343" fmla="*/ 56097 h 581951"/>
                <a:gd name="connsiteX344" fmla="*/ 92907 w 585866"/>
                <a:gd name="connsiteY344" fmla="*/ 52883 h 581951"/>
                <a:gd name="connsiteX345" fmla="*/ 103155 w 585866"/>
                <a:gd name="connsiteY345" fmla="*/ 49852 h 581951"/>
                <a:gd name="connsiteX346" fmla="*/ 109774 w 585866"/>
                <a:gd name="connsiteY346" fmla="*/ 45843 h 581951"/>
                <a:gd name="connsiteX347" fmla="*/ 114998 w 585866"/>
                <a:gd name="connsiteY347" fmla="*/ 41616 h 581951"/>
                <a:gd name="connsiteX348" fmla="*/ 119027 w 585866"/>
                <a:gd name="connsiteY348" fmla="*/ 36616 h 581951"/>
                <a:gd name="connsiteX349" fmla="*/ 124251 w 585866"/>
                <a:gd name="connsiteY349" fmla="*/ 30173 h 581951"/>
                <a:gd name="connsiteX350" fmla="*/ 127660 w 585866"/>
                <a:gd name="connsiteY350" fmla="*/ 26369 h 581951"/>
                <a:gd name="connsiteX351" fmla="*/ 138107 w 585866"/>
                <a:gd name="connsiteY351" fmla="*/ 24751 h 581951"/>
                <a:gd name="connsiteX352" fmla="*/ 146741 w 585866"/>
                <a:gd name="connsiteY352" fmla="*/ 24751 h 581951"/>
                <a:gd name="connsiteX353" fmla="*/ 154178 w 585866"/>
                <a:gd name="connsiteY353" fmla="*/ 23358 h 581951"/>
                <a:gd name="connsiteX354" fmla="*/ 157986 w 585866"/>
                <a:gd name="connsiteY354" fmla="*/ 21544 h 581951"/>
                <a:gd name="connsiteX355" fmla="*/ 162412 w 585866"/>
                <a:gd name="connsiteY355" fmla="*/ 19328 h 581951"/>
                <a:gd name="connsiteX356" fmla="*/ 165024 w 585866"/>
                <a:gd name="connsiteY356" fmla="*/ 14926 h 581951"/>
                <a:gd name="connsiteX357" fmla="*/ 168035 w 585866"/>
                <a:gd name="connsiteY357" fmla="*/ 10298 h 581951"/>
                <a:gd name="connsiteX358" fmla="*/ 170647 w 585866"/>
                <a:gd name="connsiteY358" fmla="*/ 5473 h 581951"/>
                <a:gd name="connsiteX359" fmla="*/ 173657 w 585866"/>
                <a:gd name="connsiteY359" fmla="*/ 2062 h 581951"/>
                <a:gd name="connsiteX360" fmla="*/ 176668 w 585866"/>
                <a:gd name="connsiteY360" fmla="*/ 445 h 581951"/>
                <a:gd name="connsiteX361" fmla="*/ 179877 w 585866"/>
                <a:gd name="connsiteY361" fmla="*/ 2062 h 581951"/>
                <a:gd name="connsiteX362" fmla="*/ 185699 w 585866"/>
                <a:gd name="connsiteY362" fmla="*/ 4074 h 581951"/>
                <a:gd name="connsiteX363" fmla="*/ 190126 w 585866"/>
                <a:gd name="connsiteY363" fmla="*/ 5473 h 581951"/>
                <a:gd name="connsiteX364" fmla="*/ 192140 w 585866"/>
                <a:gd name="connsiteY364" fmla="*/ 10298 h 581951"/>
                <a:gd name="connsiteX365" fmla="*/ 186717 w 585866"/>
                <a:gd name="connsiteY365" fmla="*/ 14926 h 581951"/>
                <a:gd name="connsiteX366" fmla="*/ 182689 w 585866"/>
                <a:gd name="connsiteY366" fmla="*/ 16318 h 581951"/>
                <a:gd name="connsiteX367" fmla="*/ 180896 w 585866"/>
                <a:gd name="connsiteY367" fmla="*/ 19328 h 581951"/>
                <a:gd name="connsiteX368" fmla="*/ 182689 w 585866"/>
                <a:gd name="connsiteY368" fmla="*/ 21544 h 581951"/>
                <a:gd name="connsiteX369" fmla="*/ 185699 w 585866"/>
                <a:gd name="connsiteY369" fmla="*/ 23358 h 581951"/>
                <a:gd name="connsiteX370" fmla="*/ 192140 w 585866"/>
                <a:gd name="connsiteY370" fmla="*/ 24751 h 581951"/>
                <a:gd name="connsiteX371" fmla="*/ 194553 w 585866"/>
                <a:gd name="connsiteY371" fmla="*/ 19328 h 581951"/>
                <a:gd name="connsiteX372" fmla="*/ 194553 w 585866"/>
                <a:gd name="connsiteY372" fmla="*/ 16318 h 581951"/>
                <a:gd name="connsiteX373" fmla="*/ 195749 w 585866"/>
                <a:gd name="connsiteY373" fmla="*/ 12514 h 581951"/>
                <a:gd name="connsiteX374" fmla="*/ 204381 w 585866"/>
                <a:gd name="connsiteY374" fmla="*/ 14926 h 581951"/>
                <a:gd name="connsiteX375" fmla="*/ 204381 w 585866"/>
                <a:gd name="connsiteY375" fmla="*/ 19328 h 581951"/>
                <a:gd name="connsiteX376" fmla="*/ 209207 w 585866"/>
                <a:gd name="connsiteY376" fmla="*/ 26369 h 581951"/>
                <a:gd name="connsiteX377" fmla="*/ 214232 w 585866"/>
                <a:gd name="connsiteY377" fmla="*/ 24751 h 581951"/>
                <a:gd name="connsiteX378" fmla="*/ 216645 w 585866"/>
                <a:gd name="connsiteY378" fmla="*/ 21544 h 581951"/>
                <a:gd name="connsiteX379" fmla="*/ 222267 w 585866"/>
                <a:gd name="connsiteY379" fmla="*/ 19328 h 581951"/>
                <a:gd name="connsiteX380" fmla="*/ 226274 w 585866"/>
                <a:gd name="connsiteY380" fmla="*/ 19328 h 581951"/>
                <a:gd name="connsiteX381" fmla="*/ 236323 w 585866"/>
                <a:gd name="connsiteY381" fmla="*/ 24751 h 581951"/>
                <a:gd name="connsiteX382" fmla="*/ 238338 w 585866"/>
                <a:gd name="connsiteY382" fmla="*/ 23358 h 581951"/>
                <a:gd name="connsiteX383" fmla="*/ 240130 w 585866"/>
                <a:gd name="connsiteY383" fmla="*/ 23358 h 581951"/>
                <a:gd name="connsiteX384" fmla="*/ 240130 w 585866"/>
                <a:gd name="connsiteY384" fmla="*/ 27761 h 581951"/>
                <a:gd name="connsiteX385" fmla="*/ 238338 w 585866"/>
                <a:gd name="connsiteY385" fmla="*/ 32790 h 581951"/>
                <a:gd name="connsiteX386" fmla="*/ 236323 w 585866"/>
                <a:gd name="connsiteY386" fmla="*/ 34998 h 581951"/>
                <a:gd name="connsiteX387" fmla="*/ 245974 w 585866"/>
                <a:gd name="connsiteY387" fmla="*/ 34998 h 581951"/>
                <a:gd name="connsiteX388" fmla="*/ 249583 w 585866"/>
                <a:gd name="connsiteY388" fmla="*/ 36616 h 581951"/>
                <a:gd name="connsiteX389" fmla="*/ 249583 w 585866"/>
                <a:gd name="connsiteY389" fmla="*/ 39007 h 581951"/>
                <a:gd name="connsiteX390" fmla="*/ 252792 w 585866"/>
                <a:gd name="connsiteY390" fmla="*/ 41616 h 581951"/>
                <a:gd name="connsiteX391" fmla="*/ 260030 w 585866"/>
                <a:gd name="connsiteY391" fmla="*/ 43431 h 581951"/>
                <a:gd name="connsiteX392" fmla="*/ 267247 w 585866"/>
                <a:gd name="connsiteY392" fmla="*/ 43431 h 581951"/>
                <a:gd name="connsiteX393" fmla="*/ 272670 w 585866"/>
                <a:gd name="connsiteY393" fmla="*/ 41616 h 581951"/>
                <a:gd name="connsiteX394" fmla="*/ 277097 w 585866"/>
                <a:gd name="connsiteY394" fmla="*/ 39007 h 581951"/>
                <a:gd name="connsiteX395" fmla="*/ 285332 w 585866"/>
                <a:gd name="connsiteY395" fmla="*/ 39007 h 581951"/>
                <a:gd name="connsiteX396" fmla="*/ 291153 w 585866"/>
                <a:gd name="connsiteY396" fmla="*/ 39007 h 581951"/>
                <a:gd name="connsiteX397" fmla="*/ 296776 w 585866"/>
                <a:gd name="connsiteY397" fmla="*/ 41616 h 581951"/>
                <a:gd name="connsiteX398" fmla="*/ 306228 w 585866"/>
                <a:gd name="connsiteY398" fmla="*/ 45843 h 581951"/>
                <a:gd name="connsiteX399" fmla="*/ 312448 w 585866"/>
                <a:gd name="connsiteY399" fmla="*/ 49057 h 581951"/>
                <a:gd name="connsiteX400" fmla="*/ 317273 w 585866"/>
                <a:gd name="connsiteY400" fmla="*/ 52468 h 581951"/>
                <a:gd name="connsiteX401" fmla="*/ 323095 w 585866"/>
                <a:gd name="connsiteY401" fmla="*/ 53481 h 581951"/>
                <a:gd name="connsiteX402" fmla="*/ 328916 w 585866"/>
                <a:gd name="connsiteY402" fmla="*/ 53481 h 581951"/>
                <a:gd name="connsiteX403" fmla="*/ 333941 w 585866"/>
                <a:gd name="connsiteY403" fmla="*/ 53481 h 581951"/>
                <a:gd name="connsiteX404" fmla="*/ 338369 w 585866"/>
                <a:gd name="connsiteY404" fmla="*/ 53481 h 581951"/>
                <a:gd name="connsiteX405" fmla="*/ 342575 w 585866"/>
                <a:gd name="connsiteY405" fmla="*/ 57089 h 581951"/>
                <a:gd name="connsiteX406" fmla="*/ 352624 w 585866"/>
                <a:gd name="connsiteY406" fmla="*/ 61119 h 581951"/>
                <a:gd name="connsiteX407" fmla="*/ 357029 w 585866"/>
                <a:gd name="connsiteY407" fmla="*/ 62315 h 581951"/>
                <a:gd name="connsiteX408" fmla="*/ 359442 w 585866"/>
                <a:gd name="connsiteY408" fmla="*/ 62315 h 581951"/>
                <a:gd name="connsiteX409" fmla="*/ 368097 w 585866"/>
                <a:gd name="connsiteY409" fmla="*/ 60099 h 581951"/>
                <a:gd name="connsiteX410" fmla="*/ 371107 w 585866"/>
                <a:gd name="connsiteY410" fmla="*/ 58088 h 581951"/>
                <a:gd name="connsiteX411" fmla="*/ 377925 w 585866"/>
                <a:gd name="connsiteY411" fmla="*/ 57089 h 581951"/>
                <a:gd name="connsiteX412" fmla="*/ 381135 w 585866"/>
                <a:gd name="connsiteY412" fmla="*/ 57089 h 581951"/>
                <a:gd name="connsiteX413" fmla="*/ 387775 w 585866"/>
                <a:gd name="connsiteY413" fmla="*/ 61119 h 581951"/>
                <a:gd name="connsiteX414" fmla="*/ 395811 w 585866"/>
                <a:gd name="connsiteY414" fmla="*/ 68138 h 581951"/>
                <a:gd name="connsiteX415" fmla="*/ 399219 w 585866"/>
                <a:gd name="connsiteY415" fmla="*/ 70550 h 581951"/>
                <a:gd name="connsiteX416" fmla="*/ 403647 w 585866"/>
                <a:gd name="connsiteY416" fmla="*/ 72963 h 581951"/>
                <a:gd name="connsiteX417" fmla="*/ 409690 w 585866"/>
                <a:gd name="connsiteY417" fmla="*/ 77808 h 581951"/>
                <a:gd name="connsiteX418" fmla="*/ 415688 w 585866"/>
                <a:gd name="connsiteY418" fmla="*/ 78076 h 58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</a:cxnLst>
              <a:rect l="l" t="t" r="r" b="b"/>
              <a:pathLst>
                <a:path w="585866" h="581951">
                  <a:moveTo>
                    <a:pt x="415688" y="78076"/>
                  </a:moveTo>
                  <a:lnTo>
                    <a:pt x="415688" y="421380"/>
                  </a:lnTo>
                  <a:lnTo>
                    <a:pt x="421554" y="423877"/>
                  </a:lnTo>
                  <a:lnTo>
                    <a:pt x="423635" y="421380"/>
                  </a:lnTo>
                  <a:lnTo>
                    <a:pt x="430121" y="423877"/>
                  </a:lnTo>
                  <a:lnTo>
                    <a:pt x="435544" y="421380"/>
                  </a:lnTo>
                  <a:lnTo>
                    <a:pt x="444531" y="421380"/>
                  </a:lnTo>
                  <a:lnTo>
                    <a:pt x="444531" y="427639"/>
                  </a:lnTo>
                  <a:cubicBezTo>
                    <a:pt x="446479" y="430298"/>
                    <a:pt x="450879" y="436107"/>
                    <a:pt x="452898" y="438112"/>
                  </a:cubicBezTo>
                  <a:lnTo>
                    <a:pt x="453091" y="438302"/>
                  </a:lnTo>
                  <a:cubicBezTo>
                    <a:pt x="456001" y="441185"/>
                    <a:pt x="467951" y="453022"/>
                    <a:pt x="467951" y="455469"/>
                  </a:cubicBezTo>
                  <a:cubicBezTo>
                    <a:pt x="467951" y="457467"/>
                    <a:pt x="468792" y="461039"/>
                    <a:pt x="469212" y="462573"/>
                  </a:cubicBezTo>
                  <a:cubicBezTo>
                    <a:pt x="473882" y="460765"/>
                    <a:pt x="483226" y="456813"/>
                    <a:pt x="483226" y="455469"/>
                  </a:cubicBezTo>
                  <a:cubicBezTo>
                    <a:pt x="483226" y="453781"/>
                    <a:pt x="487383" y="447297"/>
                    <a:pt x="487608" y="445419"/>
                  </a:cubicBezTo>
                  <a:cubicBezTo>
                    <a:pt x="487784" y="443914"/>
                    <a:pt x="496892" y="439919"/>
                    <a:pt x="501421" y="438112"/>
                  </a:cubicBezTo>
                  <a:lnTo>
                    <a:pt x="506647" y="445419"/>
                  </a:lnTo>
                  <a:cubicBezTo>
                    <a:pt x="507132" y="448211"/>
                    <a:pt x="508686" y="453845"/>
                    <a:pt x="511028" y="454006"/>
                  </a:cubicBezTo>
                  <a:cubicBezTo>
                    <a:pt x="513947" y="454203"/>
                    <a:pt x="514812" y="459204"/>
                    <a:pt x="516472" y="460892"/>
                  </a:cubicBezTo>
                  <a:cubicBezTo>
                    <a:pt x="518131" y="462573"/>
                    <a:pt x="531100" y="475120"/>
                    <a:pt x="532141" y="477004"/>
                  </a:cubicBezTo>
                  <a:cubicBezTo>
                    <a:pt x="533182" y="478882"/>
                    <a:pt x="545933" y="502302"/>
                    <a:pt x="546777" y="505650"/>
                  </a:cubicBezTo>
                  <a:cubicBezTo>
                    <a:pt x="547445" y="508323"/>
                    <a:pt x="549710" y="514287"/>
                    <a:pt x="550758" y="516938"/>
                  </a:cubicBezTo>
                  <a:lnTo>
                    <a:pt x="552643" y="518598"/>
                  </a:lnTo>
                  <a:cubicBezTo>
                    <a:pt x="552917" y="521460"/>
                    <a:pt x="554380" y="527516"/>
                    <a:pt x="558065" y="528845"/>
                  </a:cubicBezTo>
                  <a:cubicBezTo>
                    <a:pt x="562672" y="530505"/>
                    <a:pt x="579382" y="543080"/>
                    <a:pt x="581063" y="543699"/>
                  </a:cubicBezTo>
                  <a:cubicBezTo>
                    <a:pt x="582744" y="544318"/>
                    <a:pt x="583785" y="547462"/>
                    <a:pt x="583785" y="548924"/>
                  </a:cubicBezTo>
                  <a:lnTo>
                    <a:pt x="583785" y="557069"/>
                  </a:lnTo>
                  <a:cubicBezTo>
                    <a:pt x="583785" y="559579"/>
                    <a:pt x="585171" y="564390"/>
                    <a:pt x="585867" y="566479"/>
                  </a:cubicBezTo>
                  <a:lnTo>
                    <a:pt x="573960" y="581952"/>
                  </a:lnTo>
                  <a:lnTo>
                    <a:pt x="571238" y="576304"/>
                  </a:lnTo>
                  <a:lnTo>
                    <a:pt x="571238" y="568357"/>
                  </a:lnTo>
                  <a:lnTo>
                    <a:pt x="571238" y="563975"/>
                  </a:lnTo>
                  <a:lnTo>
                    <a:pt x="571238" y="557069"/>
                  </a:lnTo>
                  <a:lnTo>
                    <a:pt x="567890" y="551224"/>
                  </a:lnTo>
                  <a:lnTo>
                    <a:pt x="565169" y="548924"/>
                  </a:lnTo>
                  <a:cubicBezTo>
                    <a:pt x="562714" y="546871"/>
                    <a:pt x="557095" y="542166"/>
                    <a:pt x="554281" y="539760"/>
                  </a:cubicBezTo>
                  <a:cubicBezTo>
                    <a:pt x="550758" y="536750"/>
                    <a:pt x="549717" y="537545"/>
                    <a:pt x="546777" y="531722"/>
                  </a:cubicBezTo>
                  <a:cubicBezTo>
                    <a:pt x="543830" y="525898"/>
                    <a:pt x="546264" y="527607"/>
                    <a:pt x="542241" y="522269"/>
                  </a:cubicBezTo>
                  <a:cubicBezTo>
                    <a:pt x="538211" y="516938"/>
                    <a:pt x="539821" y="518267"/>
                    <a:pt x="536811" y="515651"/>
                  </a:cubicBezTo>
                  <a:cubicBezTo>
                    <a:pt x="533801" y="513042"/>
                    <a:pt x="532141" y="513837"/>
                    <a:pt x="532141" y="510630"/>
                  </a:cubicBezTo>
                  <a:cubicBezTo>
                    <a:pt x="532141" y="507415"/>
                    <a:pt x="533386" y="511516"/>
                    <a:pt x="530573" y="505650"/>
                  </a:cubicBezTo>
                  <a:cubicBezTo>
                    <a:pt x="527760" y="499785"/>
                    <a:pt x="526543" y="498167"/>
                    <a:pt x="525347" y="494953"/>
                  </a:cubicBezTo>
                  <a:cubicBezTo>
                    <a:pt x="524152" y="491746"/>
                    <a:pt x="524377" y="490550"/>
                    <a:pt x="523357" y="487941"/>
                  </a:cubicBezTo>
                  <a:cubicBezTo>
                    <a:pt x="522337" y="485325"/>
                    <a:pt x="524616" y="486098"/>
                    <a:pt x="520544" y="484108"/>
                  </a:cubicBezTo>
                  <a:cubicBezTo>
                    <a:pt x="516472" y="482117"/>
                    <a:pt x="515501" y="482912"/>
                    <a:pt x="513905" y="480901"/>
                  </a:cubicBezTo>
                  <a:cubicBezTo>
                    <a:pt x="512308" y="478882"/>
                    <a:pt x="512751" y="482336"/>
                    <a:pt x="511028" y="477004"/>
                  </a:cubicBezTo>
                  <a:cubicBezTo>
                    <a:pt x="509643" y="472735"/>
                    <a:pt x="507526" y="469528"/>
                    <a:pt x="506647" y="468459"/>
                  </a:cubicBezTo>
                  <a:cubicBezTo>
                    <a:pt x="505859" y="469936"/>
                    <a:pt x="504530" y="473087"/>
                    <a:pt x="505472" y="473882"/>
                  </a:cubicBezTo>
                  <a:cubicBezTo>
                    <a:pt x="506647" y="474880"/>
                    <a:pt x="505999" y="476076"/>
                    <a:pt x="506647" y="478088"/>
                  </a:cubicBezTo>
                  <a:cubicBezTo>
                    <a:pt x="507160" y="479698"/>
                    <a:pt x="506738" y="481302"/>
                    <a:pt x="506464" y="481892"/>
                  </a:cubicBezTo>
                  <a:cubicBezTo>
                    <a:pt x="506576" y="482624"/>
                    <a:pt x="505725" y="483651"/>
                    <a:pt x="501421" y="481892"/>
                  </a:cubicBezTo>
                  <a:cubicBezTo>
                    <a:pt x="496041" y="479705"/>
                    <a:pt x="495246" y="478088"/>
                    <a:pt x="493227" y="478088"/>
                  </a:cubicBezTo>
                  <a:cubicBezTo>
                    <a:pt x="491216" y="478088"/>
                    <a:pt x="489598" y="479508"/>
                    <a:pt x="488600" y="480704"/>
                  </a:cubicBezTo>
                  <a:cubicBezTo>
                    <a:pt x="487608" y="481892"/>
                    <a:pt x="485484" y="481892"/>
                    <a:pt x="483226" y="481892"/>
                  </a:cubicBezTo>
                  <a:cubicBezTo>
                    <a:pt x="480969" y="481892"/>
                    <a:pt x="480969" y="482490"/>
                    <a:pt x="478155" y="480901"/>
                  </a:cubicBezTo>
                  <a:cubicBezTo>
                    <a:pt x="475344" y="479304"/>
                    <a:pt x="475056" y="480127"/>
                    <a:pt x="472134" y="477004"/>
                  </a:cubicBezTo>
                  <a:cubicBezTo>
                    <a:pt x="469212" y="473882"/>
                    <a:pt x="467928" y="473882"/>
                    <a:pt x="466312" y="472067"/>
                  </a:cubicBezTo>
                  <a:cubicBezTo>
                    <a:pt x="464696" y="470253"/>
                    <a:pt x="465117" y="470274"/>
                    <a:pt x="463900" y="468459"/>
                  </a:cubicBezTo>
                  <a:cubicBezTo>
                    <a:pt x="462682" y="466645"/>
                    <a:pt x="463103" y="463965"/>
                    <a:pt x="458874" y="460892"/>
                  </a:cubicBezTo>
                  <a:cubicBezTo>
                    <a:pt x="454647" y="457811"/>
                    <a:pt x="452057" y="456039"/>
                    <a:pt x="447630" y="454006"/>
                  </a:cubicBezTo>
                  <a:cubicBezTo>
                    <a:pt x="443203" y="451967"/>
                    <a:pt x="437514" y="451306"/>
                    <a:pt x="435544" y="448359"/>
                  </a:cubicBezTo>
                  <a:cubicBezTo>
                    <a:pt x="433574" y="445419"/>
                    <a:pt x="432290" y="444751"/>
                    <a:pt x="430121" y="442936"/>
                  </a:cubicBezTo>
                  <a:cubicBezTo>
                    <a:pt x="427952" y="441122"/>
                    <a:pt x="426911" y="438927"/>
                    <a:pt x="422307" y="437113"/>
                  </a:cubicBezTo>
                  <a:lnTo>
                    <a:pt x="422150" y="437057"/>
                  </a:lnTo>
                  <a:cubicBezTo>
                    <a:pt x="417657" y="435284"/>
                    <a:pt x="415664" y="434497"/>
                    <a:pt x="411681" y="433906"/>
                  </a:cubicBezTo>
                  <a:cubicBezTo>
                    <a:pt x="407653" y="433308"/>
                    <a:pt x="406236" y="435524"/>
                    <a:pt x="403026" y="433906"/>
                  </a:cubicBezTo>
                  <a:cubicBezTo>
                    <a:pt x="399817" y="432288"/>
                    <a:pt x="396806" y="431712"/>
                    <a:pt x="394593" y="430896"/>
                  </a:cubicBezTo>
                  <a:cubicBezTo>
                    <a:pt x="392379" y="430080"/>
                    <a:pt x="391560" y="430080"/>
                    <a:pt x="389369" y="429679"/>
                  </a:cubicBezTo>
                  <a:cubicBezTo>
                    <a:pt x="387177" y="429278"/>
                    <a:pt x="388395" y="429679"/>
                    <a:pt x="384565" y="429679"/>
                  </a:cubicBezTo>
                  <a:lnTo>
                    <a:pt x="377925" y="429679"/>
                  </a:lnTo>
                  <a:lnTo>
                    <a:pt x="372900" y="429679"/>
                  </a:lnTo>
                  <a:cubicBezTo>
                    <a:pt x="370487" y="429679"/>
                    <a:pt x="365086" y="426050"/>
                    <a:pt x="355036" y="421443"/>
                  </a:cubicBezTo>
                  <a:cubicBezTo>
                    <a:pt x="344987" y="416837"/>
                    <a:pt x="341778" y="418855"/>
                    <a:pt x="339166" y="414628"/>
                  </a:cubicBezTo>
                  <a:cubicBezTo>
                    <a:pt x="336554" y="410394"/>
                    <a:pt x="337151" y="411414"/>
                    <a:pt x="333941" y="408805"/>
                  </a:cubicBezTo>
                  <a:cubicBezTo>
                    <a:pt x="330732" y="406189"/>
                    <a:pt x="329537" y="404402"/>
                    <a:pt x="327522" y="403776"/>
                  </a:cubicBezTo>
                  <a:cubicBezTo>
                    <a:pt x="325507" y="403157"/>
                    <a:pt x="324888" y="402764"/>
                    <a:pt x="321479" y="402764"/>
                  </a:cubicBezTo>
                  <a:cubicBezTo>
                    <a:pt x="318070" y="402764"/>
                    <a:pt x="316454" y="400970"/>
                    <a:pt x="313046" y="403776"/>
                  </a:cubicBezTo>
                  <a:cubicBezTo>
                    <a:pt x="309637" y="406590"/>
                    <a:pt x="308043" y="407609"/>
                    <a:pt x="306626" y="408805"/>
                  </a:cubicBezTo>
                  <a:cubicBezTo>
                    <a:pt x="305209" y="410001"/>
                    <a:pt x="304611" y="408608"/>
                    <a:pt x="304213" y="411618"/>
                  </a:cubicBezTo>
                  <a:cubicBezTo>
                    <a:pt x="303815" y="414628"/>
                    <a:pt x="304191" y="415641"/>
                    <a:pt x="305408" y="417435"/>
                  </a:cubicBezTo>
                  <a:cubicBezTo>
                    <a:pt x="306626" y="419228"/>
                    <a:pt x="304811" y="417814"/>
                    <a:pt x="306626" y="421443"/>
                  </a:cubicBezTo>
                  <a:cubicBezTo>
                    <a:pt x="308441" y="425072"/>
                    <a:pt x="308840" y="428462"/>
                    <a:pt x="308840" y="429679"/>
                  </a:cubicBezTo>
                  <a:cubicBezTo>
                    <a:pt x="308840" y="430896"/>
                    <a:pt x="309039" y="432091"/>
                    <a:pt x="306626" y="432091"/>
                  </a:cubicBezTo>
                  <a:lnTo>
                    <a:pt x="299387" y="432091"/>
                  </a:lnTo>
                  <a:lnTo>
                    <a:pt x="289758" y="432091"/>
                  </a:lnTo>
                  <a:cubicBezTo>
                    <a:pt x="289087" y="432021"/>
                    <a:pt x="287302" y="432295"/>
                    <a:pt x="285531" y="433906"/>
                  </a:cubicBezTo>
                  <a:cubicBezTo>
                    <a:pt x="283317" y="435917"/>
                    <a:pt x="283317" y="435320"/>
                    <a:pt x="280506" y="438731"/>
                  </a:cubicBezTo>
                  <a:cubicBezTo>
                    <a:pt x="277695" y="442142"/>
                    <a:pt x="275702" y="443935"/>
                    <a:pt x="273290" y="445349"/>
                  </a:cubicBezTo>
                  <a:cubicBezTo>
                    <a:pt x="270877" y="446769"/>
                    <a:pt x="270479" y="446347"/>
                    <a:pt x="268265" y="447965"/>
                  </a:cubicBezTo>
                  <a:cubicBezTo>
                    <a:pt x="266051" y="449576"/>
                    <a:pt x="265432" y="450553"/>
                    <a:pt x="261824" y="451573"/>
                  </a:cubicBezTo>
                  <a:cubicBezTo>
                    <a:pt x="258215" y="452586"/>
                    <a:pt x="255581" y="452987"/>
                    <a:pt x="253788" y="452987"/>
                  </a:cubicBezTo>
                  <a:cubicBezTo>
                    <a:pt x="251995" y="452987"/>
                    <a:pt x="251575" y="454400"/>
                    <a:pt x="250380" y="452987"/>
                  </a:cubicBezTo>
                  <a:cubicBezTo>
                    <a:pt x="249184" y="451573"/>
                    <a:pt x="248564" y="450574"/>
                    <a:pt x="250380" y="447965"/>
                  </a:cubicBezTo>
                  <a:cubicBezTo>
                    <a:pt x="252194" y="445349"/>
                    <a:pt x="252593" y="445349"/>
                    <a:pt x="255803" y="442936"/>
                  </a:cubicBezTo>
                  <a:cubicBezTo>
                    <a:pt x="259012" y="440524"/>
                    <a:pt x="261824" y="439947"/>
                    <a:pt x="261824" y="438731"/>
                  </a:cubicBezTo>
                  <a:cubicBezTo>
                    <a:pt x="261824" y="437514"/>
                    <a:pt x="267844" y="433111"/>
                    <a:pt x="261824" y="435917"/>
                  </a:cubicBezTo>
                  <a:cubicBezTo>
                    <a:pt x="255803" y="438731"/>
                    <a:pt x="257197" y="440524"/>
                    <a:pt x="253788" y="440524"/>
                  </a:cubicBezTo>
                  <a:cubicBezTo>
                    <a:pt x="250380" y="440524"/>
                    <a:pt x="249583" y="442339"/>
                    <a:pt x="249383" y="439131"/>
                  </a:cubicBezTo>
                  <a:cubicBezTo>
                    <a:pt x="249184" y="435917"/>
                    <a:pt x="246971" y="437113"/>
                    <a:pt x="249383" y="432091"/>
                  </a:cubicBezTo>
                  <a:cubicBezTo>
                    <a:pt x="251796" y="427063"/>
                    <a:pt x="251774" y="426268"/>
                    <a:pt x="253788" y="423856"/>
                  </a:cubicBezTo>
                  <a:cubicBezTo>
                    <a:pt x="255803" y="421443"/>
                    <a:pt x="254386" y="421422"/>
                    <a:pt x="255803" y="419432"/>
                  </a:cubicBezTo>
                  <a:cubicBezTo>
                    <a:pt x="257219" y="417435"/>
                    <a:pt x="257418" y="411991"/>
                    <a:pt x="257618" y="410394"/>
                  </a:cubicBezTo>
                  <a:cubicBezTo>
                    <a:pt x="257817" y="408805"/>
                    <a:pt x="255427" y="410598"/>
                    <a:pt x="259632" y="407187"/>
                  </a:cubicBezTo>
                  <a:cubicBezTo>
                    <a:pt x="263838" y="403776"/>
                    <a:pt x="265432" y="402581"/>
                    <a:pt x="266848" y="401364"/>
                  </a:cubicBezTo>
                  <a:cubicBezTo>
                    <a:pt x="268265" y="400147"/>
                    <a:pt x="268841" y="399549"/>
                    <a:pt x="270058" y="399753"/>
                  </a:cubicBezTo>
                  <a:cubicBezTo>
                    <a:pt x="271275" y="399950"/>
                    <a:pt x="270877" y="402764"/>
                    <a:pt x="273290" y="402764"/>
                  </a:cubicBezTo>
                  <a:cubicBezTo>
                    <a:pt x="275703" y="402764"/>
                    <a:pt x="278093" y="401364"/>
                    <a:pt x="280506" y="401364"/>
                  </a:cubicBezTo>
                  <a:lnTo>
                    <a:pt x="285531" y="401364"/>
                  </a:lnTo>
                  <a:cubicBezTo>
                    <a:pt x="286505" y="401364"/>
                    <a:pt x="290762" y="402299"/>
                    <a:pt x="292769" y="402764"/>
                  </a:cubicBezTo>
                  <a:cubicBezTo>
                    <a:pt x="287737" y="401357"/>
                    <a:pt x="277797" y="398150"/>
                    <a:pt x="278292" y="396539"/>
                  </a:cubicBezTo>
                  <a:cubicBezTo>
                    <a:pt x="278912" y="394528"/>
                    <a:pt x="279908" y="388086"/>
                    <a:pt x="285531" y="386292"/>
                  </a:cubicBezTo>
                  <a:cubicBezTo>
                    <a:pt x="291153" y="384499"/>
                    <a:pt x="284933" y="382881"/>
                    <a:pt x="271275" y="390716"/>
                  </a:cubicBezTo>
                  <a:cubicBezTo>
                    <a:pt x="257618" y="398558"/>
                    <a:pt x="255182" y="401364"/>
                    <a:pt x="253788" y="401364"/>
                  </a:cubicBezTo>
                  <a:cubicBezTo>
                    <a:pt x="252394" y="401364"/>
                    <a:pt x="246572" y="402764"/>
                    <a:pt x="244757" y="407187"/>
                  </a:cubicBezTo>
                  <a:cubicBezTo>
                    <a:pt x="242941" y="411618"/>
                    <a:pt x="240130" y="417413"/>
                    <a:pt x="239732" y="419432"/>
                  </a:cubicBezTo>
                  <a:cubicBezTo>
                    <a:pt x="239333" y="421443"/>
                    <a:pt x="238935" y="418032"/>
                    <a:pt x="236721" y="423856"/>
                  </a:cubicBezTo>
                  <a:cubicBezTo>
                    <a:pt x="234508" y="429679"/>
                    <a:pt x="233291" y="434525"/>
                    <a:pt x="232095" y="435917"/>
                  </a:cubicBezTo>
                  <a:cubicBezTo>
                    <a:pt x="230900" y="437317"/>
                    <a:pt x="229904" y="438112"/>
                    <a:pt x="228288" y="440524"/>
                  </a:cubicBezTo>
                  <a:cubicBezTo>
                    <a:pt x="226995" y="442458"/>
                    <a:pt x="225610" y="444547"/>
                    <a:pt x="225078" y="445349"/>
                  </a:cubicBezTo>
                  <a:cubicBezTo>
                    <a:pt x="223537" y="446143"/>
                    <a:pt x="219447" y="448507"/>
                    <a:pt x="215427" y="451573"/>
                  </a:cubicBezTo>
                  <a:cubicBezTo>
                    <a:pt x="211407" y="454632"/>
                    <a:pt x="210949" y="457938"/>
                    <a:pt x="211222" y="459204"/>
                  </a:cubicBezTo>
                  <a:cubicBezTo>
                    <a:pt x="211959" y="458803"/>
                    <a:pt x="214077" y="458233"/>
                    <a:pt x="216645" y="459204"/>
                  </a:cubicBezTo>
                  <a:cubicBezTo>
                    <a:pt x="219854" y="460428"/>
                    <a:pt x="225078" y="460997"/>
                    <a:pt x="225078" y="462812"/>
                  </a:cubicBezTo>
                  <a:cubicBezTo>
                    <a:pt x="225078" y="464633"/>
                    <a:pt x="226495" y="464036"/>
                    <a:pt x="225078" y="467440"/>
                  </a:cubicBezTo>
                  <a:cubicBezTo>
                    <a:pt x="223662" y="470851"/>
                    <a:pt x="224281" y="470626"/>
                    <a:pt x="219854" y="473664"/>
                  </a:cubicBezTo>
                  <a:cubicBezTo>
                    <a:pt x="215427" y="476695"/>
                    <a:pt x="214652" y="475077"/>
                    <a:pt x="213634" y="477687"/>
                  </a:cubicBezTo>
                  <a:cubicBezTo>
                    <a:pt x="212616" y="480303"/>
                    <a:pt x="212837" y="481499"/>
                    <a:pt x="211222" y="483116"/>
                  </a:cubicBezTo>
                  <a:cubicBezTo>
                    <a:pt x="209605" y="484727"/>
                    <a:pt x="209030" y="485529"/>
                    <a:pt x="207813" y="486323"/>
                  </a:cubicBezTo>
                  <a:cubicBezTo>
                    <a:pt x="206595" y="487118"/>
                    <a:pt x="200176" y="491746"/>
                    <a:pt x="197563" y="493961"/>
                  </a:cubicBezTo>
                  <a:cubicBezTo>
                    <a:pt x="194952" y="496177"/>
                    <a:pt x="189728" y="498786"/>
                    <a:pt x="187514" y="501395"/>
                  </a:cubicBezTo>
                  <a:cubicBezTo>
                    <a:pt x="185301" y="504011"/>
                    <a:pt x="183906" y="504806"/>
                    <a:pt x="182091" y="507021"/>
                  </a:cubicBezTo>
                  <a:cubicBezTo>
                    <a:pt x="180276" y="509230"/>
                    <a:pt x="179302" y="509631"/>
                    <a:pt x="178284" y="510630"/>
                  </a:cubicBezTo>
                  <a:cubicBezTo>
                    <a:pt x="177265" y="511621"/>
                    <a:pt x="176490" y="512423"/>
                    <a:pt x="175672" y="513640"/>
                  </a:cubicBezTo>
                  <a:cubicBezTo>
                    <a:pt x="173741" y="516368"/>
                    <a:pt x="172314" y="518127"/>
                    <a:pt x="171842" y="518661"/>
                  </a:cubicBezTo>
                  <a:cubicBezTo>
                    <a:pt x="169304" y="521066"/>
                    <a:pt x="163865" y="526165"/>
                    <a:pt x="162412" y="527298"/>
                  </a:cubicBezTo>
                  <a:cubicBezTo>
                    <a:pt x="160597" y="528711"/>
                    <a:pt x="157565" y="530505"/>
                    <a:pt x="155573" y="532720"/>
                  </a:cubicBezTo>
                  <a:cubicBezTo>
                    <a:pt x="153580" y="534936"/>
                    <a:pt x="153757" y="534957"/>
                    <a:pt x="152363" y="536546"/>
                  </a:cubicBezTo>
                  <a:cubicBezTo>
                    <a:pt x="151247" y="537826"/>
                    <a:pt x="149493" y="538410"/>
                    <a:pt x="148755" y="538544"/>
                  </a:cubicBezTo>
                  <a:lnTo>
                    <a:pt x="150348" y="540752"/>
                  </a:lnTo>
                  <a:cubicBezTo>
                    <a:pt x="150887" y="540886"/>
                    <a:pt x="151323" y="541554"/>
                    <a:pt x="148755" y="543164"/>
                  </a:cubicBezTo>
                  <a:cubicBezTo>
                    <a:pt x="145545" y="545183"/>
                    <a:pt x="137089" y="548594"/>
                    <a:pt x="136093" y="549185"/>
                  </a:cubicBezTo>
                  <a:cubicBezTo>
                    <a:pt x="135097" y="549782"/>
                    <a:pt x="133459" y="550205"/>
                    <a:pt x="131666" y="550605"/>
                  </a:cubicBezTo>
                  <a:cubicBezTo>
                    <a:pt x="129873" y="551006"/>
                    <a:pt x="130869" y="550380"/>
                    <a:pt x="128457" y="551801"/>
                  </a:cubicBezTo>
                  <a:cubicBezTo>
                    <a:pt x="126044" y="553215"/>
                    <a:pt x="125667" y="553018"/>
                    <a:pt x="124450" y="554016"/>
                  </a:cubicBezTo>
                  <a:cubicBezTo>
                    <a:pt x="123233" y="555008"/>
                    <a:pt x="122635" y="556007"/>
                    <a:pt x="120023" y="557624"/>
                  </a:cubicBezTo>
                  <a:cubicBezTo>
                    <a:pt x="117411" y="559235"/>
                    <a:pt x="116813" y="559214"/>
                    <a:pt x="114400" y="560234"/>
                  </a:cubicBezTo>
                  <a:cubicBezTo>
                    <a:pt x="111987" y="561253"/>
                    <a:pt x="110172" y="561450"/>
                    <a:pt x="108778" y="561851"/>
                  </a:cubicBezTo>
                  <a:cubicBezTo>
                    <a:pt x="107384" y="562245"/>
                    <a:pt x="107384" y="561851"/>
                    <a:pt x="104771" y="561851"/>
                  </a:cubicBezTo>
                  <a:cubicBezTo>
                    <a:pt x="102159" y="561851"/>
                    <a:pt x="100942" y="563469"/>
                    <a:pt x="100145" y="561851"/>
                  </a:cubicBezTo>
                  <a:cubicBezTo>
                    <a:pt x="95120" y="564067"/>
                    <a:pt x="94699" y="566873"/>
                    <a:pt x="93505" y="567871"/>
                  </a:cubicBezTo>
                  <a:cubicBezTo>
                    <a:pt x="92309" y="568870"/>
                    <a:pt x="91888" y="569665"/>
                    <a:pt x="90295" y="570882"/>
                  </a:cubicBezTo>
                  <a:lnTo>
                    <a:pt x="90191" y="570959"/>
                  </a:lnTo>
                  <a:cubicBezTo>
                    <a:pt x="88657" y="572134"/>
                    <a:pt x="87665" y="572893"/>
                    <a:pt x="85890" y="572696"/>
                  </a:cubicBezTo>
                  <a:cubicBezTo>
                    <a:pt x="84075" y="572499"/>
                    <a:pt x="83101" y="574110"/>
                    <a:pt x="82879" y="569686"/>
                  </a:cubicBezTo>
                  <a:cubicBezTo>
                    <a:pt x="82658" y="565255"/>
                    <a:pt x="81883" y="563863"/>
                    <a:pt x="82879" y="561851"/>
                  </a:cubicBezTo>
                  <a:cubicBezTo>
                    <a:pt x="83876" y="559833"/>
                    <a:pt x="83698" y="559214"/>
                    <a:pt x="85890" y="557624"/>
                  </a:cubicBezTo>
                  <a:cubicBezTo>
                    <a:pt x="88081" y="556028"/>
                    <a:pt x="92287" y="556225"/>
                    <a:pt x="93505" y="554016"/>
                  </a:cubicBezTo>
                  <a:cubicBezTo>
                    <a:pt x="94722" y="551801"/>
                    <a:pt x="96515" y="549185"/>
                    <a:pt x="98330" y="549185"/>
                  </a:cubicBezTo>
                  <a:lnTo>
                    <a:pt x="102358" y="549185"/>
                  </a:lnTo>
                  <a:cubicBezTo>
                    <a:pt x="108450" y="553046"/>
                    <a:pt x="111449" y="552539"/>
                    <a:pt x="112186" y="551801"/>
                  </a:cubicBezTo>
                  <a:cubicBezTo>
                    <a:pt x="111449" y="551400"/>
                    <a:pt x="110416" y="550605"/>
                    <a:pt x="112186" y="550605"/>
                  </a:cubicBezTo>
                  <a:lnTo>
                    <a:pt x="116016" y="550605"/>
                  </a:lnTo>
                  <a:lnTo>
                    <a:pt x="117610" y="550605"/>
                  </a:lnTo>
                  <a:cubicBezTo>
                    <a:pt x="117634" y="550605"/>
                    <a:pt x="117652" y="550633"/>
                    <a:pt x="117665" y="550683"/>
                  </a:cubicBezTo>
                  <a:cubicBezTo>
                    <a:pt x="117640" y="550205"/>
                    <a:pt x="117610" y="549107"/>
                    <a:pt x="117610" y="546772"/>
                  </a:cubicBezTo>
                  <a:cubicBezTo>
                    <a:pt x="117610" y="540752"/>
                    <a:pt x="115595" y="539359"/>
                    <a:pt x="120023" y="536546"/>
                  </a:cubicBezTo>
                  <a:cubicBezTo>
                    <a:pt x="124450" y="533740"/>
                    <a:pt x="122457" y="535927"/>
                    <a:pt x="127062" y="532720"/>
                  </a:cubicBezTo>
                  <a:cubicBezTo>
                    <a:pt x="131666" y="529506"/>
                    <a:pt x="132065" y="528493"/>
                    <a:pt x="134079" y="527298"/>
                  </a:cubicBezTo>
                  <a:cubicBezTo>
                    <a:pt x="136093" y="526102"/>
                    <a:pt x="137510" y="524682"/>
                    <a:pt x="138506" y="524682"/>
                  </a:cubicBezTo>
                  <a:cubicBezTo>
                    <a:pt x="142933" y="524682"/>
                    <a:pt x="142114" y="524907"/>
                    <a:pt x="144128" y="523289"/>
                  </a:cubicBezTo>
                  <a:cubicBezTo>
                    <a:pt x="147338" y="518661"/>
                    <a:pt x="146143" y="520061"/>
                    <a:pt x="148755" y="516650"/>
                  </a:cubicBezTo>
                  <a:cubicBezTo>
                    <a:pt x="151367" y="513239"/>
                    <a:pt x="149153" y="514237"/>
                    <a:pt x="152363" y="510630"/>
                  </a:cubicBezTo>
                  <a:cubicBezTo>
                    <a:pt x="154931" y="506607"/>
                    <a:pt x="158657" y="505341"/>
                    <a:pt x="160199" y="505207"/>
                  </a:cubicBezTo>
                  <a:cubicBezTo>
                    <a:pt x="160597" y="502921"/>
                    <a:pt x="161275" y="497682"/>
                    <a:pt x="160797" y="494953"/>
                  </a:cubicBezTo>
                  <a:cubicBezTo>
                    <a:pt x="160199" y="491549"/>
                    <a:pt x="160797" y="490747"/>
                    <a:pt x="160797" y="488539"/>
                  </a:cubicBezTo>
                  <a:lnTo>
                    <a:pt x="160797" y="483116"/>
                  </a:lnTo>
                  <a:cubicBezTo>
                    <a:pt x="160797" y="480106"/>
                    <a:pt x="162412" y="478882"/>
                    <a:pt x="162412" y="476273"/>
                  </a:cubicBezTo>
                  <a:lnTo>
                    <a:pt x="162412" y="476153"/>
                  </a:lnTo>
                  <a:cubicBezTo>
                    <a:pt x="162412" y="473664"/>
                    <a:pt x="162412" y="473657"/>
                    <a:pt x="163807" y="472067"/>
                  </a:cubicBezTo>
                  <a:cubicBezTo>
                    <a:pt x="165223" y="470450"/>
                    <a:pt x="166242" y="469479"/>
                    <a:pt x="167238" y="468459"/>
                  </a:cubicBezTo>
                  <a:cubicBezTo>
                    <a:pt x="168035" y="467644"/>
                    <a:pt x="169312" y="464359"/>
                    <a:pt x="169850" y="462812"/>
                  </a:cubicBezTo>
                  <a:cubicBezTo>
                    <a:pt x="168300" y="464359"/>
                    <a:pt x="164922" y="467440"/>
                    <a:pt x="163807" y="467440"/>
                  </a:cubicBezTo>
                  <a:cubicBezTo>
                    <a:pt x="162412" y="467440"/>
                    <a:pt x="162811" y="466420"/>
                    <a:pt x="160199" y="467440"/>
                  </a:cubicBezTo>
                  <a:cubicBezTo>
                    <a:pt x="157587" y="468459"/>
                    <a:pt x="157166" y="469634"/>
                    <a:pt x="155573" y="470851"/>
                  </a:cubicBezTo>
                  <a:cubicBezTo>
                    <a:pt x="153979" y="472067"/>
                    <a:pt x="151942" y="472067"/>
                    <a:pt x="150348" y="472067"/>
                  </a:cubicBezTo>
                  <a:cubicBezTo>
                    <a:pt x="148755" y="472067"/>
                    <a:pt x="148135" y="473242"/>
                    <a:pt x="147736" y="470851"/>
                  </a:cubicBezTo>
                  <a:cubicBezTo>
                    <a:pt x="147418" y="468938"/>
                    <a:pt x="147603" y="467784"/>
                    <a:pt x="147736" y="467440"/>
                  </a:cubicBezTo>
                  <a:lnTo>
                    <a:pt x="145944" y="464232"/>
                  </a:lnTo>
                  <a:lnTo>
                    <a:pt x="142114" y="466047"/>
                  </a:lnTo>
                  <a:lnTo>
                    <a:pt x="142114" y="468459"/>
                  </a:lnTo>
                  <a:cubicBezTo>
                    <a:pt x="142114" y="470851"/>
                    <a:pt x="143752" y="475077"/>
                    <a:pt x="142933" y="475675"/>
                  </a:cubicBezTo>
                  <a:cubicBezTo>
                    <a:pt x="142114" y="476273"/>
                    <a:pt x="143708" y="477687"/>
                    <a:pt x="142114" y="477687"/>
                  </a:cubicBezTo>
                  <a:cubicBezTo>
                    <a:pt x="140520" y="477687"/>
                    <a:pt x="139502" y="479086"/>
                    <a:pt x="138506" y="476273"/>
                  </a:cubicBezTo>
                  <a:cubicBezTo>
                    <a:pt x="137510" y="473460"/>
                    <a:pt x="138107" y="473242"/>
                    <a:pt x="136093" y="470851"/>
                  </a:cubicBezTo>
                  <a:cubicBezTo>
                    <a:pt x="134079" y="468459"/>
                    <a:pt x="133703" y="466047"/>
                    <a:pt x="132684" y="466047"/>
                  </a:cubicBezTo>
                  <a:cubicBezTo>
                    <a:pt x="131911" y="466047"/>
                    <a:pt x="129761" y="464957"/>
                    <a:pt x="128630" y="464331"/>
                  </a:cubicBezTo>
                  <a:cubicBezTo>
                    <a:pt x="128895" y="464563"/>
                    <a:pt x="128825" y="465105"/>
                    <a:pt x="127062" y="466047"/>
                  </a:cubicBezTo>
                  <a:cubicBezTo>
                    <a:pt x="124450" y="467440"/>
                    <a:pt x="122457" y="467861"/>
                    <a:pt x="121240" y="466047"/>
                  </a:cubicBezTo>
                  <a:cubicBezTo>
                    <a:pt x="117610" y="460428"/>
                    <a:pt x="120023" y="456616"/>
                    <a:pt x="114400" y="460428"/>
                  </a:cubicBezTo>
                  <a:cubicBezTo>
                    <a:pt x="104771" y="466047"/>
                    <a:pt x="104572" y="466420"/>
                    <a:pt x="102358" y="467440"/>
                  </a:cubicBezTo>
                  <a:cubicBezTo>
                    <a:pt x="100145" y="468459"/>
                    <a:pt x="99526" y="469634"/>
                    <a:pt x="98330" y="470851"/>
                  </a:cubicBezTo>
                  <a:cubicBezTo>
                    <a:pt x="97373" y="471821"/>
                    <a:pt x="96190" y="473129"/>
                    <a:pt x="95718" y="473664"/>
                  </a:cubicBezTo>
                  <a:cubicBezTo>
                    <a:pt x="95179" y="473868"/>
                    <a:pt x="93982" y="473840"/>
                    <a:pt x="93505" y="472067"/>
                  </a:cubicBezTo>
                  <a:cubicBezTo>
                    <a:pt x="92907" y="469852"/>
                    <a:pt x="92309" y="468839"/>
                    <a:pt x="94522" y="467440"/>
                  </a:cubicBezTo>
                  <a:cubicBezTo>
                    <a:pt x="98330" y="462812"/>
                    <a:pt x="98949" y="463410"/>
                    <a:pt x="97334" y="460006"/>
                  </a:cubicBezTo>
                  <a:cubicBezTo>
                    <a:pt x="95718" y="456595"/>
                    <a:pt x="95917" y="455399"/>
                    <a:pt x="95718" y="452987"/>
                  </a:cubicBezTo>
                  <a:cubicBezTo>
                    <a:pt x="95519" y="450574"/>
                    <a:pt x="95718" y="450574"/>
                    <a:pt x="95718" y="447965"/>
                  </a:cubicBezTo>
                  <a:cubicBezTo>
                    <a:pt x="94522" y="442936"/>
                    <a:pt x="94699" y="442317"/>
                    <a:pt x="93505" y="440524"/>
                  </a:cubicBezTo>
                  <a:cubicBezTo>
                    <a:pt x="92309" y="438731"/>
                    <a:pt x="93128" y="438534"/>
                    <a:pt x="91711" y="435917"/>
                  </a:cubicBezTo>
                  <a:cubicBezTo>
                    <a:pt x="90295" y="433308"/>
                    <a:pt x="91888" y="433308"/>
                    <a:pt x="90295" y="430699"/>
                  </a:cubicBezTo>
                  <a:cubicBezTo>
                    <a:pt x="88701" y="428083"/>
                    <a:pt x="88678" y="427485"/>
                    <a:pt x="87882" y="425670"/>
                  </a:cubicBezTo>
                  <a:cubicBezTo>
                    <a:pt x="87085" y="423856"/>
                    <a:pt x="85890" y="422836"/>
                    <a:pt x="85890" y="421640"/>
                  </a:cubicBezTo>
                  <a:lnTo>
                    <a:pt x="85890" y="419432"/>
                  </a:lnTo>
                  <a:cubicBezTo>
                    <a:pt x="85152" y="420635"/>
                    <a:pt x="83676" y="423399"/>
                    <a:pt x="83676" y="424854"/>
                  </a:cubicBezTo>
                  <a:cubicBezTo>
                    <a:pt x="83676" y="426669"/>
                    <a:pt x="84473" y="425276"/>
                    <a:pt x="83676" y="428680"/>
                  </a:cubicBezTo>
                  <a:cubicBezTo>
                    <a:pt x="82879" y="432091"/>
                    <a:pt x="83676" y="430474"/>
                    <a:pt x="80666" y="432091"/>
                  </a:cubicBezTo>
                  <a:cubicBezTo>
                    <a:pt x="77656" y="433709"/>
                    <a:pt x="78253" y="433484"/>
                    <a:pt x="75641" y="434701"/>
                  </a:cubicBezTo>
                  <a:cubicBezTo>
                    <a:pt x="69819" y="435917"/>
                    <a:pt x="67783" y="435917"/>
                    <a:pt x="66388" y="435917"/>
                  </a:cubicBezTo>
                  <a:cubicBezTo>
                    <a:pt x="64994" y="435917"/>
                    <a:pt x="60168" y="437141"/>
                    <a:pt x="59571" y="435917"/>
                  </a:cubicBezTo>
                  <a:cubicBezTo>
                    <a:pt x="58973" y="434701"/>
                    <a:pt x="58154" y="435502"/>
                    <a:pt x="56959" y="432091"/>
                  </a:cubicBezTo>
                  <a:cubicBezTo>
                    <a:pt x="55763" y="428680"/>
                    <a:pt x="55541" y="429257"/>
                    <a:pt x="54347" y="427464"/>
                  </a:cubicBezTo>
                  <a:cubicBezTo>
                    <a:pt x="53151" y="425670"/>
                    <a:pt x="52730" y="425051"/>
                    <a:pt x="51535" y="423856"/>
                  </a:cubicBezTo>
                  <a:cubicBezTo>
                    <a:pt x="47927" y="421640"/>
                    <a:pt x="48127" y="420627"/>
                    <a:pt x="46112" y="419432"/>
                  </a:cubicBezTo>
                  <a:cubicBezTo>
                    <a:pt x="44695" y="416619"/>
                    <a:pt x="47529" y="415247"/>
                    <a:pt x="46112" y="414424"/>
                  </a:cubicBezTo>
                  <a:cubicBezTo>
                    <a:pt x="44979" y="413770"/>
                    <a:pt x="42290" y="414150"/>
                    <a:pt x="41087" y="414424"/>
                  </a:cubicBezTo>
                  <a:cubicBezTo>
                    <a:pt x="40423" y="414699"/>
                    <a:pt x="39294" y="415043"/>
                    <a:pt x="40091" y="414227"/>
                  </a:cubicBezTo>
                  <a:cubicBezTo>
                    <a:pt x="40888" y="413412"/>
                    <a:pt x="45367" y="408249"/>
                    <a:pt x="47506" y="405774"/>
                  </a:cubicBezTo>
                  <a:lnTo>
                    <a:pt x="51535" y="405774"/>
                  </a:lnTo>
                  <a:cubicBezTo>
                    <a:pt x="52073" y="405366"/>
                    <a:pt x="53390" y="404796"/>
                    <a:pt x="54347" y="405774"/>
                  </a:cubicBezTo>
                  <a:cubicBezTo>
                    <a:pt x="59571" y="408186"/>
                    <a:pt x="57955" y="406786"/>
                    <a:pt x="60766" y="406786"/>
                  </a:cubicBezTo>
                  <a:cubicBezTo>
                    <a:pt x="63577" y="406786"/>
                    <a:pt x="63599" y="408010"/>
                    <a:pt x="64994" y="409403"/>
                  </a:cubicBezTo>
                  <a:cubicBezTo>
                    <a:pt x="68144" y="411963"/>
                    <a:pt x="68757" y="410479"/>
                    <a:pt x="69176" y="409459"/>
                  </a:cubicBezTo>
                  <a:lnTo>
                    <a:pt x="69200" y="409403"/>
                  </a:lnTo>
                  <a:cubicBezTo>
                    <a:pt x="69620" y="408383"/>
                    <a:pt x="68181" y="405774"/>
                    <a:pt x="69200" y="405774"/>
                  </a:cubicBezTo>
                  <a:cubicBezTo>
                    <a:pt x="70217" y="405774"/>
                    <a:pt x="62382" y="401167"/>
                    <a:pt x="56959" y="401167"/>
                  </a:cubicBezTo>
                  <a:cubicBezTo>
                    <a:pt x="51535" y="401167"/>
                    <a:pt x="47506" y="401765"/>
                    <a:pt x="44297" y="399549"/>
                  </a:cubicBezTo>
                  <a:cubicBezTo>
                    <a:pt x="40091" y="393930"/>
                    <a:pt x="40113" y="394148"/>
                    <a:pt x="36881" y="390125"/>
                  </a:cubicBezTo>
                  <a:cubicBezTo>
                    <a:pt x="33650" y="386095"/>
                    <a:pt x="32853" y="387910"/>
                    <a:pt x="32255" y="383085"/>
                  </a:cubicBezTo>
                  <a:cubicBezTo>
                    <a:pt x="31657" y="378260"/>
                    <a:pt x="32255" y="378281"/>
                    <a:pt x="32255" y="374252"/>
                  </a:cubicBezTo>
                  <a:cubicBezTo>
                    <a:pt x="32255" y="370222"/>
                    <a:pt x="34048" y="369427"/>
                    <a:pt x="35465" y="367211"/>
                  </a:cubicBezTo>
                  <a:cubicBezTo>
                    <a:pt x="36881" y="364996"/>
                    <a:pt x="38054" y="365819"/>
                    <a:pt x="39073" y="360790"/>
                  </a:cubicBezTo>
                  <a:cubicBezTo>
                    <a:pt x="40091" y="355769"/>
                    <a:pt x="37877" y="353975"/>
                    <a:pt x="41087" y="352555"/>
                  </a:cubicBezTo>
                  <a:cubicBezTo>
                    <a:pt x="44297" y="351141"/>
                    <a:pt x="43699" y="350142"/>
                    <a:pt x="46112" y="350142"/>
                  </a:cubicBezTo>
                  <a:cubicBezTo>
                    <a:pt x="48525" y="350142"/>
                    <a:pt x="47506" y="345697"/>
                    <a:pt x="47506" y="340690"/>
                  </a:cubicBezTo>
                  <a:cubicBezTo>
                    <a:pt x="47506" y="335689"/>
                    <a:pt x="51956" y="332482"/>
                    <a:pt x="53151" y="330668"/>
                  </a:cubicBezTo>
                  <a:cubicBezTo>
                    <a:pt x="54347" y="328853"/>
                    <a:pt x="57955" y="323628"/>
                    <a:pt x="62581" y="325639"/>
                  </a:cubicBezTo>
                  <a:cubicBezTo>
                    <a:pt x="67207" y="327658"/>
                    <a:pt x="70815" y="332060"/>
                    <a:pt x="73228" y="332060"/>
                  </a:cubicBezTo>
                  <a:cubicBezTo>
                    <a:pt x="75641" y="332060"/>
                    <a:pt x="79249" y="330070"/>
                    <a:pt x="82060" y="325639"/>
                  </a:cubicBezTo>
                  <a:cubicBezTo>
                    <a:pt x="84871" y="321215"/>
                    <a:pt x="84473" y="319401"/>
                    <a:pt x="86687" y="318402"/>
                  </a:cubicBezTo>
                  <a:cubicBezTo>
                    <a:pt x="88900" y="317403"/>
                    <a:pt x="95519" y="318402"/>
                    <a:pt x="97334" y="318402"/>
                  </a:cubicBezTo>
                  <a:cubicBezTo>
                    <a:pt x="99149" y="318402"/>
                    <a:pt x="103377" y="319422"/>
                    <a:pt x="104572" y="317010"/>
                  </a:cubicBezTo>
                  <a:cubicBezTo>
                    <a:pt x="105767" y="314597"/>
                    <a:pt x="107184" y="313380"/>
                    <a:pt x="108379" y="310166"/>
                  </a:cubicBezTo>
                  <a:cubicBezTo>
                    <a:pt x="109575" y="306959"/>
                    <a:pt x="110792" y="305764"/>
                    <a:pt x="110991" y="303351"/>
                  </a:cubicBezTo>
                  <a:cubicBezTo>
                    <a:pt x="111191" y="300939"/>
                    <a:pt x="112209" y="299919"/>
                    <a:pt x="110991" y="296508"/>
                  </a:cubicBezTo>
                  <a:cubicBezTo>
                    <a:pt x="109774" y="293104"/>
                    <a:pt x="108379" y="291705"/>
                    <a:pt x="108379" y="290094"/>
                  </a:cubicBezTo>
                  <a:cubicBezTo>
                    <a:pt x="108379" y="288476"/>
                    <a:pt x="104550" y="285860"/>
                    <a:pt x="103355" y="285065"/>
                  </a:cubicBezTo>
                  <a:cubicBezTo>
                    <a:pt x="102398" y="284425"/>
                    <a:pt x="99739" y="283195"/>
                    <a:pt x="98529" y="282653"/>
                  </a:cubicBezTo>
                  <a:cubicBezTo>
                    <a:pt x="100602" y="282316"/>
                    <a:pt x="105113" y="281436"/>
                    <a:pt x="106564" y="280642"/>
                  </a:cubicBezTo>
                  <a:cubicBezTo>
                    <a:pt x="108379" y="279643"/>
                    <a:pt x="106985" y="277850"/>
                    <a:pt x="108379" y="276633"/>
                  </a:cubicBezTo>
                  <a:cubicBezTo>
                    <a:pt x="109774" y="275416"/>
                    <a:pt x="110195" y="272026"/>
                    <a:pt x="108379" y="270809"/>
                  </a:cubicBezTo>
                  <a:cubicBezTo>
                    <a:pt x="106564" y="269593"/>
                    <a:pt x="103377" y="268376"/>
                    <a:pt x="101960" y="269593"/>
                  </a:cubicBezTo>
                  <a:cubicBezTo>
                    <a:pt x="95320" y="272406"/>
                    <a:pt x="94699" y="272427"/>
                    <a:pt x="92907" y="273623"/>
                  </a:cubicBezTo>
                  <a:cubicBezTo>
                    <a:pt x="91114" y="274818"/>
                    <a:pt x="89675" y="276211"/>
                    <a:pt x="87683" y="277427"/>
                  </a:cubicBezTo>
                  <a:cubicBezTo>
                    <a:pt x="85691" y="278644"/>
                    <a:pt x="82060" y="282674"/>
                    <a:pt x="82060" y="283870"/>
                  </a:cubicBezTo>
                  <a:lnTo>
                    <a:pt x="82060" y="287281"/>
                  </a:lnTo>
                  <a:lnTo>
                    <a:pt x="78054" y="279446"/>
                  </a:lnTo>
                  <a:cubicBezTo>
                    <a:pt x="77382" y="278103"/>
                    <a:pt x="75477" y="275817"/>
                    <a:pt x="73228" y="277427"/>
                  </a:cubicBezTo>
                  <a:cubicBezTo>
                    <a:pt x="70417" y="279446"/>
                    <a:pt x="70196" y="278250"/>
                    <a:pt x="66388" y="279446"/>
                  </a:cubicBezTo>
                  <a:cubicBezTo>
                    <a:pt x="62581" y="280642"/>
                    <a:pt x="62581" y="280642"/>
                    <a:pt x="59172" y="280642"/>
                  </a:cubicBezTo>
                  <a:cubicBezTo>
                    <a:pt x="55763" y="280642"/>
                    <a:pt x="54546" y="278623"/>
                    <a:pt x="51535" y="280642"/>
                  </a:cubicBezTo>
                  <a:cubicBezTo>
                    <a:pt x="48525" y="282653"/>
                    <a:pt x="45514" y="283469"/>
                    <a:pt x="43300" y="282055"/>
                  </a:cubicBezTo>
                  <a:cubicBezTo>
                    <a:pt x="41087" y="280642"/>
                    <a:pt x="41508" y="281837"/>
                    <a:pt x="36881" y="280642"/>
                  </a:cubicBezTo>
                  <a:cubicBezTo>
                    <a:pt x="32255" y="279446"/>
                    <a:pt x="31059" y="281457"/>
                    <a:pt x="29643" y="279446"/>
                  </a:cubicBezTo>
                  <a:cubicBezTo>
                    <a:pt x="28226" y="277427"/>
                    <a:pt x="27430" y="277631"/>
                    <a:pt x="26832" y="276633"/>
                  </a:cubicBezTo>
                  <a:cubicBezTo>
                    <a:pt x="26234" y="275634"/>
                    <a:pt x="24043" y="273602"/>
                    <a:pt x="23224" y="269593"/>
                  </a:cubicBezTo>
                  <a:cubicBezTo>
                    <a:pt x="22405" y="265584"/>
                    <a:pt x="23822" y="266386"/>
                    <a:pt x="21807" y="263572"/>
                  </a:cubicBezTo>
                  <a:cubicBezTo>
                    <a:pt x="19792" y="260759"/>
                    <a:pt x="16804" y="260541"/>
                    <a:pt x="18199" y="259149"/>
                  </a:cubicBezTo>
                  <a:cubicBezTo>
                    <a:pt x="19593" y="257749"/>
                    <a:pt x="18420" y="254739"/>
                    <a:pt x="23224" y="254542"/>
                  </a:cubicBezTo>
                  <a:cubicBezTo>
                    <a:pt x="28027" y="254345"/>
                    <a:pt x="32034" y="251553"/>
                    <a:pt x="28426" y="251328"/>
                  </a:cubicBezTo>
                  <a:cubicBezTo>
                    <a:pt x="24818" y="251110"/>
                    <a:pt x="23998" y="252348"/>
                    <a:pt x="19792" y="251328"/>
                  </a:cubicBezTo>
                  <a:cubicBezTo>
                    <a:pt x="15587" y="250315"/>
                    <a:pt x="15587" y="250737"/>
                    <a:pt x="12577" y="249316"/>
                  </a:cubicBezTo>
                  <a:cubicBezTo>
                    <a:pt x="9566" y="247903"/>
                    <a:pt x="9322" y="247720"/>
                    <a:pt x="6733" y="246503"/>
                  </a:cubicBezTo>
                  <a:cubicBezTo>
                    <a:pt x="4143" y="245286"/>
                    <a:pt x="2749" y="245511"/>
                    <a:pt x="1929" y="243894"/>
                  </a:cubicBezTo>
                  <a:cubicBezTo>
                    <a:pt x="1111" y="242276"/>
                    <a:pt x="-1302" y="239491"/>
                    <a:pt x="911" y="238275"/>
                  </a:cubicBezTo>
                  <a:cubicBezTo>
                    <a:pt x="3125" y="237051"/>
                    <a:pt x="5316" y="237051"/>
                    <a:pt x="6733" y="236059"/>
                  </a:cubicBezTo>
                  <a:cubicBezTo>
                    <a:pt x="8149" y="235060"/>
                    <a:pt x="8149" y="235440"/>
                    <a:pt x="10363" y="233844"/>
                  </a:cubicBezTo>
                  <a:cubicBezTo>
                    <a:pt x="12577" y="232247"/>
                    <a:pt x="12754" y="233647"/>
                    <a:pt x="14369" y="231431"/>
                  </a:cubicBezTo>
                  <a:cubicBezTo>
                    <a:pt x="15985" y="229216"/>
                    <a:pt x="14591" y="229420"/>
                    <a:pt x="18199" y="226607"/>
                  </a:cubicBezTo>
                  <a:cubicBezTo>
                    <a:pt x="21807" y="223793"/>
                    <a:pt x="19616" y="223020"/>
                    <a:pt x="23224" y="222000"/>
                  </a:cubicBezTo>
                  <a:cubicBezTo>
                    <a:pt x="26832" y="220980"/>
                    <a:pt x="25836" y="219166"/>
                    <a:pt x="29643" y="220586"/>
                  </a:cubicBezTo>
                  <a:cubicBezTo>
                    <a:pt x="32184" y="221529"/>
                    <a:pt x="35524" y="219925"/>
                    <a:pt x="36561" y="220178"/>
                  </a:cubicBezTo>
                  <a:cubicBezTo>
                    <a:pt x="35907" y="219250"/>
                    <a:pt x="35168" y="217527"/>
                    <a:pt x="35863" y="215762"/>
                  </a:cubicBezTo>
                  <a:cubicBezTo>
                    <a:pt x="36881" y="213166"/>
                    <a:pt x="37103" y="211971"/>
                    <a:pt x="39493" y="211155"/>
                  </a:cubicBezTo>
                  <a:cubicBezTo>
                    <a:pt x="41884" y="210339"/>
                    <a:pt x="43478" y="209537"/>
                    <a:pt x="44695" y="209537"/>
                  </a:cubicBezTo>
                  <a:cubicBezTo>
                    <a:pt x="45913" y="209537"/>
                    <a:pt x="47728" y="208961"/>
                    <a:pt x="48923" y="208145"/>
                  </a:cubicBezTo>
                  <a:cubicBezTo>
                    <a:pt x="50118" y="207329"/>
                    <a:pt x="57578" y="205536"/>
                    <a:pt x="59172" y="205332"/>
                  </a:cubicBezTo>
                  <a:cubicBezTo>
                    <a:pt x="60766" y="205135"/>
                    <a:pt x="60965" y="204136"/>
                    <a:pt x="62581" y="205332"/>
                  </a:cubicBezTo>
                  <a:cubicBezTo>
                    <a:pt x="64197" y="206527"/>
                    <a:pt x="64994" y="207927"/>
                    <a:pt x="64794" y="209537"/>
                  </a:cubicBezTo>
                  <a:cubicBezTo>
                    <a:pt x="64595" y="211155"/>
                    <a:pt x="64971" y="211352"/>
                    <a:pt x="63776" y="214165"/>
                  </a:cubicBezTo>
                  <a:cubicBezTo>
                    <a:pt x="62581" y="216978"/>
                    <a:pt x="62758" y="216774"/>
                    <a:pt x="63776" y="219391"/>
                  </a:cubicBezTo>
                  <a:cubicBezTo>
                    <a:pt x="64794" y="222000"/>
                    <a:pt x="64595" y="222598"/>
                    <a:pt x="67805" y="223196"/>
                  </a:cubicBezTo>
                  <a:cubicBezTo>
                    <a:pt x="71014" y="223793"/>
                    <a:pt x="72808" y="223196"/>
                    <a:pt x="74623" y="223196"/>
                  </a:cubicBezTo>
                  <a:lnTo>
                    <a:pt x="82060" y="223196"/>
                  </a:lnTo>
                  <a:cubicBezTo>
                    <a:pt x="89099" y="224412"/>
                    <a:pt x="91888" y="225214"/>
                    <a:pt x="92907" y="225010"/>
                  </a:cubicBezTo>
                  <a:cubicBezTo>
                    <a:pt x="93925" y="224813"/>
                    <a:pt x="93704" y="225812"/>
                    <a:pt x="95519" y="223196"/>
                  </a:cubicBezTo>
                  <a:cubicBezTo>
                    <a:pt x="96971" y="221107"/>
                    <a:pt x="98131" y="218315"/>
                    <a:pt x="98529" y="217175"/>
                  </a:cubicBezTo>
                  <a:cubicBezTo>
                    <a:pt x="98802" y="215494"/>
                    <a:pt x="99871" y="212857"/>
                    <a:pt x="101960" y="215762"/>
                  </a:cubicBezTo>
                  <a:cubicBezTo>
                    <a:pt x="104572" y="219391"/>
                    <a:pt x="108379" y="221606"/>
                    <a:pt x="108379" y="219391"/>
                  </a:cubicBezTo>
                  <a:cubicBezTo>
                    <a:pt x="108379" y="217175"/>
                    <a:pt x="108557" y="217175"/>
                    <a:pt x="106564" y="214165"/>
                  </a:cubicBezTo>
                  <a:cubicBezTo>
                    <a:pt x="104572" y="211155"/>
                    <a:pt x="109375" y="209537"/>
                    <a:pt x="103355" y="209537"/>
                  </a:cubicBezTo>
                  <a:cubicBezTo>
                    <a:pt x="97334" y="209537"/>
                    <a:pt x="94699" y="210937"/>
                    <a:pt x="92907" y="209537"/>
                  </a:cubicBezTo>
                  <a:cubicBezTo>
                    <a:pt x="91114" y="208145"/>
                    <a:pt x="90096" y="207146"/>
                    <a:pt x="89697" y="205332"/>
                  </a:cubicBezTo>
                  <a:cubicBezTo>
                    <a:pt x="89299" y="203517"/>
                    <a:pt x="89697" y="203123"/>
                    <a:pt x="89697" y="201302"/>
                  </a:cubicBezTo>
                  <a:cubicBezTo>
                    <a:pt x="89697" y="199487"/>
                    <a:pt x="90117" y="199691"/>
                    <a:pt x="91512" y="198292"/>
                  </a:cubicBezTo>
                  <a:cubicBezTo>
                    <a:pt x="95519" y="194684"/>
                    <a:pt x="97334" y="194487"/>
                    <a:pt x="97334" y="192672"/>
                  </a:cubicBezTo>
                  <a:cubicBezTo>
                    <a:pt x="97334" y="188445"/>
                    <a:pt x="89719" y="186251"/>
                    <a:pt x="85691" y="186251"/>
                  </a:cubicBezTo>
                  <a:cubicBezTo>
                    <a:pt x="81662" y="186251"/>
                    <a:pt x="80267" y="187869"/>
                    <a:pt x="76039" y="186251"/>
                  </a:cubicBezTo>
                  <a:cubicBezTo>
                    <a:pt x="71812" y="184633"/>
                    <a:pt x="68823" y="184633"/>
                    <a:pt x="66808" y="182425"/>
                  </a:cubicBezTo>
                  <a:cubicBezTo>
                    <a:pt x="64794" y="180210"/>
                    <a:pt x="63776" y="178240"/>
                    <a:pt x="63776" y="175209"/>
                  </a:cubicBezTo>
                  <a:cubicBezTo>
                    <a:pt x="63776" y="172178"/>
                    <a:pt x="64396" y="168788"/>
                    <a:pt x="62581" y="166973"/>
                  </a:cubicBezTo>
                  <a:cubicBezTo>
                    <a:pt x="60766" y="165159"/>
                    <a:pt x="61186" y="166551"/>
                    <a:pt x="59172" y="163344"/>
                  </a:cubicBezTo>
                  <a:cubicBezTo>
                    <a:pt x="57158" y="160130"/>
                    <a:pt x="55763" y="158098"/>
                    <a:pt x="53749" y="155903"/>
                  </a:cubicBezTo>
                  <a:cubicBezTo>
                    <a:pt x="51734" y="153716"/>
                    <a:pt x="51934" y="153118"/>
                    <a:pt x="48923" y="151698"/>
                  </a:cubicBezTo>
                  <a:cubicBezTo>
                    <a:pt x="45913" y="150284"/>
                    <a:pt x="45935" y="150108"/>
                    <a:pt x="42106" y="148687"/>
                  </a:cubicBezTo>
                  <a:cubicBezTo>
                    <a:pt x="38276" y="147274"/>
                    <a:pt x="42083" y="150305"/>
                    <a:pt x="35863" y="145276"/>
                  </a:cubicBezTo>
                  <a:cubicBezTo>
                    <a:pt x="29643" y="140255"/>
                    <a:pt x="28027" y="139038"/>
                    <a:pt x="27430" y="138243"/>
                  </a:cubicBezTo>
                  <a:cubicBezTo>
                    <a:pt x="24818" y="136028"/>
                    <a:pt x="24640" y="135254"/>
                    <a:pt x="23224" y="134635"/>
                  </a:cubicBezTo>
                  <a:cubicBezTo>
                    <a:pt x="21807" y="134010"/>
                    <a:pt x="21386" y="134635"/>
                    <a:pt x="20191" y="134635"/>
                  </a:cubicBezTo>
                  <a:cubicBezTo>
                    <a:pt x="18996" y="134635"/>
                    <a:pt x="26035" y="134431"/>
                    <a:pt x="26035" y="129410"/>
                  </a:cubicBezTo>
                  <a:lnTo>
                    <a:pt x="26035" y="119557"/>
                  </a:lnTo>
                  <a:cubicBezTo>
                    <a:pt x="26035" y="116350"/>
                    <a:pt x="24640" y="115555"/>
                    <a:pt x="26035" y="113937"/>
                  </a:cubicBezTo>
                  <a:cubicBezTo>
                    <a:pt x="29643" y="112123"/>
                    <a:pt x="28647" y="112720"/>
                    <a:pt x="32255" y="112320"/>
                  </a:cubicBezTo>
                  <a:cubicBezTo>
                    <a:pt x="35863" y="111919"/>
                    <a:pt x="38498" y="111321"/>
                    <a:pt x="42106" y="111124"/>
                  </a:cubicBezTo>
                  <a:cubicBezTo>
                    <a:pt x="45713" y="110927"/>
                    <a:pt x="46112" y="111124"/>
                    <a:pt x="48923" y="111124"/>
                  </a:cubicBezTo>
                  <a:cubicBezTo>
                    <a:pt x="51734" y="111124"/>
                    <a:pt x="49742" y="110906"/>
                    <a:pt x="56162" y="109506"/>
                  </a:cubicBezTo>
                  <a:lnTo>
                    <a:pt x="56569" y="109422"/>
                  </a:lnTo>
                  <a:cubicBezTo>
                    <a:pt x="62590" y="108114"/>
                    <a:pt x="62824" y="108065"/>
                    <a:pt x="64794" y="106700"/>
                  </a:cubicBezTo>
                  <a:cubicBezTo>
                    <a:pt x="66808" y="105301"/>
                    <a:pt x="67406" y="104682"/>
                    <a:pt x="68004" y="103690"/>
                  </a:cubicBezTo>
                  <a:cubicBezTo>
                    <a:pt x="68482" y="102888"/>
                    <a:pt x="69281" y="101482"/>
                    <a:pt x="69620" y="100877"/>
                  </a:cubicBezTo>
                  <a:lnTo>
                    <a:pt x="74224" y="89434"/>
                  </a:lnTo>
                  <a:cubicBezTo>
                    <a:pt x="73685" y="90503"/>
                    <a:pt x="72931" y="91438"/>
                    <a:pt x="74224" y="86621"/>
                  </a:cubicBezTo>
                  <a:cubicBezTo>
                    <a:pt x="75840" y="80600"/>
                    <a:pt x="74423" y="81177"/>
                    <a:pt x="76438" y="76571"/>
                  </a:cubicBezTo>
                  <a:cubicBezTo>
                    <a:pt x="78452" y="71964"/>
                    <a:pt x="78474" y="70149"/>
                    <a:pt x="80267" y="67941"/>
                  </a:cubicBezTo>
                  <a:cubicBezTo>
                    <a:pt x="82060" y="65726"/>
                    <a:pt x="83853" y="63932"/>
                    <a:pt x="85469" y="61316"/>
                  </a:cubicBezTo>
                  <a:cubicBezTo>
                    <a:pt x="87085" y="58707"/>
                    <a:pt x="87505" y="57314"/>
                    <a:pt x="89099" y="56097"/>
                  </a:cubicBezTo>
                  <a:cubicBezTo>
                    <a:pt x="90693" y="54881"/>
                    <a:pt x="87085" y="54902"/>
                    <a:pt x="92907" y="52883"/>
                  </a:cubicBezTo>
                  <a:cubicBezTo>
                    <a:pt x="98729" y="50872"/>
                    <a:pt x="99149" y="52046"/>
                    <a:pt x="103155" y="49852"/>
                  </a:cubicBezTo>
                  <a:cubicBezTo>
                    <a:pt x="107162" y="47665"/>
                    <a:pt x="106741" y="48059"/>
                    <a:pt x="109774" y="45843"/>
                  </a:cubicBezTo>
                  <a:cubicBezTo>
                    <a:pt x="112807" y="43635"/>
                    <a:pt x="112386" y="44626"/>
                    <a:pt x="114998" y="41616"/>
                  </a:cubicBezTo>
                  <a:cubicBezTo>
                    <a:pt x="117610" y="38606"/>
                    <a:pt x="116415" y="40048"/>
                    <a:pt x="119027" y="36616"/>
                  </a:cubicBezTo>
                  <a:cubicBezTo>
                    <a:pt x="121639" y="33184"/>
                    <a:pt x="122457" y="32586"/>
                    <a:pt x="124251" y="30173"/>
                  </a:cubicBezTo>
                  <a:cubicBezTo>
                    <a:pt x="126044" y="27761"/>
                    <a:pt x="124848" y="27388"/>
                    <a:pt x="127660" y="26369"/>
                  </a:cubicBezTo>
                  <a:cubicBezTo>
                    <a:pt x="135296" y="24751"/>
                    <a:pt x="132485" y="24751"/>
                    <a:pt x="138107" y="24751"/>
                  </a:cubicBezTo>
                  <a:lnTo>
                    <a:pt x="146741" y="24751"/>
                  </a:lnTo>
                  <a:cubicBezTo>
                    <a:pt x="150149" y="24751"/>
                    <a:pt x="152164" y="24378"/>
                    <a:pt x="154178" y="23358"/>
                  </a:cubicBezTo>
                  <a:cubicBezTo>
                    <a:pt x="156192" y="22339"/>
                    <a:pt x="156170" y="22339"/>
                    <a:pt x="157986" y="21544"/>
                  </a:cubicBezTo>
                  <a:cubicBezTo>
                    <a:pt x="159800" y="20742"/>
                    <a:pt x="161018" y="21741"/>
                    <a:pt x="162412" y="19328"/>
                  </a:cubicBezTo>
                  <a:cubicBezTo>
                    <a:pt x="163807" y="16916"/>
                    <a:pt x="163232" y="17338"/>
                    <a:pt x="165024" y="14926"/>
                  </a:cubicBezTo>
                  <a:cubicBezTo>
                    <a:pt x="166818" y="12514"/>
                    <a:pt x="166442" y="12907"/>
                    <a:pt x="168035" y="10298"/>
                  </a:cubicBezTo>
                  <a:cubicBezTo>
                    <a:pt x="169629" y="7682"/>
                    <a:pt x="169053" y="7682"/>
                    <a:pt x="170647" y="5473"/>
                  </a:cubicBezTo>
                  <a:cubicBezTo>
                    <a:pt x="171922" y="3701"/>
                    <a:pt x="173186" y="2463"/>
                    <a:pt x="173657" y="2062"/>
                  </a:cubicBezTo>
                  <a:cubicBezTo>
                    <a:pt x="174188" y="986"/>
                    <a:pt x="175535" y="-849"/>
                    <a:pt x="176668" y="445"/>
                  </a:cubicBezTo>
                  <a:cubicBezTo>
                    <a:pt x="178085" y="2062"/>
                    <a:pt x="176469" y="466"/>
                    <a:pt x="179877" y="2062"/>
                  </a:cubicBezTo>
                  <a:cubicBezTo>
                    <a:pt x="183286" y="3659"/>
                    <a:pt x="183485" y="2681"/>
                    <a:pt x="185699" y="4074"/>
                  </a:cubicBezTo>
                  <a:cubicBezTo>
                    <a:pt x="187913" y="5473"/>
                    <a:pt x="188511" y="3258"/>
                    <a:pt x="190126" y="5473"/>
                  </a:cubicBezTo>
                  <a:cubicBezTo>
                    <a:pt x="191742" y="7682"/>
                    <a:pt x="192140" y="8906"/>
                    <a:pt x="192140" y="10298"/>
                  </a:cubicBezTo>
                  <a:cubicBezTo>
                    <a:pt x="190126" y="13702"/>
                    <a:pt x="187735" y="14926"/>
                    <a:pt x="186717" y="14926"/>
                  </a:cubicBezTo>
                  <a:cubicBezTo>
                    <a:pt x="185903" y="14926"/>
                    <a:pt x="183692" y="15854"/>
                    <a:pt x="182689" y="16318"/>
                  </a:cubicBezTo>
                  <a:lnTo>
                    <a:pt x="180896" y="19328"/>
                  </a:lnTo>
                  <a:cubicBezTo>
                    <a:pt x="181494" y="19462"/>
                    <a:pt x="182689" y="20088"/>
                    <a:pt x="182689" y="21544"/>
                  </a:cubicBezTo>
                  <a:cubicBezTo>
                    <a:pt x="182689" y="23358"/>
                    <a:pt x="183485" y="21959"/>
                    <a:pt x="185699" y="23358"/>
                  </a:cubicBezTo>
                  <a:cubicBezTo>
                    <a:pt x="190126" y="24751"/>
                    <a:pt x="190746" y="24751"/>
                    <a:pt x="192140" y="24751"/>
                  </a:cubicBezTo>
                  <a:cubicBezTo>
                    <a:pt x="194952" y="21544"/>
                    <a:pt x="195373" y="20721"/>
                    <a:pt x="194553" y="19328"/>
                  </a:cubicBezTo>
                  <a:cubicBezTo>
                    <a:pt x="193735" y="17936"/>
                    <a:pt x="194553" y="17711"/>
                    <a:pt x="194553" y="16318"/>
                  </a:cubicBezTo>
                  <a:cubicBezTo>
                    <a:pt x="194553" y="14926"/>
                    <a:pt x="194952" y="13132"/>
                    <a:pt x="195749" y="12514"/>
                  </a:cubicBezTo>
                  <a:cubicBezTo>
                    <a:pt x="202390" y="12514"/>
                    <a:pt x="203784" y="13526"/>
                    <a:pt x="204381" y="14926"/>
                  </a:cubicBezTo>
                  <a:cubicBezTo>
                    <a:pt x="204979" y="16318"/>
                    <a:pt x="203164" y="17113"/>
                    <a:pt x="204381" y="19328"/>
                  </a:cubicBezTo>
                  <a:cubicBezTo>
                    <a:pt x="205355" y="21101"/>
                    <a:pt x="208005" y="24758"/>
                    <a:pt x="209207" y="26369"/>
                  </a:cubicBezTo>
                  <a:lnTo>
                    <a:pt x="214232" y="24751"/>
                  </a:lnTo>
                  <a:cubicBezTo>
                    <a:pt x="214232" y="24083"/>
                    <a:pt x="214714" y="22500"/>
                    <a:pt x="216645" y="21544"/>
                  </a:cubicBezTo>
                  <a:cubicBezTo>
                    <a:pt x="218575" y="20587"/>
                    <a:pt x="221197" y="19666"/>
                    <a:pt x="222267" y="19328"/>
                  </a:cubicBezTo>
                  <a:lnTo>
                    <a:pt x="226274" y="19328"/>
                  </a:lnTo>
                  <a:cubicBezTo>
                    <a:pt x="234508" y="23358"/>
                    <a:pt x="235527" y="23133"/>
                    <a:pt x="236323" y="24751"/>
                  </a:cubicBezTo>
                  <a:cubicBezTo>
                    <a:pt x="237456" y="24751"/>
                    <a:pt x="238139" y="23823"/>
                    <a:pt x="238338" y="23358"/>
                  </a:cubicBezTo>
                  <a:cubicBezTo>
                    <a:pt x="238795" y="22353"/>
                    <a:pt x="239794" y="20946"/>
                    <a:pt x="240130" y="23358"/>
                  </a:cubicBezTo>
                  <a:cubicBezTo>
                    <a:pt x="240551" y="26369"/>
                    <a:pt x="241924" y="25349"/>
                    <a:pt x="240130" y="27761"/>
                  </a:cubicBezTo>
                  <a:cubicBezTo>
                    <a:pt x="238338" y="30173"/>
                    <a:pt x="238338" y="31566"/>
                    <a:pt x="238338" y="32790"/>
                  </a:cubicBezTo>
                  <a:cubicBezTo>
                    <a:pt x="238338" y="33760"/>
                    <a:pt x="242344" y="34998"/>
                    <a:pt x="236323" y="34998"/>
                  </a:cubicBezTo>
                  <a:lnTo>
                    <a:pt x="245974" y="34998"/>
                  </a:lnTo>
                  <a:lnTo>
                    <a:pt x="249583" y="36616"/>
                  </a:lnTo>
                  <a:lnTo>
                    <a:pt x="249583" y="39007"/>
                  </a:lnTo>
                  <a:cubicBezTo>
                    <a:pt x="249583" y="40027"/>
                    <a:pt x="251375" y="41616"/>
                    <a:pt x="252792" y="41616"/>
                  </a:cubicBezTo>
                  <a:cubicBezTo>
                    <a:pt x="254209" y="41616"/>
                    <a:pt x="255825" y="43037"/>
                    <a:pt x="260030" y="43431"/>
                  </a:cubicBezTo>
                  <a:cubicBezTo>
                    <a:pt x="264236" y="43832"/>
                    <a:pt x="266030" y="43431"/>
                    <a:pt x="267247" y="43431"/>
                  </a:cubicBezTo>
                  <a:cubicBezTo>
                    <a:pt x="268464" y="43431"/>
                    <a:pt x="271054" y="43016"/>
                    <a:pt x="272670" y="41616"/>
                  </a:cubicBezTo>
                  <a:cubicBezTo>
                    <a:pt x="274286" y="40224"/>
                    <a:pt x="275282" y="39007"/>
                    <a:pt x="277097" y="39007"/>
                  </a:cubicBezTo>
                  <a:lnTo>
                    <a:pt x="285332" y="39007"/>
                  </a:lnTo>
                  <a:cubicBezTo>
                    <a:pt x="287147" y="39007"/>
                    <a:pt x="288541" y="37790"/>
                    <a:pt x="291153" y="39007"/>
                  </a:cubicBezTo>
                  <a:cubicBezTo>
                    <a:pt x="293765" y="40224"/>
                    <a:pt x="294961" y="39802"/>
                    <a:pt x="296776" y="41616"/>
                  </a:cubicBezTo>
                  <a:cubicBezTo>
                    <a:pt x="298590" y="43431"/>
                    <a:pt x="303018" y="43431"/>
                    <a:pt x="306228" y="45843"/>
                  </a:cubicBezTo>
                  <a:cubicBezTo>
                    <a:pt x="309438" y="48262"/>
                    <a:pt x="310632" y="47039"/>
                    <a:pt x="312448" y="49057"/>
                  </a:cubicBezTo>
                  <a:cubicBezTo>
                    <a:pt x="314263" y="51069"/>
                    <a:pt x="315259" y="51645"/>
                    <a:pt x="317273" y="52468"/>
                  </a:cubicBezTo>
                  <a:cubicBezTo>
                    <a:pt x="319287" y="53284"/>
                    <a:pt x="322099" y="53481"/>
                    <a:pt x="323095" y="53481"/>
                  </a:cubicBezTo>
                  <a:lnTo>
                    <a:pt x="328916" y="53481"/>
                  </a:lnTo>
                  <a:lnTo>
                    <a:pt x="333941" y="53481"/>
                  </a:lnTo>
                  <a:cubicBezTo>
                    <a:pt x="335137" y="53481"/>
                    <a:pt x="336775" y="51273"/>
                    <a:pt x="338369" y="53481"/>
                  </a:cubicBezTo>
                  <a:cubicBezTo>
                    <a:pt x="339962" y="55696"/>
                    <a:pt x="338545" y="55478"/>
                    <a:pt x="342575" y="57089"/>
                  </a:cubicBezTo>
                  <a:cubicBezTo>
                    <a:pt x="349813" y="60099"/>
                    <a:pt x="350410" y="59923"/>
                    <a:pt x="352624" y="61119"/>
                  </a:cubicBezTo>
                  <a:cubicBezTo>
                    <a:pt x="354395" y="62075"/>
                    <a:pt x="356298" y="62315"/>
                    <a:pt x="357029" y="62315"/>
                  </a:cubicBezTo>
                  <a:lnTo>
                    <a:pt x="359442" y="62315"/>
                  </a:lnTo>
                  <a:lnTo>
                    <a:pt x="368097" y="60099"/>
                  </a:lnTo>
                  <a:cubicBezTo>
                    <a:pt x="368768" y="59762"/>
                    <a:pt x="370310" y="58882"/>
                    <a:pt x="371107" y="58088"/>
                  </a:cubicBezTo>
                  <a:cubicBezTo>
                    <a:pt x="371904" y="57293"/>
                    <a:pt x="375984" y="57089"/>
                    <a:pt x="377925" y="57089"/>
                  </a:cubicBezTo>
                  <a:lnTo>
                    <a:pt x="381135" y="57089"/>
                  </a:lnTo>
                  <a:cubicBezTo>
                    <a:pt x="382344" y="58432"/>
                    <a:pt x="385367" y="61119"/>
                    <a:pt x="387775" y="61119"/>
                  </a:cubicBezTo>
                  <a:cubicBezTo>
                    <a:pt x="390785" y="61119"/>
                    <a:pt x="395014" y="67540"/>
                    <a:pt x="395811" y="68138"/>
                  </a:cubicBezTo>
                  <a:cubicBezTo>
                    <a:pt x="396607" y="68736"/>
                    <a:pt x="396806" y="69137"/>
                    <a:pt x="399219" y="70550"/>
                  </a:cubicBezTo>
                  <a:cubicBezTo>
                    <a:pt x="401632" y="71964"/>
                    <a:pt x="400636" y="71767"/>
                    <a:pt x="403647" y="72963"/>
                  </a:cubicBezTo>
                  <a:cubicBezTo>
                    <a:pt x="406657" y="74158"/>
                    <a:pt x="408561" y="77014"/>
                    <a:pt x="409690" y="77808"/>
                  </a:cubicBezTo>
                  <a:cubicBezTo>
                    <a:pt x="410593" y="78448"/>
                    <a:pt x="414065" y="78251"/>
                    <a:pt x="415688" y="7807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2" name="Freihandform: Form 57">
              <a:extLst>
                <a:ext uri="{FF2B5EF4-FFF2-40B4-BE49-F238E27FC236}">
                  <a16:creationId xmlns:a16="http://schemas.microsoft.com/office/drawing/2014/main" id="{150FA699-F87B-6043-8528-8A5705781FC7}"/>
                </a:ext>
              </a:extLst>
            </p:cNvPr>
            <p:cNvSpPr/>
            <p:nvPr/>
          </p:nvSpPr>
          <p:spPr>
            <a:xfrm>
              <a:off x="3769240" y="3393388"/>
              <a:ext cx="44559" cy="52638"/>
            </a:xfrm>
            <a:custGeom>
              <a:avLst/>
              <a:gdLst>
                <a:gd name="connsiteX0" fmla="*/ 36768 w 44559"/>
                <a:gd name="connsiteY0" fmla="*/ 3235 h 52638"/>
                <a:gd name="connsiteX1" fmla="*/ 36768 w 44559"/>
                <a:gd name="connsiteY1" fmla="*/ 0 h 52638"/>
                <a:gd name="connsiteX2" fmla="*/ 35794 w 44559"/>
                <a:gd name="connsiteY2" fmla="*/ 0 h 52638"/>
                <a:gd name="connsiteX3" fmla="*/ 32296 w 44559"/>
                <a:gd name="connsiteY3" fmla="*/ 3650 h 52638"/>
                <a:gd name="connsiteX4" fmla="*/ 27050 w 44559"/>
                <a:gd name="connsiteY4" fmla="*/ 9825 h 52638"/>
                <a:gd name="connsiteX5" fmla="*/ 23287 w 44559"/>
                <a:gd name="connsiteY5" fmla="*/ 16689 h 52638"/>
                <a:gd name="connsiteX6" fmla="*/ 19258 w 44559"/>
                <a:gd name="connsiteY6" fmla="*/ 19925 h 52638"/>
                <a:gd name="connsiteX7" fmla="*/ 15473 w 44559"/>
                <a:gd name="connsiteY7" fmla="*/ 22604 h 52638"/>
                <a:gd name="connsiteX8" fmla="*/ 13680 w 44559"/>
                <a:gd name="connsiteY8" fmla="*/ 26233 h 52638"/>
                <a:gd name="connsiteX9" fmla="*/ 13680 w 44559"/>
                <a:gd name="connsiteY9" fmla="*/ 30017 h 52638"/>
                <a:gd name="connsiteX10" fmla="*/ 9828 w 44559"/>
                <a:gd name="connsiteY10" fmla="*/ 27844 h 52638"/>
                <a:gd name="connsiteX11" fmla="*/ 4848 w 44559"/>
                <a:gd name="connsiteY11" fmla="*/ 31480 h 52638"/>
                <a:gd name="connsiteX12" fmla="*/ 2037 w 44559"/>
                <a:gd name="connsiteY12" fmla="*/ 32563 h 52638"/>
                <a:gd name="connsiteX13" fmla="*/ 421 w 44559"/>
                <a:gd name="connsiteY13" fmla="*/ 36058 h 52638"/>
                <a:gd name="connsiteX14" fmla="*/ 421 w 44559"/>
                <a:gd name="connsiteY14" fmla="*/ 42522 h 52638"/>
                <a:gd name="connsiteX15" fmla="*/ 8257 w 44559"/>
                <a:gd name="connsiteY15" fmla="*/ 49386 h 52638"/>
                <a:gd name="connsiteX16" fmla="*/ 9828 w 44559"/>
                <a:gd name="connsiteY16" fmla="*/ 50314 h 52638"/>
                <a:gd name="connsiteX17" fmla="*/ 16159 w 44559"/>
                <a:gd name="connsiteY17" fmla="*/ 52460 h 52638"/>
                <a:gd name="connsiteX18" fmla="*/ 18573 w 44559"/>
                <a:gd name="connsiteY18" fmla="*/ 45201 h 52638"/>
                <a:gd name="connsiteX19" fmla="*/ 22114 w 44559"/>
                <a:gd name="connsiteY19" fmla="*/ 46594 h 52638"/>
                <a:gd name="connsiteX20" fmla="*/ 27050 w 44559"/>
                <a:gd name="connsiteY20" fmla="*/ 42522 h 52638"/>
                <a:gd name="connsiteX21" fmla="*/ 29131 w 44559"/>
                <a:gd name="connsiteY21" fmla="*/ 40356 h 52638"/>
                <a:gd name="connsiteX22" fmla="*/ 30946 w 44559"/>
                <a:gd name="connsiteY22" fmla="*/ 37543 h 52638"/>
                <a:gd name="connsiteX23" fmla="*/ 31632 w 44559"/>
                <a:gd name="connsiteY23" fmla="*/ 34181 h 52638"/>
                <a:gd name="connsiteX24" fmla="*/ 35794 w 44559"/>
                <a:gd name="connsiteY24" fmla="*/ 34954 h 52638"/>
                <a:gd name="connsiteX25" fmla="*/ 39424 w 44559"/>
                <a:gd name="connsiteY25" fmla="*/ 32563 h 52638"/>
                <a:gd name="connsiteX26" fmla="*/ 39424 w 44559"/>
                <a:gd name="connsiteY26" fmla="*/ 29328 h 52638"/>
                <a:gd name="connsiteX27" fmla="*/ 36768 w 44559"/>
                <a:gd name="connsiteY27" fmla="*/ 24770 h 52638"/>
                <a:gd name="connsiteX28" fmla="*/ 35794 w 44559"/>
                <a:gd name="connsiteY28" fmla="*/ 21141 h 52638"/>
                <a:gd name="connsiteX29" fmla="*/ 30946 w 44559"/>
                <a:gd name="connsiteY29" fmla="*/ 18968 h 52638"/>
                <a:gd name="connsiteX30" fmla="*/ 31632 w 44559"/>
                <a:gd name="connsiteY30" fmla="*/ 16689 h 52638"/>
                <a:gd name="connsiteX31" fmla="*/ 36768 w 44559"/>
                <a:gd name="connsiteY31" fmla="*/ 14256 h 52638"/>
                <a:gd name="connsiteX32" fmla="*/ 38340 w 44559"/>
                <a:gd name="connsiteY32" fmla="*/ 11710 h 52638"/>
                <a:gd name="connsiteX33" fmla="*/ 42257 w 44559"/>
                <a:gd name="connsiteY33" fmla="*/ 14256 h 52638"/>
                <a:gd name="connsiteX34" fmla="*/ 44139 w 44559"/>
                <a:gd name="connsiteY34" fmla="*/ 11710 h 52638"/>
                <a:gd name="connsiteX35" fmla="*/ 44537 w 44559"/>
                <a:gd name="connsiteY35" fmla="*/ 8482 h 52638"/>
                <a:gd name="connsiteX36" fmla="*/ 41173 w 44559"/>
                <a:gd name="connsiteY36" fmla="*/ 7546 h 52638"/>
                <a:gd name="connsiteX37" fmla="*/ 36768 w 44559"/>
                <a:gd name="connsiteY37" fmla="*/ 7546 h 52638"/>
                <a:gd name="connsiteX38" fmla="*/ 36768 w 44559"/>
                <a:gd name="connsiteY38" fmla="*/ 3235 h 52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4559" h="52638">
                  <a:moveTo>
                    <a:pt x="36768" y="3235"/>
                  </a:moveTo>
                  <a:cubicBezTo>
                    <a:pt x="36768" y="2258"/>
                    <a:pt x="38340" y="823"/>
                    <a:pt x="36768" y="0"/>
                  </a:cubicBezTo>
                  <a:lnTo>
                    <a:pt x="35794" y="0"/>
                  </a:lnTo>
                  <a:cubicBezTo>
                    <a:pt x="35115" y="535"/>
                    <a:pt x="33465" y="2004"/>
                    <a:pt x="32296" y="3650"/>
                  </a:cubicBezTo>
                  <a:cubicBezTo>
                    <a:pt x="30835" y="5711"/>
                    <a:pt x="30946" y="5619"/>
                    <a:pt x="27050" y="9825"/>
                  </a:cubicBezTo>
                  <a:cubicBezTo>
                    <a:pt x="24970" y="12111"/>
                    <a:pt x="25324" y="11710"/>
                    <a:pt x="23287" y="16689"/>
                  </a:cubicBezTo>
                  <a:cubicBezTo>
                    <a:pt x="21251" y="21669"/>
                    <a:pt x="20055" y="18968"/>
                    <a:pt x="19258" y="19925"/>
                  </a:cubicBezTo>
                  <a:cubicBezTo>
                    <a:pt x="18461" y="20874"/>
                    <a:pt x="16889" y="21141"/>
                    <a:pt x="15473" y="22604"/>
                  </a:cubicBezTo>
                  <a:cubicBezTo>
                    <a:pt x="14057" y="24060"/>
                    <a:pt x="15208" y="24770"/>
                    <a:pt x="13680" y="26233"/>
                  </a:cubicBezTo>
                  <a:cubicBezTo>
                    <a:pt x="12153" y="27689"/>
                    <a:pt x="13680" y="27844"/>
                    <a:pt x="13680" y="30017"/>
                  </a:cubicBezTo>
                  <a:cubicBezTo>
                    <a:pt x="13680" y="32183"/>
                    <a:pt x="12463" y="30678"/>
                    <a:pt x="9828" y="27844"/>
                  </a:cubicBezTo>
                  <a:cubicBezTo>
                    <a:pt x="7194" y="25017"/>
                    <a:pt x="7549" y="30151"/>
                    <a:pt x="4848" y="31480"/>
                  </a:cubicBezTo>
                  <a:cubicBezTo>
                    <a:pt x="2148" y="32802"/>
                    <a:pt x="3786" y="32563"/>
                    <a:pt x="2037" y="32563"/>
                  </a:cubicBezTo>
                  <a:cubicBezTo>
                    <a:pt x="288" y="32563"/>
                    <a:pt x="1218" y="34181"/>
                    <a:pt x="421" y="36058"/>
                  </a:cubicBezTo>
                  <a:cubicBezTo>
                    <a:pt x="-376" y="37943"/>
                    <a:pt x="155" y="39294"/>
                    <a:pt x="421" y="42522"/>
                  </a:cubicBezTo>
                  <a:cubicBezTo>
                    <a:pt x="687" y="45757"/>
                    <a:pt x="3387" y="46594"/>
                    <a:pt x="8257" y="49386"/>
                  </a:cubicBezTo>
                  <a:cubicBezTo>
                    <a:pt x="12153" y="51616"/>
                    <a:pt x="10928" y="50933"/>
                    <a:pt x="9828" y="50314"/>
                  </a:cubicBezTo>
                  <a:cubicBezTo>
                    <a:pt x="10109" y="51348"/>
                    <a:pt x="11767" y="53226"/>
                    <a:pt x="16159" y="52460"/>
                  </a:cubicBezTo>
                  <a:cubicBezTo>
                    <a:pt x="16846" y="51911"/>
                    <a:pt x="17775" y="49520"/>
                    <a:pt x="18573" y="45201"/>
                  </a:cubicBezTo>
                  <a:cubicBezTo>
                    <a:pt x="20255" y="43809"/>
                    <a:pt x="19524" y="45736"/>
                    <a:pt x="22114" y="46594"/>
                  </a:cubicBezTo>
                  <a:cubicBezTo>
                    <a:pt x="24704" y="47459"/>
                    <a:pt x="25324" y="46594"/>
                    <a:pt x="27050" y="42522"/>
                  </a:cubicBezTo>
                  <a:cubicBezTo>
                    <a:pt x="26784" y="40243"/>
                    <a:pt x="28135" y="41572"/>
                    <a:pt x="29131" y="40356"/>
                  </a:cubicBezTo>
                  <a:cubicBezTo>
                    <a:pt x="30127" y="39139"/>
                    <a:pt x="30946" y="38562"/>
                    <a:pt x="30946" y="37543"/>
                  </a:cubicBezTo>
                  <a:cubicBezTo>
                    <a:pt x="30946" y="36523"/>
                    <a:pt x="30946" y="34954"/>
                    <a:pt x="31632" y="34181"/>
                  </a:cubicBezTo>
                  <a:cubicBezTo>
                    <a:pt x="32319" y="33400"/>
                    <a:pt x="34178" y="34307"/>
                    <a:pt x="35794" y="34954"/>
                  </a:cubicBezTo>
                  <a:cubicBezTo>
                    <a:pt x="37410" y="35594"/>
                    <a:pt x="37675" y="34575"/>
                    <a:pt x="39424" y="32563"/>
                  </a:cubicBezTo>
                  <a:cubicBezTo>
                    <a:pt x="40823" y="30952"/>
                    <a:pt x="40007" y="29736"/>
                    <a:pt x="39424" y="29328"/>
                  </a:cubicBezTo>
                  <a:cubicBezTo>
                    <a:pt x="38539" y="28526"/>
                    <a:pt x="36768" y="26487"/>
                    <a:pt x="36768" y="24770"/>
                  </a:cubicBezTo>
                  <a:cubicBezTo>
                    <a:pt x="36768" y="22625"/>
                    <a:pt x="36768" y="21894"/>
                    <a:pt x="35794" y="21141"/>
                  </a:cubicBezTo>
                  <a:cubicBezTo>
                    <a:pt x="34820" y="20389"/>
                    <a:pt x="31632" y="19925"/>
                    <a:pt x="30946" y="18968"/>
                  </a:cubicBezTo>
                  <a:cubicBezTo>
                    <a:pt x="30260" y="18019"/>
                    <a:pt x="30946" y="17646"/>
                    <a:pt x="31632" y="16689"/>
                  </a:cubicBezTo>
                  <a:cubicBezTo>
                    <a:pt x="32319" y="15740"/>
                    <a:pt x="34842" y="15473"/>
                    <a:pt x="36768" y="14256"/>
                  </a:cubicBezTo>
                  <a:cubicBezTo>
                    <a:pt x="38308" y="13278"/>
                    <a:pt x="38457" y="12153"/>
                    <a:pt x="38340" y="11710"/>
                  </a:cubicBezTo>
                  <a:cubicBezTo>
                    <a:pt x="39283" y="12561"/>
                    <a:pt x="41390" y="14256"/>
                    <a:pt x="42257" y="14256"/>
                  </a:cubicBezTo>
                  <a:cubicBezTo>
                    <a:pt x="43342" y="14256"/>
                    <a:pt x="43586" y="12659"/>
                    <a:pt x="44139" y="11710"/>
                  </a:cubicBezTo>
                  <a:cubicBezTo>
                    <a:pt x="44581" y="10951"/>
                    <a:pt x="44589" y="9242"/>
                    <a:pt x="44537" y="8482"/>
                  </a:cubicBezTo>
                  <a:cubicBezTo>
                    <a:pt x="43637" y="8165"/>
                    <a:pt x="41704" y="7546"/>
                    <a:pt x="41173" y="7546"/>
                  </a:cubicBezTo>
                  <a:lnTo>
                    <a:pt x="36768" y="7546"/>
                  </a:lnTo>
                  <a:lnTo>
                    <a:pt x="36768" y="323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3" name="Freihandform: Form 58">
              <a:extLst>
                <a:ext uri="{FF2B5EF4-FFF2-40B4-BE49-F238E27FC236}">
                  <a16:creationId xmlns:a16="http://schemas.microsoft.com/office/drawing/2014/main" id="{CE1B1899-56DB-E84B-A59B-6D5DCB07914E}"/>
                </a:ext>
              </a:extLst>
            </p:cNvPr>
            <p:cNvSpPr/>
            <p:nvPr/>
          </p:nvSpPr>
          <p:spPr>
            <a:xfrm>
              <a:off x="3612710" y="3492203"/>
              <a:ext cx="28232" cy="18384"/>
            </a:xfrm>
            <a:custGeom>
              <a:avLst/>
              <a:gdLst>
                <a:gd name="connsiteX0" fmla="*/ 26750 w 28232"/>
                <a:gd name="connsiteY0" fmla="*/ 3939 h 18384"/>
                <a:gd name="connsiteX1" fmla="*/ 28233 w 28232"/>
                <a:gd name="connsiteY1" fmla="*/ 0 h 18384"/>
                <a:gd name="connsiteX2" fmla="*/ 21371 w 28232"/>
                <a:gd name="connsiteY2" fmla="*/ 1815 h 18384"/>
                <a:gd name="connsiteX3" fmla="*/ 17674 w 28232"/>
                <a:gd name="connsiteY3" fmla="*/ 3939 h 18384"/>
                <a:gd name="connsiteX4" fmla="*/ 10989 w 28232"/>
                <a:gd name="connsiteY4" fmla="*/ 3939 h 18384"/>
                <a:gd name="connsiteX5" fmla="*/ 6363 w 28232"/>
                <a:gd name="connsiteY5" fmla="*/ 7814 h 18384"/>
                <a:gd name="connsiteX6" fmla="*/ 984 w 28232"/>
                <a:gd name="connsiteY6" fmla="*/ 12463 h 18384"/>
                <a:gd name="connsiteX7" fmla="*/ 984 w 28232"/>
                <a:gd name="connsiteY7" fmla="*/ 17843 h 18384"/>
                <a:gd name="connsiteX8" fmla="*/ 6363 w 28232"/>
                <a:gd name="connsiteY8" fmla="*/ 17843 h 18384"/>
                <a:gd name="connsiteX9" fmla="*/ 10989 w 28232"/>
                <a:gd name="connsiteY9" fmla="*/ 14495 h 18384"/>
                <a:gd name="connsiteX10" fmla="*/ 19710 w 28232"/>
                <a:gd name="connsiteY10" fmla="*/ 14495 h 18384"/>
                <a:gd name="connsiteX11" fmla="*/ 26750 w 28232"/>
                <a:gd name="connsiteY11" fmla="*/ 7814 h 18384"/>
                <a:gd name="connsiteX12" fmla="*/ 26750 w 28232"/>
                <a:gd name="connsiteY12" fmla="*/ 3939 h 18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232" h="18384">
                  <a:moveTo>
                    <a:pt x="26750" y="3939"/>
                  </a:moveTo>
                  <a:cubicBezTo>
                    <a:pt x="26750" y="2659"/>
                    <a:pt x="27502" y="1815"/>
                    <a:pt x="28233" y="0"/>
                  </a:cubicBezTo>
                  <a:lnTo>
                    <a:pt x="21371" y="1815"/>
                  </a:lnTo>
                  <a:cubicBezTo>
                    <a:pt x="20817" y="1815"/>
                    <a:pt x="19303" y="2236"/>
                    <a:pt x="17674" y="3939"/>
                  </a:cubicBezTo>
                  <a:cubicBezTo>
                    <a:pt x="15637" y="6063"/>
                    <a:pt x="12672" y="3939"/>
                    <a:pt x="10989" y="3939"/>
                  </a:cubicBezTo>
                  <a:cubicBezTo>
                    <a:pt x="9307" y="3939"/>
                    <a:pt x="8222" y="5978"/>
                    <a:pt x="6363" y="7814"/>
                  </a:cubicBezTo>
                  <a:cubicBezTo>
                    <a:pt x="4503" y="9649"/>
                    <a:pt x="3197" y="10782"/>
                    <a:pt x="984" y="12463"/>
                  </a:cubicBezTo>
                  <a:cubicBezTo>
                    <a:pt x="-1230" y="14144"/>
                    <a:pt x="984" y="16711"/>
                    <a:pt x="984" y="17843"/>
                  </a:cubicBezTo>
                  <a:cubicBezTo>
                    <a:pt x="984" y="18968"/>
                    <a:pt x="5433" y="18019"/>
                    <a:pt x="6363" y="17843"/>
                  </a:cubicBezTo>
                  <a:cubicBezTo>
                    <a:pt x="7293" y="17667"/>
                    <a:pt x="8952" y="14495"/>
                    <a:pt x="10989" y="14495"/>
                  </a:cubicBezTo>
                  <a:lnTo>
                    <a:pt x="19710" y="14495"/>
                  </a:lnTo>
                  <a:cubicBezTo>
                    <a:pt x="22056" y="12645"/>
                    <a:pt x="26750" y="8714"/>
                    <a:pt x="26750" y="7814"/>
                  </a:cubicBezTo>
                  <a:lnTo>
                    <a:pt x="26750" y="393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4" name="Freihandform: Form 59">
              <a:extLst>
                <a:ext uri="{FF2B5EF4-FFF2-40B4-BE49-F238E27FC236}">
                  <a16:creationId xmlns:a16="http://schemas.microsoft.com/office/drawing/2014/main" id="{07704411-3C27-7A45-9419-E8B0AAE3D177}"/>
                </a:ext>
              </a:extLst>
            </p:cNvPr>
            <p:cNvSpPr/>
            <p:nvPr/>
          </p:nvSpPr>
          <p:spPr>
            <a:xfrm>
              <a:off x="3570859" y="3522108"/>
              <a:ext cx="23972" cy="17398"/>
            </a:xfrm>
            <a:custGeom>
              <a:avLst/>
              <a:gdLst>
                <a:gd name="connsiteX0" fmla="*/ 16692 w 23972"/>
                <a:gd name="connsiteY0" fmla="*/ 906 h 17398"/>
                <a:gd name="connsiteX1" fmla="*/ 14103 w 23972"/>
                <a:gd name="connsiteY1" fmla="*/ 906 h 17398"/>
                <a:gd name="connsiteX2" fmla="*/ 12243 w 23972"/>
                <a:gd name="connsiteY2" fmla="*/ 4050 h 17398"/>
                <a:gd name="connsiteX3" fmla="*/ 14103 w 23972"/>
                <a:gd name="connsiteY3" fmla="*/ 6462 h 17398"/>
                <a:gd name="connsiteX4" fmla="*/ 10383 w 23972"/>
                <a:gd name="connsiteY4" fmla="*/ 8319 h 17398"/>
                <a:gd name="connsiteX5" fmla="*/ 6864 w 23972"/>
                <a:gd name="connsiteY5" fmla="*/ 11090 h 17398"/>
                <a:gd name="connsiteX6" fmla="*/ 201 w 23972"/>
                <a:gd name="connsiteY6" fmla="*/ 15535 h 17398"/>
                <a:gd name="connsiteX7" fmla="*/ 932 w 23972"/>
                <a:gd name="connsiteY7" fmla="*/ 17399 h 17398"/>
                <a:gd name="connsiteX8" fmla="*/ 8347 w 23972"/>
                <a:gd name="connsiteY8" fmla="*/ 14628 h 17398"/>
                <a:gd name="connsiteX9" fmla="*/ 12243 w 23972"/>
                <a:gd name="connsiteY9" fmla="*/ 14628 h 17398"/>
                <a:gd name="connsiteX10" fmla="*/ 16692 w 23972"/>
                <a:gd name="connsiteY10" fmla="*/ 12574 h 17398"/>
                <a:gd name="connsiteX11" fmla="*/ 18928 w 23972"/>
                <a:gd name="connsiteY11" fmla="*/ 9255 h 17398"/>
                <a:gd name="connsiteX12" fmla="*/ 22447 w 23972"/>
                <a:gd name="connsiteY12" fmla="*/ 6462 h 17398"/>
                <a:gd name="connsiteX13" fmla="*/ 23931 w 23972"/>
                <a:gd name="connsiteY13" fmla="*/ 4050 h 17398"/>
                <a:gd name="connsiteX14" fmla="*/ 20965 w 23972"/>
                <a:gd name="connsiteY14" fmla="*/ 2566 h 17398"/>
                <a:gd name="connsiteX15" fmla="*/ 16692 w 23972"/>
                <a:gd name="connsiteY15" fmla="*/ 906 h 1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972" h="17398">
                  <a:moveTo>
                    <a:pt x="16692" y="906"/>
                  </a:moveTo>
                  <a:cubicBezTo>
                    <a:pt x="15762" y="-1133"/>
                    <a:pt x="15032" y="906"/>
                    <a:pt x="14103" y="906"/>
                  </a:cubicBezTo>
                  <a:cubicBezTo>
                    <a:pt x="13482" y="1462"/>
                    <a:pt x="12243" y="2862"/>
                    <a:pt x="12243" y="4050"/>
                  </a:cubicBezTo>
                  <a:cubicBezTo>
                    <a:pt x="12243" y="5534"/>
                    <a:pt x="14103" y="5176"/>
                    <a:pt x="14103" y="6462"/>
                  </a:cubicBezTo>
                  <a:cubicBezTo>
                    <a:pt x="14103" y="7489"/>
                    <a:pt x="11623" y="8129"/>
                    <a:pt x="10383" y="8319"/>
                  </a:cubicBezTo>
                  <a:cubicBezTo>
                    <a:pt x="9705" y="8945"/>
                    <a:pt x="8051" y="10366"/>
                    <a:pt x="6864" y="11090"/>
                  </a:cubicBezTo>
                  <a:cubicBezTo>
                    <a:pt x="5381" y="11998"/>
                    <a:pt x="932" y="14628"/>
                    <a:pt x="201" y="15535"/>
                  </a:cubicBezTo>
                  <a:cubicBezTo>
                    <a:pt x="-383" y="16267"/>
                    <a:pt x="444" y="17082"/>
                    <a:pt x="932" y="17399"/>
                  </a:cubicBezTo>
                  <a:cubicBezTo>
                    <a:pt x="2171" y="16907"/>
                    <a:pt x="5390" y="15655"/>
                    <a:pt x="8347" y="14628"/>
                  </a:cubicBezTo>
                  <a:cubicBezTo>
                    <a:pt x="12044" y="13348"/>
                    <a:pt x="11136" y="14811"/>
                    <a:pt x="12243" y="14628"/>
                  </a:cubicBezTo>
                  <a:cubicBezTo>
                    <a:pt x="13350" y="14452"/>
                    <a:pt x="14103" y="13875"/>
                    <a:pt x="16692" y="12574"/>
                  </a:cubicBezTo>
                  <a:cubicBezTo>
                    <a:pt x="19282" y="11266"/>
                    <a:pt x="17799" y="10535"/>
                    <a:pt x="18928" y="9255"/>
                  </a:cubicBezTo>
                  <a:cubicBezTo>
                    <a:pt x="20057" y="7968"/>
                    <a:pt x="20965" y="7391"/>
                    <a:pt x="22447" y="6462"/>
                  </a:cubicBezTo>
                  <a:cubicBezTo>
                    <a:pt x="23931" y="5534"/>
                    <a:pt x="23554" y="5176"/>
                    <a:pt x="23931" y="4050"/>
                  </a:cubicBezTo>
                  <a:cubicBezTo>
                    <a:pt x="24307" y="2918"/>
                    <a:pt x="22071" y="2566"/>
                    <a:pt x="20965" y="2566"/>
                  </a:cubicBezTo>
                  <a:cubicBezTo>
                    <a:pt x="19858" y="2566"/>
                    <a:pt x="17622" y="2946"/>
                    <a:pt x="16692" y="90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5" name="Freihandform: Form 60">
              <a:extLst>
                <a:ext uri="{FF2B5EF4-FFF2-40B4-BE49-F238E27FC236}">
                  <a16:creationId xmlns:a16="http://schemas.microsoft.com/office/drawing/2014/main" id="{BDB403AD-178E-6E49-B0B7-55556DBC17CA}"/>
                </a:ext>
              </a:extLst>
            </p:cNvPr>
            <p:cNvSpPr/>
            <p:nvPr/>
          </p:nvSpPr>
          <p:spPr>
            <a:xfrm>
              <a:off x="3554746" y="3534682"/>
              <a:ext cx="12518" cy="15029"/>
            </a:xfrm>
            <a:custGeom>
              <a:avLst/>
              <a:gdLst>
                <a:gd name="connsiteX0" fmla="*/ 6486 w 12518"/>
                <a:gd name="connsiteY0" fmla="*/ 2054 h 15029"/>
                <a:gd name="connsiteX1" fmla="*/ 11112 w 12518"/>
                <a:gd name="connsiteY1" fmla="*/ 0 h 15029"/>
                <a:gd name="connsiteX2" fmla="*/ 12418 w 12518"/>
                <a:gd name="connsiteY2" fmla="*/ 2054 h 15029"/>
                <a:gd name="connsiteX3" fmla="*/ 12418 w 12518"/>
                <a:gd name="connsiteY3" fmla="*/ 2961 h 15029"/>
                <a:gd name="connsiteX4" fmla="*/ 7969 w 12518"/>
                <a:gd name="connsiteY4" fmla="*/ 4825 h 15029"/>
                <a:gd name="connsiteX5" fmla="*/ 6486 w 12518"/>
                <a:gd name="connsiteY5" fmla="*/ 8341 h 15029"/>
                <a:gd name="connsiteX6" fmla="*/ 5003 w 12518"/>
                <a:gd name="connsiteY6" fmla="*/ 10578 h 15029"/>
                <a:gd name="connsiteX7" fmla="*/ 3697 w 12518"/>
                <a:gd name="connsiteY7" fmla="*/ 13349 h 15029"/>
                <a:gd name="connsiteX8" fmla="*/ 0 w 12518"/>
                <a:gd name="connsiteY8" fmla="*/ 15030 h 15029"/>
                <a:gd name="connsiteX9" fmla="*/ 0 w 12518"/>
                <a:gd name="connsiteY9" fmla="*/ 12062 h 15029"/>
                <a:gd name="connsiteX10" fmla="*/ 0 w 12518"/>
                <a:gd name="connsiteY10" fmla="*/ 10578 h 15029"/>
                <a:gd name="connsiteX11" fmla="*/ 2767 w 12518"/>
                <a:gd name="connsiteY11" fmla="*/ 7413 h 15029"/>
                <a:gd name="connsiteX12" fmla="*/ 6486 w 12518"/>
                <a:gd name="connsiteY12" fmla="*/ 4825 h 15029"/>
                <a:gd name="connsiteX13" fmla="*/ 6486 w 12518"/>
                <a:gd name="connsiteY13" fmla="*/ 2054 h 15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518" h="15029">
                  <a:moveTo>
                    <a:pt x="6486" y="2054"/>
                  </a:moveTo>
                  <a:lnTo>
                    <a:pt x="11112" y="0"/>
                  </a:lnTo>
                  <a:cubicBezTo>
                    <a:pt x="11732" y="246"/>
                    <a:pt x="12861" y="1013"/>
                    <a:pt x="12418" y="2054"/>
                  </a:cubicBezTo>
                  <a:cubicBezTo>
                    <a:pt x="11975" y="3102"/>
                    <a:pt x="12234" y="3094"/>
                    <a:pt x="12418" y="2961"/>
                  </a:cubicBezTo>
                  <a:cubicBezTo>
                    <a:pt x="11614" y="3587"/>
                    <a:pt x="9598" y="4825"/>
                    <a:pt x="7969" y="4825"/>
                  </a:cubicBezTo>
                  <a:cubicBezTo>
                    <a:pt x="5932" y="4825"/>
                    <a:pt x="7593" y="7413"/>
                    <a:pt x="6486" y="8341"/>
                  </a:cubicBezTo>
                  <a:cubicBezTo>
                    <a:pt x="5379" y="9270"/>
                    <a:pt x="6486" y="10578"/>
                    <a:pt x="5003" y="10578"/>
                  </a:cubicBezTo>
                  <a:cubicBezTo>
                    <a:pt x="3816" y="10578"/>
                    <a:pt x="3637" y="12420"/>
                    <a:pt x="3697" y="13349"/>
                  </a:cubicBezTo>
                  <a:lnTo>
                    <a:pt x="0" y="15030"/>
                  </a:lnTo>
                  <a:lnTo>
                    <a:pt x="0" y="12062"/>
                  </a:lnTo>
                  <a:lnTo>
                    <a:pt x="0" y="10578"/>
                  </a:lnTo>
                  <a:cubicBezTo>
                    <a:pt x="679" y="9713"/>
                    <a:pt x="2182" y="7877"/>
                    <a:pt x="2767" y="7413"/>
                  </a:cubicBezTo>
                  <a:cubicBezTo>
                    <a:pt x="3498" y="6836"/>
                    <a:pt x="4825" y="6133"/>
                    <a:pt x="6486" y="4825"/>
                  </a:cubicBezTo>
                  <a:cubicBezTo>
                    <a:pt x="7814" y="3777"/>
                    <a:pt x="7039" y="2546"/>
                    <a:pt x="6486" y="205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6" name="Freihandform: Form 61">
              <a:extLst>
                <a:ext uri="{FF2B5EF4-FFF2-40B4-BE49-F238E27FC236}">
                  <a16:creationId xmlns:a16="http://schemas.microsoft.com/office/drawing/2014/main" id="{38CE96EA-64D9-7D45-BB46-3985F8E12094}"/>
                </a:ext>
              </a:extLst>
            </p:cNvPr>
            <p:cNvSpPr/>
            <p:nvPr/>
          </p:nvSpPr>
          <p:spPr>
            <a:xfrm>
              <a:off x="3534913" y="3549712"/>
              <a:ext cx="5294" cy="2191"/>
            </a:xfrm>
            <a:custGeom>
              <a:avLst/>
              <a:gdLst>
                <a:gd name="connsiteX0" fmla="*/ 0 w 5294"/>
                <a:gd name="connsiteY0" fmla="*/ 0 h 2191"/>
                <a:gd name="connsiteX1" fmla="*/ 5180 w 5294"/>
                <a:gd name="connsiteY1" fmla="*/ 0 h 2191"/>
                <a:gd name="connsiteX2" fmla="*/ 5180 w 5294"/>
                <a:gd name="connsiteY2" fmla="*/ 1857 h 2191"/>
                <a:gd name="connsiteX3" fmla="*/ 2036 w 5294"/>
                <a:gd name="connsiteY3" fmla="*/ 1857 h 2191"/>
                <a:gd name="connsiteX4" fmla="*/ 0 w 5294"/>
                <a:gd name="connsiteY4" fmla="*/ 1857 h 2191"/>
                <a:gd name="connsiteX5" fmla="*/ 0 w 5294"/>
                <a:gd name="connsiteY5" fmla="*/ 0 h 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94" h="2191">
                  <a:moveTo>
                    <a:pt x="0" y="0"/>
                  </a:moveTo>
                  <a:lnTo>
                    <a:pt x="5180" y="0"/>
                  </a:lnTo>
                  <a:cubicBezTo>
                    <a:pt x="4936" y="366"/>
                    <a:pt x="4595" y="1259"/>
                    <a:pt x="5180" y="1857"/>
                  </a:cubicBezTo>
                  <a:cubicBezTo>
                    <a:pt x="5910" y="2609"/>
                    <a:pt x="2966" y="1857"/>
                    <a:pt x="2036" y="1857"/>
                  </a:cubicBezTo>
                  <a:lnTo>
                    <a:pt x="0" y="185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7" name="Freihandform: Form 62">
              <a:extLst>
                <a:ext uri="{FF2B5EF4-FFF2-40B4-BE49-F238E27FC236}">
                  <a16:creationId xmlns:a16="http://schemas.microsoft.com/office/drawing/2014/main" id="{72082BBB-104F-7641-AE58-CF7A037B23EE}"/>
                </a:ext>
              </a:extLst>
            </p:cNvPr>
            <p:cNvSpPr/>
            <p:nvPr/>
          </p:nvSpPr>
          <p:spPr>
            <a:xfrm>
              <a:off x="3522119" y="3556020"/>
              <a:ext cx="4449" cy="3143"/>
            </a:xfrm>
            <a:custGeom>
              <a:avLst/>
              <a:gdLst>
                <a:gd name="connsiteX0" fmla="*/ 0 w 4449"/>
                <a:gd name="connsiteY0" fmla="*/ 1660 h 3143"/>
                <a:gd name="connsiteX1" fmla="*/ 2590 w 4449"/>
                <a:gd name="connsiteY1" fmla="*/ 0 h 3143"/>
                <a:gd name="connsiteX2" fmla="*/ 4449 w 4449"/>
                <a:gd name="connsiteY2" fmla="*/ 1660 h 3143"/>
                <a:gd name="connsiteX3" fmla="*/ 3334 w 4449"/>
                <a:gd name="connsiteY3" fmla="*/ 1660 h 3143"/>
                <a:gd name="connsiteX4" fmla="*/ 1107 w 4449"/>
                <a:gd name="connsiteY4" fmla="*/ 3144 h 3143"/>
                <a:gd name="connsiteX5" fmla="*/ 0 w 4449"/>
                <a:gd name="connsiteY5" fmla="*/ 1660 h 3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49" h="3143">
                  <a:moveTo>
                    <a:pt x="0" y="1660"/>
                  </a:moveTo>
                  <a:lnTo>
                    <a:pt x="2590" y="0"/>
                  </a:lnTo>
                  <a:lnTo>
                    <a:pt x="4449" y="1660"/>
                  </a:lnTo>
                  <a:lnTo>
                    <a:pt x="3334" y="1660"/>
                  </a:lnTo>
                  <a:lnTo>
                    <a:pt x="1107" y="3144"/>
                  </a:lnTo>
                  <a:lnTo>
                    <a:pt x="0" y="166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8" name="Freihandform: Form 63">
              <a:extLst>
                <a:ext uri="{FF2B5EF4-FFF2-40B4-BE49-F238E27FC236}">
                  <a16:creationId xmlns:a16="http://schemas.microsoft.com/office/drawing/2014/main" id="{039394A2-7F8B-2549-B951-59DE29AB9A3D}"/>
                </a:ext>
              </a:extLst>
            </p:cNvPr>
            <p:cNvSpPr/>
            <p:nvPr/>
          </p:nvSpPr>
          <p:spPr>
            <a:xfrm>
              <a:off x="3455203" y="3563433"/>
              <a:ext cx="16867" cy="9554"/>
            </a:xfrm>
            <a:custGeom>
              <a:avLst/>
              <a:gdLst>
                <a:gd name="connsiteX0" fmla="*/ 13525 w 16867"/>
                <a:gd name="connsiteY0" fmla="*/ 3875 h 9554"/>
                <a:gd name="connsiteX1" fmla="*/ 14831 w 16867"/>
                <a:gd name="connsiteY1" fmla="*/ 0 h 9554"/>
                <a:gd name="connsiteX2" fmla="*/ 16867 w 16867"/>
                <a:gd name="connsiteY2" fmla="*/ 0 h 9554"/>
                <a:gd name="connsiteX3" fmla="*/ 16867 w 16867"/>
                <a:gd name="connsiteY3" fmla="*/ 3875 h 9554"/>
                <a:gd name="connsiteX4" fmla="*/ 16867 w 16867"/>
                <a:gd name="connsiteY4" fmla="*/ 6288 h 9554"/>
                <a:gd name="connsiteX5" fmla="*/ 12595 w 16867"/>
                <a:gd name="connsiteY5" fmla="*/ 8897 h 9554"/>
                <a:gd name="connsiteX6" fmla="*/ 7592 w 16867"/>
                <a:gd name="connsiteY6" fmla="*/ 8897 h 9554"/>
                <a:gd name="connsiteX7" fmla="*/ 3143 w 16867"/>
                <a:gd name="connsiteY7" fmla="*/ 8897 h 9554"/>
                <a:gd name="connsiteX8" fmla="*/ 0 w 16867"/>
                <a:gd name="connsiteY8" fmla="*/ 7420 h 9554"/>
                <a:gd name="connsiteX9" fmla="*/ 3143 w 16867"/>
                <a:gd name="connsiteY9" fmla="*/ 7420 h 9554"/>
                <a:gd name="connsiteX10" fmla="*/ 10005 w 16867"/>
                <a:gd name="connsiteY10" fmla="*/ 6288 h 9554"/>
                <a:gd name="connsiteX11" fmla="*/ 13525 w 16867"/>
                <a:gd name="connsiteY11" fmla="*/ 3875 h 9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67" h="9554">
                  <a:moveTo>
                    <a:pt x="13525" y="3875"/>
                  </a:moveTo>
                  <a:cubicBezTo>
                    <a:pt x="13835" y="2954"/>
                    <a:pt x="14530" y="886"/>
                    <a:pt x="14831" y="0"/>
                  </a:cubicBezTo>
                  <a:lnTo>
                    <a:pt x="16867" y="0"/>
                  </a:lnTo>
                  <a:lnTo>
                    <a:pt x="16867" y="3875"/>
                  </a:lnTo>
                  <a:lnTo>
                    <a:pt x="16867" y="6288"/>
                  </a:lnTo>
                  <a:cubicBezTo>
                    <a:pt x="15753" y="6667"/>
                    <a:pt x="13339" y="7715"/>
                    <a:pt x="12595" y="8897"/>
                  </a:cubicBezTo>
                  <a:cubicBezTo>
                    <a:pt x="11851" y="10085"/>
                    <a:pt x="8950" y="9396"/>
                    <a:pt x="7592" y="8897"/>
                  </a:cubicBezTo>
                  <a:cubicBezTo>
                    <a:pt x="6419" y="8960"/>
                    <a:pt x="3887" y="9045"/>
                    <a:pt x="3143" y="8897"/>
                  </a:cubicBezTo>
                  <a:cubicBezTo>
                    <a:pt x="2400" y="8756"/>
                    <a:pt x="738" y="7849"/>
                    <a:pt x="0" y="7420"/>
                  </a:cubicBezTo>
                  <a:lnTo>
                    <a:pt x="3143" y="7420"/>
                  </a:lnTo>
                  <a:cubicBezTo>
                    <a:pt x="4995" y="7167"/>
                    <a:pt x="8960" y="6590"/>
                    <a:pt x="10005" y="6288"/>
                  </a:cubicBezTo>
                  <a:cubicBezTo>
                    <a:pt x="11050" y="5985"/>
                    <a:pt x="12787" y="4550"/>
                    <a:pt x="13525" y="387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9" name="Freihandform: Form 64">
              <a:extLst>
                <a:ext uri="{FF2B5EF4-FFF2-40B4-BE49-F238E27FC236}">
                  <a16:creationId xmlns:a16="http://schemas.microsoft.com/office/drawing/2014/main" id="{0B854B26-F1EB-EA4C-B40C-FFEEB0CDE74C}"/>
                </a:ext>
              </a:extLst>
            </p:cNvPr>
            <p:cNvSpPr/>
            <p:nvPr/>
          </p:nvSpPr>
          <p:spPr>
            <a:xfrm>
              <a:off x="3475766" y="3569218"/>
              <a:ext cx="12418" cy="3112"/>
            </a:xfrm>
            <a:custGeom>
              <a:avLst/>
              <a:gdLst>
                <a:gd name="connsiteX0" fmla="*/ 5003 w 12418"/>
                <a:gd name="connsiteY0" fmla="*/ 503 h 3112"/>
                <a:gd name="connsiteX1" fmla="*/ 0 w 12418"/>
                <a:gd name="connsiteY1" fmla="*/ 503 h 3112"/>
                <a:gd name="connsiteX2" fmla="*/ 3719 w 12418"/>
                <a:gd name="connsiteY2" fmla="*/ 1636 h 3112"/>
                <a:gd name="connsiteX3" fmla="*/ 6862 w 12418"/>
                <a:gd name="connsiteY3" fmla="*/ 3112 h 3112"/>
                <a:gd name="connsiteX4" fmla="*/ 12418 w 12418"/>
                <a:gd name="connsiteY4" fmla="*/ 503 h 3112"/>
                <a:gd name="connsiteX5" fmla="*/ 8898 w 12418"/>
                <a:gd name="connsiteY5" fmla="*/ 503 h 3112"/>
                <a:gd name="connsiteX6" fmla="*/ 5003 w 12418"/>
                <a:gd name="connsiteY6" fmla="*/ 503 h 3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18" h="3112">
                  <a:moveTo>
                    <a:pt x="5003" y="503"/>
                  </a:moveTo>
                  <a:lnTo>
                    <a:pt x="0" y="503"/>
                  </a:lnTo>
                  <a:cubicBezTo>
                    <a:pt x="930" y="503"/>
                    <a:pt x="2975" y="728"/>
                    <a:pt x="3719" y="1636"/>
                  </a:cubicBezTo>
                  <a:cubicBezTo>
                    <a:pt x="4462" y="2536"/>
                    <a:pt x="6124" y="3000"/>
                    <a:pt x="6862" y="3112"/>
                  </a:cubicBezTo>
                  <a:cubicBezTo>
                    <a:pt x="8714" y="2620"/>
                    <a:pt x="12418" y="1403"/>
                    <a:pt x="12418" y="503"/>
                  </a:cubicBezTo>
                  <a:cubicBezTo>
                    <a:pt x="12418" y="-629"/>
                    <a:pt x="10005" y="503"/>
                    <a:pt x="8898" y="503"/>
                  </a:cubicBezTo>
                  <a:lnTo>
                    <a:pt x="5003" y="50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0" name="Freihandform: Form 65">
              <a:extLst>
                <a:ext uri="{FF2B5EF4-FFF2-40B4-BE49-F238E27FC236}">
                  <a16:creationId xmlns:a16="http://schemas.microsoft.com/office/drawing/2014/main" id="{A25D4E21-50D7-3E49-95A1-1B11C08FE899}"/>
                </a:ext>
              </a:extLst>
            </p:cNvPr>
            <p:cNvSpPr/>
            <p:nvPr/>
          </p:nvSpPr>
          <p:spPr>
            <a:xfrm>
              <a:off x="3430167" y="3576029"/>
              <a:ext cx="11400" cy="4627"/>
            </a:xfrm>
            <a:custGeom>
              <a:avLst/>
              <a:gdLst>
                <a:gd name="connsiteX0" fmla="*/ 0 w 11400"/>
                <a:gd name="connsiteY0" fmla="*/ 2237 h 4627"/>
                <a:gd name="connsiteX1" fmla="*/ 2037 w 11400"/>
                <a:gd name="connsiteY1" fmla="*/ 0 h 4627"/>
                <a:gd name="connsiteX2" fmla="*/ 9651 w 11400"/>
                <a:gd name="connsiteY2" fmla="*/ 0 h 4627"/>
                <a:gd name="connsiteX3" fmla="*/ 9651 w 11400"/>
                <a:gd name="connsiteY3" fmla="*/ 2237 h 4627"/>
                <a:gd name="connsiteX4" fmla="*/ 8168 w 11400"/>
                <a:gd name="connsiteY4" fmla="*/ 4628 h 4627"/>
                <a:gd name="connsiteX5" fmla="*/ 0 w 11400"/>
                <a:gd name="connsiteY5" fmla="*/ 4628 h 4627"/>
                <a:gd name="connsiteX6" fmla="*/ 0 w 11400"/>
                <a:gd name="connsiteY6" fmla="*/ 2237 h 4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00" h="4627">
                  <a:moveTo>
                    <a:pt x="0" y="2237"/>
                  </a:moveTo>
                  <a:lnTo>
                    <a:pt x="2037" y="0"/>
                  </a:lnTo>
                  <a:lnTo>
                    <a:pt x="9651" y="0"/>
                  </a:lnTo>
                  <a:cubicBezTo>
                    <a:pt x="13193" y="0"/>
                    <a:pt x="10381" y="2237"/>
                    <a:pt x="9651" y="2237"/>
                  </a:cubicBezTo>
                  <a:cubicBezTo>
                    <a:pt x="9067" y="2237"/>
                    <a:pt x="8419" y="3826"/>
                    <a:pt x="8168" y="4628"/>
                  </a:cubicBezTo>
                  <a:lnTo>
                    <a:pt x="0" y="4628"/>
                  </a:lnTo>
                  <a:lnTo>
                    <a:pt x="0" y="223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1" name="Freihandform: Form 66">
              <a:extLst>
                <a:ext uri="{FF2B5EF4-FFF2-40B4-BE49-F238E27FC236}">
                  <a16:creationId xmlns:a16="http://schemas.microsoft.com/office/drawing/2014/main" id="{23BDFF9A-7484-D042-A033-83E23B0149DD}"/>
                </a:ext>
              </a:extLst>
            </p:cNvPr>
            <p:cNvSpPr/>
            <p:nvPr/>
          </p:nvSpPr>
          <p:spPr>
            <a:xfrm>
              <a:off x="3411390" y="3578266"/>
              <a:ext cx="4875" cy="3338"/>
            </a:xfrm>
            <a:custGeom>
              <a:avLst/>
              <a:gdLst>
                <a:gd name="connsiteX0" fmla="*/ 50 w 4875"/>
                <a:gd name="connsiteY0" fmla="*/ 2391 h 3338"/>
                <a:gd name="connsiteX1" fmla="*/ 3570 w 4875"/>
                <a:gd name="connsiteY1" fmla="*/ 0 h 3338"/>
                <a:gd name="connsiteX2" fmla="*/ 4876 w 4875"/>
                <a:gd name="connsiteY2" fmla="*/ 1104 h 3338"/>
                <a:gd name="connsiteX3" fmla="*/ 3570 w 4875"/>
                <a:gd name="connsiteY3" fmla="*/ 3320 h 3338"/>
                <a:gd name="connsiteX4" fmla="*/ 50 w 4875"/>
                <a:gd name="connsiteY4" fmla="*/ 2391 h 3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5" h="3338">
                  <a:moveTo>
                    <a:pt x="50" y="2391"/>
                  </a:moveTo>
                  <a:cubicBezTo>
                    <a:pt x="-393" y="2391"/>
                    <a:pt x="2212" y="795"/>
                    <a:pt x="3570" y="0"/>
                  </a:cubicBezTo>
                  <a:lnTo>
                    <a:pt x="4876" y="1104"/>
                  </a:lnTo>
                  <a:cubicBezTo>
                    <a:pt x="4691" y="1786"/>
                    <a:pt x="4172" y="3179"/>
                    <a:pt x="3570" y="3320"/>
                  </a:cubicBezTo>
                  <a:cubicBezTo>
                    <a:pt x="2817" y="3495"/>
                    <a:pt x="603" y="2391"/>
                    <a:pt x="50" y="239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2" name="Freihandform: Form 67">
              <a:extLst>
                <a:ext uri="{FF2B5EF4-FFF2-40B4-BE49-F238E27FC236}">
                  <a16:creationId xmlns:a16="http://schemas.microsoft.com/office/drawing/2014/main" id="{1ED9A282-F628-9044-9394-A42B009BF1AB}"/>
                </a:ext>
              </a:extLst>
            </p:cNvPr>
            <p:cNvSpPr/>
            <p:nvPr/>
          </p:nvSpPr>
          <p:spPr>
            <a:xfrm>
              <a:off x="3341935" y="3570853"/>
              <a:ext cx="32107" cy="18500"/>
            </a:xfrm>
            <a:custGeom>
              <a:avLst/>
              <a:gdLst>
                <a:gd name="connsiteX0" fmla="*/ 0 w 32107"/>
                <a:gd name="connsiteY0" fmla="*/ 2961 h 18500"/>
                <a:gd name="connsiteX1" fmla="*/ 3143 w 32107"/>
                <a:gd name="connsiteY1" fmla="*/ 0 h 18500"/>
                <a:gd name="connsiteX2" fmla="*/ 18727 w 32107"/>
                <a:gd name="connsiteY2" fmla="*/ 10732 h 18500"/>
                <a:gd name="connsiteX3" fmla="*/ 27249 w 32107"/>
                <a:gd name="connsiteY3" fmla="*/ 14629 h 18500"/>
                <a:gd name="connsiteX4" fmla="*/ 31698 w 32107"/>
                <a:gd name="connsiteY4" fmla="*/ 17597 h 18500"/>
                <a:gd name="connsiteX5" fmla="*/ 25943 w 32107"/>
                <a:gd name="connsiteY5" fmla="*/ 17597 h 18500"/>
                <a:gd name="connsiteX6" fmla="*/ 18727 w 32107"/>
                <a:gd name="connsiteY6" fmla="*/ 10732 h 18500"/>
                <a:gd name="connsiteX7" fmla="*/ 3143 w 32107"/>
                <a:gd name="connsiteY7" fmla="*/ 0 h 18500"/>
                <a:gd name="connsiteX8" fmla="*/ 4449 w 32107"/>
                <a:gd name="connsiteY8" fmla="*/ 2961 h 18500"/>
                <a:gd name="connsiteX9" fmla="*/ 3143 w 32107"/>
                <a:gd name="connsiteY9" fmla="*/ 5176 h 18500"/>
                <a:gd name="connsiteX10" fmla="*/ 0 w 32107"/>
                <a:gd name="connsiteY10" fmla="*/ 5176 h 18500"/>
                <a:gd name="connsiteX11" fmla="*/ 0 w 32107"/>
                <a:gd name="connsiteY11" fmla="*/ 2961 h 1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107" h="18500">
                  <a:moveTo>
                    <a:pt x="0" y="2961"/>
                  </a:moveTo>
                  <a:lnTo>
                    <a:pt x="3143" y="0"/>
                  </a:lnTo>
                  <a:cubicBezTo>
                    <a:pt x="7969" y="3573"/>
                    <a:pt x="17841" y="10732"/>
                    <a:pt x="18727" y="10732"/>
                  </a:cubicBezTo>
                  <a:cubicBezTo>
                    <a:pt x="19612" y="10732"/>
                    <a:pt x="24777" y="13328"/>
                    <a:pt x="27249" y="14629"/>
                  </a:cubicBezTo>
                  <a:cubicBezTo>
                    <a:pt x="28053" y="15620"/>
                    <a:pt x="30069" y="17597"/>
                    <a:pt x="31698" y="17597"/>
                  </a:cubicBezTo>
                  <a:cubicBezTo>
                    <a:pt x="33735" y="17597"/>
                    <a:pt x="27603" y="19629"/>
                    <a:pt x="25943" y="17597"/>
                  </a:cubicBezTo>
                  <a:cubicBezTo>
                    <a:pt x="24615" y="15965"/>
                    <a:pt x="20579" y="12343"/>
                    <a:pt x="18727" y="10732"/>
                  </a:cubicBezTo>
                  <a:cubicBezTo>
                    <a:pt x="17841" y="10732"/>
                    <a:pt x="7969" y="3573"/>
                    <a:pt x="3143" y="0"/>
                  </a:cubicBezTo>
                  <a:cubicBezTo>
                    <a:pt x="3579" y="492"/>
                    <a:pt x="4449" y="1779"/>
                    <a:pt x="4449" y="2961"/>
                  </a:cubicBezTo>
                  <a:cubicBezTo>
                    <a:pt x="4449" y="4149"/>
                    <a:pt x="3579" y="4930"/>
                    <a:pt x="3143" y="5176"/>
                  </a:cubicBezTo>
                  <a:lnTo>
                    <a:pt x="0" y="5176"/>
                  </a:lnTo>
                  <a:lnTo>
                    <a:pt x="0" y="296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3" name="Freihandform: Form 68">
              <a:extLst>
                <a:ext uri="{FF2B5EF4-FFF2-40B4-BE49-F238E27FC236}">
                  <a16:creationId xmlns:a16="http://schemas.microsoft.com/office/drawing/2014/main" id="{E5A52046-DAD3-7C43-A5A6-6E2AB89E592E}"/>
                </a:ext>
              </a:extLst>
            </p:cNvPr>
            <p:cNvSpPr/>
            <p:nvPr/>
          </p:nvSpPr>
          <p:spPr>
            <a:xfrm>
              <a:off x="3573871" y="3340753"/>
              <a:ext cx="28580" cy="15268"/>
            </a:xfrm>
            <a:custGeom>
              <a:avLst/>
              <a:gdLst>
                <a:gd name="connsiteX0" fmla="*/ 26120 w 28580"/>
                <a:gd name="connsiteY0" fmla="*/ 2208 h 15268"/>
                <a:gd name="connsiteX1" fmla="*/ 22047 w 28580"/>
                <a:gd name="connsiteY1" fmla="*/ 0 h 15268"/>
                <a:gd name="connsiteX2" fmla="*/ 18683 w 28580"/>
                <a:gd name="connsiteY2" fmla="*/ 0 h 15268"/>
                <a:gd name="connsiteX3" fmla="*/ 14920 w 28580"/>
                <a:gd name="connsiteY3" fmla="*/ 703 h 15268"/>
                <a:gd name="connsiteX4" fmla="*/ 13370 w 28580"/>
                <a:gd name="connsiteY4" fmla="*/ 2940 h 15268"/>
                <a:gd name="connsiteX5" fmla="*/ 7217 w 28580"/>
                <a:gd name="connsiteY5" fmla="*/ 4424 h 15268"/>
                <a:gd name="connsiteX6" fmla="*/ 1462 w 28580"/>
                <a:gd name="connsiteY6" fmla="*/ 4424 h 15268"/>
                <a:gd name="connsiteX7" fmla="*/ 1462 w 28580"/>
                <a:gd name="connsiteY7" fmla="*/ 6238 h 15268"/>
                <a:gd name="connsiteX8" fmla="*/ 4826 w 28580"/>
                <a:gd name="connsiteY8" fmla="*/ 10775 h 15268"/>
                <a:gd name="connsiteX9" fmla="*/ 9164 w 28580"/>
                <a:gd name="connsiteY9" fmla="*/ 13433 h 15268"/>
                <a:gd name="connsiteX10" fmla="*/ 14920 w 28580"/>
                <a:gd name="connsiteY10" fmla="*/ 15269 h 15268"/>
                <a:gd name="connsiteX11" fmla="*/ 21206 w 28580"/>
                <a:gd name="connsiteY11" fmla="*/ 15269 h 15268"/>
                <a:gd name="connsiteX12" fmla="*/ 27869 w 28580"/>
                <a:gd name="connsiteY12" fmla="*/ 13433 h 15268"/>
                <a:gd name="connsiteX13" fmla="*/ 28489 w 28580"/>
                <a:gd name="connsiteY13" fmla="*/ 10775 h 15268"/>
                <a:gd name="connsiteX14" fmla="*/ 26807 w 28580"/>
                <a:gd name="connsiteY14" fmla="*/ 5310 h 15268"/>
                <a:gd name="connsiteX15" fmla="*/ 26120 w 28580"/>
                <a:gd name="connsiteY15" fmla="*/ 2208 h 1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580" h="15268">
                  <a:moveTo>
                    <a:pt x="26120" y="2208"/>
                  </a:moveTo>
                  <a:cubicBezTo>
                    <a:pt x="25987" y="2208"/>
                    <a:pt x="23043" y="837"/>
                    <a:pt x="22047" y="0"/>
                  </a:cubicBezTo>
                  <a:lnTo>
                    <a:pt x="18683" y="0"/>
                  </a:lnTo>
                  <a:cubicBezTo>
                    <a:pt x="17974" y="0"/>
                    <a:pt x="16026" y="703"/>
                    <a:pt x="14920" y="703"/>
                  </a:cubicBezTo>
                  <a:cubicBezTo>
                    <a:pt x="13813" y="703"/>
                    <a:pt x="13923" y="2208"/>
                    <a:pt x="13370" y="2940"/>
                  </a:cubicBezTo>
                  <a:cubicBezTo>
                    <a:pt x="12817" y="3671"/>
                    <a:pt x="8323" y="4424"/>
                    <a:pt x="7217" y="4424"/>
                  </a:cubicBezTo>
                  <a:lnTo>
                    <a:pt x="1462" y="4424"/>
                  </a:lnTo>
                  <a:cubicBezTo>
                    <a:pt x="-1903" y="4424"/>
                    <a:pt x="1616" y="5310"/>
                    <a:pt x="1462" y="6238"/>
                  </a:cubicBezTo>
                  <a:cubicBezTo>
                    <a:pt x="1306" y="7167"/>
                    <a:pt x="3719" y="9248"/>
                    <a:pt x="4826" y="10775"/>
                  </a:cubicBezTo>
                  <a:cubicBezTo>
                    <a:pt x="5932" y="12308"/>
                    <a:pt x="7902" y="12659"/>
                    <a:pt x="9164" y="13433"/>
                  </a:cubicBezTo>
                  <a:cubicBezTo>
                    <a:pt x="10426" y="14207"/>
                    <a:pt x="11555" y="15269"/>
                    <a:pt x="14920" y="15269"/>
                  </a:cubicBezTo>
                  <a:lnTo>
                    <a:pt x="21206" y="15269"/>
                  </a:lnTo>
                  <a:cubicBezTo>
                    <a:pt x="22180" y="15269"/>
                    <a:pt x="26807" y="14277"/>
                    <a:pt x="27869" y="13433"/>
                  </a:cubicBezTo>
                  <a:cubicBezTo>
                    <a:pt x="28932" y="12589"/>
                    <a:pt x="28489" y="12041"/>
                    <a:pt x="28489" y="10775"/>
                  </a:cubicBezTo>
                  <a:cubicBezTo>
                    <a:pt x="28489" y="9516"/>
                    <a:pt x="27382" y="7413"/>
                    <a:pt x="26807" y="5310"/>
                  </a:cubicBezTo>
                  <a:cubicBezTo>
                    <a:pt x="26231" y="3207"/>
                    <a:pt x="26253" y="2208"/>
                    <a:pt x="26120" y="220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4" name="Freihandform: Form 69">
              <a:extLst>
                <a:ext uri="{FF2B5EF4-FFF2-40B4-BE49-F238E27FC236}">
                  <a16:creationId xmlns:a16="http://schemas.microsoft.com/office/drawing/2014/main" id="{57A3D36B-D138-2E4B-9A6A-91D6BB5BDC2F}"/>
                </a:ext>
              </a:extLst>
            </p:cNvPr>
            <p:cNvSpPr/>
            <p:nvPr/>
          </p:nvSpPr>
          <p:spPr>
            <a:xfrm>
              <a:off x="3505942" y="3228991"/>
              <a:ext cx="49067" cy="28232"/>
            </a:xfrm>
            <a:custGeom>
              <a:avLst/>
              <a:gdLst>
                <a:gd name="connsiteX0" fmla="*/ 8495 w 49067"/>
                <a:gd name="connsiteY0" fmla="*/ 5064 h 28232"/>
                <a:gd name="connsiteX1" fmla="*/ 3692 w 49067"/>
                <a:gd name="connsiteY1" fmla="*/ 0 h 28232"/>
                <a:gd name="connsiteX2" fmla="*/ 2164 w 49067"/>
                <a:gd name="connsiteY2" fmla="*/ 1259 h 28232"/>
                <a:gd name="connsiteX3" fmla="*/ 394 w 49067"/>
                <a:gd name="connsiteY3" fmla="*/ 3784 h 28232"/>
                <a:gd name="connsiteX4" fmla="*/ 394 w 49067"/>
                <a:gd name="connsiteY4" fmla="*/ 8848 h 28232"/>
                <a:gd name="connsiteX5" fmla="*/ 2807 w 49067"/>
                <a:gd name="connsiteY5" fmla="*/ 12146 h 28232"/>
                <a:gd name="connsiteX6" fmla="*/ 8375 w 49067"/>
                <a:gd name="connsiteY6" fmla="*/ 13546 h 28232"/>
                <a:gd name="connsiteX7" fmla="*/ 8495 w 49067"/>
                <a:gd name="connsiteY7" fmla="*/ 13546 h 28232"/>
                <a:gd name="connsiteX8" fmla="*/ 13188 w 49067"/>
                <a:gd name="connsiteY8" fmla="*/ 12146 h 28232"/>
                <a:gd name="connsiteX9" fmla="*/ 17881 w 49067"/>
                <a:gd name="connsiteY9" fmla="*/ 12146 h 28232"/>
                <a:gd name="connsiteX10" fmla="*/ 25230 w 49067"/>
                <a:gd name="connsiteY10" fmla="*/ 16197 h 28232"/>
                <a:gd name="connsiteX11" fmla="*/ 27244 w 49067"/>
                <a:gd name="connsiteY11" fmla="*/ 18989 h 28232"/>
                <a:gd name="connsiteX12" fmla="*/ 31937 w 49067"/>
                <a:gd name="connsiteY12" fmla="*/ 26585 h 28232"/>
                <a:gd name="connsiteX13" fmla="*/ 34837 w 49067"/>
                <a:gd name="connsiteY13" fmla="*/ 27978 h 28232"/>
                <a:gd name="connsiteX14" fmla="*/ 36740 w 49067"/>
                <a:gd name="connsiteY14" fmla="*/ 24391 h 28232"/>
                <a:gd name="connsiteX15" fmla="*/ 38776 w 49067"/>
                <a:gd name="connsiteY15" fmla="*/ 22154 h 28232"/>
                <a:gd name="connsiteX16" fmla="*/ 41677 w 49067"/>
                <a:gd name="connsiteY16" fmla="*/ 20515 h 28232"/>
                <a:gd name="connsiteX17" fmla="*/ 48782 w 49067"/>
                <a:gd name="connsiteY17" fmla="*/ 18989 h 28232"/>
                <a:gd name="connsiteX18" fmla="*/ 48782 w 49067"/>
                <a:gd name="connsiteY18" fmla="*/ 16844 h 28232"/>
                <a:gd name="connsiteX19" fmla="*/ 44355 w 49067"/>
                <a:gd name="connsiteY19" fmla="*/ 14805 h 28232"/>
                <a:gd name="connsiteX20" fmla="*/ 37382 w 49067"/>
                <a:gd name="connsiteY20" fmla="*/ 13546 h 28232"/>
                <a:gd name="connsiteX21" fmla="*/ 31937 w 49067"/>
                <a:gd name="connsiteY21" fmla="*/ 9495 h 28232"/>
                <a:gd name="connsiteX22" fmla="*/ 28262 w 49067"/>
                <a:gd name="connsiteY22" fmla="*/ 5064 h 28232"/>
                <a:gd name="connsiteX23" fmla="*/ 25230 w 49067"/>
                <a:gd name="connsiteY23" fmla="*/ 4424 h 28232"/>
                <a:gd name="connsiteX24" fmla="*/ 20780 w 49067"/>
                <a:gd name="connsiteY24" fmla="*/ 5064 h 28232"/>
                <a:gd name="connsiteX25" fmla="*/ 15601 w 49067"/>
                <a:gd name="connsiteY25" fmla="*/ 6836 h 28232"/>
                <a:gd name="connsiteX26" fmla="*/ 8516 w 49067"/>
                <a:gd name="connsiteY26" fmla="*/ 5071 h 28232"/>
                <a:gd name="connsiteX27" fmla="*/ 8495 w 49067"/>
                <a:gd name="connsiteY27" fmla="*/ 5064 h 28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067" h="28232">
                  <a:moveTo>
                    <a:pt x="8495" y="5064"/>
                  </a:moveTo>
                  <a:cubicBezTo>
                    <a:pt x="5950" y="4178"/>
                    <a:pt x="4821" y="2898"/>
                    <a:pt x="3692" y="0"/>
                  </a:cubicBezTo>
                  <a:cubicBezTo>
                    <a:pt x="3397" y="0"/>
                    <a:pt x="2678" y="246"/>
                    <a:pt x="2164" y="1259"/>
                  </a:cubicBezTo>
                  <a:cubicBezTo>
                    <a:pt x="1522" y="2518"/>
                    <a:pt x="1279" y="2384"/>
                    <a:pt x="394" y="3784"/>
                  </a:cubicBezTo>
                  <a:cubicBezTo>
                    <a:pt x="-492" y="5176"/>
                    <a:pt x="394" y="6836"/>
                    <a:pt x="394" y="8848"/>
                  </a:cubicBezTo>
                  <a:cubicBezTo>
                    <a:pt x="394" y="10866"/>
                    <a:pt x="1146" y="10732"/>
                    <a:pt x="2807" y="12146"/>
                  </a:cubicBezTo>
                  <a:cubicBezTo>
                    <a:pt x="4441" y="13546"/>
                    <a:pt x="5797" y="13546"/>
                    <a:pt x="8375" y="13546"/>
                  </a:cubicBezTo>
                  <a:lnTo>
                    <a:pt x="8495" y="13546"/>
                  </a:lnTo>
                  <a:cubicBezTo>
                    <a:pt x="11151" y="13546"/>
                    <a:pt x="9513" y="12146"/>
                    <a:pt x="13188" y="12146"/>
                  </a:cubicBezTo>
                  <a:cubicBezTo>
                    <a:pt x="16863" y="12146"/>
                    <a:pt x="16486" y="11506"/>
                    <a:pt x="17881" y="12146"/>
                  </a:cubicBezTo>
                  <a:cubicBezTo>
                    <a:pt x="19275" y="12793"/>
                    <a:pt x="21666" y="14805"/>
                    <a:pt x="25230" y="16197"/>
                  </a:cubicBezTo>
                  <a:cubicBezTo>
                    <a:pt x="28794" y="17597"/>
                    <a:pt x="25850" y="17351"/>
                    <a:pt x="27244" y="18989"/>
                  </a:cubicBezTo>
                  <a:cubicBezTo>
                    <a:pt x="28639" y="20628"/>
                    <a:pt x="31937" y="24391"/>
                    <a:pt x="31937" y="26585"/>
                  </a:cubicBezTo>
                  <a:cubicBezTo>
                    <a:pt x="31937" y="28772"/>
                    <a:pt x="33331" y="28245"/>
                    <a:pt x="34837" y="27978"/>
                  </a:cubicBezTo>
                  <a:cubicBezTo>
                    <a:pt x="36342" y="27710"/>
                    <a:pt x="36630" y="25832"/>
                    <a:pt x="36740" y="24391"/>
                  </a:cubicBezTo>
                  <a:cubicBezTo>
                    <a:pt x="36851" y="22949"/>
                    <a:pt x="37382" y="22998"/>
                    <a:pt x="38776" y="22154"/>
                  </a:cubicBezTo>
                  <a:cubicBezTo>
                    <a:pt x="40171" y="21310"/>
                    <a:pt x="41057" y="20515"/>
                    <a:pt x="41677" y="20515"/>
                  </a:cubicBezTo>
                  <a:cubicBezTo>
                    <a:pt x="42296" y="20515"/>
                    <a:pt x="48140" y="19629"/>
                    <a:pt x="48782" y="18989"/>
                  </a:cubicBezTo>
                  <a:cubicBezTo>
                    <a:pt x="49424" y="18349"/>
                    <a:pt x="48782" y="17969"/>
                    <a:pt x="48782" y="16844"/>
                  </a:cubicBezTo>
                  <a:cubicBezTo>
                    <a:pt x="48782" y="15712"/>
                    <a:pt x="45993" y="15072"/>
                    <a:pt x="44355" y="14805"/>
                  </a:cubicBezTo>
                  <a:cubicBezTo>
                    <a:pt x="42717" y="14537"/>
                    <a:pt x="39795" y="14165"/>
                    <a:pt x="37382" y="13546"/>
                  </a:cubicBezTo>
                  <a:cubicBezTo>
                    <a:pt x="34969" y="12927"/>
                    <a:pt x="33066" y="10732"/>
                    <a:pt x="31937" y="9495"/>
                  </a:cubicBezTo>
                  <a:cubicBezTo>
                    <a:pt x="30808" y="8257"/>
                    <a:pt x="29524" y="6836"/>
                    <a:pt x="28262" y="5064"/>
                  </a:cubicBezTo>
                  <a:cubicBezTo>
                    <a:pt x="27000" y="3299"/>
                    <a:pt x="26735" y="5064"/>
                    <a:pt x="25230" y="4424"/>
                  </a:cubicBezTo>
                  <a:cubicBezTo>
                    <a:pt x="23724" y="3784"/>
                    <a:pt x="23570" y="5064"/>
                    <a:pt x="20780" y="5064"/>
                  </a:cubicBezTo>
                  <a:cubicBezTo>
                    <a:pt x="17992" y="5064"/>
                    <a:pt x="17239" y="6703"/>
                    <a:pt x="15601" y="6836"/>
                  </a:cubicBezTo>
                  <a:cubicBezTo>
                    <a:pt x="13967" y="6970"/>
                    <a:pt x="11057" y="5957"/>
                    <a:pt x="8516" y="5071"/>
                  </a:cubicBezTo>
                  <a:lnTo>
                    <a:pt x="8495" y="506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5" name="Freihandform: Form 70">
              <a:extLst>
                <a:ext uri="{FF2B5EF4-FFF2-40B4-BE49-F238E27FC236}">
                  <a16:creationId xmlns:a16="http://schemas.microsoft.com/office/drawing/2014/main" id="{8AFA510D-73A1-F04D-99C8-FD8F72CABEBB}"/>
                </a:ext>
              </a:extLst>
            </p:cNvPr>
            <p:cNvSpPr/>
            <p:nvPr/>
          </p:nvSpPr>
          <p:spPr>
            <a:xfrm>
              <a:off x="4101993" y="3516148"/>
              <a:ext cx="34066" cy="58783"/>
            </a:xfrm>
            <a:custGeom>
              <a:avLst/>
              <a:gdLst>
                <a:gd name="connsiteX0" fmla="*/ 16440 w 34066"/>
                <a:gd name="connsiteY0" fmla="*/ 4074 h 58783"/>
                <a:gd name="connsiteX1" fmla="*/ 2803 w 34066"/>
                <a:gd name="connsiteY1" fmla="*/ 157 h 58783"/>
                <a:gd name="connsiteX2" fmla="*/ 32 w 34066"/>
                <a:gd name="connsiteY2" fmla="*/ 4074 h 58783"/>
                <a:gd name="connsiteX3" fmla="*/ 1410 w 34066"/>
                <a:gd name="connsiteY3" fmla="*/ 14258 h 58783"/>
                <a:gd name="connsiteX4" fmla="*/ 4420 w 34066"/>
                <a:gd name="connsiteY4" fmla="*/ 20722 h 58783"/>
                <a:gd name="connsiteX5" fmla="*/ 10419 w 34066"/>
                <a:gd name="connsiteY5" fmla="*/ 32966 h 58783"/>
                <a:gd name="connsiteX6" fmla="*/ 20357 w 34066"/>
                <a:gd name="connsiteY6" fmla="*/ 44761 h 58783"/>
                <a:gd name="connsiteX7" fmla="*/ 28213 w 34066"/>
                <a:gd name="connsiteY7" fmla="*/ 54459 h 58783"/>
                <a:gd name="connsiteX8" fmla="*/ 33551 w 34066"/>
                <a:gd name="connsiteY8" fmla="*/ 58623 h 58783"/>
                <a:gd name="connsiteX9" fmla="*/ 33551 w 34066"/>
                <a:gd name="connsiteY9" fmla="*/ 49613 h 58783"/>
                <a:gd name="connsiteX10" fmla="*/ 30295 w 34066"/>
                <a:gd name="connsiteY10" fmla="*/ 42215 h 58783"/>
                <a:gd name="connsiteX11" fmla="*/ 25688 w 34066"/>
                <a:gd name="connsiteY11" fmla="*/ 31349 h 58783"/>
                <a:gd name="connsiteX12" fmla="*/ 20357 w 34066"/>
                <a:gd name="connsiteY12" fmla="*/ 17958 h 58783"/>
                <a:gd name="connsiteX13" fmla="*/ 24049 w 34066"/>
                <a:gd name="connsiteY13" fmla="*/ 2000 h 58783"/>
                <a:gd name="connsiteX14" fmla="*/ 16440 w 34066"/>
                <a:gd name="connsiteY14" fmla="*/ 4074 h 58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066" h="58783">
                  <a:moveTo>
                    <a:pt x="16440" y="4074"/>
                  </a:moveTo>
                  <a:cubicBezTo>
                    <a:pt x="13894" y="3835"/>
                    <a:pt x="4420" y="846"/>
                    <a:pt x="2803" y="157"/>
                  </a:cubicBezTo>
                  <a:cubicBezTo>
                    <a:pt x="214" y="-736"/>
                    <a:pt x="-123" y="2400"/>
                    <a:pt x="32" y="4074"/>
                  </a:cubicBezTo>
                  <a:cubicBezTo>
                    <a:pt x="489" y="7078"/>
                    <a:pt x="1410" y="13323"/>
                    <a:pt x="1410" y="14258"/>
                  </a:cubicBezTo>
                  <a:cubicBezTo>
                    <a:pt x="1410" y="15433"/>
                    <a:pt x="2803" y="19575"/>
                    <a:pt x="4420" y="20722"/>
                  </a:cubicBezTo>
                  <a:cubicBezTo>
                    <a:pt x="6031" y="21875"/>
                    <a:pt x="9976" y="31349"/>
                    <a:pt x="10419" y="32966"/>
                  </a:cubicBezTo>
                  <a:cubicBezTo>
                    <a:pt x="10855" y="34584"/>
                    <a:pt x="18514" y="42215"/>
                    <a:pt x="20357" y="44761"/>
                  </a:cubicBezTo>
                  <a:cubicBezTo>
                    <a:pt x="22193" y="47307"/>
                    <a:pt x="25688" y="52842"/>
                    <a:pt x="28213" y="54459"/>
                  </a:cubicBezTo>
                  <a:cubicBezTo>
                    <a:pt x="30738" y="56077"/>
                    <a:pt x="32377" y="57005"/>
                    <a:pt x="33551" y="58623"/>
                  </a:cubicBezTo>
                  <a:cubicBezTo>
                    <a:pt x="34486" y="59910"/>
                    <a:pt x="33938" y="53151"/>
                    <a:pt x="33551" y="49613"/>
                  </a:cubicBezTo>
                  <a:cubicBezTo>
                    <a:pt x="32616" y="47609"/>
                    <a:pt x="30668" y="43333"/>
                    <a:pt x="30295" y="42215"/>
                  </a:cubicBezTo>
                  <a:cubicBezTo>
                    <a:pt x="29922" y="41103"/>
                    <a:pt x="27067" y="34506"/>
                    <a:pt x="25688" y="31349"/>
                  </a:cubicBezTo>
                  <a:cubicBezTo>
                    <a:pt x="25147" y="29112"/>
                    <a:pt x="23311" y="23303"/>
                    <a:pt x="20357" y="17958"/>
                  </a:cubicBezTo>
                  <a:cubicBezTo>
                    <a:pt x="16658" y="11269"/>
                    <a:pt x="24049" y="4074"/>
                    <a:pt x="24049" y="2000"/>
                  </a:cubicBezTo>
                  <a:cubicBezTo>
                    <a:pt x="24049" y="-82"/>
                    <a:pt x="18986" y="4320"/>
                    <a:pt x="16440" y="407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6" name="Freihandform: Form 71">
              <a:extLst>
                <a:ext uri="{FF2B5EF4-FFF2-40B4-BE49-F238E27FC236}">
                  <a16:creationId xmlns:a16="http://schemas.microsoft.com/office/drawing/2014/main" id="{FF0CF25A-B401-AB47-BD6B-030A5F1512AC}"/>
                </a:ext>
              </a:extLst>
            </p:cNvPr>
            <p:cNvSpPr/>
            <p:nvPr/>
          </p:nvSpPr>
          <p:spPr>
            <a:xfrm>
              <a:off x="4095163" y="3460901"/>
              <a:ext cx="24770" cy="37827"/>
            </a:xfrm>
            <a:custGeom>
              <a:avLst/>
              <a:gdLst>
                <a:gd name="connsiteX0" fmla="*/ 19107 w 24770"/>
                <a:gd name="connsiteY0" fmla="*/ 22355 h 37827"/>
                <a:gd name="connsiteX1" fmla="*/ 23270 w 24770"/>
                <a:gd name="connsiteY1" fmla="*/ 28136 h 37827"/>
                <a:gd name="connsiteX2" fmla="*/ 24677 w 24770"/>
                <a:gd name="connsiteY2" fmla="*/ 36681 h 37827"/>
                <a:gd name="connsiteX3" fmla="*/ 19107 w 24770"/>
                <a:gd name="connsiteY3" fmla="*/ 37828 h 37827"/>
                <a:gd name="connsiteX4" fmla="*/ 13551 w 24770"/>
                <a:gd name="connsiteY4" fmla="*/ 37828 h 37827"/>
                <a:gd name="connsiteX5" fmla="*/ 9633 w 24770"/>
                <a:gd name="connsiteY5" fmla="*/ 35282 h 37827"/>
                <a:gd name="connsiteX6" fmla="*/ 4077 w 24770"/>
                <a:gd name="connsiteY6" fmla="*/ 23973 h 37827"/>
                <a:gd name="connsiteX7" fmla="*/ 4077 w 24770"/>
                <a:gd name="connsiteY7" fmla="*/ 16799 h 37827"/>
                <a:gd name="connsiteX8" fmla="*/ 1088 w 24770"/>
                <a:gd name="connsiteY8" fmla="*/ 8254 h 37827"/>
                <a:gd name="connsiteX9" fmla="*/ 4077 w 24770"/>
                <a:gd name="connsiteY9" fmla="*/ 841 h 37827"/>
                <a:gd name="connsiteX10" fmla="*/ 8241 w 24770"/>
                <a:gd name="connsiteY10" fmla="*/ 3387 h 37827"/>
                <a:gd name="connsiteX11" fmla="*/ 11715 w 24770"/>
                <a:gd name="connsiteY11" fmla="*/ 8254 h 37827"/>
                <a:gd name="connsiteX12" fmla="*/ 15407 w 24770"/>
                <a:gd name="connsiteY12" fmla="*/ 15188 h 37827"/>
                <a:gd name="connsiteX13" fmla="*/ 19107 w 24770"/>
                <a:gd name="connsiteY13" fmla="*/ 22355 h 3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770" h="37827">
                  <a:moveTo>
                    <a:pt x="19107" y="22355"/>
                  </a:moveTo>
                  <a:cubicBezTo>
                    <a:pt x="21407" y="26301"/>
                    <a:pt x="21188" y="24880"/>
                    <a:pt x="23270" y="28136"/>
                  </a:cubicBezTo>
                  <a:cubicBezTo>
                    <a:pt x="25148" y="31076"/>
                    <a:pt x="24768" y="33221"/>
                    <a:pt x="24677" y="36681"/>
                  </a:cubicBezTo>
                  <a:cubicBezTo>
                    <a:pt x="23671" y="37068"/>
                    <a:pt x="21139" y="37828"/>
                    <a:pt x="19107" y="37828"/>
                  </a:cubicBezTo>
                  <a:lnTo>
                    <a:pt x="13551" y="37828"/>
                  </a:lnTo>
                  <a:cubicBezTo>
                    <a:pt x="10294" y="37828"/>
                    <a:pt x="11715" y="37828"/>
                    <a:pt x="9633" y="35282"/>
                  </a:cubicBezTo>
                  <a:cubicBezTo>
                    <a:pt x="7551" y="32736"/>
                    <a:pt x="8241" y="31590"/>
                    <a:pt x="4077" y="23973"/>
                  </a:cubicBezTo>
                  <a:cubicBezTo>
                    <a:pt x="1285" y="19809"/>
                    <a:pt x="2459" y="20034"/>
                    <a:pt x="4077" y="16799"/>
                  </a:cubicBezTo>
                  <a:cubicBezTo>
                    <a:pt x="5695" y="13571"/>
                    <a:pt x="4077" y="12642"/>
                    <a:pt x="1088" y="8254"/>
                  </a:cubicBezTo>
                  <a:cubicBezTo>
                    <a:pt x="-1901" y="3872"/>
                    <a:pt x="1995" y="3387"/>
                    <a:pt x="4077" y="841"/>
                  </a:cubicBezTo>
                  <a:cubicBezTo>
                    <a:pt x="6159" y="-1705"/>
                    <a:pt x="6862" y="2233"/>
                    <a:pt x="8241" y="3387"/>
                  </a:cubicBezTo>
                  <a:cubicBezTo>
                    <a:pt x="9612" y="4540"/>
                    <a:pt x="11026" y="7086"/>
                    <a:pt x="11715" y="8254"/>
                  </a:cubicBezTo>
                  <a:cubicBezTo>
                    <a:pt x="12397" y="9428"/>
                    <a:pt x="14261" y="12178"/>
                    <a:pt x="15407" y="15188"/>
                  </a:cubicBezTo>
                  <a:cubicBezTo>
                    <a:pt x="16561" y="18199"/>
                    <a:pt x="16807" y="18416"/>
                    <a:pt x="19107" y="2235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7" name="Freihandform: Form 72">
              <a:extLst>
                <a:ext uri="{FF2B5EF4-FFF2-40B4-BE49-F238E27FC236}">
                  <a16:creationId xmlns:a16="http://schemas.microsoft.com/office/drawing/2014/main" id="{9A44C2C5-E7DD-F842-B2A2-DCC7F0E07F58}"/>
                </a:ext>
              </a:extLst>
            </p:cNvPr>
            <p:cNvSpPr/>
            <p:nvPr/>
          </p:nvSpPr>
          <p:spPr>
            <a:xfrm>
              <a:off x="4052562" y="3408547"/>
              <a:ext cx="27730" cy="53194"/>
            </a:xfrm>
            <a:custGeom>
              <a:avLst/>
              <a:gdLst>
                <a:gd name="connsiteX0" fmla="*/ 27042 w 27730"/>
                <a:gd name="connsiteY0" fmla="*/ 42104 h 53194"/>
                <a:gd name="connsiteX1" fmla="*/ 27042 w 27730"/>
                <a:gd name="connsiteY1" fmla="*/ 53195 h 53194"/>
                <a:gd name="connsiteX2" fmla="*/ 17786 w 27730"/>
                <a:gd name="connsiteY2" fmla="*/ 32877 h 53194"/>
                <a:gd name="connsiteX3" fmla="*/ 15951 w 27730"/>
                <a:gd name="connsiteY3" fmla="*/ 22475 h 53194"/>
                <a:gd name="connsiteX4" fmla="*/ 2075 w 27730"/>
                <a:gd name="connsiteY4" fmla="*/ 6045 h 53194"/>
                <a:gd name="connsiteX5" fmla="*/ 2075 w 27730"/>
                <a:gd name="connsiteY5" fmla="*/ 736 h 53194"/>
                <a:gd name="connsiteX6" fmla="*/ 12701 w 27730"/>
                <a:gd name="connsiteY6" fmla="*/ 736 h 53194"/>
                <a:gd name="connsiteX7" fmla="*/ 21268 w 27730"/>
                <a:gd name="connsiteY7" fmla="*/ 7220 h 53194"/>
                <a:gd name="connsiteX8" fmla="*/ 21268 w 27730"/>
                <a:gd name="connsiteY8" fmla="*/ 14373 h 53194"/>
                <a:gd name="connsiteX9" fmla="*/ 21268 w 27730"/>
                <a:gd name="connsiteY9" fmla="*/ 22475 h 53194"/>
                <a:gd name="connsiteX10" fmla="*/ 23568 w 27730"/>
                <a:gd name="connsiteY10" fmla="*/ 31702 h 53194"/>
                <a:gd name="connsiteX11" fmla="*/ 27042 w 27730"/>
                <a:gd name="connsiteY11" fmla="*/ 42104 h 53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730" h="53194">
                  <a:moveTo>
                    <a:pt x="27042" y="42104"/>
                  </a:moveTo>
                  <a:cubicBezTo>
                    <a:pt x="28899" y="48103"/>
                    <a:pt x="26332" y="48588"/>
                    <a:pt x="27042" y="53195"/>
                  </a:cubicBezTo>
                  <a:cubicBezTo>
                    <a:pt x="24032" y="53195"/>
                    <a:pt x="23568" y="48124"/>
                    <a:pt x="17786" y="32877"/>
                  </a:cubicBezTo>
                  <a:cubicBezTo>
                    <a:pt x="16394" y="29641"/>
                    <a:pt x="17322" y="27320"/>
                    <a:pt x="15951" y="22475"/>
                  </a:cubicBezTo>
                  <a:cubicBezTo>
                    <a:pt x="14579" y="17622"/>
                    <a:pt x="6238" y="9520"/>
                    <a:pt x="2075" y="6045"/>
                  </a:cubicBezTo>
                  <a:cubicBezTo>
                    <a:pt x="-2089" y="2571"/>
                    <a:pt x="1146" y="2128"/>
                    <a:pt x="2075" y="736"/>
                  </a:cubicBezTo>
                  <a:cubicBezTo>
                    <a:pt x="3003" y="-657"/>
                    <a:pt x="8095" y="271"/>
                    <a:pt x="12701" y="736"/>
                  </a:cubicBezTo>
                  <a:cubicBezTo>
                    <a:pt x="17301" y="1200"/>
                    <a:pt x="16858" y="1910"/>
                    <a:pt x="21268" y="7220"/>
                  </a:cubicBezTo>
                  <a:cubicBezTo>
                    <a:pt x="22660" y="9766"/>
                    <a:pt x="21268" y="10455"/>
                    <a:pt x="21268" y="14373"/>
                  </a:cubicBezTo>
                  <a:cubicBezTo>
                    <a:pt x="21268" y="18290"/>
                    <a:pt x="21022" y="18065"/>
                    <a:pt x="21268" y="22475"/>
                  </a:cubicBezTo>
                  <a:cubicBezTo>
                    <a:pt x="21507" y="26877"/>
                    <a:pt x="21950" y="26392"/>
                    <a:pt x="23568" y="31702"/>
                  </a:cubicBezTo>
                  <a:cubicBezTo>
                    <a:pt x="25185" y="37012"/>
                    <a:pt x="25185" y="36105"/>
                    <a:pt x="27042" y="4210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8" name="Freihandform: Form 73">
              <a:extLst>
                <a:ext uri="{FF2B5EF4-FFF2-40B4-BE49-F238E27FC236}">
                  <a16:creationId xmlns:a16="http://schemas.microsoft.com/office/drawing/2014/main" id="{B2749675-5DDA-C540-84AC-80AB0CA3F42C}"/>
                </a:ext>
              </a:extLst>
            </p:cNvPr>
            <p:cNvSpPr/>
            <p:nvPr/>
          </p:nvSpPr>
          <p:spPr>
            <a:xfrm>
              <a:off x="4076129" y="3406983"/>
              <a:ext cx="14383" cy="31984"/>
            </a:xfrm>
            <a:custGeom>
              <a:avLst/>
              <a:gdLst>
                <a:gd name="connsiteX0" fmla="*/ 11555 w 14383"/>
                <a:gd name="connsiteY0" fmla="*/ 13166 h 31984"/>
                <a:gd name="connsiteX1" fmla="*/ 6928 w 14383"/>
                <a:gd name="connsiteY1" fmla="*/ 2300 h 31984"/>
                <a:gd name="connsiteX2" fmla="*/ 0 w 14383"/>
                <a:gd name="connsiteY2" fmla="*/ 0 h 31984"/>
                <a:gd name="connsiteX3" fmla="*/ 1857 w 14383"/>
                <a:gd name="connsiteY3" fmla="*/ 4621 h 31984"/>
                <a:gd name="connsiteX4" fmla="*/ 3474 w 14383"/>
                <a:gd name="connsiteY4" fmla="*/ 15937 h 31984"/>
                <a:gd name="connsiteX5" fmla="*/ 3474 w 14383"/>
                <a:gd name="connsiteY5" fmla="*/ 19411 h 31984"/>
                <a:gd name="connsiteX6" fmla="*/ 3474 w 14383"/>
                <a:gd name="connsiteY6" fmla="*/ 28885 h 31984"/>
                <a:gd name="connsiteX7" fmla="*/ 4403 w 14383"/>
                <a:gd name="connsiteY7" fmla="*/ 31431 h 31984"/>
                <a:gd name="connsiteX8" fmla="*/ 8102 w 14383"/>
                <a:gd name="connsiteY8" fmla="*/ 30278 h 31984"/>
                <a:gd name="connsiteX9" fmla="*/ 11555 w 14383"/>
                <a:gd name="connsiteY9" fmla="*/ 27492 h 31984"/>
                <a:gd name="connsiteX10" fmla="*/ 14101 w 14383"/>
                <a:gd name="connsiteY10" fmla="*/ 24039 h 31984"/>
                <a:gd name="connsiteX11" fmla="*/ 11555 w 14383"/>
                <a:gd name="connsiteY11" fmla="*/ 19411 h 31984"/>
                <a:gd name="connsiteX12" fmla="*/ 11555 w 14383"/>
                <a:gd name="connsiteY12" fmla="*/ 13166 h 31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383" h="31984">
                  <a:moveTo>
                    <a:pt x="11555" y="13166"/>
                  </a:moveTo>
                  <a:cubicBezTo>
                    <a:pt x="11555" y="10402"/>
                    <a:pt x="8320" y="5556"/>
                    <a:pt x="6928" y="2300"/>
                  </a:cubicBezTo>
                  <a:cubicBezTo>
                    <a:pt x="6928" y="436"/>
                    <a:pt x="2307" y="-14"/>
                    <a:pt x="0" y="0"/>
                  </a:cubicBezTo>
                  <a:lnTo>
                    <a:pt x="1857" y="4621"/>
                  </a:lnTo>
                  <a:cubicBezTo>
                    <a:pt x="2089" y="7160"/>
                    <a:pt x="2729" y="12976"/>
                    <a:pt x="3474" y="15937"/>
                  </a:cubicBezTo>
                  <a:cubicBezTo>
                    <a:pt x="4403" y="19630"/>
                    <a:pt x="3474" y="17794"/>
                    <a:pt x="3474" y="19411"/>
                  </a:cubicBezTo>
                  <a:lnTo>
                    <a:pt x="3474" y="28885"/>
                  </a:lnTo>
                  <a:cubicBezTo>
                    <a:pt x="3474" y="32760"/>
                    <a:pt x="4093" y="32198"/>
                    <a:pt x="4403" y="31431"/>
                  </a:cubicBezTo>
                  <a:cubicBezTo>
                    <a:pt x="5247" y="31199"/>
                    <a:pt x="7160" y="30650"/>
                    <a:pt x="8102" y="30278"/>
                  </a:cubicBezTo>
                  <a:cubicBezTo>
                    <a:pt x="9277" y="29813"/>
                    <a:pt x="9474" y="28885"/>
                    <a:pt x="11555" y="27492"/>
                  </a:cubicBezTo>
                  <a:cubicBezTo>
                    <a:pt x="13637" y="26093"/>
                    <a:pt x="13412" y="24039"/>
                    <a:pt x="14101" y="24039"/>
                  </a:cubicBezTo>
                  <a:cubicBezTo>
                    <a:pt x="14783" y="24039"/>
                    <a:pt x="14340" y="21493"/>
                    <a:pt x="11555" y="19411"/>
                  </a:cubicBezTo>
                  <a:cubicBezTo>
                    <a:pt x="8763" y="17330"/>
                    <a:pt x="11555" y="15937"/>
                    <a:pt x="11555" y="1316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9" name="Freihandform: Form 74">
              <a:extLst>
                <a:ext uri="{FF2B5EF4-FFF2-40B4-BE49-F238E27FC236}">
                  <a16:creationId xmlns:a16="http://schemas.microsoft.com/office/drawing/2014/main" id="{213E81E3-1A17-C94E-9FB5-E1A64F925B22}"/>
                </a:ext>
              </a:extLst>
            </p:cNvPr>
            <p:cNvSpPr/>
            <p:nvPr/>
          </p:nvSpPr>
          <p:spPr>
            <a:xfrm>
              <a:off x="4090230" y="3439438"/>
              <a:ext cx="17572" cy="15692"/>
            </a:xfrm>
            <a:custGeom>
              <a:avLst/>
              <a:gdLst>
                <a:gd name="connsiteX0" fmla="*/ 6020 w 17572"/>
                <a:gd name="connsiteY0" fmla="*/ 7521 h 15692"/>
                <a:gd name="connsiteX1" fmla="*/ 0 w 17572"/>
                <a:gd name="connsiteY1" fmla="*/ 811 h 15692"/>
                <a:gd name="connsiteX2" fmla="*/ 6020 w 17572"/>
                <a:gd name="connsiteY2" fmla="*/ 811 h 15692"/>
                <a:gd name="connsiteX3" fmla="*/ 10627 w 17572"/>
                <a:gd name="connsiteY3" fmla="*/ 1986 h 15692"/>
                <a:gd name="connsiteX4" fmla="*/ 13173 w 17572"/>
                <a:gd name="connsiteY4" fmla="*/ 4750 h 15692"/>
                <a:gd name="connsiteX5" fmla="*/ 16647 w 17572"/>
                <a:gd name="connsiteY5" fmla="*/ 8914 h 15692"/>
                <a:gd name="connsiteX6" fmla="*/ 16647 w 17572"/>
                <a:gd name="connsiteY6" fmla="*/ 12831 h 15692"/>
                <a:gd name="connsiteX7" fmla="*/ 13173 w 17572"/>
                <a:gd name="connsiteY7" fmla="*/ 15377 h 15692"/>
                <a:gd name="connsiteX8" fmla="*/ 6020 w 17572"/>
                <a:gd name="connsiteY8" fmla="*/ 15377 h 15692"/>
                <a:gd name="connsiteX9" fmla="*/ 6020 w 17572"/>
                <a:gd name="connsiteY9" fmla="*/ 12831 h 15692"/>
                <a:gd name="connsiteX10" fmla="*/ 6020 w 17572"/>
                <a:gd name="connsiteY10" fmla="*/ 7521 h 1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2" h="15692">
                  <a:moveTo>
                    <a:pt x="6020" y="7521"/>
                  </a:moveTo>
                  <a:cubicBezTo>
                    <a:pt x="6020" y="6030"/>
                    <a:pt x="2004" y="2429"/>
                    <a:pt x="0" y="811"/>
                  </a:cubicBezTo>
                  <a:cubicBezTo>
                    <a:pt x="1231" y="200"/>
                    <a:pt x="4164" y="-658"/>
                    <a:pt x="6020" y="811"/>
                  </a:cubicBezTo>
                  <a:cubicBezTo>
                    <a:pt x="8341" y="2647"/>
                    <a:pt x="9009" y="811"/>
                    <a:pt x="10627" y="1986"/>
                  </a:cubicBezTo>
                  <a:cubicBezTo>
                    <a:pt x="11914" y="2921"/>
                    <a:pt x="12856" y="4222"/>
                    <a:pt x="13173" y="4750"/>
                  </a:cubicBezTo>
                  <a:cubicBezTo>
                    <a:pt x="13637" y="5214"/>
                    <a:pt x="14980" y="6698"/>
                    <a:pt x="16647" y="8914"/>
                  </a:cubicBezTo>
                  <a:cubicBezTo>
                    <a:pt x="18729" y="11678"/>
                    <a:pt x="16647" y="11213"/>
                    <a:pt x="16647" y="12831"/>
                  </a:cubicBezTo>
                  <a:cubicBezTo>
                    <a:pt x="16647" y="14449"/>
                    <a:pt x="14566" y="15377"/>
                    <a:pt x="13173" y="15377"/>
                  </a:cubicBezTo>
                  <a:cubicBezTo>
                    <a:pt x="11773" y="15377"/>
                    <a:pt x="9009" y="16087"/>
                    <a:pt x="6020" y="15377"/>
                  </a:cubicBezTo>
                  <a:cubicBezTo>
                    <a:pt x="3629" y="14807"/>
                    <a:pt x="5022" y="13443"/>
                    <a:pt x="6020" y="12831"/>
                  </a:cubicBezTo>
                  <a:lnTo>
                    <a:pt x="6020" y="752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0" name="Freihandform: Form 75">
              <a:extLst>
                <a:ext uri="{FF2B5EF4-FFF2-40B4-BE49-F238E27FC236}">
                  <a16:creationId xmlns:a16="http://schemas.microsoft.com/office/drawing/2014/main" id="{B9F43C76-9EF3-6344-A951-046A9D14B18A}"/>
                </a:ext>
              </a:extLst>
            </p:cNvPr>
            <p:cNvSpPr/>
            <p:nvPr/>
          </p:nvSpPr>
          <p:spPr>
            <a:xfrm>
              <a:off x="4084231" y="3446487"/>
              <a:ext cx="5999" cy="18933"/>
            </a:xfrm>
            <a:custGeom>
              <a:avLst/>
              <a:gdLst>
                <a:gd name="connsiteX0" fmla="*/ 1836 w 5999"/>
                <a:gd name="connsiteY0" fmla="*/ 9481 h 18933"/>
                <a:gd name="connsiteX1" fmla="*/ 0 w 5999"/>
                <a:gd name="connsiteY1" fmla="*/ 4164 h 18933"/>
                <a:gd name="connsiteX2" fmla="*/ 1836 w 5999"/>
                <a:gd name="connsiteY2" fmla="*/ 1865 h 18933"/>
                <a:gd name="connsiteX3" fmla="*/ 3453 w 5999"/>
                <a:gd name="connsiteY3" fmla="*/ 472 h 18933"/>
                <a:gd name="connsiteX4" fmla="*/ 5071 w 5999"/>
                <a:gd name="connsiteY4" fmla="*/ 3257 h 18933"/>
                <a:gd name="connsiteX5" fmla="*/ 5999 w 5999"/>
                <a:gd name="connsiteY5" fmla="*/ 9481 h 18933"/>
                <a:gd name="connsiteX6" fmla="*/ 5999 w 5999"/>
                <a:gd name="connsiteY6" fmla="*/ 14102 h 18933"/>
                <a:gd name="connsiteX7" fmla="*/ 5999 w 5999"/>
                <a:gd name="connsiteY7" fmla="*/ 17801 h 18933"/>
                <a:gd name="connsiteX8" fmla="*/ 1836 w 5999"/>
                <a:gd name="connsiteY8" fmla="*/ 16430 h 18933"/>
                <a:gd name="connsiteX9" fmla="*/ 2764 w 5999"/>
                <a:gd name="connsiteY9" fmla="*/ 14102 h 18933"/>
                <a:gd name="connsiteX10" fmla="*/ 1836 w 5999"/>
                <a:gd name="connsiteY10" fmla="*/ 9481 h 18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999" h="18933">
                  <a:moveTo>
                    <a:pt x="1836" y="9481"/>
                  </a:moveTo>
                  <a:cubicBezTo>
                    <a:pt x="1639" y="7618"/>
                    <a:pt x="527" y="5163"/>
                    <a:pt x="0" y="4164"/>
                  </a:cubicBezTo>
                  <a:cubicBezTo>
                    <a:pt x="612" y="3862"/>
                    <a:pt x="1836" y="2983"/>
                    <a:pt x="1836" y="1865"/>
                  </a:cubicBezTo>
                  <a:cubicBezTo>
                    <a:pt x="1836" y="472"/>
                    <a:pt x="2300" y="-681"/>
                    <a:pt x="3453" y="472"/>
                  </a:cubicBezTo>
                  <a:cubicBezTo>
                    <a:pt x="4607" y="1618"/>
                    <a:pt x="4846" y="1618"/>
                    <a:pt x="5071" y="3257"/>
                  </a:cubicBezTo>
                  <a:cubicBezTo>
                    <a:pt x="5289" y="4896"/>
                    <a:pt x="5999" y="6957"/>
                    <a:pt x="5999" y="9481"/>
                  </a:cubicBezTo>
                  <a:lnTo>
                    <a:pt x="5999" y="14102"/>
                  </a:lnTo>
                  <a:lnTo>
                    <a:pt x="5999" y="17801"/>
                  </a:lnTo>
                  <a:cubicBezTo>
                    <a:pt x="5999" y="19173"/>
                    <a:pt x="1836" y="19883"/>
                    <a:pt x="1836" y="16430"/>
                  </a:cubicBezTo>
                  <a:cubicBezTo>
                    <a:pt x="1836" y="15333"/>
                    <a:pt x="2455" y="14426"/>
                    <a:pt x="2764" y="14102"/>
                  </a:cubicBezTo>
                  <a:cubicBezTo>
                    <a:pt x="2539" y="13335"/>
                    <a:pt x="2033" y="11338"/>
                    <a:pt x="1836" y="948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1" name="Freihandform: Form 76">
              <a:extLst>
                <a:ext uri="{FF2B5EF4-FFF2-40B4-BE49-F238E27FC236}">
                  <a16:creationId xmlns:a16="http://schemas.microsoft.com/office/drawing/2014/main" id="{B7EF986E-5D00-9A4E-B635-D064F9D8E35C}"/>
                </a:ext>
              </a:extLst>
            </p:cNvPr>
            <p:cNvSpPr/>
            <p:nvPr/>
          </p:nvSpPr>
          <p:spPr>
            <a:xfrm>
              <a:off x="5044635" y="1975253"/>
              <a:ext cx="924848" cy="1374961"/>
            </a:xfrm>
            <a:custGeom>
              <a:avLst/>
              <a:gdLst>
                <a:gd name="connsiteX0" fmla="*/ 636571 w 924848"/>
                <a:gd name="connsiteY0" fmla="*/ 190253 h 1374961"/>
                <a:gd name="connsiteX1" fmla="*/ 601370 w 924848"/>
                <a:gd name="connsiteY1" fmla="*/ 229451 h 1374961"/>
                <a:gd name="connsiteX2" fmla="*/ 604992 w 924848"/>
                <a:gd name="connsiteY2" fmla="*/ 233130 h 1374961"/>
                <a:gd name="connsiteX3" fmla="*/ 619234 w 924848"/>
                <a:gd name="connsiteY3" fmla="*/ 229451 h 1374961"/>
                <a:gd name="connsiteX4" fmla="*/ 630213 w 924848"/>
                <a:gd name="connsiteY4" fmla="*/ 220099 h 1374961"/>
                <a:gd name="connsiteX5" fmla="*/ 641775 w 924848"/>
                <a:gd name="connsiteY5" fmla="*/ 212059 h 1374961"/>
                <a:gd name="connsiteX6" fmla="*/ 653281 w 924848"/>
                <a:gd name="connsiteY6" fmla="*/ 208066 h 1374961"/>
                <a:gd name="connsiteX7" fmla="*/ 672460 w 924848"/>
                <a:gd name="connsiteY7" fmla="*/ 204020 h 1374961"/>
                <a:gd name="connsiteX8" fmla="*/ 695001 w 924848"/>
                <a:gd name="connsiteY8" fmla="*/ 198556 h 1374961"/>
                <a:gd name="connsiteX9" fmla="*/ 722430 w 924848"/>
                <a:gd name="connsiteY9" fmla="*/ 198556 h 1374961"/>
                <a:gd name="connsiteX10" fmla="*/ 727374 w 924848"/>
                <a:gd name="connsiteY10" fmla="*/ 208066 h 1374961"/>
                <a:gd name="connsiteX11" fmla="*/ 722430 w 924848"/>
                <a:gd name="connsiteY11" fmla="*/ 220099 h 1374961"/>
                <a:gd name="connsiteX12" fmla="*/ 703778 w 924848"/>
                <a:gd name="connsiteY12" fmla="*/ 233130 h 1374961"/>
                <a:gd name="connsiteX13" fmla="*/ 691119 w 924848"/>
                <a:gd name="connsiteY13" fmla="*/ 245740 h 1374961"/>
                <a:gd name="connsiteX14" fmla="*/ 680190 w 924848"/>
                <a:gd name="connsiteY14" fmla="*/ 252361 h 1374961"/>
                <a:gd name="connsiteX15" fmla="*/ 695001 w 924848"/>
                <a:gd name="connsiteY15" fmla="*/ 262764 h 1374961"/>
                <a:gd name="connsiteX16" fmla="*/ 708716 w 924848"/>
                <a:gd name="connsiteY16" fmla="*/ 258929 h 1374961"/>
                <a:gd name="connsiteX17" fmla="*/ 732839 w 924848"/>
                <a:gd name="connsiteY17" fmla="*/ 240170 h 1374961"/>
                <a:gd name="connsiteX18" fmla="*/ 746554 w 924848"/>
                <a:gd name="connsiteY18" fmla="*/ 220099 h 1374961"/>
                <a:gd name="connsiteX19" fmla="*/ 746554 w 924848"/>
                <a:gd name="connsiteY19" fmla="*/ 208066 h 1374961"/>
                <a:gd name="connsiteX20" fmla="*/ 752595 w 924848"/>
                <a:gd name="connsiteY20" fmla="*/ 198556 h 1374961"/>
                <a:gd name="connsiteX21" fmla="*/ 770719 w 924848"/>
                <a:gd name="connsiteY21" fmla="*/ 197452 h 1374961"/>
                <a:gd name="connsiteX22" fmla="*/ 778392 w 924848"/>
                <a:gd name="connsiteY22" fmla="*/ 204020 h 1374961"/>
                <a:gd name="connsiteX23" fmla="*/ 783329 w 924848"/>
                <a:gd name="connsiteY23" fmla="*/ 229451 h 1374961"/>
                <a:gd name="connsiteX24" fmla="*/ 783329 w 924848"/>
                <a:gd name="connsiteY24" fmla="*/ 245740 h 1374961"/>
                <a:gd name="connsiteX25" fmla="*/ 773455 w 924848"/>
                <a:gd name="connsiteY25" fmla="*/ 258929 h 1374961"/>
                <a:gd name="connsiteX26" fmla="*/ 764678 w 924848"/>
                <a:gd name="connsiteY26" fmla="*/ 272643 h 1374961"/>
                <a:gd name="connsiteX27" fmla="*/ 755324 w 924848"/>
                <a:gd name="connsiteY27" fmla="*/ 283624 h 1374961"/>
                <a:gd name="connsiteX28" fmla="*/ 739985 w 924848"/>
                <a:gd name="connsiteY28" fmla="*/ 319301 h 1374961"/>
                <a:gd name="connsiteX29" fmla="*/ 739985 w 924848"/>
                <a:gd name="connsiteY29" fmla="*/ 335748 h 1374961"/>
                <a:gd name="connsiteX30" fmla="*/ 758109 w 924848"/>
                <a:gd name="connsiteY30" fmla="*/ 313785 h 1374961"/>
                <a:gd name="connsiteX31" fmla="*/ 767414 w 924848"/>
                <a:gd name="connsiteY31" fmla="*/ 301174 h 1374961"/>
                <a:gd name="connsiteX32" fmla="*/ 783329 w 924848"/>
                <a:gd name="connsiteY32" fmla="*/ 270436 h 1374961"/>
                <a:gd name="connsiteX33" fmla="*/ 787169 w 924848"/>
                <a:gd name="connsiteY33" fmla="*/ 258929 h 1374961"/>
                <a:gd name="connsiteX34" fmla="*/ 813494 w 924848"/>
                <a:gd name="connsiteY34" fmla="*/ 245740 h 1374961"/>
                <a:gd name="connsiteX35" fmla="*/ 821216 w 924848"/>
                <a:gd name="connsiteY35" fmla="*/ 252361 h 1374961"/>
                <a:gd name="connsiteX36" fmla="*/ 845333 w 924848"/>
                <a:gd name="connsiteY36" fmla="*/ 252361 h 1374961"/>
                <a:gd name="connsiteX37" fmla="*/ 845333 w 924848"/>
                <a:gd name="connsiteY37" fmla="*/ 245740 h 1374961"/>
                <a:gd name="connsiteX38" fmla="*/ 845333 w 924848"/>
                <a:gd name="connsiteY38" fmla="*/ 229451 h 1374961"/>
                <a:gd name="connsiteX39" fmla="*/ 854687 w 924848"/>
                <a:gd name="connsiteY39" fmla="*/ 220099 h 1374961"/>
                <a:gd name="connsiteX40" fmla="*/ 878283 w 924848"/>
                <a:gd name="connsiteY40" fmla="*/ 224354 h 1374961"/>
                <a:gd name="connsiteX41" fmla="*/ 898038 w 924848"/>
                <a:gd name="connsiteY41" fmla="*/ 229451 h 1374961"/>
                <a:gd name="connsiteX42" fmla="*/ 915586 w 924848"/>
                <a:gd name="connsiteY42" fmla="*/ 240170 h 1374961"/>
                <a:gd name="connsiteX43" fmla="*/ 924363 w 924848"/>
                <a:gd name="connsiteY43" fmla="*/ 256197 h 1374961"/>
                <a:gd name="connsiteX44" fmla="*/ 919954 w 924848"/>
                <a:gd name="connsiteY44" fmla="*/ 270436 h 1374961"/>
                <a:gd name="connsiteX45" fmla="*/ 907336 w 924848"/>
                <a:gd name="connsiteY45" fmla="*/ 284728 h 1374961"/>
                <a:gd name="connsiteX46" fmla="*/ 890893 w 924848"/>
                <a:gd name="connsiteY46" fmla="*/ 301174 h 1374961"/>
                <a:gd name="connsiteX47" fmla="*/ 885372 w 924848"/>
                <a:gd name="connsiteY47" fmla="*/ 311052 h 1374961"/>
                <a:gd name="connsiteX48" fmla="*/ 870560 w 924848"/>
                <a:gd name="connsiteY48" fmla="*/ 329180 h 1374961"/>
                <a:gd name="connsiteX49" fmla="*/ 854687 w 924848"/>
                <a:gd name="connsiteY49" fmla="*/ 333016 h 1374961"/>
                <a:gd name="connsiteX50" fmla="*/ 825057 w 924848"/>
                <a:gd name="connsiteY50" fmla="*/ 333016 h 1374961"/>
                <a:gd name="connsiteX51" fmla="*/ 793211 w 924848"/>
                <a:gd name="connsiteY51" fmla="*/ 342368 h 1374961"/>
                <a:gd name="connsiteX52" fmla="*/ 801461 w 924848"/>
                <a:gd name="connsiteY52" fmla="*/ 350040 h 1374961"/>
                <a:gd name="connsiteX53" fmla="*/ 845333 w 924848"/>
                <a:gd name="connsiteY53" fmla="*/ 350040 h 1374961"/>
                <a:gd name="connsiteX54" fmla="*/ 854687 w 924848"/>
                <a:gd name="connsiteY54" fmla="*/ 356607 h 1374961"/>
                <a:gd name="connsiteX55" fmla="*/ 854687 w 924848"/>
                <a:gd name="connsiteY55" fmla="*/ 371951 h 1374961"/>
                <a:gd name="connsiteX56" fmla="*/ 833827 w 924848"/>
                <a:gd name="connsiteY56" fmla="*/ 371951 h 1374961"/>
                <a:gd name="connsiteX57" fmla="*/ 817327 w 924848"/>
                <a:gd name="connsiteY57" fmla="*/ 371951 h 1374961"/>
                <a:gd name="connsiteX58" fmla="*/ 801461 w 924848"/>
                <a:gd name="connsiteY58" fmla="*/ 371951 h 1374961"/>
                <a:gd name="connsiteX59" fmla="*/ 791579 w 924848"/>
                <a:gd name="connsiteY59" fmla="*/ 388975 h 1374961"/>
                <a:gd name="connsiteX60" fmla="*/ 791544 w 924848"/>
                <a:gd name="connsiteY60" fmla="*/ 389111 h 1374961"/>
                <a:gd name="connsiteX61" fmla="*/ 791579 w 924848"/>
                <a:gd name="connsiteY61" fmla="*/ 414248 h 1374961"/>
                <a:gd name="connsiteX62" fmla="*/ 805821 w 924848"/>
                <a:gd name="connsiteY62" fmla="*/ 421920 h 1374961"/>
                <a:gd name="connsiteX63" fmla="*/ 813494 w 924848"/>
                <a:gd name="connsiteY63" fmla="*/ 448245 h 1374961"/>
                <a:gd name="connsiteX64" fmla="*/ 805821 w 924848"/>
                <a:gd name="connsiteY64" fmla="*/ 472940 h 1374961"/>
                <a:gd name="connsiteX65" fmla="*/ 788274 w 924848"/>
                <a:gd name="connsiteY65" fmla="*/ 477354 h 1374961"/>
                <a:gd name="connsiteX66" fmla="*/ 778392 w 924848"/>
                <a:gd name="connsiteY66" fmla="*/ 514082 h 1374961"/>
                <a:gd name="connsiteX67" fmla="*/ 773455 w 924848"/>
                <a:gd name="connsiteY67" fmla="*/ 545924 h 1374961"/>
                <a:gd name="connsiteX68" fmla="*/ 767414 w 924848"/>
                <a:gd name="connsiteY68" fmla="*/ 585962 h 1374961"/>
                <a:gd name="connsiteX69" fmla="*/ 778392 w 924848"/>
                <a:gd name="connsiteY69" fmla="*/ 592004 h 1374961"/>
                <a:gd name="connsiteX70" fmla="*/ 791579 w 924848"/>
                <a:gd name="connsiteY70" fmla="*/ 604090 h 1374961"/>
                <a:gd name="connsiteX71" fmla="*/ 805821 w 924848"/>
                <a:gd name="connsiteY71" fmla="*/ 606822 h 1374961"/>
                <a:gd name="connsiteX72" fmla="*/ 821216 w 924848"/>
                <a:gd name="connsiteY72" fmla="*/ 613443 h 1374961"/>
                <a:gd name="connsiteX73" fmla="*/ 821216 w 924848"/>
                <a:gd name="connsiteY73" fmla="*/ 624949 h 1374961"/>
                <a:gd name="connsiteX74" fmla="*/ 813494 w 924848"/>
                <a:gd name="connsiteY74" fmla="*/ 633199 h 1374961"/>
                <a:gd name="connsiteX75" fmla="*/ 805821 w 924848"/>
                <a:gd name="connsiteY75" fmla="*/ 633199 h 1374961"/>
                <a:gd name="connsiteX76" fmla="*/ 788274 w 924848"/>
                <a:gd name="connsiteY76" fmla="*/ 627682 h 1374961"/>
                <a:gd name="connsiteX77" fmla="*/ 778392 w 924848"/>
                <a:gd name="connsiteY77" fmla="*/ 624949 h 1374961"/>
                <a:gd name="connsiteX78" fmla="*/ 778392 w 924848"/>
                <a:gd name="connsiteY78" fmla="*/ 640293 h 1374961"/>
                <a:gd name="connsiteX79" fmla="*/ 769200 w 924848"/>
                <a:gd name="connsiteY79" fmla="*/ 640293 h 1374961"/>
                <a:gd name="connsiteX80" fmla="*/ 761949 w 924848"/>
                <a:gd name="connsiteY80" fmla="*/ 640293 h 1374961"/>
                <a:gd name="connsiteX81" fmla="*/ 769200 w 924848"/>
                <a:gd name="connsiteY81" fmla="*/ 662256 h 1374961"/>
                <a:gd name="connsiteX82" fmla="*/ 778392 w 924848"/>
                <a:gd name="connsiteY82" fmla="*/ 675445 h 1374961"/>
                <a:gd name="connsiteX83" fmla="*/ 793211 w 924848"/>
                <a:gd name="connsiteY83" fmla="*/ 685848 h 1374961"/>
                <a:gd name="connsiteX84" fmla="*/ 805821 w 924848"/>
                <a:gd name="connsiteY84" fmla="*/ 720424 h 1374961"/>
                <a:gd name="connsiteX85" fmla="*/ 805821 w 924848"/>
                <a:gd name="connsiteY85" fmla="*/ 726993 h 1374961"/>
                <a:gd name="connsiteX86" fmla="*/ 798676 w 924848"/>
                <a:gd name="connsiteY86" fmla="*/ 731402 h 1374961"/>
                <a:gd name="connsiteX87" fmla="*/ 787169 w 924848"/>
                <a:gd name="connsiteY87" fmla="*/ 731402 h 1374961"/>
                <a:gd name="connsiteX88" fmla="*/ 785538 w 924848"/>
                <a:gd name="connsiteY88" fmla="*/ 739652 h 1374961"/>
                <a:gd name="connsiteX89" fmla="*/ 787169 w 924848"/>
                <a:gd name="connsiteY89" fmla="*/ 751686 h 1374961"/>
                <a:gd name="connsiteX90" fmla="*/ 793211 w 924848"/>
                <a:gd name="connsiteY90" fmla="*/ 758304 h 1374961"/>
                <a:gd name="connsiteX91" fmla="*/ 813494 w 924848"/>
                <a:gd name="connsiteY91" fmla="*/ 765400 h 1374961"/>
                <a:gd name="connsiteX92" fmla="*/ 813494 w 924848"/>
                <a:gd name="connsiteY92" fmla="*/ 779691 h 1374961"/>
                <a:gd name="connsiteX93" fmla="*/ 805821 w 924848"/>
                <a:gd name="connsiteY93" fmla="*/ 793406 h 1374961"/>
                <a:gd name="connsiteX94" fmla="*/ 787169 w 924848"/>
                <a:gd name="connsiteY94" fmla="*/ 793406 h 1374961"/>
                <a:gd name="connsiteX95" fmla="*/ 757427 w 924848"/>
                <a:gd name="connsiteY95" fmla="*/ 796085 h 1374961"/>
                <a:gd name="connsiteX96" fmla="*/ 757427 w 924848"/>
                <a:gd name="connsiteY96" fmla="*/ 803336 h 1374961"/>
                <a:gd name="connsiteX97" fmla="*/ 767414 w 924848"/>
                <a:gd name="connsiteY97" fmla="*/ 809694 h 1374961"/>
                <a:gd name="connsiteX98" fmla="*/ 790060 w 924848"/>
                <a:gd name="connsiteY98" fmla="*/ 819625 h 1374961"/>
                <a:gd name="connsiteX99" fmla="*/ 785538 w 924848"/>
                <a:gd name="connsiteY99" fmla="*/ 835963 h 1374961"/>
                <a:gd name="connsiteX100" fmla="*/ 769200 w 924848"/>
                <a:gd name="connsiteY100" fmla="*/ 835963 h 1374961"/>
                <a:gd name="connsiteX101" fmla="*/ 761949 w 924848"/>
                <a:gd name="connsiteY101" fmla="*/ 835963 h 1374961"/>
                <a:gd name="connsiteX102" fmla="*/ 746554 w 924848"/>
                <a:gd name="connsiteY102" fmla="*/ 831448 h 1374961"/>
                <a:gd name="connsiteX103" fmla="*/ 727529 w 924848"/>
                <a:gd name="connsiteY103" fmla="*/ 822354 h 1374961"/>
                <a:gd name="connsiteX104" fmla="*/ 719385 w 924848"/>
                <a:gd name="connsiteY104" fmla="*/ 835963 h 1374961"/>
                <a:gd name="connsiteX105" fmla="*/ 738409 w 924848"/>
                <a:gd name="connsiteY105" fmla="*/ 849523 h 1374961"/>
                <a:gd name="connsiteX106" fmla="*/ 747496 w 924848"/>
                <a:gd name="connsiteY106" fmla="*/ 856774 h 1374961"/>
                <a:gd name="connsiteX107" fmla="*/ 761949 w 924848"/>
                <a:gd name="connsiteY107" fmla="*/ 869489 h 1374961"/>
                <a:gd name="connsiteX108" fmla="*/ 767414 w 924848"/>
                <a:gd name="connsiteY108" fmla="*/ 881256 h 1374961"/>
                <a:gd name="connsiteX109" fmla="*/ 757427 w 924848"/>
                <a:gd name="connsiteY109" fmla="*/ 893922 h 1374961"/>
                <a:gd name="connsiteX110" fmla="*/ 747496 w 924848"/>
                <a:gd name="connsiteY110" fmla="*/ 889400 h 1374961"/>
                <a:gd name="connsiteX111" fmla="*/ 738409 w 924848"/>
                <a:gd name="connsiteY111" fmla="*/ 875798 h 1374961"/>
                <a:gd name="connsiteX112" fmla="*/ 727529 w 924848"/>
                <a:gd name="connsiteY112" fmla="*/ 875798 h 1374961"/>
                <a:gd name="connsiteX113" fmla="*/ 719385 w 924848"/>
                <a:gd name="connsiteY113" fmla="*/ 889400 h 1374961"/>
                <a:gd name="connsiteX114" fmla="*/ 738409 w 924848"/>
                <a:gd name="connsiteY114" fmla="*/ 907531 h 1374961"/>
                <a:gd name="connsiteX115" fmla="*/ 761949 w 924848"/>
                <a:gd name="connsiteY115" fmla="*/ 929228 h 1374961"/>
                <a:gd name="connsiteX116" fmla="*/ 767414 w 924848"/>
                <a:gd name="connsiteY116" fmla="*/ 947359 h 1374961"/>
                <a:gd name="connsiteX117" fmla="*/ 769200 w 924848"/>
                <a:gd name="connsiteY117" fmla="*/ 972735 h 1374961"/>
                <a:gd name="connsiteX118" fmla="*/ 756533 w 924848"/>
                <a:gd name="connsiteY118" fmla="*/ 985401 h 1374961"/>
                <a:gd name="connsiteX119" fmla="*/ 738409 w 924848"/>
                <a:gd name="connsiteY119" fmla="*/ 985401 h 1374961"/>
                <a:gd name="connsiteX120" fmla="*/ 732101 w 924848"/>
                <a:gd name="connsiteY120" fmla="*/ 961862 h 1374961"/>
                <a:gd name="connsiteX121" fmla="*/ 719385 w 924848"/>
                <a:gd name="connsiteY121" fmla="*/ 942837 h 1374961"/>
                <a:gd name="connsiteX122" fmla="*/ 719385 w 924848"/>
                <a:gd name="connsiteY122" fmla="*/ 961862 h 1374961"/>
                <a:gd name="connsiteX123" fmla="*/ 703989 w 924848"/>
                <a:gd name="connsiteY123" fmla="*/ 992652 h 1374961"/>
                <a:gd name="connsiteX124" fmla="*/ 727529 w 924848"/>
                <a:gd name="connsiteY124" fmla="*/ 1000796 h 1374961"/>
                <a:gd name="connsiteX125" fmla="*/ 756533 w 924848"/>
                <a:gd name="connsiteY125" fmla="*/ 1008990 h 1374961"/>
                <a:gd name="connsiteX126" fmla="*/ 738409 w 924848"/>
                <a:gd name="connsiteY126" fmla="*/ 1027072 h 1374961"/>
                <a:gd name="connsiteX127" fmla="*/ 710347 w 924848"/>
                <a:gd name="connsiteY127" fmla="*/ 1053340 h 1374961"/>
                <a:gd name="connsiteX128" fmla="*/ 685858 w 924848"/>
                <a:gd name="connsiteY128" fmla="*/ 1061534 h 1374961"/>
                <a:gd name="connsiteX129" fmla="*/ 630635 w 924848"/>
                <a:gd name="connsiteY129" fmla="*/ 1087760 h 1374961"/>
                <a:gd name="connsiteX130" fmla="*/ 600737 w 924848"/>
                <a:gd name="connsiteY130" fmla="*/ 1070571 h 1374961"/>
                <a:gd name="connsiteX131" fmla="*/ 608882 w 924848"/>
                <a:gd name="connsiteY131" fmla="*/ 1087760 h 1374961"/>
                <a:gd name="connsiteX132" fmla="*/ 592593 w 924848"/>
                <a:gd name="connsiteY132" fmla="*/ 1114971 h 1374961"/>
                <a:gd name="connsiteX133" fmla="*/ 568104 w 924848"/>
                <a:gd name="connsiteY133" fmla="*/ 1151177 h 1374961"/>
                <a:gd name="connsiteX134" fmla="*/ 540049 w 924848"/>
                <a:gd name="connsiteY134" fmla="*/ 1181075 h 1374961"/>
                <a:gd name="connsiteX135" fmla="*/ 505629 w 924848"/>
                <a:gd name="connsiteY135" fmla="*/ 1181075 h 1374961"/>
                <a:gd name="connsiteX136" fmla="*/ 491127 w 924848"/>
                <a:gd name="connsiteY136" fmla="*/ 1191062 h 1374961"/>
                <a:gd name="connsiteX137" fmla="*/ 473003 w 924848"/>
                <a:gd name="connsiteY137" fmla="*/ 1246285 h 1374961"/>
                <a:gd name="connsiteX138" fmla="*/ 445834 w 924848"/>
                <a:gd name="connsiteY138" fmla="*/ 1349587 h 1374961"/>
                <a:gd name="connsiteX139" fmla="*/ 437690 w 924848"/>
                <a:gd name="connsiteY139" fmla="*/ 1374962 h 1374961"/>
                <a:gd name="connsiteX140" fmla="*/ 426810 w 924848"/>
                <a:gd name="connsiteY140" fmla="*/ 1374962 h 1374961"/>
                <a:gd name="connsiteX141" fmla="*/ 410472 w 924848"/>
                <a:gd name="connsiteY141" fmla="*/ 1356838 h 1374961"/>
                <a:gd name="connsiteX142" fmla="*/ 396019 w 924848"/>
                <a:gd name="connsiteY142" fmla="*/ 1343229 h 1374961"/>
                <a:gd name="connsiteX143" fmla="*/ 368801 w 924848"/>
                <a:gd name="connsiteY143" fmla="*/ 1343229 h 1374961"/>
                <a:gd name="connsiteX144" fmla="*/ 356142 w 924848"/>
                <a:gd name="connsiteY144" fmla="*/ 1336920 h 1374961"/>
                <a:gd name="connsiteX145" fmla="*/ 331653 w 924848"/>
                <a:gd name="connsiteY145" fmla="*/ 1282541 h 1374961"/>
                <a:gd name="connsiteX146" fmla="*/ 306327 w 924848"/>
                <a:gd name="connsiteY146" fmla="*/ 1233619 h 1374961"/>
                <a:gd name="connsiteX147" fmla="*/ 296347 w 924848"/>
                <a:gd name="connsiteY147" fmla="*/ 1202828 h 1374961"/>
                <a:gd name="connsiteX148" fmla="*/ 286360 w 924848"/>
                <a:gd name="connsiteY148" fmla="*/ 1151177 h 1374961"/>
                <a:gd name="connsiteX149" fmla="*/ 286360 w 924848"/>
                <a:gd name="connsiteY149" fmla="*/ 1127638 h 1374961"/>
                <a:gd name="connsiteX150" fmla="*/ 286360 w 924848"/>
                <a:gd name="connsiteY150" fmla="*/ 1080558 h 1374961"/>
                <a:gd name="connsiteX151" fmla="*/ 315364 w 924848"/>
                <a:gd name="connsiteY151" fmla="*/ 1061534 h 1374961"/>
                <a:gd name="connsiteX152" fmla="*/ 321722 w 924848"/>
                <a:gd name="connsiteY152" fmla="*/ 1023443 h 1374961"/>
                <a:gd name="connsiteX153" fmla="*/ 315364 w 924848"/>
                <a:gd name="connsiteY153" fmla="*/ 1016241 h 1374961"/>
                <a:gd name="connsiteX154" fmla="*/ 306327 w 924848"/>
                <a:gd name="connsiteY154" fmla="*/ 1027072 h 1374961"/>
                <a:gd name="connsiteX155" fmla="*/ 296347 w 924848"/>
                <a:gd name="connsiteY155" fmla="*/ 1037945 h 1374961"/>
                <a:gd name="connsiteX156" fmla="*/ 273693 w 924848"/>
                <a:gd name="connsiteY156" fmla="*/ 1037945 h 1374961"/>
                <a:gd name="connsiteX157" fmla="*/ 266442 w 924848"/>
                <a:gd name="connsiteY157" fmla="*/ 1027072 h 1374961"/>
                <a:gd name="connsiteX158" fmla="*/ 266442 w 924848"/>
                <a:gd name="connsiteY158" fmla="*/ 1000796 h 1374961"/>
                <a:gd name="connsiteX159" fmla="*/ 273693 w 924848"/>
                <a:gd name="connsiteY159" fmla="*/ 979986 h 1374961"/>
                <a:gd name="connsiteX160" fmla="*/ 286360 w 924848"/>
                <a:gd name="connsiteY160" fmla="*/ 972735 h 1374961"/>
                <a:gd name="connsiteX161" fmla="*/ 315364 w 924848"/>
                <a:gd name="connsiteY161" fmla="*/ 985401 h 1374961"/>
                <a:gd name="connsiteX162" fmla="*/ 325351 w 924848"/>
                <a:gd name="connsiteY162" fmla="*/ 979986 h 1374961"/>
                <a:gd name="connsiteX163" fmla="*/ 315364 w 924848"/>
                <a:gd name="connsiteY163" fmla="*/ 961862 h 1374961"/>
                <a:gd name="connsiteX164" fmla="*/ 315364 w 924848"/>
                <a:gd name="connsiteY164" fmla="*/ 935586 h 1374961"/>
                <a:gd name="connsiteX165" fmla="*/ 286360 w 924848"/>
                <a:gd name="connsiteY165" fmla="*/ 929228 h 1374961"/>
                <a:gd name="connsiteX166" fmla="*/ 266442 w 924848"/>
                <a:gd name="connsiteY166" fmla="*/ 942837 h 1374961"/>
                <a:gd name="connsiteX167" fmla="*/ 252889 w 924848"/>
                <a:gd name="connsiteY167" fmla="*/ 929228 h 1374961"/>
                <a:gd name="connsiteX168" fmla="*/ 252889 w 924848"/>
                <a:gd name="connsiteY168" fmla="*/ 875798 h 1374961"/>
                <a:gd name="connsiteX169" fmla="*/ 246532 w 924848"/>
                <a:gd name="connsiteY169" fmla="*/ 843214 h 1374961"/>
                <a:gd name="connsiteX170" fmla="*/ 246532 w 924848"/>
                <a:gd name="connsiteY170" fmla="*/ 803336 h 1374961"/>
                <a:gd name="connsiteX171" fmla="*/ 231136 w 924848"/>
                <a:gd name="connsiteY171" fmla="*/ 755308 h 1374961"/>
                <a:gd name="connsiteX172" fmla="*/ 203025 w 924848"/>
                <a:gd name="connsiteY172" fmla="*/ 710964 h 1374961"/>
                <a:gd name="connsiteX173" fmla="*/ 185843 w 924848"/>
                <a:gd name="connsiteY173" fmla="*/ 688318 h 1374961"/>
                <a:gd name="connsiteX174" fmla="*/ 150481 w 924848"/>
                <a:gd name="connsiteY174" fmla="*/ 683746 h 1374961"/>
                <a:gd name="connsiteX175" fmla="*/ 108810 w 924848"/>
                <a:gd name="connsiteY175" fmla="*/ 683746 h 1374961"/>
                <a:gd name="connsiteX176" fmla="*/ 54480 w 924848"/>
                <a:gd name="connsiteY176" fmla="*/ 688318 h 1374961"/>
                <a:gd name="connsiteX177" fmla="*/ 40871 w 924848"/>
                <a:gd name="connsiteY177" fmla="*/ 683746 h 1374961"/>
                <a:gd name="connsiteX178" fmla="*/ 48122 w 924848"/>
                <a:gd name="connsiteY178" fmla="*/ 662046 h 1374961"/>
                <a:gd name="connsiteX179" fmla="*/ 54480 w 924848"/>
                <a:gd name="connsiteY179" fmla="*/ 641186 h 1374961"/>
                <a:gd name="connsiteX180" fmla="*/ 30047 w 924848"/>
                <a:gd name="connsiteY180" fmla="*/ 641186 h 1374961"/>
                <a:gd name="connsiteX181" fmla="*/ 16438 w 924848"/>
                <a:gd name="connsiteY181" fmla="*/ 615807 h 1374961"/>
                <a:gd name="connsiteX182" fmla="*/ 48122 w 924848"/>
                <a:gd name="connsiteY182" fmla="*/ 607663 h 1374961"/>
                <a:gd name="connsiteX183" fmla="*/ 78962 w 924848"/>
                <a:gd name="connsiteY183" fmla="*/ 600412 h 1374961"/>
                <a:gd name="connsiteX184" fmla="*/ 91628 w 924848"/>
                <a:gd name="connsiteY184" fmla="*/ 579604 h 1374961"/>
                <a:gd name="connsiteX185" fmla="*/ 72604 w 924848"/>
                <a:gd name="connsiteY185" fmla="*/ 579604 h 1374961"/>
                <a:gd name="connsiteX186" fmla="*/ 40871 w 924848"/>
                <a:gd name="connsiteY186" fmla="*/ 589535 h 1374961"/>
                <a:gd name="connsiteX187" fmla="*/ 16438 w 924848"/>
                <a:gd name="connsiteY187" fmla="*/ 565996 h 1374961"/>
                <a:gd name="connsiteX188" fmla="*/ 4665 w 924848"/>
                <a:gd name="connsiteY188" fmla="*/ 518023 h 1374961"/>
                <a:gd name="connsiteX189" fmla="*/ 30047 w 924848"/>
                <a:gd name="connsiteY189" fmla="*/ 501682 h 1374961"/>
                <a:gd name="connsiteX190" fmla="*/ 54480 w 924848"/>
                <a:gd name="connsiteY190" fmla="*/ 479929 h 1374961"/>
                <a:gd name="connsiteX191" fmla="*/ 114275 w 924848"/>
                <a:gd name="connsiteY191" fmla="*/ 446458 h 1374961"/>
                <a:gd name="connsiteX192" fmla="*/ 124255 w 924848"/>
                <a:gd name="connsiteY192" fmla="*/ 377573 h 1374961"/>
                <a:gd name="connsiteX193" fmla="*/ 91628 w 924848"/>
                <a:gd name="connsiteY193" fmla="*/ 389343 h 1374961"/>
                <a:gd name="connsiteX194" fmla="*/ 78962 w 924848"/>
                <a:gd name="connsiteY194" fmla="*/ 363071 h 1374961"/>
                <a:gd name="connsiteX195" fmla="*/ 91628 w 924848"/>
                <a:gd name="connsiteY195" fmla="*/ 336851 h 1374961"/>
                <a:gd name="connsiteX196" fmla="*/ 108810 w 924848"/>
                <a:gd name="connsiteY196" fmla="*/ 322349 h 1374961"/>
                <a:gd name="connsiteX197" fmla="*/ 124255 w 924848"/>
                <a:gd name="connsiteY197" fmla="*/ 297864 h 1374961"/>
                <a:gd name="connsiteX198" fmla="*/ 136028 w 924848"/>
                <a:gd name="connsiteY198" fmla="*/ 288826 h 1374961"/>
                <a:gd name="connsiteX199" fmla="*/ 155946 w 924848"/>
                <a:gd name="connsiteY199" fmla="*/ 297864 h 1374961"/>
                <a:gd name="connsiteX200" fmla="*/ 169555 w 924848"/>
                <a:gd name="connsiteY200" fmla="*/ 311473 h 1374961"/>
                <a:gd name="connsiteX201" fmla="*/ 169555 w 924848"/>
                <a:gd name="connsiteY201" fmla="*/ 288826 h 1374961"/>
                <a:gd name="connsiteX202" fmla="*/ 161354 w 924848"/>
                <a:gd name="connsiteY202" fmla="*/ 270699 h 1374961"/>
                <a:gd name="connsiteX203" fmla="*/ 161354 w 924848"/>
                <a:gd name="connsiteY203" fmla="*/ 240170 h 1374961"/>
                <a:gd name="connsiteX204" fmla="*/ 161354 w 924848"/>
                <a:gd name="connsiteY204" fmla="*/ 216105 h 1374961"/>
                <a:gd name="connsiteX205" fmla="*/ 192201 w 924848"/>
                <a:gd name="connsiteY205" fmla="*/ 200027 h 1374961"/>
                <a:gd name="connsiteX206" fmla="*/ 239069 w 924848"/>
                <a:gd name="connsiteY206" fmla="*/ 166294 h 1374961"/>
                <a:gd name="connsiteX207" fmla="*/ 265605 w 924848"/>
                <a:gd name="connsiteY207" fmla="*/ 180743 h 1374961"/>
                <a:gd name="connsiteX208" fmla="*/ 265605 w 924848"/>
                <a:gd name="connsiteY208" fmla="*/ 212059 h 1374961"/>
                <a:gd name="connsiteX209" fmla="*/ 271224 w 924848"/>
                <a:gd name="connsiteY209" fmla="*/ 240170 h 1374961"/>
                <a:gd name="connsiteX210" fmla="*/ 285677 w 924848"/>
                <a:gd name="connsiteY210" fmla="*/ 224933 h 1374961"/>
                <a:gd name="connsiteX211" fmla="*/ 285677 w 924848"/>
                <a:gd name="connsiteY211" fmla="*/ 200027 h 1374961"/>
                <a:gd name="connsiteX212" fmla="*/ 280051 w 924848"/>
                <a:gd name="connsiteY212" fmla="*/ 184789 h 1374961"/>
                <a:gd name="connsiteX213" fmla="*/ 288097 w 924848"/>
                <a:gd name="connsiteY213" fmla="*/ 166294 h 1374961"/>
                <a:gd name="connsiteX214" fmla="*/ 298548 w 924848"/>
                <a:gd name="connsiteY214" fmla="*/ 184789 h 1374961"/>
                <a:gd name="connsiteX215" fmla="*/ 306538 w 924848"/>
                <a:gd name="connsiteY215" fmla="*/ 216105 h 1374961"/>
                <a:gd name="connsiteX216" fmla="*/ 328242 w 924848"/>
                <a:gd name="connsiteY216" fmla="*/ 220099 h 1374961"/>
                <a:gd name="connsiteX217" fmla="*/ 328242 w 924848"/>
                <a:gd name="connsiteY217" fmla="*/ 204020 h 1374961"/>
                <a:gd name="connsiteX218" fmla="*/ 316996 w 924848"/>
                <a:gd name="connsiteY218" fmla="*/ 180743 h 1374961"/>
                <a:gd name="connsiteX219" fmla="*/ 309794 w 924848"/>
                <a:gd name="connsiteY219" fmla="*/ 158254 h 1374961"/>
                <a:gd name="connsiteX220" fmla="*/ 316996 w 924848"/>
                <a:gd name="connsiteY220" fmla="*/ 146222 h 1374961"/>
                <a:gd name="connsiteX221" fmla="*/ 338693 w 924848"/>
                <a:gd name="connsiteY221" fmla="*/ 152632 h 1374961"/>
                <a:gd name="connsiteX222" fmla="*/ 351514 w 924848"/>
                <a:gd name="connsiteY222" fmla="*/ 171285 h 1374961"/>
                <a:gd name="connsiteX223" fmla="*/ 364392 w 924848"/>
                <a:gd name="connsiteY223" fmla="*/ 184789 h 1374961"/>
                <a:gd name="connsiteX224" fmla="*/ 382888 w 924848"/>
                <a:gd name="connsiteY224" fmla="*/ 208066 h 1374961"/>
                <a:gd name="connsiteX225" fmla="*/ 397334 w 924848"/>
                <a:gd name="connsiteY225" fmla="*/ 240170 h 1374961"/>
                <a:gd name="connsiteX226" fmla="*/ 414952 w 924848"/>
                <a:gd name="connsiteY226" fmla="*/ 240193 h 1374961"/>
                <a:gd name="connsiteX227" fmla="*/ 414987 w 924848"/>
                <a:gd name="connsiteY227" fmla="*/ 240170 h 1374961"/>
                <a:gd name="connsiteX228" fmla="*/ 403748 w 924848"/>
                <a:gd name="connsiteY228" fmla="*/ 212059 h 1374961"/>
                <a:gd name="connsiteX229" fmla="*/ 386088 w 924848"/>
                <a:gd name="connsiteY229" fmla="*/ 184789 h 1374961"/>
                <a:gd name="connsiteX230" fmla="*/ 369223 w 924848"/>
                <a:gd name="connsiteY230" fmla="*/ 152632 h 1374961"/>
                <a:gd name="connsiteX231" fmla="*/ 369223 w 924848"/>
                <a:gd name="connsiteY231" fmla="*/ 133349 h 1374961"/>
                <a:gd name="connsiteX232" fmla="*/ 391715 w 924848"/>
                <a:gd name="connsiteY232" fmla="*/ 138971 h 1374961"/>
                <a:gd name="connsiteX233" fmla="*/ 410999 w 924848"/>
                <a:gd name="connsiteY233" fmla="*/ 158254 h 1374961"/>
                <a:gd name="connsiteX234" fmla="*/ 429440 w 924848"/>
                <a:gd name="connsiteY234" fmla="*/ 180743 h 1374961"/>
                <a:gd name="connsiteX235" fmla="*/ 440123 w 924848"/>
                <a:gd name="connsiteY235" fmla="*/ 188649 h 1374961"/>
                <a:gd name="connsiteX236" fmla="*/ 432647 w 924848"/>
                <a:gd name="connsiteY236" fmla="*/ 171285 h 1374961"/>
                <a:gd name="connsiteX237" fmla="*/ 410999 w 924848"/>
                <a:gd name="connsiteY237" fmla="*/ 138971 h 1374961"/>
                <a:gd name="connsiteX238" fmla="*/ 410999 w 924848"/>
                <a:gd name="connsiteY238" fmla="*/ 126150 h 1374961"/>
                <a:gd name="connsiteX239" fmla="*/ 429440 w 924848"/>
                <a:gd name="connsiteY239" fmla="*/ 126150 h 1374961"/>
                <a:gd name="connsiteX240" fmla="*/ 457551 w 924848"/>
                <a:gd name="connsiteY240" fmla="*/ 133349 h 1374961"/>
                <a:gd name="connsiteX241" fmla="*/ 476836 w 924848"/>
                <a:gd name="connsiteY241" fmla="*/ 146222 h 1374961"/>
                <a:gd name="connsiteX242" fmla="*/ 491289 w 924848"/>
                <a:gd name="connsiteY242" fmla="*/ 166294 h 1374961"/>
                <a:gd name="connsiteX243" fmla="*/ 491289 w 924848"/>
                <a:gd name="connsiteY243" fmla="*/ 138971 h 1374961"/>
                <a:gd name="connsiteX244" fmla="*/ 485662 w 924848"/>
                <a:gd name="connsiteY244" fmla="*/ 122945 h 1374961"/>
                <a:gd name="connsiteX245" fmla="*/ 468797 w 924848"/>
                <a:gd name="connsiteY245" fmla="*/ 107654 h 1374961"/>
                <a:gd name="connsiteX246" fmla="*/ 432647 w 924848"/>
                <a:gd name="connsiteY246" fmla="*/ 102032 h 1374961"/>
                <a:gd name="connsiteX247" fmla="*/ 377262 w 924848"/>
                <a:gd name="connsiteY247" fmla="*/ 107654 h 1374961"/>
                <a:gd name="connsiteX248" fmla="*/ 382044 w 924848"/>
                <a:gd name="connsiteY248" fmla="*/ 85954 h 1374961"/>
                <a:gd name="connsiteX249" fmla="*/ 397334 w 924848"/>
                <a:gd name="connsiteY249" fmla="*/ 73922 h 1374961"/>
                <a:gd name="connsiteX250" fmla="*/ 414987 w 924848"/>
                <a:gd name="connsiteY250" fmla="*/ 69928 h 1374961"/>
                <a:gd name="connsiteX251" fmla="*/ 432647 w 924848"/>
                <a:gd name="connsiteY251" fmla="*/ 52221 h 1374961"/>
                <a:gd name="connsiteX252" fmla="*/ 447937 w 924848"/>
                <a:gd name="connsiteY252" fmla="*/ 61048 h 1374961"/>
                <a:gd name="connsiteX253" fmla="*/ 468797 w 924848"/>
                <a:gd name="connsiteY253" fmla="*/ 73922 h 1374961"/>
                <a:gd name="connsiteX254" fmla="*/ 500952 w 924848"/>
                <a:gd name="connsiteY254" fmla="*/ 107654 h 1374961"/>
                <a:gd name="connsiteX255" fmla="*/ 504947 w 924848"/>
                <a:gd name="connsiteY255" fmla="*/ 91063 h 1374961"/>
                <a:gd name="connsiteX256" fmla="*/ 504947 w 924848"/>
                <a:gd name="connsiteY256" fmla="*/ 90788 h 1374961"/>
                <a:gd name="connsiteX257" fmla="*/ 516193 w 924848"/>
                <a:gd name="connsiteY257" fmla="*/ 69928 h 1374961"/>
                <a:gd name="connsiteX258" fmla="*/ 516193 w 924848"/>
                <a:gd name="connsiteY258" fmla="*/ 57055 h 1374961"/>
                <a:gd name="connsiteX259" fmla="*/ 500952 w 924848"/>
                <a:gd name="connsiteY259" fmla="*/ 29732 h 1374961"/>
                <a:gd name="connsiteX260" fmla="*/ 525807 w 924848"/>
                <a:gd name="connsiteY260" fmla="*/ 16070 h 1374961"/>
                <a:gd name="connsiteX261" fmla="*/ 562801 w 924848"/>
                <a:gd name="connsiteY261" fmla="*/ 4826 h 1374961"/>
                <a:gd name="connsiteX262" fmla="*/ 620599 w 924848"/>
                <a:gd name="connsiteY262" fmla="*/ 45 h 1374961"/>
                <a:gd name="connsiteX263" fmla="*/ 649497 w 924848"/>
                <a:gd name="connsiteY263" fmla="*/ 10448 h 1374961"/>
                <a:gd name="connsiteX264" fmla="*/ 685232 w 924848"/>
                <a:gd name="connsiteY264" fmla="*/ 10448 h 1374961"/>
                <a:gd name="connsiteX265" fmla="*/ 712183 w 924848"/>
                <a:gd name="connsiteY265" fmla="*/ 38559 h 1374961"/>
                <a:gd name="connsiteX266" fmla="*/ 675245 w 924848"/>
                <a:gd name="connsiteY266" fmla="*/ 57055 h 1374961"/>
                <a:gd name="connsiteX267" fmla="*/ 649497 w 924848"/>
                <a:gd name="connsiteY267" fmla="*/ 46598 h 1374961"/>
                <a:gd name="connsiteX268" fmla="*/ 620599 w 924848"/>
                <a:gd name="connsiteY268" fmla="*/ 61048 h 1374961"/>
                <a:gd name="connsiteX269" fmla="*/ 579666 w 924848"/>
                <a:gd name="connsiteY269" fmla="*/ 77915 h 1374961"/>
                <a:gd name="connsiteX270" fmla="*/ 553918 w 924848"/>
                <a:gd name="connsiteY270" fmla="*/ 102032 h 1374961"/>
                <a:gd name="connsiteX271" fmla="*/ 590912 w 924848"/>
                <a:gd name="connsiteY271" fmla="*/ 95622 h 1374961"/>
                <a:gd name="connsiteX272" fmla="*/ 639883 w 924848"/>
                <a:gd name="connsiteY272" fmla="*/ 73922 h 1374961"/>
                <a:gd name="connsiteX273" fmla="*/ 701732 w 924848"/>
                <a:gd name="connsiteY273" fmla="*/ 69928 h 1374961"/>
                <a:gd name="connsiteX274" fmla="*/ 728268 w 924848"/>
                <a:gd name="connsiteY274" fmla="*/ 57055 h 1374961"/>
                <a:gd name="connsiteX275" fmla="*/ 728268 w 924848"/>
                <a:gd name="connsiteY275" fmla="*/ 85954 h 1374961"/>
                <a:gd name="connsiteX276" fmla="*/ 750752 w 924848"/>
                <a:gd name="connsiteY276" fmla="*/ 90000 h 1374961"/>
                <a:gd name="connsiteX277" fmla="*/ 796523 w 924848"/>
                <a:gd name="connsiteY277" fmla="*/ 133349 h 1374961"/>
                <a:gd name="connsiteX278" fmla="*/ 779651 w 924848"/>
                <a:gd name="connsiteY278" fmla="*/ 152632 h 1374961"/>
                <a:gd name="connsiteX279" fmla="*/ 757954 w 924848"/>
                <a:gd name="connsiteY279" fmla="*/ 166294 h 1374961"/>
                <a:gd name="connsiteX280" fmla="*/ 737094 w 924848"/>
                <a:gd name="connsiteY280" fmla="*/ 180743 h 1374961"/>
                <a:gd name="connsiteX281" fmla="*/ 685232 w 924848"/>
                <a:gd name="connsiteY281" fmla="*/ 171285 h 1374961"/>
                <a:gd name="connsiteX282" fmla="*/ 636571 w 924848"/>
                <a:gd name="connsiteY282" fmla="*/ 190253 h 1374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</a:cxnLst>
              <a:rect l="l" t="t" r="r" b="b"/>
              <a:pathLst>
                <a:path w="924848" h="1374961">
                  <a:moveTo>
                    <a:pt x="636571" y="190253"/>
                  </a:moveTo>
                  <a:cubicBezTo>
                    <a:pt x="624678" y="196769"/>
                    <a:pt x="608150" y="219100"/>
                    <a:pt x="601370" y="229451"/>
                  </a:cubicBezTo>
                  <a:lnTo>
                    <a:pt x="604992" y="233130"/>
                  </a:lnTo>
                  <a:cubicBezTo>
                    <a:pt x="607377" y="231904"/>
                    <a:pt x="613558" y="229451"/>
                    <a:pt x="619234" y="229451"/>
                  </a:cubicBezTo>
                  <a:cubicBezTo>
                    <a:pt x="626331" y="229451"/>
                    <a:pt x="624748" y="224354"/>
                    <a:pt x="630213" y="220099"/>
                  </a:cubicBezTo>
                  <a:cubicBezTo>
                    <a:pt x="635678" y="215842"/>
                    <a:pt x="636571" y="217209"/>
                    <a:pt x="641775" y="212059"/>
                  </a:cubicBezTo>
                  <a:cubicBezTo>
                    <a:pt x="646980" y="206910"/>
                    <a:pt x="648344" y="208066"/>
                    <a:pt x="653281" y="208066"/>
                  </a:cubicBezTo>
                  <a:cubicBezTo>
                    <a:pt x="658225" y="208066"/>
                    <a:pt x="667523" y="204020"/>
                    <a:pt x="672460" y="204020"/>
                  </a:cubicBezTo>
                  <a:cubicBezTo>
                    <a:pt x="677405" y="204020"/>
                    <a:pt x="691119" y="198556"/>
                    <a:pt x="695001" y="198556"/>
                  </a:cubicBezTo>
                  <a:lnTo>
                    <a:pt x="722430" y="198556"/>
                  </a:lnTo>
                  <a:lnTo>
                    <a:pt x="727374" y="208066"/>
                  </a:lnTo>
                  <a:lnTo>
                    <a:pt x="722430" y="220099"/>
                  </a:lnTo>
                  <a:cubicBezTo>
                    <a:pt x="717859" y="223216"/>
                    <a:pt x="707731" y="230187"/>
                    <a:pt x="703778" y="233130"/>
                  </a:cubicBezTo>
                  <a:cubicBezTo>
                    <a:pt x="698841" y="236808"/>
                    <a:pt x="695001" y="240170"/>
                    <a:pt x="691119" y="245740"/>
                  </a:cubicBezTo>
                  <a:cubicBezTo>
                    <a:pt x="688003" y="250196"/>
                    <a:pt x="682532" y="252010"/>
                    <a:pt x="680190" y="252361"/>
                  </a:cubicBezTo>
                  <a:cubicBezTo>
                    <a:pt x="682918" y="254550"/>
                    <a:pt x="689705" y="259696"/>
                    <a:pt x="695001" y="262764"/>
                  </a:cubicBezTo>
                  <a:cubicBezTo>
                    <a:pt x="701626" y="266600"/>
                    <a:pt x="704883" y="258929"/>
                    <a:pt x="708716" y="258929"/>
                  </a:cubicBezTo>
                  <a:cubicBezTo>
                    <a:pt x="712556" y="258929"/>
                    <a:pt x="728479" y="240170"/>
                    <a:pt x="732839" y="240170"/>
                  </a:cubicBezTo>
                  <a:cubicBezTo>
                    <a:pt x="737200" y="240170"/>
                    <a:pt x="746554" y="224354"/>
                    <a:pt x="746554" y="220099"/>
                  </a:cubicBezTo>
                  <a:lnTo>
                    <a:pt x="746554" y="208066"/>
                  </a:lnTo>
                  <a:cubicBezTo>
                    <a:pt x="746554" y="204072"/>
                    <a:pt x="748755" y="200763"/>
                    <a:pt x="752595" y="198556"/>
                  </a:cubicBezTo>
                  <a:cubicBezTo>
                    <a:pt x="756428" y="196349"/>
                    <a:pt x="767414" y="197452"/>
                    <a:pt x="770719" y="197452"/>
                  </a:cubicBezTo>
                  <a:cubicBezTo>
                    <a:pt x="773371" y="197452"/>
                    <a:pt x="776936" y="201831"/>
                    <a:pt x="778392" y="204020"/>
                  </a:cubicBezTo>
                  <a:lnTo>
                    <a:pt x="783329" y="229451"/>
                  </a:lnTo>
                  <a:lnTo>
                    <a:pt x="783329" y="245740"/>
                  </a:lnTo>
                  <a:cubicBezTo>
                    <a:pt x="783329" y="251310"/>
                    <a:pt x="779651" y="256197"/>
                    <a:pt x="773455" y="258929"/>
                  </a:cubicBezTo>
                  <a:cubicBezTo>
                    <a:pt x="767252" y="261661"/>
                    <a:pt x="770719" y="265496"/>
                    <a:pt x="764678" y="272643"/>
                  </a:cubicBezTo>
                  <a:cubicBezTo>
                    <a:pt x="758636" y="279788"/>
                    <a:pt x="758109" y="278159"/>
                    <a:pt x="755324" y="283624"/>
                  </a:cubicBezTo>
                  <a:cubicBezTo>
                    <a:pt x="752539" y="289089"/>
                    <a:pt x="744922" y="311052"/>
                    <a:pt x="739985" y="319301"/>
                  </a:cubicBezTo>
                  <a:cubicBezTo>
                    <a:pt x="735041" y="327551"/>
                    <a:pt x="737094" y="333016"/>
                    <a:pt x="739985" y="335748"/>
                  </a:cubicBezTo>
                  <a:cubicBezTo>
                    <a:pt x="742875" y="338480"/>
                    <a:pt x="754803" y="317672"/>
                    <a:pt x="758109" y="313785"/>
                  </a:cubicBezTo>
                  <a:cubicBezTo>
                    <a:pt x="761421" y="309896"/>
                    <a:pt x="767414" y="303906"/>
                    <a:pt x="767414" y="301174"/>
                  </a:cubicBezTo>
                  <a:cubicBezTo>
                    <a:pt x="767414" y="298441"/>
                    <a:pt x="778392" y="281417"/>
                    <a:pt x="783329" y="270436"/>
                  </a:cubicBezTo>
                  <a:cubicBezTo>
                    <a:pt x="788274" y="259454"/>
                    <a:pt x="788274" y="261661"/>
                    <a:pt x="787169" y="258929"/>
                  </a:cubicBezTo>
                  <a:cubicBezTo>
                    <a:pt x="786065" y="256197"/>
                    <a:pt x="791579" y="252361"/>
                    <a:pt x="813494" y="245740"/>
                  </a:cubicBezTo>
                  <a:cubicBezTo>
                    <a:pt x="821167" y="245740"/>
                    <a:pt x="817327" y="252361"/>
                    <a:pt x="821216" y="252361"/>
                  </a:cubicBezTo>
                  <a:lnTo>
                    <a:pt x="845333" y="252361"/>
                  </a:lnTo>
                  <a:cubicBezTo>
                    <a:pt x="849700" y="248525"/>
                    <a:pt x="845333" y="248525"/>
                    <a:pt x="845333" y="245740"/>
                  </a:cubicBezTo>
                  <a:lnTo>
                    <a:pt x="845333" y="229451"/>
                  </a:lnTo>
                  <a:cubicBezTo>
                    <a:pt x="845333" y="224091"/>
                    <a:pt x="851381" y="220099"/>
                    <a:pt x="854687" y="220099"/>
                  </a:cubicBezTo>
                  <a:cubicBezTo>
                    <a:pt x="857999" y="220099"/>
                    <a:pt x="870560" y="223251"/>
                    <a:pt x="878283" y="224354"/>
                  </a:cubicBezTo>
                  <a:cubicBezTo>
                    <a:pt x="886005" y="225458"/>
                    <a:pt x="890893" y="229451"/>
                    <a:pt x="898038" y="229451"/>
                  </a:cubicBezTo>
                  <a:cubicBezTo>
                    <a:pt x="905184" y="229451"/>
                    <a:pt x="907336" y="234811"/>
                    <a:pt x="915586" y="240170"/>
                  </a:cubicBezTo>
                  <a:cubicBezTo>
                    <a:pt x="923836" y="245530"/>
                    <a:pt x="922732" y="248525"/>
                    <a:pt x="924363" y="256197"/>
                  </a:cubicBezTo>
                  <a:cubicBezTo>
                    <a:pt x="925995" y="263868"/>
                    <a:pt x="923259" y="264446"/>
                    <a:pt x="919954" y="270436"/>
                  </a:cubicBezTo>
                  <a:cubicBezTo>
                    <a:pt x="916641" y="276426"/>
                    <a:pt x="916690" y="275375"/>
                    <a:pt x="907336" y="284728"/>
                  </a:cubicBezTo>
                  <a:cubicBezTo>
                    <a:pt x="897989" y="294081"/>
                    <a:pt x="900774" y="291874"/>
                    <a:pt x="890893" y="301174"/>
                  </a:cubicBezTo>
                  <a:cubicBezTo>
                    <a:pt x="881011" y="310474"/>
                    <a:pt x="885956" y="308320"/>
                    <a:pt x="885372" y="311052"/>
                  </a:cubicBezTo>
                  <a:cubicBezTo>
                    <a:pt x="884795" y="313785"/>
                    <a:pt x="873345" y="325870"/>
                    <a:pt x="870560" y="329180"/>
                  </a:cubicBezTo>
                  <a:cubicBezTo>
                    <a:pt x="867775" y="332490"/>
                    <a:pt x="862360" y="333016"/>
                    <a:pt x="854687" y="333016"/>
                  </a:cubicBezTo>
                  <a:cubicBezTo>
                    <a:pt x="847021" y="333016"/>
                    <a:pt x="838187" y="333541"/>
                    <a:pt x="825057" y="333016"/>
                  </a:cubicBezTo>
                  <a:cubicBezTo>
                    <a:pt x="811919" y="332490"/>
                    <a:pt x="798676" y="339058"/>
                    <a:pt x="793211" y="342368"/>
                  </a:cubicBezTo>
                  <a:cubicBezTo>
                    <a:pt x="788836" y="345016"/>
                    <a:pt x="796889" y="348586"/>
                    <a:pt x="801461" y="350040"/>
                  </a:cubicBezTo>
                  <a:cubicBezTo>
                    <a:pt x="813895" y="349847"/>
                    <a:pt x="840079" y="349577"/>
                    <a:pt x="845333" y="350040"/>
                  </a:cubicBezTo>
                  <a:cubicBezTo>
                    <a:pt x="850593" y="350502"/>
                    <a:pt x="853758" y="354611"/>
                    <a:pt x="854687" y="356607"/>
                  </a:cubicBezTo>
                  <a:cubicBezTo>
                    <a:pt x="855967" y="358447"/>
                    <a:pt x="857760" y="364090"/>
                    <a:pt x="854687" y="371951"/>
                  </a:cubicBezTo>
                  <a:cubicBezTo>
                    <a:pt x="850854" y="381776"/>
                    <a:pt x="837083" y="371951"/>
                    <a:pt x="833827" y="371951"/>
                  </a:cubicBezTo>
                  <a:lnTo>
                    <a:pt x="817327" y="371951"/>
                  </a:lnTo>
                  <a:cubicBezTo>
                    <a:pt x="813494" y="371408"/>
                    <a:pt x="804949" y="370648"/>
                    <a:pt x="801461" y="371951"/>
                  </a:cubicBezTo>
                  <a:cubicBezTo>
                    <a:pt x="797100" y="373580"/>
                    <a:pt x="793211" y="382932"/>
                    <a:pt x="791579" y="388975"/>
                  </a:cubicBezTo>
                  <a:lnTo>
                    <a:pt x="791544" y="389111"/>
                  </a:lnTo>
                  <a:cubicBezTo>
                    <a:pt x="789926" y="395109"/>
                    <a:pt x="788295" y="401159"/>
                    <a:pt x="791579" y="414248"/>
                  </a:cubicBezTo>
                  <a:cubicBezTo>
                    <a:pt x="794892" y="427437"/>
                    <a:pt x="798676" y="417506"/>
                    <a:pt x="805821" y="421920"/>
                  </a:cubicBezTo>
                  <a:cubicBezTo>
                    <a:pt x="812967" y="426334"/>
                    <a:pt x="813494" y="434005"/>
                    <a:pt x="813494" y="448245"/>
                  </a:cubicBezTo>
                  <a:cubicBezTo>
                    <a:pt x="813494" y="462484"/>
                    <a:pt x="813494" y="462537"/>
                    <a:pt x="805821" y="472940"/>
                  </a:cubicBezTo>
                  <a:cubicBezTo>
                    <a:pt x="798148" y="483344"/>
                    <a:pt x="791579" y="477354"/>
                    <a:pt x="788274" y="477354"/>
                  </a:cubicBezTo>
                  <a:cubicBezTo>
                    <a:pt x="784961" y="477354"/>
                    <a:pt x="778392" y="508617"/>
                    <a:pt x="778392" y="514082"/>
                  </a:cubicBezTo>
                  <a:cubicBezTo>
                    <a:pt x="778392" y="519546"/>
                    <a:pt x="775080" y="530002"/>
                    <a:pt x="773455" y="545924"/>
                  </a:cubicBezTo>
                  <a:cubicBezTo>
                    <a:pt x="771823" y="561845"/>
                    <a:pt x="767414" y="582705"/>
                    <a:pt x="767414" y="585962"/>
                  </a:cubicBezTo>
                  <a:cubicBezTo>
                    <a:pt x="767414" y="589220"/>
                    <a:pt x="773982" y="589850"/>
                    <a:pt x="778392" y="592004"/>
                  </a:cubicBezTo>
                  <a:cubicBezTo>
                    <a:pt x="782809" y="594159"/>
                    <a:pt x="785538" y="601358"/>
                    <a:pt x="791579" y="604090"/>
                  </a:cubicBezTo>
                  <a:cubicBezTo>
                    <a:pt x="797628" y="606822"/>
                    <a:pt x="798676" y="606296"/>
                    <a:pt x="805821" y="606822"/>
                  </a:cubicBezTo>
                  <a:cubicBezTo>
                    <a:pt x="812967" y="607348"/>
                    <a:pt x="817327" y="611236"/>
                    <a:pt x="821216" y="613443"/>
                  </a:cubicBezTo>
                  <a:cubicBezTo>
                    <a:pt x="825106" y="615650"/>
                    <a:pt x="821216" y="618382"/>
                    <a:pt x="821216" y="624949"/>
                  </a:cubicBezTo>
                  <a:cubicBezTo>
                    <a:pt x="821216" y="631518"/>
                    <a:pt x="819536" y="630414"/>
                    <a:pt x="813494" y="633199"/>
                  </a:cubicBezTo>
                  <a:cubicBezTo>
                    <a:pt x="808662" y="635427"/>
                    <a:pt x="806363" y="634128"/>
                    <a:pt x="805821" y="633199"/>
                  </a:cubicBezTo>
                  <a:cubicBezTo>
                    <a:pt x="803437" y="632831"/>
                    <a:pt x="796594" y="631213"/>
                    <a:pt x="788274" y="627682"/>
                  </a:cubicBezTo>
                  <a:cubicBezTo>
                    <a:pt x="786846" y="627220"/>
                    <a:pt x="781093" y="625667"/>
                    <a:pt x="778392" y="624949"/>
                  </a:cubicBezTo>
                  <a:lnTo>
                    <a:pt x="778392" y="640293"/>
                  </a:lnTo>
                  <a:lnTo>
                    <a:pt x="769200" y="640293"/>
                  </a:lnTo>
                  <a:cubicBezTo>
                    <a:pt x="766781" y="638646"/>
                    <a:pt x="761949" y="636342"/>
                    <a:pt x="761949" y="640293"/>
                  </a:cubicBezTo>
                  <a:cubicBezTo>
                    <a:pt x="761949" y="645231"/>
                    <a:pt x="767414" y="652378"/>
                    <a:pt x="769200" y="662256"/>
                  </a:cubicBezTo>
                  <a:cubicBezTo>
                    <a:pt x="770986" y="672134"/>
                    <a:pt x="774559" y="671031"/>
                    <a:pt x="778392" y="675445"/>
                  </a:cubicBezTo>
                  <a:cubicBezTo>
                    <a:pt x="782232" y="679858"/>
                    <a:pt x="790060" y="678702"/>
                    <a:pt x="793211" y="685848"/>
                  </a:cubicBezTo>
                  <a:cubicBezTo>
                    <a:pt x="796362" y="692994"/>
                    <a:pt x="805821" y="716063"/>
                    <a:pt x="805821" y="720424"/>
                  </a:cubicBezTo>
                  <a:lnTo>
                    <a:pt x="805821" y="726993"/>
                  </a:lnTo>
                  <a:lnTo>
                    <a:pt x="798676" y="731402"/>
                  </a:lnTo>
                  <a:cubicBezTo>
                    <a:pt x="796854" y="730671"/>
                    <a:pt x="792001" y="729637"/>
                    <a:pt x="787169" y="731402"/>
                  </a:cubicBezTo>
                  <a:cubicBezTo>
                    <a:pt x="781128" y="733611"/>
                    <a:pt x="785538" y="735819"/>
                    <a:pt x="785538" y="739652"/>
                  </a:cubicBezTo>
                  <a:cubicBezTo>
                    <a:pt x="785538" y="743492"/>
                    <a:pt x="787169" y="748429"/>
                    <a:pt x="787169" y="751686"/>
                  </a:cubicBezTo>
                  <a:cubicBezTo>
                    <a:pt x="787169" y="754295"/>
                    <a:pt x="791199" y="757186"/>
                    <a:pt x="793211" y="758304"/>
                  </a:cubicBezTo>
                  <a:cubicBezTo>
                    <a:pt x="798697" y="759950"/>
                    <a:pt x="810428" y="763677"/>
                    <a:pt x="813494" y="765400"/>
                  </a:cubicBezTo>
                  <a:cubicBezTo>
                    <a:pt x="817327" y="767552"/>
                    <a:pt x="813494" y="775858"/>
                    <a:pt x="813494" y="779691"/>
                  </a:cubicBezTo>
                  <a:cubicBezTo>
                    <a:pt x="813494" y="783524"/>
                    <a:pt x="808557" y="793406"/>
                    <a:pt x="805821" y="793406"/>
                  </a:cubicBezTo>
                  <a:lnTo>
                    <a:pt x="787169" y="793406"/>
                  </a:lnTo>
                  <a:lnTo>
                    <a:pt x="757427" y="796085"/>
                  </a:lnTo>
                  <a:lnTo>
                    <a:pt x="757427" y="803336"/>
                  </a:lnTo>
                  <a:lnTo>
                    <a:pt x="767414" y="809694"/>
                  </a:lnTo>
                  <a:lnTo>
                    <a:pt x="790060" y="819625"/>
                  </a:lnTo>
                  <a:cubicBezTo>
                    <a:pt x="790967" y="823564"/>
                    <a:pt x="791340" y="832348"/>
                    <a:pt x="785538" y="835963"/>
                  </a:cubicBezTo>
                  <a:lnTo>
                    <a:pt x="769200" y="835963"/>
                  </a:lnTo>
                  <a:lnTo>
                    <a:pt x="761949" y="835963"/>
                  </a:lnTo>
                  <a:lnTo>
                    <a:pt x="746554" y="831448"/>
                  </a:lnTo>
                  <a:lnTo>
                    <a:pt x="727529" y="822354"/>
                  </a:lnTo>
                  <a:cubicBezTo>
                    <a:pt x="724814" y="825385"/>
                    <a:pt x="719385" y="832348"/>
                    <a:pt x="719385" y="835963"/>
                  </a:cubicBezTo>
                  <a:cubicBezTo>
                    <a:pt x="719385" y="840485"/>
                    <a:pt x="732101" y="843214"/>
                    <a:pt x="738409" y="849523"/>
                  </a:cubicBezTo>
                  <a:cubicBezTo>
                    <a:pt x="744711" y="855831"/>
                    <a:pt x="742925" y="854094"/>
                    <a:pt x="747496" y="856774"/>
                  </a:cubicBezTo>
                  <a:cubicBezTo>
                    <a:pt x="751153" y="858919"/>
                    <a:pt x="758650" y="866142"/>
                    <a:pt x="761949" y="869489"/>
                  </a:cubicBezTo>
                  <a:cubicBezTo>
                    <a:pt x="763770" y="871592"/>
                    <a:pt x="767414" y="876888"/>
                    <a:pt x="767414" y="881256"/>
                  </a:cubicBezTo>
                  <a:cubicBezTo>
                    <a:pt x="767414" y="885630"/>
                    <a:pt x="760753" y="891524"/>
                    <a:pt x="757427" y="893922"/>
                  </a:cubicBezTo>
                  <a:lnTo>
                    <a:pt x="747496" y="889400"/>
                  </a:lnTo>
                  <a:lnTo>
                    <a:pt x="738409" y="875798"/>
                  </a:lnTo>
                  <a:lnTo>
                    <a:pt x="727529" y="875798"/>
                  </a:lnTo>
                  <a:cubicBezTo>
                    <a:pt x="723014" y="874286"/>
                    <a:pt x="715052" y="874898"/>
                    <a:pt x="719385" y="889400"/>
                  </a:cubicBezTo>
                  <a:cubicBezTo>
                    <a:pt x="726615" y="893774"/>
                    <a:pt x="735076" y="903311"/>
                    <a:pt x="738409" y="907531"/>
                  </a:cubicBezTo>
                  <a:lnTo>
                    <a:pt x="761949" y="929228"/>
                  </a:lnTo>
                  <a:cubicBezTo>
                    <a:pt x="764361" y="933771"/>
                    <a:pt x="768841" y="943744"/>
                    <a:pt x="767414" y="947359"/>
                  </a:cubicBezTo>
                  <a:cubicBezTo>
                    <a:pt x="765627" y="951882"/>
                    <a:pt x="769200" y="961862"/>
                    <a:pt x="769200" y="972735"/>
                  </a:cubicBezTo>
                  <a:cubicBezTo>
                    <a:pt x="769200" y="983615"/>
                    <a:pt x="762891" y="985401"/>
                    <a:pt x="756533" y="985401"/>
                  </a:cubicBezTo>
                  <a:cubicBezTo>
                    <a:pt x="750175" y="985401"/>
                    <a:pt x="742925" y="982722"/>
                    <a:pt x="738409" y="985401"/>
                  </a:cubicBezTo>
                  <a:cubicBezTo>
                    <a:pt x="734794" y="987546"/>
                    <a:pt x="732698" y="970604"/>
                    <a:pt x="732101" y="961862"/>
                  </a:cubicBezTo>
                  <a:lnTo>
                    <a:pt x="719385" y="942837"/>
                  </a:lnTo>
                  <a:lnTo>
                    <a:pt x="719385" y="961862"/>
                  </a:lnTo>
                  <a:lnTo>
                    <a:pt x="703989" y="992652"/>
                  </a:lnTo>
                  <a:lnTo>
                    <a:pt x="727529" y="1000796"/>
                  </a:lnTo>
                  <a:lnTo>
                    <a:pt x="756533" y="1008990"/>
                  </a:lnTo>
                  <a:lnTo>
                    <a:pt x="738409" y="1027072"/>
                  </a:lnTo>
                  <a:cubicBezTo>
                    <a:pt x="730265" y="1034618"/>
                    <a:pt x="713245" y="1050443"/>
                    <a:pt x="710347" y="1053340"/>
                  </a:cubicBezTo>
                  <a:cubicBezTo>
                    <a:pt x="707450" y="1056238"/>
                    <a:pt x="692814" y="1060015"/>
                    <a:pt x="685858" y="1061534"/>
                  </a:cubicBezTo>
                  <a:lnTo>
                    <a:pt x="630635" y="1087760"/>
                  </a:lnTo>
                  <a:lnTo>
                    <a:pt x="600737" y="1070571"/>
                  </a:lnTo>
                  <a:cubicBezTo>
                    <a:pt x="604050" y="1073905"/>
                    <a:pt x="610309" y="1082000"/>
                    <a:pt x="608882" y="1087760"/>
                  </a:cubicBezTo>
                  <a:cubicBezTo>
                    <a:pt x="607095" y="1094955"/>
                    <a:pt x="596222" y="1109513"/>
                    <a:pt x="592593" y="1114971"/>
                  </a:cubicBezTo>
                  <a:cubicBezTo>
                    <a:pt x="588971" y="1120436"/>
                    <a:pt x="571733" y="1151177"/>
                    <a:pt x="568104" y="1151177"/>
                  </a:cubicBezTo>
                  <a:cubicBezTo>
                    <a:pt x="565206" y="1151177"/>
                    <a:pt x="548193" y="1171109"/>
                    <a:pt x="540049" y="1181075"/>
                  </a:cubicBezTo>
                  <a:lnTo>
                    <a:pt x="505629" y="1181075"/>
                  </a:lnTo>
                  <a:lnTo>
                    <a:pt x="491127" y="1191062"/>
                  </a:lnTo>
                  <a:lnTo>
                    <a:pt x="473003" y="1246285"/>
                  </a:lnTo>
                  <a:cubicBezTo>
                    <a:pt x="466364" y="1276492"/>
                    <a:pt x="451636" y="1339452"/>
                    <a:pt x="445834" y="1349587"/>
                  </a:cubicBezTo>
                  <a:cubicBezTo>
                    <a:pt x="440032" y="1359714"/>
                    <a:pt x="437985" y="1370721"/>
                    <a:pt x="437690" y="1374962"/>
                  </a:cubicBezTo>
                  <a:lnTo>
                    <a:pt x="426810" y="1374962"/>
                  </a:lnTo>
                  <a:lnTo>
                    <a:pt x="410472" y="1356838"/>
                  </a:lnTo>
                  <a:lnTo>
                    <a:pt x="396019" y="1343229"/>
                  </a:lnTo>
                  <a:lnTo>
                    <a:pt x="368801" y="1343229"/>
                  </a:lnTo>
                  <a:lnTo>
                    <a:pt x="356142" y="1336920"/>
                  </a:lnTo>
                  <a:lnTo>
                    <a:pt x="331653" y="1282541"/>
                  </a:lnTo>
                  <a:lnTo>
                    <a:pt x="306327" y="1233619"/>
                  </a:lnTo>
                  <a:lnTo>
                    <a:pt x="296347" y="1202828"/>
                  </a:lnTo>
                  <a:lnTo>
                    <a:pt x="286360" y="1151177"/>
                  </a:lnTo>
                  <a:lnTo>
                    <a:pt x="286360" y="1127638"/>
                  </a:lnTo>
                  <a:lnTo>
                    <a:pt x="286360" y="1080558"/>
                  </a:lnTo>
                  <a:lnTo>
                    <a:pt x="315364" y="1061534"/>
                  </a:lnTo>
                  <a:lnTo>
                    <a:pt x="321722" y="1023443"/>
                  </a:lnTo>
                  <a:lnTo>
                    <a:pt x="315364" y="1016241"/>
                  </a:lnTo>
                  <a:lnTo>
                    <a:pt x="306327" y="1027072"/>
                  </a:lnTo>
                  <a:lnTo>
                    <a:pt x="296347" y="1037945"/>
                  </a:lnTo>
                  <a:lnTo>
                    <a:pt x="273693" y="1037945"/>
                  </a:lnTo>
                  <a:lnTo>
                    <a:pt x="266442" y="1027072"/>
                  </a:lnTo>
                  <a:lnTo>
                    <a:pt x="266442" y="1000796"/>
                  </a:lnTo>
                  <a:lnTo>
                    <a:pt x="273693" y="979986"/>
                  </a:lnTo>
                  <a:lnTo>
                    <a:pt x="286360" y="972735"/>
                  </a:lnTo>
                  <a:cubicBezTo>
                    <a:pt x="292401" y="975154"/>
                    <a:pt x="306664" y="981069"/>
                    <a:pt x="315364" y="985401"/>
                  </a:cubicBezTo>
                  <a:cubicBezTo>
                    <a:pt x="326244" y="990817"/>
                    <a:pt x="325351" y="985401"/>
                    <a:pt x="325351" y="979986"/>
                  </a:cubicBezTo>
                  <a:cubicBezTo>
                    <a:pt x="325351" y="974577"/>
                    <a:pt x="319886" y="968219"/>
                    <a:pt x="315364" y="961862"/>
                  </a:cubicBezTo>
                  <a:cubicBezTo>
                    <a:pt x="310849" y="955504"/>
                    <a:pt x="315364" y="942837"/>
                    <a:pt x="315364" y="935586"/>
                  </a:cubicBezTo>
                  <a:cubicBezTo>
                    <a:pt x="315364" y="928335"/>
                    <a:pt x="301811" y="929228"/>
                    <a:pt x="286360" y="929228"/>
                  </a:cubicBezTo>
                  <a:cubicBezTo>
                    <a:pt x="274003" y="929228"/>
                    <a:pt x="267933" y="938308"/>
                    <a:pt x="266442" y="942837"/>
                  </a:cubicBezTo>
                  <a:lnTo>
                    <a:pt x="252889" y="929228"/>
                  </a:lnTo>
                  <a:lnTo>
                    <a:pt x="252889" y="875798"/>
                  </a:lnTo>
                  <a:cubicBezTo>
                    <a:pt x="252889" y="868540"/>
                    <a:pt x="246532" y="849523"/>
                    <a:pt x="246532" y="843214"/>
                  </a:cubicBezTo>
                  <a:cubicBezTo>
                    <a:pt x="246532" y="836912"/>
                    <a:pt x="249260" y="812423"/>
                    <a:pt x="246532" y="803336"/>
                  </a:cubicBezTo>
                  <a:cubicBezTo>
                    <a:pt x="243796" y="794250"/>
                    <a:pt x="236545" y="766188"/>
                    <a:pt x="231136" y="755308"/>
                  </a:cubicBezTo>
                  <a:cubicBezTo>
                    <a:pt x="225721" y="744435"/>
                    <a:pt x="206647" y="716373"/>
                    <a:pt x="203025" y="710964"/>
                  </a:cubicBezTo>
                  <a:cubicBezTo>
                    <a:pt x="199396" y="705549"/>
                    <a:pt x="192201" y="694623"/>
                    <a:pt x="185843" y="688318"/>
                  </a:cubicBezTo>
                  <a:cubicBezTo>
                    <a:pt x="179485" y="682012"/>
                    <a:pt x="169555" y="683746"/>
                    <a:pt x="150481" y="683746"/>
                  </a:cubicBezTo>
                  <a:lnTo>
                    <a:pt x="108810" y="683746"/>
                  </a:lnTo>
                  <a:cubicBezTo>
                    <a:pt x="103346" y="683746"/>
                    <a:pt x="67139" y="688318"/>
                    <a:pt x="54480" y="688318"/>
                  </a:cubicBezTo>
                  <a:cubicBezTo>
                    <a:pt x="41813" y="688318"/>
                    <a:pt x="48122" y="685586"/>
                    <a:pt x="40871" y="683746"/>
                  </a:cubicBezTo>
                  <a:cubicBezTo>
                    <a:pt x="33620" y="681907"/>
                    <a:pt x="40871" y="668351"/>
                    <a:pt x="48122" y="662046"/>
                  </a:cubicBezTo>
                  <a:cubicBezTo>
                    <a:pt x="53917" y="657002"/>
                    <a:pt x="54775" y="646037"/>
                    <a:pt x="54480" y="641186"/>
                  </a:cubicBezTo>
                  <a:cubicBezTo>
                    <a:pt x="49944" y="641483"/>
                    <a:pt x="38705" y="641900"/>
                    <a:pt x="30047" y="641186"/>
                  </a:cubicBezTo>
                  <a:cubicBezTo>
                    <a:pt x="19216" y="640293"/>
                    <a:pt x="16438" y="623058"/>
                    <a:pt x="16438" y="615807"/>
                  </a:cubicBezTo>
                  <a:cubicBezTo>
                    <a:pt x="16438" y="608556"/>
                    <a:pt x="30047" y="608609"/>
                    <a:pt x="48122" y="607663"/>
                  </a:cubicBezTo>
                  <a:cubicBezTo>
                    <a:pt x="66197" y="606717"/>
                    <a:pt x="72604" y="604037"/>
                    <a:pt x="78962" y="600412"/>
                  </a:cubicBezTo>
                  <a:cubicBezTo>
                    <a:pt x="84047" y="597511"/>
                    <a:pt x="89526" y="585332"/>
                    <a:pt x="91628" y="579604"/>
                  </a:cubicBezTo>
                  <a:lnTo>
                    <a:pt x="72604" y="579604"/>
                  </a:lnTo>
                  <a:cubicBezTo>
                    <a:pt x="66246" y="579604"/>
                    <a:pt x="49064" y="589535"/>
                    <a:pt x="40871" y="589535"/>
                  </a:cubicBezTo>
                  <a:cubicBezTo>
                    <a:pt x="32670" y="589535"/>
                    <a:pt x="40871" y="576872"/>
                    <a:pt x="16438" y="565996"/>
                  </a:cubicBezTo>
                  <a:cubicBezTo>
                    <a:pt x="-8002" y="555119"/>
                    <a:pt x="1036" y="527061"/>
                    <a:pt x="4665" y="518023"/>
                  </a:cubicBezTo>
                  <a:cubicBezTo>
                    <a:pt x="8287" y="508985"/>
                    <a:pt x="17331" y="507146"/>
                    <a:pt x="30047" y="501682"/>
                  </a:cubicBezTo>
                  <a:cubicBezTo>
                    <a:pt x="42763" y="496217"/>
                    <a:pt x="49064" y="485393"/>
                    <a:pt x="54480" y="479929"/>
                  </a:cubicBezTo>
                  <a:cubicBezTo>
                    <a:pt x="59888" y="474464"/>
                    <a:pt x="91628" y="466372"/>
                    <a:pt x="114275" y="446458"/>
                  </a:cubicBezTo>
                  <a:cubicBezTo>
                    <a:pt x="132392" y="430526"/>
                    <a:pt x="128482" y="393897"/>
                    <a:pt x="124255" y="377573"/>
                  </a:cubicBezTo>
                  <a:cubicBezTo>
                    <a:pt x="119107" y="381199"/>
                    <a:pt x="105371" y="388628"/>
                    <a:pt x="91628" y="389343"/>
                  </a:cubicBezTo>
                  <a:cubicBezTo>
                    <a:pt x="74447" y="390236"/>
                    <a:pt x="78962" y="370322"/>
                    <a:pt x="78962" y="363071"/>
                  </a:cubicBezTo>
                  <a:cubicBezTo>
                    <a:pt x="78962" y="355820"/>
                    <a:pt x="87106" y="343157"/>
                    <a:pt x="91628" y="336851"/>
                  </a:cubicBezTo>
                  <a:cubicBezTo>
                    <a:pt x="96144" y="330546"/>
                    <a:pt x="102502" y="326868"/>
                    <a:pt x="108810" y="322349"/>
                  </a:cubicBezTo>
                  <a:cubicBezTo>
                    <a:pt x="115112" y="317830"/>
                    <a:pt x="118790" y="311473"/>
                    <a:pt x="124255" y="297864"/>
                  </a:cubicBezTo>
                  <a:cubicBezTo>
                    <a:pt x="129719" y="284255"/>
                    <a:pt x="131457" y="288826"/>
                    <a:pt x="136028" y="288826"/>
                  </a:cubicBezTo>
                  <a:cubicBezTo>
                    <a:pt x="140600" y="288826"/>
                    <a:pt x="150481" y="288826"/>
                    <a:pt x="155946" y="297864"/>
                  </a:cubicBezTo>
                  <a:cubicBezTo>
                    <a:pt x="161410" y="306901"/>
                    <a:pt x="161354" y="310579"/>
                    <a:pt x="169555" y="311473"/>
                  </a:cubicBezTo>
                  <a:cubicBezTo>
                    <a:pt x="176109" y="312187"/>
                    <a:pt x="172284" y="296672"/>
                    <a:pt x="169555" y="288826"/>
                  </a:cubicBezTo>
                  <a:cubicBezTo>
                    <a:pt x="166819" y="285498"/>
                    <a:pt x="161354" y="277214"/>
                    <a:pt x="161354" y="270699"/>
                  </a:cubicBezTo>
                  <a:lnTo>
                    <a:pt x="161354" y="240170"/>
                  </a:lnTo>
                  <a:lnTo>
                    <a:pt x="161354" y="216105"/>
                  </a:lnTo>
                  <a:cubicBezTo>
                    <a:pt x="161354" y="207278"/>
                    <a:pt x="190358" y="200027"/>
                    <a:pt x="192201" y="200027"/>
                  </a:cubicBezTo>
                  <a:cubicBezTo>
                    <a:pt x="194037" y="200027"/>
                    <a:pt x="231868" y="171285"/>
                    <a:pt x="239069" y="166294"/>
                  </a:cubicBezTo>
                  <a:cubicBezTo>
                    <a:pt x="246264" y="161302"/>
                    <a:pt x="255935" y="166294"/>
                    <a:pt x="265605" y="180743"/>
                  </a:cubicBezTo>
                  <a:lnTo>
                    <a:pt x="265605" y="212059"/>
                  </a:lnTo>
                  <a:cubicBezTo>
                    <a:pt x="265605" y="224092"/>
                    <a:pt x="267180" y="229451"/>
                    <a:pt x="271224" y="240170"/>
                  </a:cubicBezTo>
                  <a:cubicBezTo>
                    <a:pt x="274467" y="248746"/>
                    <a:pt x="282210" y="233585"/>
                    <a:pt x="285677" y="224933"/>
                  </a:cubicBezTo>
                  <a:cubicBezTo>
                    <a:pt x="286479" y="220642"/>
                    <a:pt x="287612" y="209653"/>
                    <a:pt x="285677" y="200027"/>
                  </a:cubicBezTo>
                  <a:cubicBezTo>
                    <a:pt x="283743" y="190401"/>
                    <a:pt x="281120" y="185858"/>
                    <a:pt x="280051" y="184789"/>
                  </a:cubicBezTo>
                  <a:cubicBezTo>
                    <a:pt x="280318" y="178624"/>
                    <a:pt x="282295" y="166294"/>
                    <a:pt x="288097" y="166294"/>
                  </a:cubicBezTo>
                  <a:cubicBezTo>
                    <a:pt x="295348" y="166294"/>
                    <a:pt x="294504" y="175909"/>
                    <a:pt x="298548" y="184789"/>
                  </a:cubicBezTo>
                  <a:cubicBezTo>
                    <a:pt x="302599" y="193669"/>
                    <a:pt x="303330" y="204020"/>
                    <a:pt x="306538" y="216105"/>
                  </a:cubicBezTo>
                  <a:cubicBezTo>
                    <a:pt x="309745" y="228190"/>
                    <a:pt x="316996" y="220886"/>
                    <a:pt x="328242" y="220099"/>
                  </a:cubicBezTo>
                  <a:cubicBezTo>
                    <a:pt x="339480" y="219310"/>
                    <a:pt x="329029" y="212059"/>
                    <a:pt x="328242" y="204020"/>
                  </a:cubicBezTo>
                  <a:cubicBezTo>
                    <a:pt x="327447" y="195981"/>
                    <a:pt x="321040" y="190253"/>
                    <a:pt x="316996" y="180743"/>
                  </a:cubicBezTo>
                  <a:cubicBezTo>
                    <a:pt x="312945" y="171233"/>
                    <a:pt x="309794" y="166294"/>
                    <a:pt x="309794" y="158254"/>
                  </a:cubicBezTo>
                  <a:cubicBezTo>
                    <a:pt x="309794" y="151823"/>
                    <a:pt x="314590" y="147553"/>
                    <a:pt x="316996" y="146222"/>
                  </a:cubicBezTo>
                  <a:cubicBezTo>
                    <a:pt x="321813" y="146222"/>
                    <a:pt x="332890" y="147504"/>
                    <a:pt x="338693" y="152632"/>
                  </a:cubicBezTo>
                  <a:cubicBezTo>
                    <a:pt x="345944" y="159043"/>
                    <a:pt x="349151" y="162300"/>
                    <a:pt x="351514" y="171285"/>
                  </a:cubicBezTo>
                  <a:cubicBezTo>
                    <a:pt x="353877" y="180270"/>
                    <a:pt x="361184" y="184789"/>
                    <a:pt x="364392" y="184789"/>
                  </a:cubicBezTo>
                  <a:cubicBezTo>
                    <a:pt x="367591" y="184789"/>
                    <a:pt x="377262" y="204020"/>
                    <a:pt x="382888" y="208066"/>
                  </a:cubicBezTo>
                  <a:cubicBezTo>
                    <a:pt x="388508" y="212112"/>
                    <a:pt x="397334" y="229451"/>
                    <a:pt x="397334" y="240170"/>
                  </a:cubicBezTo>
                  <a:cubicBezTo>
                    <a:pt x="397334" y="250856"/>
                    <a:pt x="410915" y="242638"/>
                    <a:pt x="414952" y="240193"/>
                  </a:cubicBezTo>
                  <a:lnTo>
                    <a:pt x="414987" y="240170"/>
                  </a:lnTo>
                  <a:cubicBezTo>
                    <a:pt x="418982" y="237753"/>
                    <a:pt x="410999" y="219310"/>
                    <a:pt x="403748" y="212059"/>
                  </a:cubicBezTo>
                  <a:cubicBezTo>
                    <a:pt x="396497" y="204808"/>
                    <a:pt x="391715" y="190253"/>
                    <a:pt x="386088" y="184789"/>
                  </a:cubicBezTo>
                  <a:cubicBezTo>
                    <a:pt x="381594" y="180418"/>
                    <a:pt x="372972" y="161530"/>
                    <a:pt x="369223" y="152632"/>
                  </a:cubicBezTo>
                  <a:lnTo>
                    <a:pt x="369223" y="133349"/>
                  </a:lnTo>
                  <a:cubicBezTo>
                    <a:pt x="373499" y="133349"/>
                    <a:pt x="383978" y="134473"/>
                    <a:pt x="391715" y="138971"/>
                  </a:cubicBezTo>
                  <a:cubicBezTo>
                    <a:pt x="401378" y="144593"/>
                    <a:pt x="397334" y="146222"/>
                    <a:pt x="410999" y="158254"/>
                  </a:cubicBezTo>
                  <a:cubicBezTo>
                    <a:pt x="424658" y="170287"/>
                    <a:pt x="414987" y="171285"/>
                    <a:pt x="429440" y="180743"/>
                  </a:cubicBezTo>
                  <a:cubicBezTo>
                    <a:pt x="435671" y="184824"/>
                    <a:pt x="438766" y="187264"/>
                    <a:pt x="440123" y="188649"/>
                  </a:cubicBezTo>
                  <a:cubicBezTo>
                    <a:pt x="438738" y="184803"/>
                    <a:pt x="435974" y="177797"/>
                    <a:pt x="432647" y="171285"/>
                  </a:cubicBezTo>
                  <a:cubicBezTo>
                    <a:pt x="427809" y="161827"/>
                    <a:pt x="414987" y="146222"/>
                    <a:pt x="410999" y="138971"/>
                  </a:cubicBezTo>
                  <a:cubicBezTo>
                    <a:pt x="407005" y="131720"/>
                    <a:pt x="405373" y="126150"/>
                    <a:pt x="410999" y="126150"/>
                  </a:cubicBezTo>
                  <a:cubicBezTo>
                    <a:pt x="416619" y="126150"/>
                    <a:pt x="420614" y="122945"/>
                    <a:pt x="429440" y="126150"/>
                  </a:cubicBezTo>
                  <a:cubicBezTo>
                    <a:pt x="438267" y="129355"/>
                    <a:pt x="447937" y="127727"/>
                    <a:pt x="457551" y="133349"/>
                  </a:cubicBezTo>
                  <a:cubicBezTo>
                    <a:pt x="467165" y="138970"/>
                    <a:pt x="468797" y="138971"/>
                    <a:pt x="476836" y="146222"/>
                  </a:cubicBezTo>
                  <a:cubicBezTo>
                    <a:pt x="484875" y="153473"/>
                    <a:pt x="485662" y="166294"/>
                    <a:pt x="491289" y="166294"/>
                  </a:cubicBezTo>
                  <a:cubicBezTo>
                    <a:pt x="496908" y="166294"/>
                    <a:pt x="490501" y="145434"/>
                    <a:pt x="491289" y="138971"/>
                  </a:cubicBezTo>
                  <a:cubicBezTo>
                    <a:pt x="492076" y="132508"/>
                    <a:pt x="487294" y="127727"/>
                    <a:pt x="485662" y="122945"/>
                  </a:cubicBezTo>
                  <a:cubicBezTo>
                    <a:pt x="484038" y="118163"/>
                    <a:pt x="474417" y="111700"/>
                    <a:pt x="468797" y="107654"/>
                  </a:cubicBezTo>
                  <a:cubicBezTo>
                    <a:pt x="463178" y="103609"/>
                    <a:pt x="447937" y="102032"/>
                    <a:pt x="432647" y="102032"/>
                  </a:cubicBezTo>
                  <a:cubicBezTo>
                    <a:pt x="417357" y="102032"/>
                    <a:pt x="388508" y="107654"/>
                    <a:pt x="377262" y="107654"/>
                  </a:cubicBezTo>
                  <a:cubicBezTo>
                    <a:pt x="368267" y="107654"/>
                    <a:pt x="376699" y="93187"/>
                    <a:pt x="382044" y="85954"/>
                  </a:cubicBezTo>
                  <a:cubicBezTo>
                    <a:pt x="385793" y="83274"/>
                    <a:pt x="394099" y="77116"/>
                    <a:pt x="397334" y="73922"/>
                  </a:cubicBezTo>
                  <a:cubicBezTo>
                    <a:pt x="401378" y="69928"/>
                    <a:pt x="406949" y="69928"/>
                    <a:pt x="414987" y="69928"/>
                  </a:cubicBezTo>
                  <a:cubicBezTo>
                    <a:pt x="423033" y="69928"/>
                    <a:pt x="423033" y="57055"/>
                    <a:pt x="432647" y="52221"/>
                  </a:cubicBezTo>
                  <a:cubicBezTo>
                    <a:pt x="442261" y="47387"/>
                    <a:pt x="443893" y="57055"/>
                    <a:pt x="447937" y="61048"/>
                  </a:cubicBezTo>
                  <a:cubicBezTo>
                    <a:pt x="451981" y="65041"/>
                    <a:pt x="459183" y="69928"/>
                    <a:pt x="468797" y="73922"/>
                  </a:cubicBezTo>
                  <a:cubicBezTo>
                    <a:pt x="478411" y="77915"/>
                    <a:pt x="496908" y="102032"/>
                    <a:pt x="500952" y="107654"/>
                  </a:cubicBezTo>
                  <a:cubicBezTo>
                    <a:pt x="504947" y="113207"/>
                    <a:pt x="504947" y="98416"/>
                    <a:pt x="504947" y="91063"/>
                  </a:cubicBezTo>
                  <a:lnTo>
                    <a:pt x="504947" y="90788"/>
                  </a:lnTo>
                  <a:cubicBezTo>
                    <a:pt x="504947" y="83537"/>
                    <a:pt x="506579" y="69928"/>
                    <a:pt x="516193" y="69928"/>
                  </a:cubicBezTo>
                  <a:cubicBezTo>
                    <a:pt x="525807" y="69928"/>
                    <a:pt x="525807" y="57055"/>
                    <a:pt x="516193" y="57055"/>
                  </a:cubicBezTo>
                  <a:cubicBezTo>
                    <a:pt x="506579" y="57055"/>
                    <a:pt x="500952" y="38559"/>
                    <a:pt x="500952" y="29732"/>
                  </a:cubicBezTo>
                  <a:cubicBezTo>
                    <a:pt x="500952" y="20904"/>
                    <a:pt x="512986" y="21693"/>
                    <a:pt x="525807" y="16070"/>
                  </a:cubicBezTo>
                  <a:cubicBezTo>
                    <a:pt x="538628" y="10448"/>
                    <a:pt x="546723" y="10448"/>
                    <a:pt x="562801" y="4826"/>
                  </a:cubicBezTo>
                  <a:cubicBezTo>
                    <a:pt x="578879" y="-796"/>
                    <a:pt x="601370" y="45"/>
                    <a:pt x="620599" y="45"/>
                  </a:cubicBezTo>
                  <a:cubicBezTo>
                    <a:pt x="639834" y="45"/>
                    <a:pt x="639883" y="3250"/>
                    <a:pt x="649497" y="10448"/>
                  </a:cubicBezTo>
                  <a:cubicBezTo>
                    <a:pt x="659119" y="17647"/>
                    <a:pt x="675245" y="10448"/>
                    <a:pt x="685232" y="10448"/>
                  </a:cubicBezTo>
                  <a:cubicBezTo>
                    <a:pt x="695212" y="10448"/>
                    <a:pt x="712978" y="32937"/>
                    <a:pt x="712183" y="38559"/>
                  </a:cubicBezTo>
                  <a:cubicBezTo>
                    <a:pt x="711395" y="44182"/>
                    <a:pt x="680028" y="51433"/>
                    <a:pt x="675245" y="57055"/>
                  </a:cubicBezTo>
                  <a:cubicBezTo>
                    <a:pt x="670463" y="62677"/>
                    <a:pt x="657536" y="48227"/>
                    <a:pt x="649497" y="46598"/>
                  </a:cubicBezTo>
                  <a:cubicBezTo>
                    <a:pt x="641459" y="44970"/>
                    <a:pt x="631057" y="57055"/>
                    <a:pt x="620599" y="61048"/>
                  </a:cubicBezTo>
                  <a:cubicBezTo>
                    <a:pt x="610140" y="65041"/>
                    <a:pt x="590912" y="73922"/>
                    <a:pt x="579666" y="77915"/>
                  </a:cubicBezTo>
                  <a:cubicBezTo>
                    <a:pt x="568420" y="81908"/>
                    <a:pt x="557174" y="95622"/>
                    <a:pt x="553918" y="102032"/>
                  </a:cubicBezTo>
                  <a:cubicBezTo>
                    <a:pt x="550662" y="108443"/>
                    <a:pt x="567583" y="103661"/>
                    <a:pt x="590912" y="95622"/>
                  </a:cubicBezTo>
                  <a:cubicBezTo>
                    <a:pt x="614241" y="87583"/>
                    <a:pt x="627850" y="79544"/>
                    <a:pt x="639883" y="73922"/>
                  </a:cubicBezTo>
                  <a:cubicBezTo>
                    <a:pt x="651917" y="68299"/>
                    <a:pt x="689698" y="69928"/>
                    <a:pt x="701732" y="69928"/>
                  </a:cubicBezTo>
                  <a:cubicBezTo>
                    <a:pt x="713766" y="69928"/>
                    <a:pt x="716178" y="55426"/>
                    <a:pt x="728268" y="57055"/>
                  </a:cubicBezTo>
                  <a:cubicBezTo>
                    <a:pt x="740350" y="58684"/>
                    <a:pt x="729843" y="75550"/>
                    <a:pt x="728268" y="85954"/>
                  </a:cubicBezTo>
                  <a:cubicBezTo>
                    <a:pt x="726692" y="96358"/>
                    <a:pt x="737094" y="90000"/>
                    <a:pt x="750752" y="90000"/>
                  </a:cubicBezTo>
                  <a:cubicBezTo>
                    <a:pt x="764417" y="90000"/>
                    <a:pt x="798099" y="126150"/>
                    <a:pt x="796523" y="133349"/>
                  </a:cubicBezTo>
                  <a:cubicBezTo>
                    <a:pt x="794948" y="140547"/>
                    <a:pt x="782858" y="143016"/>
                    <a:pt x="779651" y="152632"/>
                  </a:cubicBezTo>
                  <a:cubicBezTo>
                    <a:pt x="776451" y="162248"/>
                    <a:pt x="768412" y="164665"/>
                    <a:pt x="757954" y="166294"/>
                  </a:cubicBezTo>
                  <a:cubicBezTo>
                    <a:pt x="747496" y="167923"/>
                    <a:pt x="746708" y="176750"/>
                    <a:pt x="737094" y="180743"/>
                  </a:cubicBezTo>
                  <a:cubicBezTo>
                    <a:pt x="727480" y="184737"/>
                    <a:pt x="693377" y="172652"/>
                    <a:pt x="685232" y="171285"/>
                  </a:cubicBezTo>
                  <a:cubicBezTo>
                    <a:pt x="677088" y="169919"/>
                    <a:pt x="651446" y="182109"/>
                    <a:pt x="636571" y="19025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2" name="Freihandform: Form 77">
              <a:extLst>
                <a:ext uri="{FF2B5EF4-FFF2-40B4-BE49-F238E27FC236}">
                  <a16:creationId xmlns:a16="http://schemas.microsoft.com/office/drawing/2014/main" id="{E17BDBB3-6AEE-7744-AE7C-4F55F26AF9E3}"/>
                </a:ext>
              </a:extLst>
            </p:cNvPr>
            <p:cNvSpPr/>
            <p:nvPr/>
          </p:nvSpPr>
          <p:spPr>
            <a:xfrm>
              <a:off x="7137850" y="2239988"/>
              <a:ext cx="44835" cy="51430"/>
            </a:xfrm>
            <a:custGeom>
              <a:avLst/>
              <a:gdLst>
                <a:gd name="connsiteX0" fmla="*/ 39652 w 44835"/>
                <a:gd name="connsiteY0" fmla="*/ 9703 h 51430"/>
                <a:gd name="connsiteX1" fmla="*/ 20262 w 44835"/>
                <a:gd name="connsiteY1" fmla="*/ 953 h 51430"/>
                <a:gd name="connsiteX2" fmla="*/ 20262 w 44835"/>
                <a:gd name="connsiteY2" fmla="*/ 16509 h 51430"/>
                <a:gd name="connsiteX3" fmla="*/ 2820 w 44835"/>
                <a:gd name="connsiteY3" fmla="*/ 31039 h 51430"/>
                <a:gd name="connsiteX4" fmla="*/ 9621 w 44835"/>
                <a:gd name="connsiteY4" fmla="*/ 51347 h 51430"/>
                <a:gd name="connsiteX5" fmla="*/ 39652 w 44835"/>
                <a:gd name="connsiteY5" fmla="*/ 37790 h 51430"/>
                <a:gd name="connsiteX6" fmla="*/ 39652 w 44835"/>
                <a:gd name="connsiteY6" fmla="*/ 9703 h 5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35" h="51430">
                  <a:moveTo>
                    <a:pt x="39652" y="9703"/>
                  </a:moveTo>
                  <a:cubicBezTo>
                    <a:pt x="41594" y="-2881"/>
                    <a:pt x="32900" y="35"/>
                    <a:pt x="20262" y="953"/>
                  </a:cubicBezTo>
                  <a:lnTo>
                    <a:pt x="20262" y="16509"/>
                  </a:lnTo>
                  <a:cubicBezTo>
                    <a:pt x="16718" y="19732"/>
                    <a:pt x="8264" y="27149"/>
                    <a:pt x="2820" y="31039"/>
                  </a:cubicBezTo>
                  <a:cubicBezTo>
                    <a:pt x="-3988" y="35899"/>
                    <a:pt x="2820" y="50375"/>
                    <a:pt x="9621" y="51347"/>
                  </a:cubicBezTo>
                  <a:cubicBezTo>
                    <a:pt x="16429" y="52319"/>
                    <a:pt x="27070" y="44595"/>
                    <a:pt x="39652" y="37790"/>
                  </a:cubicBezTo>
                  <a:cubicBezTo>
                    <a:pt x="52234" y="30984"/>
                    <a:pt x="37704" y="22288"/>
                    <a:pt x="39652" y="970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3" name="Freihandform: Form 78">
              <a:extLst>
                <a:ext uri="{FF2B5EF4-FFF2-40B4-BE49-F238E27FC236}">
                  <a16:creationId xmlns:a16="http://schemas.microsoft.com/office/drawing/2014/main" id="{22701ED7-651A-7B47-853B-D7F43CFB5E41}"/>
                </a:ext>
              </a:extLst>
            </p:cNvPr>
            <p:cNvSpPr/>
            <p:nvPr/>
          </p:nvSpPr>
          <p:spPr>
            <a:xfrm>
              <a:off x="7088931" y="2271027"/>
              <a:ext cx="32404" cy="46504"/>
            </a:xfrm>
            <a:custGeom>
              <a:avLst/>
              <a:gdLst>
                <a:gd name="connsiteX0" fmla="*/ 32405 w 32404"/>
                <a:gd name="connsiteY0" fmla="*/ 27114 h 46504"/>
                <a:gd name="connsiteX1" fmla="*/ 20737 w 32404"/>
                <a:gd name="connsiteY1" fmla="*/ 46505 h 46504"/>
                <a:gd name="connsiteX2" fmla="*/ 433 w 32404"/>
                <a:gd name="connsiteY2" fmla="*/ 40671 h 46504"/>
                <a:gd name="connsiteX3" fmla="*/ 433 w 32404"/>
                <a:gd name="connsiteY3" fmla="*/ 20309 h 46504"/>
                <a:gd name="connsiteX4" fmla="*/ 20737 w 32404"/>
                <a:gd name="connsiteY4" fmla="*/ 12585 h 46504"/>
                <a:gd name="connsiteX5" fmla="*/ 32405 w 32404"/>
                <a:gd name="connsiteY5" fmla="*/ 0 h 46504"/>
                <a:gd name="connsiteX6" fmla="*/ 32405 w 32404"/>
                <a:gd name="connsiteY6" fmla="*/ 27114 h 46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404" h="46504">
                  <a:moveTo>
                    <a:pt x="32405" y="27114"/>
                  </a:moveTo>
                  <a:cubicBezTo>
                    <a:pt x="32405" y="33920"/>
                    <a:pt x="28516" y="42615"/>
                    <a:pt x="20737" y="46505"/>
                  </a:cubicBezTo>
                  <a:lnTo>
                    <a:pt x="433" y="40671"/>
                  </a:lnTo>
                  <a:cubicBezTo>
                    <a:pt x="102" y="33883"/>
                    <a:pt x="-348" y="20309"/>
                    <a:pt x="433" y="20309"/>
                  </a:cubicBezTo>
                  <a:cubicBezTo>
                    <a:pt x="1403" y="20309"/>
                    <a:pt x="12044" y="14529"/>
                    <a:pt x="20737" y="12585"/>
                  </a:cubicBezTo>
                  <a:cubicBezTo>
                    <a:pt x="27693" y="11029"/>
                    <a:pt x="31413" y="3547"/>
                    <a:pt x="32405" y="0"/>
                  </a:cubicBezTo>
                  <a:lnTo>
                    <a:pt x="32405" y="2711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4" name="Freihandform: Form 79">
              <a:extLst>
                <a:ext uri="{FF2B5EF4-FFF2-40B4-BE49-F238E27FC236}">
                  <a16:creationId xmlns:a16="http://schemas.microsoft.com/office/drawing/2014/main" id="{D9C1A4B8-E2F0-174D-B50D-6DBEAE10B16E}"/>
                </a:ext>
              </a:extLst>
            </p:cNvPr>
            <p:cNvSpPr/>
            <p:nvPr/>
          </p:nvSpPr>
          <p:spPr>
            <a:xfrm>
              <a:off x="7035083" y="2317531"/>
              <a:ext cx="37802" cy="30030"/>
            </a:xfrm>
            <a:custGeom>
              <a:avLst/>
              <a:gdLst>
                <a:gd name="connsiteX0" fmla="*/ 0 w 37802"/>
                <a:gd name="connsiteY0" fmla="*/ 16474 h 30030"/>
                <a:gd name="connsiteX1" fmla="*/ 19390 w 37802"/>
                <a:gd name="connsiteY1" fmla="*/ 0 h 30030"/>
                <a:gd name="connsiteX2" fmla="*/ 37803 w 37802"/>
                <a:gd name="connsiteY2" fmla="*/ 0 h 30030"/>
                <a:gd name="connsiteX3" fmla="*/ 31972 w 37802"/>
                <a:gd name="connsiteY3" fmla="*/ 9668 h 30030"/>
                <a:gd name="connsiteX4" fmla="*/ 19390 w 37802"/>
                <a:gd name="connsiteY4" fmla="*/ 30030 h 30030"/>
                <a:gd name="connsiteX5" fmla="*/ 5781 w 37802"/>
                <a:gd name="connsiteY5" fmla="*/ 30030 h 30030"/>
                <a:gd name="connsiteX6" fmla="*/ 0 w 37802"/>
                <a:gd name="connsiteY6" fmla="*/ 16474 h 30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02" h="30030">
                  <a:moveTo>
                    <a:pt x="0" y="16474"/>
                  </a:moveTo>
                  <a:cubicBezTo>
                    <a:pt x="5169" y="10982"/>
                    <a:pt x="16281" y="0"/>
                    <a:pt x="19390" y="0"/>
                  </a:cubicBezTo>
                  <a:lnTo>
                    <a:pt x="37803" y="0"/>
                  </a:lnTo>
                  <a:lnTo>
                    <a:pt x="31972" y="9668"/>
                  </a:lnTo>
                  <a:lnTo>
                    <a:pt x="19390" y="30030"/>
                  </a:lnTo>
                  <a:lnTo>
                    <a:pt x="5781" y="30030"/>
                  </a:lnTo>
                  <a:lnTo>
                    <a:pt x="0" y="1647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5" name="Freihandform: Form 80">
              <a:extLst>
                <a:ext uri="{FF2B5EF4-FFF2-40B4-BE49-F238E27FC236}">
                  <a16:creationId xmlns:a16="http://schemas.microsoft.com/office/drawing/2014/main" id="{7783E9AA-90F2-6C47-B2CB-8643BD8A7355}"/>
                </a:ext>
              </a:extLst>
            </p:cNvPr>
            <p:cNvSpPr/>
            <p:nvPr/>
          </p:nvSpPr>
          <p:spPr>
            <a:xfrm>
              <a:off x="6994361" y="2207468"/>
              <a:ext cx="78523" cy="90673"/>
            </a:xfrm>
            <a:custGeom>
              <a:avLst/>
              <a:gdLst>
                <a:gd name="connsiteX0" fmla="*/ 16471 w 78523"/>
                <a:gd name="connsiteY0" fmla="*/ 26722 h 90673"/>
                <a:gd name="connsiteX1" fmla="*/ 60112 w 78523"/>
                <a:gd name="connsiteY1" fmla="*/ 2471 h 90673"/>
                <a:gd name="connsiteX2" fmla="*/ 78524 w 78523"/>
                <a:gd name="connsiteY2" fmla="*/ 15110 h 90673"/>
                <a:gd name="connsiteX3" fmla="*/ 72694 w 78523"/>
                <a:gd name="connsiteY3" fmla="*/ 76144 h 90673"/>
                <a:gd name="connsiteX4" fmla="*/ 46503 w 78523"/>
                <a:gd name="connsiteY4" fmla="*/ 90673 h 90673"/>
                <a:gd name="connsiteX5" fmla="*/ 25220 w 78523"/>
                <a:gd name="connsiteY5" fmla="*/ 90673 h 90673"/>
                <a:gd name="connsiteX6" fmla="*/ 0 w 78523"/>
                <a:gd name="connsiteY6" fmla="*/ 70310 h 90673"/>
                <a:gd name="connsiteX7" fmla="*/ 16471 w 78523"/>
                <a:gd name="connsiteY7" fmla="*/ 55781 h 90673"/>
                <a:gd name="connsiteX8" fmla="*/ 40721 w 78523"/>
                <a:gd name="connsiteY8" fmla="*/ 42224 h 90673"/>
                <a:gd name="connsiteX9" fmla="*/ 16471 w 78523"/>
                <a:gd name="connsiteY9" fmla="*/ 26722 h 90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523" h="90673">
                  <a:moveTo>
                    <a:pt x="16471" y="26722"/>
                  </a:moveTo>
                  <a:lnTo>
                    <a:pt x="60112" y="2471"/>
                  </a:lnTo>
                  <a:cubicBezTo>
                    <a:pt x="64303" y="-1076"/>
                    <a:pt x="73861" y="-3514"/>
                    <a:pt x="78524" y="15110"/>
                  </a:cubicBezTo>
                  <a:cubicBezTo>
                    <a:pt x="62053" y="27749"/>
                    <a:pt x="72694" y="21862"/>
                    <a:pt x="72694" y="76144"/>
                  </a:cubicBezTo>
                  <a:cubicBezTo>
                    <a:pt x="68031" y="86212"/>
                    <a:pt x="53289" y="90025"/>
                    <a:pt x="46503" y="90673"/>
                  </a:cubicBezTo>
                  <a:lnTo>
                    <a:pt x="25220" y="90673"/>
                  </a:lnTo>
                  <a:lnTo>
                    <a:pt x="0" y="70310"/>
                  </a:lnTo>
                  <a:lnTo>
                    <a:pt x="16471" y="55781"/>
                  </a:lnTo>
                  <a:lnTo>
                    <a:pt x="40721" y="42224"/>
                  </a:lnTo>
                  <a:lnTo>
                    <a:pt x="16471" y="2672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6" name="Freihandform: Form 81">
              <a:extLst>
                <a:ext uri="{FF2B5EF4-FFF2-40B4-BE49-F238E27FC236}">
                  <a16:creationId xmlns:a16="http://schemas.microsoft.com/office/drawing/2014/main" id="{B515791A-3B3A-484A-B232-94C350FF0A3A}"/>
                </a:ext>
              </a:extLst>
            </p:cNvPr>
            <p:cNvSpPr/>
            <p:nvPr/>
          </p:nvSpPr>
          <p:spPr>
            <a:xfrm>
              <a:off x="6854151" y="2277778"/>
              <a:ext cx="54051" cy="23786"/>
            </a:xfrm>
            <a:custGeom>
              <a:avLst/>
              <a:gdLst>
                <a:gd name="connsiteX0" fmla="*/ 20100 w 54051"/>
                <a:gd name="connsiteY0" fmla="*/ 20363 h 23786"/>
                <a:gd name="connsiteX1" fmla="*/ 44293 w 54051"/>
                <a:gd name="connsiteY1" fmla="*/ 0 h 23786"/>
                <a:gd name="connsiteX2" fmla="*/ 53043 w 54051"/>
                <a:gd name="connsiteY2" fmla="*/ 13558 h 23786"/>
                <a:gd name="connsiteX3" fmla="*/ 52916 w 54051"/>
                <a:gd name="connsiteY3" fmla="*/ 13759 h 23786"/>
                <a:gd name="connsiteX4" fmla="*/ 12321 w 54051"/>
                <a:gd name="connsiteY4" fmla="*/ 20363 h 23786"/>
                <a:gd name="connsiteX5" fmla="*/ 20100 w 54051"/>
                <a:gd name="connsiteY5" fmla="*/ 20363 h 2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051" h="23786">
                  <a:moveTo>
                    <a:pt x="20100" y="20363"/>
                  </a:moveTo>
                  <a:lnTo>
                    <a:pt x="44293" y="0"/>
                  </a:lnTo>
                  <a:cubicBezTo>
                    <a:pt x="48816" y="1945"/>
                    <a:pt x="56889" y="7378"/>
                    <a:pt x="53043" y="13558"/>
                  </a:cubicBezTo>
                  <a:lnTo>
                    <a:pt x="52916" y="13759"/>
                  </a:lnTo>
                  <a:cubicBezTo>
                    <a:pt x="48169" y="21399"/>
                    <a:pt x="44019" y="28073"/>
                    <a:pt x="12321" y="20363"/>
                  </a:cubicBezTo>
                  <a:cubicBezTo>
                    <a:pt x="-13258" y="14141"/>
                    <a:pt x="6849" y="17770"/>
                    <a:pt x="20100" y="2036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7" name="Freihandform: Form 82">
              <a:extLst>
                <a:ext uri="{FF2B5EF4-FFF2-40B4-BE49-F238E27FC236}">
                  <a16:creationId xmlns:a16="http://schemas.microsoft.com/office/drawing/2014/main" id="{04F07A04-BFBA-CD4C-8042-3DF093DC1BA7}"/>
                </a:ext>
              </a:extLst>
            </p:cNvPr>
            <p:cNvSpPr/>
            <p:nvPr/>
          </p:nvSpPr>
          <p:spPr>
            <a:xfrm>
              <a:off x="6903329" y="2277778"/>
              <a:ext cx="46947" cy="56654"/>
            </a:xfrm>
            <a:custGeom>
              <a:avLst/>
              <a:gdLst>
                <a:gd name="connsiteX0" fmla="*/ 18395 w 46947"/>
                <a:gd name="connsiteY0" fmla="*/ 20363 h 56654"/>
                <a:gd name="connsiteX1" fmla="*/ 39670 w 46947"/>
                <a:gd name="connsiteY1" fmla="*/ 0 h 56654"/>
                <a:gd name="connsiteX2" fmla="*/ 39670 w 46947"/>
                <a:gd name="connsiteY2" fmla="*/ 29059 h 56654"/>
                <a:gd name="connsiteX3" fmla="*/ 30007 w 46947"/>
                <a:gd name="connsiteY3" fmla="*/ 49421 h 56654"/>
                <a:gd name="connsiteX4" fmla="*/ 3865 w 46947"/>
                <a:gd name="connsiteY4" fmla="*/ 56227 h 56654"/>
                <a:gd name="connsiteX5" fmla="*/ 3865 w 46947"/>
                <a:gd name="connsiteY5" fmla="*/ 39754 h 56654"/>
                <a:gd name="connsiteX6" fmla="*/ 18395 w 46947"/>
                <a:gd name="connsiteY6" fmla="*/ 20363 h 56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947" h="56654">
                  <a:moveTo>
                    <a:pt x="18395" y="20363"/>
                  </a:moveTo>
                  <a:cubicBezTo>
                    <a:pt x="25196" y="6806"/>
                    <a:pt x="30007" y="13558"/>
                    <a:pt x="39670" y="0"/>
                  </a:cubicBezTo>
                  <a:cubicBezTo>
                    <a:pt x="45163" y="1945"/>
                    <a:pt x="52850" y="10479"/>
                    <a:pt x="39670" y="29059"/>
                  </a:cubicBezTo>
                  <a:cubicBezTo>
                    <a:pt x="31898" y="37755"/>
                    <a:pt x="33896" y="39754"/>
                    <a:pt x="30007" y="49421"/>
                  </a:cubicBezTo>
                  <a:cubicBezTo>
                    <a:pt x="26891" y="57156"/>
                    <a:pt x="11285" y="57182"/>
                    <a:pt x="3865" y="56227"/>
                  </a:cubicBezTo>
                  <a:cubicBezTo>
                    <a:pt x="946" y="53958"/>
                    <a:pt x="-3133" y="47488"/>
                    <a:pt x="3865" y="39754"/>
                  </a:cubicBezTo>
                  <a:cubicBezTo>
                    <a:pt x="12614" y="30085"/>
                    <a:pt x="11587" y="33920"/>
                    <a:pt x="18395" y="2036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8" name="Freihandform: Form 83">
              <a:extLst>
                <a:ext uri="{FF2B5EF4-FFF2-40B4-BE49-F238E27FC236}">
                  <a16:creationId xmlns:a16="http://schemas.microsoft.com/office/drawing/2014/main" id="{F5561C11-0B3A-9248-9025-473C323628A9}"/>
                </a:ext>
              </a:extLst>
            </p:cNvPr>
            <p:cNvSpPr/>
            <p:nvPr/>
          </p:nvSpPr>
          <p:spPr>
            <a:xfrm>
              <a:off x="6972109" y="2317531"/>
              <a:ext cx="22252" cy="22326"/>
            </a:xfrm>
            <a:custGeom>
              <a:avLst/>
              <a:gdLst>
                <a:gd name="connsiteX0" fmla="*/ 0 w 22252"/>
                <a:gd name="connsiteY0" fmla="*/ 16474 h 22326"/>
                <a:gd name="connsiteX1" fmla="*/ 8700 w 22252"/>
                <a:gd name="connsiteY1" fmla="*/ 0 h 22326"/>
                <a:gd name="connsiteX2" fmla="*/ 22253 w 22252"/>
                <a:gd name="connsiteY2" fmla="*/ 0 h 22326"/>
                <a:gd name="connsiteX3" fmla="*/ 22253 w 22252"/>
                <a:gd name="connsiteY3" fmla="*/ 16474 h 22326"/>
                <a:gd name="connsiteX4" fmla="*/ 13560 w 22252"/>
                <a:gd name="connsiteY4" fmla="*/ 22253 h 22326"/>
                <a:gd name="connsiteX5" fmla="*/ 0 w 22252"/>
                <a:gd name="connsiteY5" fmla="*/ 16474 h 22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252" h="22326">
                  <a:moveTo>
                    <a:pt x="0" y="16474"/>
                  </a:moveTo>
                  <a:lnTo>
                    <a:pt x="8700" y="0"/>
                  </a:lnTo>
                  <a:lnTo>
                    <a:pt x="22253" y="0"/>
                  </a:lnTo>
                  <a:lnTo>
                    <a:pt x="22253" y="16474"/>
                  </a:lnTo>
                  <a:cubicBezTo>
                    <a:pt x="22253" y="21918"/>
                    <a:pt x="16458" y="22595"/>
                    <a:pt x="13560" y="22253"/>
                  </a:cubicBezTo>
                  <a:lnTo>
                    <a:pt x="0" y="1647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9" name="Freihandform: Form 84">
              <a:extLst>
                <a:ext uri="{FF2B5EF4-FFF2-40B4-BE49-F238E27FC236}">
                  <a16:creationId xmlns:a16="http://schemas.microsoft.com/office/drawing/2014/main" id="{93BD526B-0175-1A4A-99F7-122FE5856C48}"/>
                </a:ext>
              </a:extLst>
            </p:cNvPr>
            <p:cNvSpPr/>
            <p:nvPr/>
          </p:nvSpPr>
          <p:spPr>
            <a:xfrm>
              <a:off x="6435276" y="2305918"/>
              <a:ext cx="143976" cy="112629"/>
            </a:xfrm>
            <a:custGeom>
              <a:avLst/>
              <a:gdLst>
                <a:gd name="connsiteX0" fmla="*/ 28090 w 143976"/>
                <a:gd name="connsiteY0" fmla="*/ 5779 h 112629"/>
                <a:gd name="connsiteX1" fmla="*/ 70752 w 143976"/>
                <a:gd name="connsiteY1" fmla="*/ 33866 h 112629"/>
                <a:gd name="connsiteX2" fmla="*/ 82364 w 143976"/>
                <a:gd name="connsiteY2" fmla="*/ 919 h 112629"/>
                <a:gd name="connsiteX3" fmla="*/ 95924 w 143976"/>
                <a:gd name="connsiteY3" fmla="*/ 21281 h 112629"/>
                <a:gd name="connsiteX4" fmla="*/ 139557 w 143976"/>
                <a:gd name="connsiteY4" fmla="*/ 41643 h 112629"/>
                <a:gd name="connsiteX5" fmla="*/ 121144 w 143976"/>
                <a:gd name="connsiteY5" fmla="*/ 91065 h 112629"/>
                <a:gd name="connsiteX6" fmla="*/ 45532 w 143976"/>
                <a:gd name="connsiteY6" fmla="*/ 105594 h 112629"/>
                <a:gd name="connsiteX7" fmla="*/ 61032 w 143976"/>
                <a:gd name="connsiteY7" fmla="*/ 64923 h 112629"/>
                <a:gd name="connsiteX8" fmla="*/ 13559 w 143976"/>
                <a:gd name="connsiteY8" fmla="*/ 59090 h 112629"/>
                <a:gd name="connsiteX9" fmla="*/ 28090 w 143976"/>
                <a:gd name="connsiteY9" fmla="*/ 5779 h 112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976" h="112629">
                  <a:moveTo>
                    <a:pt x="28090" y="5779"/>
                  </a:moveTo>
                  <a:cubicBezTo>
                    <a:pt x="34841" y="-54"/>
                    <a:pt x="58170" y="33866"/>
                    <a:pt x="70752" y="33866"/>
                  </a:cubicBezTo>
                  <a:cubicBezTo>
                    <a:pt x="72679" y="24504"/>
                    <a:pt x="77701" y="4807"/>
                    <a:pt x="82364" y="919"/>
                  </a:cubicBezTo>
                  <a:cubicBezTo>
                    <a:pt x="88201" y="-3943"/>
                    <a:pt x="93005" y="11613"/>
                    <a:pt x="95924" y="21281"/>
                  </a:cubicBezTo>
                  <a:cubicBezTo>
                    <a:pt x="98835" y="30949"/>
                    <a:pt x="128866" y="28087"/>
                    <a:pt x="139557" y="41643"/>
                  </a:cubicBezTo>
                  <a:cubicBezTo>
                    <a:pt x="150254" y="55200"/>
                    <a:pt x="140534" y="64923"/>
                    <a:pt x="121144" y="91065"/>
                  </a:cubicBezTo>
                  <a:cubicBezTo>
                    <a:pt x="101754" y="117207"/>
                    <a:pt x="91113" y="116289"/>
                    <a:pt x="45532" y="105594"/>
                  </a:cubicBezTo>
                  <a:cubicBezTo>
                    <a:pt x="9065" y="97039"/>
                    <a:pt x="40672" y="74915"/>
                    <a:pt x="61032" y="64923"/>
                  </a:cubicBezTo>
                  <a:cubicBezTo>
                    <a:pt x="56841" y="65247"/>
                    <a:pt x="41473" y="64534"/>
                    <a:pt x="13559" y="59090"/>
                  </a:cubicBezTo>
                  <a:cubicBezTo>
                    <a:pt x="-21332" y="52284"/>
                    <a:pt x="21338" y="11613"/>
                    <a:pt x="28090" y="5779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0" name="Freihandform: Form 85">
              <a:extLst>
                <a:ext uri="{FF2B5EF4-FFF2-40B4-BE49-F238E27FC236}">
                  <a16:creationId xmlns:a16="http://schemas.microsoft.com/office/drawing/2014/main" id="{98AB9F36-C104-DC42-BFE3-E37A8423BA67}"/>
                </a:ext>
              </a:extLst>
            </p:cNvPr>
            <p:cNvSpPr/>
            <p:nvPr/>
          </p:nvSpPr>
          <p:spPr>
            <a:xfrm>
              <a:off x="6326759" y="2355236"/>
              <a:ext cx="205639" cy="265071"/>
            </a:xfrm>
            <a:custGeom>
              <a:avLst/>
              <a:gdLst>
                <a:gd name="connsiteX0" fmla="*/ 117273 w 205639"/>
                <a:gd name="connsiteY0" fmla="*/ 52388 h 265071"/>
                <a:gd name="connsiteX1" fmla="*/ 79463 w 205639"/>
                <a:gd name="connsiteY1" fmla="*/ 1022 h 265071"/>
                <a:gd name="connsiteX2" fmla="*/ 86214 w 205639"/>
                <a:gd name="connsiteY2" fmla="*/ 80528 h 265071"/>
                <a:gd name="connsiteX3" fmla="*/ 60080 w 205639"/>
                <a:gd name="connsiteY3" fmla="*/ 33051 h 265071"/>
                <a:gd name="connsiteX4" fmla="*/ 36800 w 205639"/>
                <a:gd name="connsiteY4" fmla="*/ 41747 h 265071"/>
                <a:gd name="connsiteX5" fmla="*/ 48468 w 205639"/>
                <a:gd name="connsiteY5" fmla="*/ 9772 h 265071"/>
                <a:gd name="connsiteX6" fmla="*/ 11629 w 205639"/>
                <a:gd name="connsiteY6" fmla="*/ 15605 h 265071"/>
                <a:gd name="connsiteX7" fmla="*/ 17 w 205639"/>
                <a:gd name="connsiteY7" fmla="*/ 52388 h 265071"/>
                <a:gd name="connsiteX8" fmla="*/ 17466 w 205639"/>
                <a:gd name="connsiteY8" fmla="*/ 80528 h 265071"/>
                <a:gd name="connsiteX9" fmla="*/ 5799 w 205639"/>
                <a:gd name="connsiteY9" fmla="*/ 106670 h 265071"/>
                <a:gd name="connsiteX10" fmla="*/ 48468 w 205639"/>
                <a:gd name="connsiteY10" fmla="*/ 142534 h 265071"/>
                <a:gd name="connsiteX11" fmla="*/ 60080 w 205639"/>
                <a:gd name="connsiteY11" fmla="*/ 101809 h 265071"/>
                <a:gd name="connsiteX12" fmla="*/ 97882 w 205639"/>
                <a:gd name="connsiteY12" fmla="*/ 130922 h 265071"/>
                <a:gd name="connsiteX13" fmla="*/ 48468 w 205639"/>
                <a:gd name="connsiteY13" fmla="*/ 161925 h 265071"/>
                <a:gd name="connsiteX14" fmla="*/ 48468 w 205639"/>
                <a:gd name="connsiteY14" fmla="*/ 181315 h 265071"/>
                <a:gd name="connsiteX15" fmla="*/ 48468 w 205639"/>
                <a:gd name="connsiteY15" fmla="*/ 200652 h 265071"/>
                <a:gd name="connsiteX16" fmla="*/ 97882 w 205639"/>
                <a:gd name="connsiteY16" fmla="*/ 264656 h 265071"/>
                <a:gd name="connsiteX17" fmla="*/ 108523 w 205639"/>
                <a:gd name="connsiteY17" fmla="*/ 193900 h 265071"/>
                <a:gd name="connsiteX18" fmla="*/ 136606 w 205639"/>
                <a:gd name="connsiteY18" fmla="*/ 119254 h 265071"/>
                <a:gd name="connsiteX19" fmla="*/ 169549 w 205639"/>
                <a:gd name="connsiteY19" fmla="*/ 175482 h 265071"/>
                <a:gd name="connsiteX20" fmla="*/ 197688 w 205639"/>
                <a:gd name="connsiteY20" fmla="*/ 207457 h 265071"/>
                <a:gd name="connsiteX21" fmla="*/ 190880 w 205639"/>
                <a:gd name="connsiteY21" fmla="*/ 161925 h 265071"/>
                <a:gd name="connsiteX22" fmla="*/ 158908 w 205639"/>
                <a:gd name="connsiteY22" fmla="*/ 96029 h 265071"/>
                <a:gd name="connsiteX23" fmla="*/ 117273 w 205639"/>
                <a:gd name="connsiteY23" fmla="*/ 52388 h 26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05639" h="265071">
                  <a:moveTo>
                    <a:pt x="117273" y="52388"/>
                  </a:moveTo>
                  <a:cubicBezTo>
                    <a:pt x="112462" y="41693"/>
                    <a:pt x="91074" y="-7675"/>
                    <a:pt x="79463" y="1022"/>
                  </a:cubicBezTo>
                  <a:cubicBezTo>
                    <a:pt x="65910" y="17495"/>
                    <a:pt x="91074" y="66971"/>
                    <a:pt x="86214" y="80528"/>
                  </a:cubicBezTo>
                  <a:cubicBezTo>
                    <a:pt x="81355" y="94085"/>
                    <a:pt x="60080" y="41747"/>
                    <a:pt x="60080" y="33051"/>
                  </a:cubicBezTo>
                  <a:cubicBezTo>
                    <a:pt x="60080" y="24355"/>
                    <a:pt x="48468" y="41747"/>
                    <a:pt x="36800" y="41747"/>
                  </a:cubicBezTo>
                  <a:cubicBezTo>
                    <a:pt x="25132" y="41747"/>
                    <a:pt x="48468" y="15605"/>
                    <a:pt x="48468" y="9772"/>
                  </a:cubicBezTo>
                  <a:cubicBezTo>
                    <a:pt x="48468" y="3938"/>
                    <a:pt x="24218" y="9772"/>
                    <a:pt x="11629" y="15605"/>
                  </a:cubicBezTo>
                  <a:cubicBezTo>
                    <a:pt x="-953" y="21438"/>
                    <a:pt x="17" y="41747"/>
                    <a:pt x="17" y="52388"/>
                  </a:cubicBezTo>
                  <a:cubicBezTo>
                    <a:pt x="17" y="63028"/>
                    <a:pt x="12606" y="71778"/>
                    <a:pt x="17466" y="80528"/>
                  </a:cubicBezTo>
                  <a:cubicBezTo>
                    <a:pt x="22326" y="89278"/>
                    <a:pt x="6769" y="96029"/>
                    <a:pt x="5799" y="106670"/>
                  </a:cubicBezTo>
                  <a:cubicBezTo>
                    <a:pt x="4828" y="117311"/>
                    <a:pt x="36800" y="143507"/>
                    <a:pt x="48468" y="142534"/>
                  </a:cubicBezTo>
                  <a:cubicBezTo>
                    <a:pt x="60129" y="141562"/>
                    <a:pt x="54242" y="107642"/>
                    <a:pt x="60080" y="101809"/>
                  </a:cubicBezTo>
                  <a:cubicBezTo>
                    <a:pt x="64742" y="97142"/>
                    <a:pt x="87227" y="119273"/>
                    <a:pt x="97882" y="130922"/>
                  </a:cubicBezTo>
                  <a:cubicBezTo>
                    <a:pt x="85603" y="138339"/>
                    <a:pt x="58532" y="154925"/>
                    <a:pt x="48468" y="161925"/>
                  </a:cubicBezTo>
                  <a:cubicBezTo>
                    <a:pt x="35879" y="170675"/>
                    <a:pt x="42631" y="175482"/>
                    <a:pt x="48468" y="181315"/>
                  </a:cubicBezTo>
                  <a:cubicBezTo>
                    <a:pt x="54299" y="187148"/>
                    <a:pt x="53272" y="193900"/>
                    <a:pt x="48468" y="200652"/>
                  </a:cubicBezTo>
                  <a:cubicBezTo>
                    <a:pt x="43657" y="207403"/>
                    <a:pt x="88163" y="258823"/>
                    <a:pt x="97882" y="264656"/>
                  </a:cubicBezTo>
                  <a:cubicBezTo>
                    <a:pt x="107602" y="270489"/>
                    <a:pt x="108523" y="213290"/>
                    <a:pt x="108523" y="193900"/>
                  </a:cubicBezTo>
                  <a:cubicBezTo>
                    <a:pt x="108523" y="174510"/>
                    <a:pt x="126936" y="125088"/>
                    <a:pt x="136606" y="119254"/>
                  </a:cubicBezTo>
                  <a:cubicBezTo>
                    <a:pt x="146270" y="113421"/>
                    <a:pt x="158908" y="142534"/>
                    <a:pt x="169549" y="175482"/>
                  </a:cubicBezTo>
                  <a:cubicBezTo>
                    <a:pt x="180190" y="208429"/>
                    <a:pt x="179269" y="203568"/>
                    <a:pt x="197688" y="207457"/>
                  </a:cubicBezTo>
                  <a:cubicBezTo>
                    <a:pt x="216101" y="211346"/>
                    <a:pt x="197688" y="166732"/>
                    <a:pt x="190880" y="161925"/>
                  </a:cubicBezTo>
                  <a:cubicBezTo>
                    <a:pt x="184079" y="157118"/>
                    <a:pt x="162798" y="104726"/>
                    <a:pt x="158908" y="96029"/>
                  </a:cubicBezTo>
                  <a:cubicBezTo>
                    <a:pt x="155019" y="87334"/>
                    <a:pt x="122076" y="63082"/>
                    <a:pt x="117273" y="5238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1" name="Freihandform: Form 86">
              <a:extLst>
                <a:ext uri="{FF2B5EF4-FFF2-40B4-BE49-F238E27FC236}">
                  <a16:creationId xmlns:a16="http://schemas.microsoft.com/office/drawing/2014/main" id="{BABF9E83-5E58-954D-86A3-C9DDA7FF52F5}"/>
                </a:ext>
              </a:extLst>
            </p:cNvPr>
            <p:cNvSpPr/>
            <p:nvPr/>
          </p:nvSpPr>
          <p:spPr>
            <a:xfrm>
              <a:off x="7137850" y="2239988"/>
              <a:ext cx="44835" cy="51430"/>
            </a:xfrm>
            <a:custGeom>
              <a:avLst/>
              <a:gdLst>
                <a:gd name="connsiteX0" fmla="*/ 39652 w 44835"/>
                <a:gd name="connsiteY0" fmla="*/ 9703 h 51430"/>
                <a:gd name="connsiteX1" fmla="*/ 20262 w 44835"/>
                <a:gd name="connsiteY1" fmla="*/ 953 h 51430"/>
                <a:gd name="connsiteX2" fmla="*/ 20262 w 44835"/>
                <a:gd name="connsiteY2" fmla="*/ 16509 h 51430"/>
                <a:gd name="connsiteX3" fmla="*/ 2820 w 44835"/>
                <a:gd name="connsiteY3" fmla="*/ 31039 h 51430"/>
                <a:gd name="connsiteX4" fmla="*/ 9621 w 44835"/>
                <a:gd name="connsiteY4" fmla="*/ 51347 h 51430"/>
                <a:gd name="connsiteX5" fmla="*/ 39652 w 44835"/>
                <a:gd name="connsiteY5" fmla="*/ 37790 h 51430"/>
                <a:gd name="connsiteX6" fmla="*/ 39652 w 44835"/>
                <a:gd name="connsiteY6" fmla="*/ 9703 h 5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35" h="51430">
                  <a:moveTo>
                    <a:pt x="39652" y="9703"/>
                  </a:moveTo>
                  <a:cubicBezTo>
                    <a:pt x="41594" y="-2881"/>
                    <a:pt x="32900" y="35"/>
                    <a:pt x="20262" y="953"/>
                  </a:cubicBezTo>
                  <a:lnTo>
                    <a:pt x="20262" y="16509"/>
                  </a:lnTo>
                  <a:cubicBezTo>
                    <a:pt x="16718" y="19732"/>
                    <a:pt x="8264" y="27149"/>
                    <a:pt x="2820" y="31039"/>
                  </a:cubicBezTo>
                  <a:cubicBezTo>
                    <a:pt x="-3988" y="35899"/>
                    <a:pt x="2820" y="50375"/>
                    <a:pt x="9621" y="51347"/>
                  </a:cubicBezTo>
                  <a:cubicBezTo>
                    <a:pt x="16429" y="52319"/>
                    <a:pt x="27070" y="44595"/>
                    <a:pt x="39652" y="37790"/>
                  </a:cubicBezTo>
                  <a:cubicBezTo>
                    <a:pt x="52234" y="30984"/>
                    <a:pt x="37704" y="22288"/>
                    <a:pt x="39652" y="9703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2" name="Freihandform: Form 87">
              <a:extLst>
                <a:ext uri="{FF2B5EF4-FFF2-40B4-BE49-F238E27FC236}">
                  <a16:creationId xmlns:a16="http://schemas.microsoft.com/office/drawing/2014/main" id="{8ACDF0E0-C763-1540-9F7E-6BF2C329CB60}"/>
                </a:ext>
              </a:extLst>
            </p:cNvPr>
            <p:cNvSpPr/>
            <p:nvPr/>
          </p:nvSpPr>
          <p:spPr>
            <a:xfrm>
              <a:off x="7088931" y="2271027"/>
              <a:ext cx="32404" cy="46504"/>
            </a:xfrm>
            <a:custGeom>
              <a:avLst/>
              <a:gdLst>
                <a:gd name="connsiteX0" fmla="*/ 32405 w 32404"/>
                <a:gd name="connsiteY0" fmla="*/ 27114 h 46504"/>
                <a:gd name="connsiteX1" fmla="*/ 20737 w 32404"/>
                <a:gd name="connsiteY1" fmla="*/ 46505 h 46504"/>
                <a:gd name="connsiteX2" fmla="*/ 433 w 32404"/>
                <a:gd name="connsiteY2" fmla="*/ 40671 h 46504"/>
                <a:gd name="connsiteX3" fmla="*/ 433 w 32404"/>
                <a:gd name="connsiteY3" fmla="*/ 20309 h 46504"/>
                <a:gd name="connsiteX4" fmla="*/ 20737 w 32404"/>
                <a:gd name="connsiteY4" fmla="*/ 12585 h 46504"/>
                <a:gd name="connsiteX5" fmla="*/ 32405 w 32404"/>
                <a:gd name="connsiteY5" fmla="*/ 0 h 46504"/>
                <a:gd name="connsiteX6" fmla="*/ 32405 w 32404"/>
                <a:gd name="connsiteY6" fmla="*/ 27114 h 46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404" h="46504">
                  <a:moveTo>
                    <a:pt x="32405" y="27114"/>
                  </a:moveTo>
                  <a:cubicBezTo>
                    <a:pt x="32405" y="33920"/>
                    <a:pt x="28516" y="42615"/>
                    <a:pt x="20737" y="46505"/>
                  </a:cubicBezTo>
                  <a:lnTo>
                    <a:pt x="433" y="40671"/>
                  </a:lnTo>
                  <a:cubicBezTo>
                    <a:pt x="102" y="33883"/>
                    <a:pt x="-348" y="20309"/>
                    <a:pt x="433" y="20309"/>
                  </a:cubicBezTo>
                  <a:cubicBezTo>
                    <a:pt x="1403" y="20309"/>
                    <a:pt x="12044" y="14529"/>
                    <a:pt x="20737" y="12585"/>
                  </a:cubicBezTo>
                  <a:cubicBezTo>
                    <a:pt x="27693" y="11029"/>
                    <a:pt x="31413" y="3547"/>
                    <a:pt x="32405" y="0"/>
                  </a:cubicBezTo>
                  <a:lnTo>
                    <a:pt x="32405" y="27114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3" name="Freihandform: Form 88">
              <a:extLst>
                <a:ext uri="{FF2B5EF4-FFF2-40B4-BE49-F238E27FC236}">
                  <a16:creationId xmlns:a16="http://schemas.microsoft.com/office/drawing/2014/main" id="{BEE6FFC6-AD48-BD4F-97FC-77C8786938E7}"/>
                </a:ext>
              </a:extLst>
            </p:cNvPr>
            <p:cNvSpPr/>
            <p:nvPr/>
          </p:nvSpPr>
          <p:spPr>
            <a:xfrm>
              <a:off x="7035083" y="2317531"/>
              <a:ext cx="37802" cy="30030"/>
            </a:xfrm>
            <a:custGeom>
              <a:avLst/>
              <a:gdLst>
                <a:gd name="connsiteX0" fmla="*/ 0 w 37802"/>
                <a:gd name="connsiteY0" fmla="*/ 16474 h 30030"/>
                <a:gd name="connsiteX1" fmla="*/ 19390 w 37802"/>
                <a:gd name="connsiteY1" fmla="*/ 0 h 30030"/>
                <a:gd name="connsiteX2" fmla="*/ 37803 w 37802"/>
                <a:gd name="connsiteY2" fmla="*/ 0 h 30030"/>
                <a:gd name="connsiteX3" fmla="*/ 31972 w 37802"/>
                <a:gd name="connsiteY3" fmla="*/ 9668 h 30030"/>
                <a:gd name="connsiteX4" fmla="*/ 19390 w 37802"/>
                <a:gd name="connsiteY4" fmla="*/ 30030 h 30030"/>
                <a:gd name="connsiteX5" fmla="*/ 5781 w 37802"/>
                <a:gd name="connsiteY5" fmla="*/ 30030 h 30030"/>
                <a:gd name="connsiteX6" fmla="*/ 0 w 37802"/>
                <a:gd name="connsiteY6" fmla="*/ 16474 h 30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02" h="30030">
                  <a:moveTo>
                    <a:pt x="0" y="16474"/>
                  </a:moveTo>
                  <a:cubicBezTo>
                    <a:pt x="5169" y="10982"/>
                    <a:pt x="16281" y="0"/>
                    <a:pt x="19390" y="0"/>
                  </a:cubicBezTo>
                  <a:lnTo>
                    <a:pt x="37803" y="0"/>
                  </a:lnTo>
                  <a:lnTo>
                    <a:pt x="31972" y="9668"/>
                  </a:lnTo>
                  <a:lnTo>
                    <a:pt x="19390" y="30030"/>
                  </a:lnTo>
                  <a:lnTo>
                    <a:pt x="5781" y="30030"/>
                  </a:lnTo>
                  <a:lnTo>
                    <a:pt x="0" y="16474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4" name="Freihandform: Form 89">
              <a:extLst>
                <a:ext uri="{FF2B5EF4-FFF2-40B4-BE49-F238E27FC236}">
                  <a16:creationId xmlns:a16="http://schemas.microsoft.com/office/drawing/2014/main" id="{0A0C607A-CC35-A34B-992C-102D3838E70B}"/>
                </a:ext>
              </a:extLst>
            </p:cNvPr>
            <p:cNvSpPr/>
            <p:nvPr/>
          </p:nvSpPr>
          <p:spPr>
            <a:xfrm>
              <a:off x="6994361" y="2207468"/>
              <a:ext cx="78523" cy="90673"/>
            </a:xfrm>
            <a:custGeom>
              <a:avLst/>
              <a:gdLst>
                <a:gd name="connsiteX0" fmla="*/ 16471 w 78523"/>
                <a:gd name="connsiteY0" fmla="*/ 26722 h 90673"/>
                <a:gd name="connsiteX1" fmla="*/ 60112 w 78523"/>
                <a:gd name="connsiteY1" fmla="*/ 2471 h 90673"/>
                <a:gd name="connsiteX2" fmla="*/ 78524 w 78523"/>
                <a:gd name="connsiteY2" fmla="*/ 15110 h 90673"/>
                <a:gd name="connsiteX3" fmla="*/ 72694 w 78523"/>
                <a:gd name="connsiteY3" fmla="*/ 76144 h 90673"/>
                <a:gd name="connsiteX4" fmla="*/ 46503 w 78523"/>
                <a:gd name="connsiteY4" fmla="*/ 90673 h 90673"/>
                <a:gd name="connsiteX5" fmla="*/ 25220 w 78523"/>
                <a:gd name="connsiteY5" fmla="*/ 90673 h 90673"/>
                <a:gd name="connsiteX6" fmla="*/ 0 w 78523"/>
                <a:gd name="connsiteY6" fmla="*/ 70310 h 90673"/>
                <a:gd name="connsiteX7" fmla="*/ 16471 w 78523"/>
                <a:gd name="connsiteY7" fmla="*/ 55781 h 90673"/>
                <a:gd name="connsiteX8" fmla="*/ 40721 w 78523"/>
                <a:gd name="connsiteY8" fmla="*/ 42224 h 90673"/>
                <a:gd name="connsiteX9" fmla="*/ 16471 w 78523"/>
                <a:gd name="connsiteY9" fmla="*/ 26722 h 90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523" h="90673">
                  <a:moveTo>
                    <a:pt x="16471" y="26722"/>
                  </a:moveTo>
                  <a:lnTo>
                    <a:pt x="60112" y="2471"/>
                  </a:lnTo>
                  <a:cubicBezTo>
                    <a:pt x="64303" y="-1076"/>
                    <a:pt x="73861" y="-3514"/>
                    <a:pt x="78524" y="15110"/>
                  </a:cubicBezTo>
                  <a:cubicBezTo>
                    <a:pt x="62053" y="27749"/>
                    <a:pt x="72694" y="21862"/>
                    <a:pt x="72694" y="76144"/>
                  </a:cubicBezTo>
                  <a:cubicBezTo>
                    <a:pt x="68031" y="86212"/>
                    <a:pt x="53289" y="90025"/>
                    <a:pt x="46503" y="90673"/>
                  </a:cubicBezTo>
                  <a:lnTo>
                    <a:pt x="25220" y="90673"/>
                  </a:lnTo>
                  <a:lnTo>
                    <a:pt x="0" y="70310"/>
                  </a:lnTo>
                  <a:lnTo>
                    <a:pt x="16471" y="55781"/>
                  </a:lnTo>
                  <a:lnTo>
                    <a:pt x="40721" y="42224"/>
                  </a:lnTo>
                  <a:lnTo>
                    <a:pt x="16471" y="2672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Freihandform: Form 90">
              <a:extLst>
                <a:ext uri="{FF2B5EF4-FFF2-40B4-BE49-F238E27FC236}">
                  <a16:creationId xmlns:a16="http://schemas.microsoft.com/office/drawing/2014/main" id="{0F0C76AC-0F3D-3744-A495-71DEACCC4601}"/>
                </a:ext>
              </a:extLst>
            </p:cNvPr>
            <p:cNvSpPr/>
            <p:nvPr/>
          </p:nvSpPr>
          <p:spPr>
            <a:xfrm>
              <a:off x="6854151" y="2277778"/>
              <a:ext cx="54051" cy="23786"/>
            </a:xfrm>
            <a:custGeom>
              <a:avLst/>
              <a:gdLst>
                <a:gd name="connsiteX0" fmla="*/ 20100 w 54051"/>
                <a:gd name="connsiteY0" fmla="*/ 20363 h 23786"/>
                <a:gd name="connsiteX1" fmla="*/ 44293 w 54051"/>
                <a:gd name="connsiteY1" fmla="*/ 0 h 23786"/>
                <a:gd name="connsiteX2" fmla="*/ 53043 w 54051"/>
                <a:gd name="connsiteY2" fmla="*/ 13558 h 23786"/>
                <a:gd name="connsiteX3" fmla="*/ 52916 w 54051"/>
                <a:gd name="connsiteY3" fmla="*/ 13759 h 23786"/>
                <a:gd name="connsiteX4" fmla="*/ 12321 w 54051"/>
                <a:gd name="connsiteY4" fmla="*/ 20363 h 23786"/>
                <a:gd name="connsiteX5" fmla="*/ 20100 w 54051"/>
                <a:gd name="connsiteY5" fmla="*/ 20363 h 2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051" h="23786">
                  <a:moveTo>
                    <a:pt x="20100" y="20363"/>
                  </a:moveTo>
                  <a:lnTo>
                    <a:pt x="44293" y="0"/>
                  </a:lnTo>
                  <a:cubicBezTo>
                    <a:pt x="48816" y="1945"/>
                    <a:pt x="56889" y="7378"/>
                    <a:pt x="53043" y="13558"/>
                  </a:cubicBezTo>
                  <a:lnTo>
                    <a:pt x="52916" y="13759"/>
                  </a:lnTo>
                  <a:cubicBezTo>
                    <a:pt x="48169" y="21399"/>
                    <a:pt x="44019" y="28073"/>
                    <a:pt x="12321" y="20363"/>
                  </a:cubicBezTo>
                  <a:cubicBezTo>
                    <a:pt x="-13258" y="14141"/>
                    <a:pt x="6849" y="17770"/>
                    <a:pt x="20100" y="20363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6" name="Freihandform: Form 91">
              <a:extLst>
                <a:ext uri="{FF2B5EF4-FFF2-40B4-BE49-F238E27FC236}">
                  <a16:creationId xmlns:a16="http://schemas.microsoft.com/office/drawing/2014/main" id="{66C5D62D-DB91-C54D-A2BD-1179204D0BE7}"/>
                </a:ext>
              </a:extLst>
            </p:cNvPr>
            <p:cNvSpPr/>
            <p:nvPr/>
          </p:nvSpPr>
          <p:spPr>
            <a:xfrm>
              <a:off x="6903329" y="2277778"/>
              <a:ext cx="46947" cy="56654"/>
            </a:xfrm>
            <a:custGeom>
              <a:avLst/>
              <a:gdLst>
                <a:gd name="connsiteX0" fmla="*/ 18395 w 46947"/>
                <a:gd name="connsiteY0" fmla="*/ 20363 h 56654"/>
                <a:gd name="connsiteX1" fmla="*/ 39670 w 46947"/>
                <a:gd name="connsiteY1" fmla="*/ 0 h 56654"/>
                <a:gd name="connsiteX2" fmla="*/ 39670 w 46947"/>
                <a:gd name="connsiteY2" fmla="*/ 29059 h 56654"/>
                <a:gd name="connsiteX3" fmla="*/ 30007 w 46947"/>
                <a:gd name="connsiteY3" fmla="*/ 49421 h 56654"/>
                <a:gd name="connsiteX4" fmla="*/ 3865 w 46947"/>
                <a:gd name="connsiteY4" fmla="*/ 56227 h 56654"/>
                <a:gd name="connsiteX5" fmla="*/ 3865 w 46947"/>
                <a:gd name="connsiteY5" fmla="*/ 39754 h 56654"/>
                <a:gd name="connsiteX6" fmla="*/ 18395 w 46947"/>
                <a:gd name="connsiteY6" fmla="*/ 20363 h 56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947" h="56654">
                  <a:moveTo>
                    <a:pt x="18395" y="20363"/>
                  </a:moveTo>
                  <a:cubicBezTo>
                    <a:pt x="25196" y="6806"/>
                    <a:pt x="30007" y="13558"/>
                    <a:pt x="39670" y="0"/>
                  </a:cubicBezTo>
                  <a:cubicBezTo>
                    <a:pt x="45163" y="1945"/>
                    <a:pt x="52850" y="10479"/>
                    <a:pt x="39670" y="29059"/>
                  </a:cubicBezTo>
                  <a:cubicBezTo>
                    <a:pt x="31898" y="37755"/>
                    <a:pt x="33896" y="39754"/>
                    <a:pt x="30007" y="49421"/>
                  </a:cubicBezTo>
                  <a:cubicBezTo>
                    <a:pt x="26891" y="57156"/>
                    <a:pt x="11285" y="57182"/>
                    <a:pt x="3865" y="56227"/>
                  </a:cubicBezTo>
                  <a:cubicBezTo>
                    <a:pt x="946" y="53958"/>
                    <a:pt x="-3133" y="47488"/>
                    <a:pt x="3865" y="39754"/>
                  </a:cubicBezTo>
                  <a:cubicBezTo>
                    <a:pt x="12614" y="30085"/>
                    <a:pt x="11587" y="33920"/>
                    <a:pt x="18395" y="20363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7" name="Freihandform: Form 92">
              <a:extLst>
                <a:ext uri="{FF2B5EF4-FFF2-40B4-BE49-F238E27FC236}">
                  <a16:creationId xmlns:a16="http://schemas.microsoft.com/office/drawing/2014/main" id="{4DDBD92B-D0E0-6043-85A7-7328FC30A51C}"/>
                </a:ext>
              </a:extLst>
            </p:cNvPr>
            <p:cNvSpPr/>
            <p:nvPr/>
          </p:nvSpPr>
          <p:spPr>
            <a:xfrm>
              <a:off x="6972109" y="2317531"/>
              <a:ext cx="22252" cy="22326"/>
            </a:xfrm>
            <a:custGeom>
              <a:avLst/>
              <a:gdLst>
                <a:gd name="connsiteX0" fmla="*/ 0 w 22252"/>
                <a:gd name="connsiteY0" fmla="*/ 16474 h 22326"/>
                <a:gd name="connsiteX1" fmla="*/ 8700 w 22252"/>
                <a:gd name="connsiteY1" fmla="*/ 0 h 22326"/>
                <a:gd name="connsiteX2" fmla="*/ 22253 w 22252"/>
                <a:gd name="connsiteY2" fmla="*/ 0 h 22326"/>
                <a:gd name="connsiteX3" fmla="*/ 22253 w 22252"/>
                <a:gd name="connsiteY3" fmla="*/ 16474 h 22326"/>
                <a:gd name="connsiteX4" fmla="*/ 13560 w 22252"/>
                <a:gd name="connsiteY4" fmla="*/ 22253 h 22326"/>
                <a:gd name="connsiteX5" fmla="*/ 0 w 22252"/>
                <a:gd name="connsiteY5" fmla="*/ 16474 h 22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252" h="22326">
                  <a:moveTo>
                    <a:pt x="0" y="16474"/>
                  </a:moveTo>
                  <a:lnTo>
                    <a:pt x="8700" y="0"/>
                  </a:lnTo>
                  <a:lnTo>
                    <a:pt x="22253" y="0"/>
                  </a:lnTo>
                  <a:lnTo>
                    <a:pt x="22253" y="16474"/>
                  </a:lnTo>
                  <a:cubicBezTo>
                    <a:pt x="22253" y="21918"/>
                    <a:pt x="16458" y="22595"/>
                    <a:pt x="13560" y="22253"/>
                  </a:cubicBezTo>
                  <a:lnTo>
                    <a:pt x="0" y="16474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8" name="Freihandform: Form 93">
              <a:extLst>
                <a:ext uri="{FF2B5EF4-FFF2-40B4-BE49-F238E27FC236}">
                  <a16:creationId xmlns:a16="http://schemas.microsoft.com/office/drawing/2014/main" id="{D667425C-8854-F946-A200-1240554EFDDE}"/>
                </a:ext>
              </a:extLst>
            </p:cNvPr>
            <p:cNvSpPr/>
            <p:nvPr/>
          </p:nvSpPr>
          <p:spPr>
            <a:xfrm>
              <a:off x="6435276" y="2305918"/>
              <a:ext cx="143976" cy="112629"/>
            </a:xfrm>
            <a:custGeom>
              <a:avLst/>
              <a:gdLst>
                <a:gd name="connsiteX0" fmla="*/ 28090 w 143976"/>
                <a:gd name="connsiteY0" fmla="*/ 5779 h 112629"/>
                <a:gd name="connsiteX1" fmla="*/ 70752 w 143976"/>
                <a:gd name="connsiteY1" fmla="*/ 33866 h 112629"/>
                <a:gd name="connsiteX2" fmla="*/ 82364 w 143976"/>
                <a:gd name="connsiteY2" fmla="*/ 919 h 112629"/>
                <a:gd name="connsiteX3" fmla="*/ 95924 w 143976"/>
                <a:gd name="connsiteY3" fmla="*/ 21281 h 112629"/>
                <a:gd name="connsiteX4" fmla="*/ 139557 w 143976"/>
                <a:gd name="connsiteY4" fmla="*/ 41643 h 112629"/>
                <a:gd name="connsiteX5" fmla="*/ 121144 w 143976"/>
                <a:gd name="connsiteY5" fmla="*/ 91065 h 112629"/>
                <a:gd name="connsiteX6" fmla="*/ 45532 w 143976"/>
                <a:gd name="connsiteY6" fmla="*/ 105594 h 112629"/>
                <a:gd name="connsiteX7" fmla="*/ 61032 w 143976"/>
                <a:gd name="connsiteY7" fmla="*/ 64923 h 112629"/>
                <a:gd name="connsiteX8" fmla="*/ 13559 w 143976"/>
                <a:gd name="connsiteY8" fmla="*/ 59090 h 112629"/>
                <a:gd name="connsiteX9" fmla="*/ 28090 w 143976"/>
                <a:gd name="connsiteY9" fmla="*/ 5779 h 112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976" h="112629">
                  <a:moveTo>
                    <a:pt x="28090" y="5779"/>
                  </a:moveTo>
                  <a:cubicBezTo>
                    <a:pt x="34841" y="-54"/>
                    <a:pt x="58170" y="33866"/>
                    <a:pt x="70752" y="33866"/>
                  </a:cubicBezTo>
                  <a:cubicBezTo>
                    <a:pt x="72679" y="24504"/>
                    <a:pt x="77701" y="4807"/>
                    <a:pt x="82364" y="919"/>
                  </a:cubicBezTo>
                  <a:cubicBezTo>
                    <a:pt x="88201" y="-3943"/>
                    <a:pt x="93005" y="11613"/>
                    <a:pt x="95924" y="21281"/>
                  </a:cubicBezTo>
                  <a:cubicBezTo>
                    <a:pt x="98835" y="30949"/>
                    <a:pt x="128866" y="28087"/>
                    <a:pt x="139557" y="41643"/>
                  </a:cubicBezTo>
                  <a:cubicBezTo>
                    <a:pt x="150254" y="55200"/>
                    <a:pt x="140534" y="64923"/>
                    <a:pt x="121144" y="91065"/>
                  </a:cubicBezTo>
                  <a:cubicBezTo>
                    <a:pt x="101754" y="117207"/>
                    <a:pt x="91113" y="116289"/>
                    <a:pt x="45532" y="105594"/>
                  </a:cubicBezTo>
                  <a:cubicBezTo>
                    <a:pt x="9065" y="97039"/>
                    <a:pt x="40672" y="74915"/>
                    <a:pt x="61032" y="64923"/>
                  </a:cubicBezTo>
                  <a:cubicBezTo>
                    <a:pt x="56841" y="65247"/>
                    <a:pt x="41473" y="64534"/>
                    <a:pt x="13559" y="59090"/>
                  </a:cubicBezTo>
                  <a:cubicBezTo>
                    <a:pt x="-21332" y="52284"/>
                    <a:pt x="21338" y="11613"/>
                    <a:pt x="28090" y="577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9" name="Freihandform: Form 94">
              <a:extLst>
                <a:ext uri="{FF2B5EF4-FFF2-40B4-BE49-F238E27FC236}">
                  <a16:creationId xmlns:a16="http://schemas.microsoft.com/office/drawing/2014/main" id="{D25526EF-40C6-324A-8B83-2366E2DF58B6}"/>
                </a:ext>
              </a:extLst>
            </p:cNvPr>
            <p:cNvSpPr/>
            <p:nvPr/>
          </p:nvSpPr>
          <p:spPr>
            <a:xfrm>
              <a:off x="6326759" y="2355236"/>
              <a:ext cx="205639" cy="265071"/>
            </a:xfrm>
            <a:custGeom>
              <a:avLst/>
              <a:gdLst>
                <a:gd name="connsiteX0" fmla="*/ 117273 w 205639"/>
                <a:gd name="connsiteY0" fmla="*/ 52388 h 265071"/>
                <a:gd name="connsiteX1" fmla="*/ 79463 w 205639"/>
                <a:gd name="connsiteY1" fmla="*/ 1022 h 265071"/>
                <a:gd name="connsiteX2" fmla="*/ 86214 w 205639"/>
                <a:gd name="connsiteY2" fmla="*/ 80528 h 265071"/>
                <a:gd name="connsiteX3" fmla="*/ 60080 w 205639"/>
                <a:gd name="connsiteY3" fmla="*/ 33051 h 265071"/>
                <a:gd name="connsiteX4" fmla="*/ 36800 w 205639"/>
                <a:gd name="connsiteY4" fmla="*/ 41747 h 265071"/>
                <a:gd name="connsiteX5" fmla="*/ 48468 w 205639"/>
                <a:gd name="connsiteY5" fmla="*/ 9772 h 265071"/>
                <a:gd name="connsiteX6" fmla="*/ 11629 w 205639"/>
                <a:gd name="connsiteY6" fmla="*/ 15605 h 265071"/>
                <a:gd name="connsiteX7" fmla="*/ 17 w 205639"/>
                <a:gd name="connsiteY7" fmla="*/ 52388 h 265071"/>
                <a:gd name="connsiteX8" fmla="*/ 17466 w 205639"/>
                <a:gd name="connsiteY8" fmla="*/ 80528 h 265071"/>
                <a:gd name="connsiteX9" fmla="*/ 5799 w 205639"/>
                <a:gd name="connsiteY9" fmla="*/ 106670 h 265071"/>
                <a:gd name="connsiteX10" fmla="*/ 48468 w 205639"/>
                <a:gd name="connsiteY10" fmla="*/ 142534 h 265071"/>
                <a:gd name="connsiteX11" fmla="*/ 60080 w 205639"/>
                <a:gd name="connsiteY11" fmla="*/ 101809 h 265071"/>
                <a:gd name="connsiteX12" fmla="*/ 97882 w 205639"/>
                <a:gd name="connsiteY12" fmla="*/ 130922 h 265071"/>
                <a:gd name="connsiteX13" fmla="*/ 48468 w 205639"/>
                <a:gd name="connsiteY13" fmla="*/ 161925 h 265071"/>
                <a:gd name="connsiteX14" fmla="*/ 48468 w 205639"/>
                <a:gd name="connsiteY14" fmla="*/ 181315 h 265071"/>
                <a:gd name="connsiteX15" fmla="*/ 48468 w 205639"/>
                <a:gd name="connsiteY15" fmla="*/ 200652 h 265071"/>
                <a:gd name="connsiteX16" fmla="*/ 97882 w 205639"/>
                <a:gd name="connsiteY16" fmla="*/ 264656 h 265071"/>
                <a:gd name="connsiteX17" fmla="*/ 108523 w 205639"/>
                <a:gd name="connsiteY17" fmla="*/ 193900 h 265071"/>
                <a:gd name="connsiteX18" fmla="*/ 136606 w 205639"/>
                <a:gd name="connsiteY18" fmla="*/ 119254 h 265071"/>
                <a:gd name="connsiteX19" fmla="*/ 169549 w 205639"/>
                <a:gd name="connsiteY19" fmla="*/ 175482 h 265071"/>
                <a:gd name="connsiteX20" fmla="*/ 197688 w 205639"/>
                <a:gd name="connsiteY20" fmla="*/ 207457 h 265071"/>
                <a:gd name="connsiteX21" fmla="*/ 190880 w 205639"/>
                <a:gd name="connsiteY21" fmla="*/ 161925 h 265071"/>
                <a:gd name="connsiteX22" fmla="*/ 158908 w 205639"/>
                <a:gd name="connsiteY22" fmla="*/ 96029 h 265071"/>
                <a:gd name="connsiteX23" fmla="*/ 117273 w 205639"/>
                <a:gd name="connsiteY23" fmla="*/ 52388 h 26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05639" h="265071">
                  <a:moveTo>
                    <a:pt x="117273" y="52388"/>
                  </a:moveTo>
                  <a:cubicBezTo>
                    <a:pt x="112462" y="41693"/>
                    <a:pt x="91074" y="-7675"/>
                    <a:pt x="79463" y="1022"/>
                  </a:cubicBezTo>
                  <a:cubicBezTo>
                    <a:pt x="65910" y="17495"/>
                    <a:pt x="91074" y="66971"/>
                    <a:pt x="86214" y="80528"/>
                  </a:cubicBezTo>
                  <a:cubicBezTo>
                    <a:pt x="81355" y="94085"/>
                    <a:pt x="60080" y="41747"/>
                    <a:pt x="60080" y="33051"/>
                  </a:cubicBezTo>
                  <a:cubicBezTo>
                    <a:pt x="60080" y="24355"/>
                    <a:pt x="48468" y="41747"/>
                    <a:pt x="36800" y="41747"/>
                  </a:cubicBezTo>
                  <a:cubicBezTo>
                    <a:pt x="25132" y="41747"/>
                    <a:pt x="48468" y="15605"/>
                    <a:pt x="48468" y="9772"/>
                  </a:cubicBezTo>
                  <a:cubicBezTo>
                    <a:pt x="48468" y="3938"/>
                    <a:pt x="24218" y="9772"/>
                    <a:pt x="11629" y="15605"/>
                  </a:cubicBezTo>
                  <a:cubicBezTo>
                    <a:pt x="-953" y="21438"/>
                    <a:pt x="17" y="41747"/>
                    <a:pt x="17" y="52388"/>
                  </a:cubicBezTo>
                  <a:cubicBezTo>
                    <a:pt x="17" y="63028"/>
                    <a:pt x="12606" y="71778"/>
                    <a:pt x="17466" y="80528"/>
                  </a:cubicBezTo>
                  <a:cubicBezTo>
                    <a:pt x="22326" y="89278"/>
                    <a:pt x="6769" y="96029"/>
                    <a:pt x="5799" y="106670"/>
                  </a:cubicBezTo>
                  <a:cubicBezTo>
                    <a:pt x="4828" y="117311"/>
                    <a:pt x="36800" y="143507"/>
                    <a:pt x="48468" y="142534"/>
                  </a:cubicBezTo>
                  <a:cubicBezTo>
                    <a:pt x="60129" y="141562"/>
                    <a:pt x="54242" y="107642"/>
                    <a:pt x="60080" y="101809"/>
                  </a:cubicBezTo>
                  <a:cubicBezTo>
                    <a:pt x="64742" y="97142"/>
                    <a:pt x="87227" y="119273"/>
                    <a:pt x="97882" y="130922"/>
                  </a:cubicBezTo>
                  <a:cubicBezTo>
                    <a:pt x="85603" y="138339"/>
                    <a:pt x="58532" y="154925"/>
                    <a:pt x="48468" y="161925"/>
                  </a:cubicBezTo>
                  <a:cubicBezTo>
                    <a:pt x="35879" y="170675"/>
                    <a:pt x="42631" y="175482"/>
                    <a:pt x="48468" y="181315"/>
                  </a:cubicBezTo>
                  <a:cubicBezTo>
                    <a:pt x="54299" y="187148"/>
                    <a:pt x="53272" y="193900"/>
                    <a:pt x="48468" y="200652"/>
                  </a:cubicBezTo>
                  <a:cubicBezTo>
                    <a:pt x="43657" y="207403"/>
                    <a:pt x="88163" y="258823"/>
                    <a:pt x="97882" y="264656"/>
                  </a:cubicBezTo>
                  <a:cubicBezTo>
                    <a:pt x="107602" y="270489"/>
                    <a:pt x="108523" y="213290"/>
                    <a:pt x="108523" y="193900"/>
                  </a:cubicBezTo>
                  <a:cubicBezTo>
                    <a:pt x="108523" y="174510"/>
                    <a:pt x="126936" y="125088"/>
                    <a:pt x="136606" y="119254"/>
                  </a:cubicBezTo>
                  <a:cubicBezTo>
                    <a:pt x="146270" y="113421"/>
                    <a:pt x="158908" y="142534"/>
                    <a:pt x="169549" y="175482"/>
                  </a:cubicBezTo>
                  <a:cubicBezTo>
                    <a:pt x="180190" y="208429"/>
                    <a:pt x="179269" y="203568"/>
                    <a:pt x="197688" y="207457"/>
                  </a:cubicBezTo>
                  <a:cubicBezTo>
                    <a:pt x="216101" y="211346"/>
                    <a:pt x="197688" y="166732"/>
                    <a:pt x="190880" y="161925"/>
                  </a:cubicBezTo>
                  <a:cubicBezTo>
                    <a:pt x="184079" y="157118"/>
                    <a:pt x="162798" y="104726"/>
                    <a:pt x="158908" y="96029"/>
                  </a:cubicBezTo>
                  <a:cubicBezTo>
                    <a:pt x="155019" y="87334"/>
                    <a:pt x="122076" y="63082"/>
                    <a:pt x="117273" y="52388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0" name="Freihandform: Form 95">
              <a:extLst>
                <a:ext uri="{FF2B5EF4-FFF2-40B4-BE49-F238E27FC236}">
                  <a16:creationId xmlns:a16="http://schemas.microsoft.com/office/drawing/2014/main" id="{06A30E37-668C-B64C-ABD6-3215B2705B2D}"/>
                </a:ext>
              </a:extLst>
            </p:cNvPr>
            <p:cNvSpPr/>
            <p:nvPr/>
          </p:nvSpPr>
          <p:spPr>
            <a:xfrm>
              <a:off x="7300313" y="3543047"/>
              <a:ext cx="931640" cy="685038"/>
            </a:xfrm>
            <a:custGeom>
              <a:avLst/>
              <a:gdLst>
                <a:gd name="connsiteX0" fmla="*/ 787245 w 931640"/>
                <a:gd name="connsiteY0" fmla="*/ 286046 h 685038"/>
                <a:gd name="connsiteX1" fmla="*/ 770534 w 931640"/>
                <a:gd name="connsiteY1" fmla="*/ 304346 h 685038"/>
                <a:gd name="connsiteX2" fmla="*/ 766955 w 931640"/>
                <a:gd name="connsiteY2" fmla="*/ 303551 h 685038"/>
                <a:gd name="connsiteX3" fmla="*/ 759394 w 931640"/>
                <a:gd name="connsiteY3" fmla="*/ 304346 h 685038"/>
                <a:gd name="connsiteX4" fmla="*/ 755512 w 931640"/>
                <a:gd name="connsiteY4" fmla="*/ 305872 h 685038"/>
                <a:gd name="connsiteX5" fmla="*/ 754626 w 931640"/>
                <a:gd name="connsiteY5" fmla="*/ 306336 h 685038"/>
                <a:gd name="connsiteX6" fmla="*/ 748261 w 931640"/>
                <a:gd name="connsiteY6" fmla="*/ 309121 h 685038"/>
                <a:gd name="connsiteX7" fmla="*/ 745152 w 931640"/>
                <a:gd name="connsiteY7" fmla="*/ 311133 h 685038"/>
                <a:gd name="connsiteX8" fmla="*/ 743084 w 931640"/>
                <a:gd name="connsiteY8" fmla="*/ 312701 h 685038"/>
                <a:gd name="connsiteX9" fmla="*/ 739610 w 931640"/>
                <a:gd name="connsiteY9" fmla="*/ 315345 h 685038"/>
                <a:gd name="connsiteX10" fmla="*/ 739610 w 931640"/>
                <a:gd name="connsiteY10" fmla="*/ 315345 h 685038"/>
                <a:gd name="connsiteX11" fmla="*/ 739603 w 931640"/>
                <a:gd name="connsiteY11" fmla="*/ 315353 h 685038"/>
                <a:gd name="connsiteX12" fmla="*/ 738710 w 931640"/>
                <a:gd name="connsiteY12" fmla="*/ 316281 h 685038"/>
                <a:gd name="connsiteX13" fmla="*/ 736213 w 931640"/>
                <a:gd name="connsiteY13" fmla="*/ 318264 h 685038"/>
                <a:gd name="connsiteX14" fmla="*/ 733541 w 931640"/>
                <a:gd name="connsiteY14" fmla="*/ 320255 h 685038"/>
                <a:gd name="connsiteX15" fmla="*/ 730488 w 931640"/>
                <a:gd name="connsiteY15" fmla="*/ 322625 h 685038"/>
                <a:gd name="connsiteX16" fmla="*/ 730488 w 931640"/>
                <a:gd name="connsiteY16" fmla="*/ 322625 h 685038"/>
                <a:gd name="connsiteX17" fmla="*/ 728371 w 931640"/>
                <a:gd name="connsiteY17" fmla="*/ 324235 h 685038"/>
                <a:gd name="connsiteX18" fmla="*/ 722006 w 931640"/>
                <a:gd name="connsiteY18" fmla="*/ 326619 h 685038"/>
                <a:gd name="connsiteX19" fmla="*/ 721697 w 931640"/>
                <a:gd name="connsiteY19" fmla="*/ 324488 h 685038"/>
                <a:gd name="connsiteX20" fmla="*/ 722006 w 931640"/>
                <a:gd name="connsiteY20" fmla="*/ 323441 h 685038"/>
                <a:gd name="connsiteX21" fmla="*/ 724370 w 931640"/>
                <a:gd name="connsiteY21" fmla="*/ 321352 h 685038"/>
                <a:gd name="connsiteX22" fmla="*/ 725980 w 931640"/>
                <a:gd name="connsiteY22" fmla="*/ 320255 h 685038"/>
                <a:gd name="connsiteX23" fmla="*/ 728371 w 931640"/>
                <a:gd name="connsiteY23" fmla="*/ 317076 h 685038"/>
                <a:gd name="connsiteX24" fmla="*/ 728371 w 931640"/>
                <a:gd name="connsiteY24" fmla="*/ 313496 h 685038"/>
                <a:gd name="connsiteX25" fmla="*/ 727394 w 931640"/>
                <a:gd name="connsiteY25" fmla="*/ 313320 h 685038"/>
                <a:gd name="connsiteX26" fmla="*/ 727176 w 931640"/>
                <a:gd name="connsiteY26" fmla="*/ 313496 h 685038"/>
                <a:gd name="connsiteX27" fmla="*/ 723596 w 931640"/>
                <a:gd name="connsiteY27" fmla="*/ 311505 h 685038"/>
                <a:gd name="connsiteX28" fmla="*/ 723420 w 931640"/>
                <a:gd name="connsiteY28" fmla="*/ 309206 h 685038"/>
                <a:gd name="connsiteX29" fmla="*/ 723596 w 931640"/>
                <a:gd name="connsiteY29" fmla="*/ 307926 h 685038"/>
                <a:gd name="connsiteX30" fmla="*/ 725713 w 931640"/>
                <a:gd name="connsiteY30" fmla="*/ 306245 h 685038"/>
                <a:gd name="connsiteX31" fmla="*/ 727176 w 931640"/>
                <a:gd name="connsiteY31" fmla="*/ 305534 h 685038"/>
                <a:gd name="connsiteX32" fmla="*/ 728371 w 931640"/>
                <a:gd name="connsiteY32" fmla="*/ 304543 h 685038"/>
                <a:gd name="connsiteX33" fmla="*/ 729560 w 931640"/>
                <a:gd name="connsiteY33" fmla="*/ 303551 h 685038"/>
                <a:gd name="connsiteX34" fmla="*/ 732746 w 931640"/>
                <a:gd name="connsiteY34" fmla="*/ 299971 h 685038"/>
                <a:gd name="connsiteX35" fmla="*/ 737514 w 931640"/>
                <a:gd name="connsiteY35" fmla="*/ 294000 h 685038"/>
                <a:gd name="connsiteX36" fmla="*/ 737514 w 931640"/>
                <a:gd name="connsiteY36" fmla="*/ 290026 h 685038"/>
                <a:gd name="connsiteX37" fmla="*/ 736157 w 931640"/>
                <a:gd name="connsiteY37" fmla="*/ 287938 h 685038"/>
                <a:gd name="connsiteX38" fmla="*/ 735130 w 931640"/>
                <a:gd name="connsiteY38" fmla="*/ 287241 h 685038"/>
                <a:gd name="connsiteX39" fmla="*/ 732260 w 931640"/>
                <a:gd name="connsiteY39" fmla="*/ 285800 h 685038"/>
                <a:gd name="connsiteX40" fmla="*/ 730755 w 931640"/>
                <a:gd name="connsiteY40" fmla="*/ 285251 h 685038"/>
                <a:gd name="connsiteX41" fmla="*/ 728350 w 931640"/>
                <a:gd name="connsiteY41" fmla="*/ 284794 h 685038"/>
                <a:gd name="connsiteX42" fmla="*/ 727569 w 931640"/>
                <a:gd name="connsiteY42" fmla="*/ 284850 h 685038"/>
                <a:gd name="connsiteX43" fmla="*/ 722006 w 931640"/>
                <a:gd name="connsiteY43" fmla="*/ 286046 h 685038"/>
                <a:gd name="connsiteX44" fmla="*/ 718820 w 931640"/>
                <a:gd name="connsiteY44" fmla="*/ 288430 h 685038"/>
                <a:gd name="connsiteX45" fmla="*/ 716739 w 931640"/>
                <a:gd name="connsiteY45" fmla="*/ 290364 h 685038"/>
                <a:gd name="connsiteX46" fmla="*/ 716739 w 931640"/>
                <a:gd name="connsiteY46" fmla="*/ 290371 h 685038"/>
                <a:gd name="connsiteX47" fmla="*/ 716731 w 931640"/>
                <a:gd name="connsiteY47" fmla="*/ 290371 h 685038"/>
                <a:gd name="connsiteX48" fmla="*/ 716731 w 931640"/>
                <a:gd name="connsiteY48" fmla="*/ 290371 h 685038"/>
                <a:gd name="connsiteX49" fmla="*/ 716725 w 931640"/>
                <a:gd name="connsiteY49" fmla="*/ 290378 h 685038"/>
                <a:gd name="connsiteX50" fmla="*/ 716717 w 931640"/>
                <a:gd name="connsiteY50" fmla="*/ 290385 h 685038"/>
                <a:gd name="connsiteX51" fmla="*/ 712856 w 931640"/>
                <a:gd name="connsiteY51" fmla="*/ 294000 h 685038"/>
                <a:gd name="connsiteX52" fmla="*/ 701273 w 931640"/>
                <a:gd name="connsiteY52" fmla="*/ 302004 h 685038"/>
                <a:gd name="connsiteX53" fmla="*/ 701273 w 931640"/>
                <a:gd name="connsiteY53" fmla="*/ 302004 h 685038"/>
                <a:gd name="connsiteX54" fmla="*/ 700584 w 931640"/>
                <a:gd name="connsiteY54" fmla="*/ 302454 h 685038"/>
                <a:gd name="connsiteX55" fmla="*/ 700422 w 931640"/>
                <a:gd name="connsiteY55" fmla="*/ 302559 h 685038"/>
                <a:gd name="connsiteX56" fmla="*/ 700281 w 931640"/>
                <a:gd name="connsiteY56" fmla="*/ 302651 h 685038"/>
                <a:gd name="connsiteX57" fmla="*/ 700127 w 931640"/>
                <a:gd name="connsiteY57" fmla="*/ 302756 h 685038"/>
                <a:gd name="connsiteX58" fmla="*/ 693361 w 931640"/>
                <a:gd name="connsiteY58" fmla="*/ 311505 h 685038"/>
                <a:gd name="connsiteX59" fmla="*/ 692566 w 931640"/>
                <a:gd name="connsiteY59" fmla="*/ 314291 h 685038"/>
                <a:gd name="connsiteX60" fmla="*/ 691384 w 931640"/>
                <a:gd name="connsiteY60" fmla="*/ 316049 h 685038"/>
                <a:gd name="connsiteX61" fmla="*/ 690576 w 931640"/>
                <a:gd name="connsiteY61" fmla="*/ 317076 h 685038"/>
                <a:gd name="connsiteX62" fmla="*/ 687594 w 931640"/>
                <a:gd name="connsiteY62" fmla="*/ 318932 h 685038"/>
                <a:gd name="connsiteX63" fmla="*/ 685406 w 931640"/>
                <a:gd name="connsiteY63" fmla="*/ 320255 h 685038"/>
                <a:gd name="connsiteX64" fmla="*/ 683198 w 931640"/>
                <a:gd name="connsiteY64" fmla="*/ 321844 h 685038"/>
                <a:gd name="connsiteX65" fmla="*/ 681826 w 931640"/>
                <a:gd name="connsiteY65" fmla="*/ 322646 h 685038"/>
                <a:gd name="connsiteX66" fmla="*/ 679112 w 931640"/>
                <a:gd name="connsiteY66" fmla="*/ 322787 h 685038"/>
                <a:gd name="connsiteX67" fmla="*/ 678247 w 931640"/>
                <a:gd name="connsiteY67" fmla="*/ 322646 h 685038"/>
                <a:gd name="connsiteX68" fmla="*/ 676657 w 931640"/>
                <a:gd name="connsiteY68" fmla="*/ 320255 h 685038"/>
                <a:gd name="connsiteX69" fmla="*/ 674266 w 931640"/>
                <a:gd name="connsiteY69" fmla="*/ 318264 h 685038"/>
                <a:gd name="connsiteX70" fmla="*/ 672677 w 931640"/>
                <a:gd name="connsiteY70" fmla="*/ 319460 h 685038"/>
                <a:gd name="connsiteX71" fmla="*/ 672339 w 931640"/>
                <a:gd name="connsiteY71" fmla="*/ 320740 h 685038"/>
                <a:gd name="connsiteX72" fmla="*/ 671882 w 931640"/>
                <a:gd name="connsiteY72" fmla="*/ 322646 h 685038"/>
                <a:gd name="connsiteX73" fmla="*/ 671101 w 931640"/>
                <a:gd name="connsiteY73" fmla="*/ 324742 h 685038"/>
                <a:gd name="connsiteX74" fmla="*/ 669892 w 931640"/>
                <a:gd name="connsiteY74" fmla="*/ 327414 h 685038"/>
                <a:gd name="connsiteX75" fmla="*/ 669680 w 931640"/>
                <a:gd name="connsiteY75" fmla="*/ 328828 h 685038"/>
                <a:gd name="connsiteX76" fmla="*/ 669892 w 931640"/>
                <a:gd name="connsiteY76" fmla="*/ 329805 h 685038"/>
                <a:gd name="connsiteX77" fmla="*/ 670250 w 931640"/>
                <a:gd name="connsiteY77" fmla="*/ 331149 h 685038"/>
                <a:gd name="connsiteX78" fmla="*/ 670686 w 931640"/>
                <a:gd name="connsiteY78" fmla="*/ 332984 h 685038"/>
                <a:gd name="connsiteX79" fmla="*/ 671200 w 931640"/>
                <a:gd name="connsiteY79" fmla="*/ 334454 h 685038"/>
                <a:gd name="connsiteX80" fmla="*/ 671882 w 931640"/>
                <a:gd name="connsiteY80" fmla="*/ 335770 h 685038"/>
                <a:gd name="connsiteX81" fmla="*/ 673077 w 931640"/>
                <a:gd name="connsiteY81" fmla="*/ 337289 h 685038"/>
                <a:gd name="connsiteX82" fmla="*/ 674266 w 931640"/>
                <a:gd name="connsiteY82" fmla="*/ 338154 h 685038"/>
                <a:gd name="connsiteX83" fmla="*/ 676059 w 931640"/>
                <a:gd name="connsiteY83" fmla="*/ 338843 h 685038"/>
                <a:gd name="connsiteX84" fmla="*/ 676657 w 931640"/>
                <a:gd name="connsiteY84" fmla="*/ 338955 h 685038"/>
                <a:gd name="connsiteX85" fmla="*/ 678099 w 931640"/>
                <a:gd name="connsiteY85" fmla="*/ 339181 h 685038"/>
                <a:gd name="connsiteX86" fmla="*/ 681826 w 931640"/>
                <a:gd name="connsiteY86" fmla="*/ 339750 h 685038"/>
                <a:gd name="connsiteX87" fmla="*/ 685308 w 931640"/>
                <a:gd name="connsiteY87" fmla="*/ 339842 h 685038"/>
                <a:gd name="connsiteX88" fmla="*/ 687791 w 931640"/>
                <a:gd name="connsiteY88" fmla="*/ 339750 h 685038"/>
                <a:gd name="connsiteX89" fmla="*/ 689352 w 931640"/>
                <a:gd name="connsiteY89" fmla="*/ 340651 h 685038"/>
                <a:gd name="connsiteX90" fmla="*/ 689781 w 931640"/>
                <a:gd name="connsiteY90" fmla="*/ 341340 h 685038"/>
                <a:gd name="connsiteX91" fmla="*/ 690576 w 931640"/>
                <a:gd name="connsiteY91" fmla="*/ 345320 h 685038"/>
                <a:gd name="connsiteX92" fmla="*/ 689858 w 931640"/>
                <a:gd name="connsiteY92" fmla="*/ 345750 h 685038"/>
                <a:gd name="connsiteX93" fmla="*/ 688986 w 931640"/>
                <a:gd name="connsiteY93" fmla="*/ 346509 h 685038"/>
                <a:gd name="connsiteX94" fmla="*/ 688262 w 931640"/>
                <a:gd name="connsiteY94" fmla="*/ 347585 h 685038"/>
                <a:gd name="connsiteX95" fmla="*/ 686996 w 931640"/>
                <a:gd name="connsiteY95" fmla="*/ 349294 h 685038"/>
                <a:gd name="connsiteX96" fmla="*/ 686996 w 931640"/>
                <a:gd name="connsiteY96" fmla="*/ 349294 h 685038"/>
                <a:gd name="connsiteX97" fmla="*/ 686658 w 931640"/>
                <a:gd name="connsiteY97" fmla="*/ 351580 h 685038"/>
                <a:gd name="connsiteX98" fmla="*/ 686996 w 931640"/>
                <a:gd name="connsiteY98" fmla="*/ 353669 h 685038"/>
                <a:gd name="connsiteX99" fmla="*/ 688023 w 931640"/>
                <a:gd name="connsiteY99" fmla="*/ 355202 h 685038"/>
                <a:gd name="connsiteX100" fmla="*/ 689781 w 931640"/>
                <a:gd name="connsiteY100" fmla="*/ 356060 h 685038"/>
                <a:gd name="connsiteX101" fmla="*/ 692503 w 931640"/>
                <a:gd name="connsiteY101" fmla="*/ 356953 h 685038"/>
                <a:gd name="connsiteX102" fmla="*/ 693361 w 931640"/>
                <a:gd name="connsiteY102" fmla="*/ 356855 h 685038"/>
                <a:gd name="connsiteX103" fmla="*/ 700127 w 931640"/>
                <a:gd name="connsiteY103" fmla="*/ 356855 h 685038"/>
                <a:gd name="connsiteX104" fmla="*/ 703305 w 931640"/>
                <a:gd name="connsiteY104" fmla="*/ 356060 h 685038"/>
                <a:gd name="connsiteX105" fmla="*/ 706091 w 931640"/>
                <a:gd name="connsiteY105" fmla="*/ 351284 h 685038"/>
                <a:gd name="connsiteX106" fmla="*/ 707286 w 931640"/>
                <a:gd name="connsiteY106" fmla="*/ 349294 h 685038"/>
                <a:gd name="connsiteX107" fmla="*/ 710465 w 931640"/>
                <a:gd name="connsiteY107" fmla="*/ 346509 h 685038"/>
                <a:gd name="connsiteX108" fmla="*/ 716436 w 931640"/>
                <a:gd name="connsiteY108" fmla="*/ 344519 h 685038"/>
                <a:gd name="connsiteX109" fmla="*/ 719355 w 931640"/>
                <a:gd name="connsiteY109" fmla="*/ 346488 h 685038"/>
                <a:gd name="connsiteX110" fmla="*/ 720410 w 931640"/>
                <a:gd name="connsiteY110" fmla="*/ 347705 h 685038"/>
                <a:gd name="connsiteX111" fmla="*/ 723596 w 931640"/>
                <a:gd name="connsiteY111" fmla="*/ 350089 h 685038"/>
                <a:gd name="connsiteX112" fmla="*/ 730355 w 931640"/>
                <a:gd name="connsiteY112" fmla="*/ 351284 h 685038"/>
                <a:gd name="connsiteX113" fmla="*/ 738710 w 931640"/>
                <a:gd name="connsiteY113" fmla="*/ 352079 h 685038"/>
                <a:gd name="connsiteX114" fmla="*/ 741622 w 931640"/>
                <a:gd name="connsiteY114" fmla="*/ 353704 h 685038"/>
                <a:gd name="connsiteX115" fmla="*/ 742290 w 931640"/>
                <a:gd name="connsiteY115" fmla="*/ 354463 h 685038"/>
                <a:gd name="connsiteX116" fmla="*/ 742557 w 931640"/>
                <a:gd name="connsiteY116" fmla="*/ 357558 h 685038"/>
                <a:gd name="connsiteX117" fmla="*/ 742290 w 931640"/>
                <a:gd name="connsiteY117" fmla="*/ 359239 h 685038"/>
                <a:gd name="connsiteX118" fmla="*/ 739906 w 931640"/>
                <a:gd name="connsiteY118" fmla="*/ 362425 h 685038"/>
                <a:gd name="connsiteX119" fmla="*/ 735925 w 931640"/>
                <a:gd name="connsiteY119" fmla="*/ 362425 h 685038"/>
                <a:gd name="connsiteX120" fmla="*/ 732746 w 931640"/>
                <a:gd name="connsiteY120" fmla="*/ 361630 h 685038"/>
                <a:gd name="connsiteX121" fmla="*/ 729560 w 931640"/>
                <a:gd name="connsiteY121" fmla="*/ 363613 h 685038"/>
                <a:gd name="connsiteX122" fmla="*/ 728350 w 931640"/>
                <a:gd name="connsiteY122" fmla="*/ 364007 h 685038"/>
                <a:gd name="connsiteX123" fmla="*/ 724791 w 931640"/>
                <a:gd name="connsiteY123" fmla="*/ 365604 h 685038"/>
                <a:gd name="connsiteX124" fmla="*/ 719221 w 931640"/>
                <a:gd name="connsiteY124" fmla="*/ 370379 h 685038"/>
                <a:gd name="connsiteX125" fmla="*/ 714045 w 931640"/>
                <a:gd name="connsiteY125" fmla="*/ 374754 h 685038"/>
                <a:gd name="connsiteX126" fmla="*/ 710465 w 931640"/>
                <a:gd name="connsiteY126" fmla="*/ 377236 h 685038"/>
                <a:gd name="connsiteX127" fmla="*/ 709818 w 931640"/>
                <a:gd name="connsiteY127" fmla="*/ 377616 h 685038"/>
                <a:gd name="connsiteX128" fmla="*/ 709277 w 931640"/>
                <a:gd name="connsiteY128" fmla="*/ 377940 h 685038"/>
                <a:gd name="connsiteX129" fmla="*/ 707033 w 931640"/>
                <a:gd name="connsiteY129" fmla="*/ 379986 h 685038"/>
                <a:gd name="connsiteX130" fmla="*/ 707033 w 931640"/>
                <a:gd name="connsiteY130" fmla="*/ 379986 h 685038"/>
                <a:gd name="connsiteX131" fmla="*/ 706091 w 931640"/>
                <a:gd name="connsiteY131" fmla="*/ 381119 h 685038"/>
                <a:gd name="connsiteX132" fmla="*/ 705029 w 931640"/>
                <a:gd name="connsiteY132" fmla="*/ 382279 h 685038"/>
                <a:gd name="connsiteX133" fmla="*/ 703305 w 931640"/>
                <a:gd name="connsiteY133" fmla="*/ 383904 h 685038"/>
                <a:gd name="connsiteX134" fmla="*/ 701864 w 931640"/>
                <a:gd name="connsiteY134" fmla="*/ 385149 h 685038"/>
                <a:gd name="connsiteX135" fmla="*/ 701864 w 931640"/>
                <a:gd name="connsiteY135" fmla="*/ 385149 h 685038"/>
                <a:gd name="connsiteX136" fmla="*/ 700127 w 931640"/>
                <a:gd name="connsiteY136" fmla="*/ 386689 h 685038"/>
                <a:gd name="connsiteX137" fmla="*/ 697341 w 931640"/>
                <a:gd name="connsiteY137" fmla="*/ 391464 h 685038"/>
                <a:gd name="connsiteX138" fmla="*/ 695597 w 931640"/>
                <a:gd name="connsiteY138" fmla="*/ 393743 h 685038"/>
                <a:gd name="connsiteX139" fmla="*/ 693361 w 931640"/>
                <a:gd name="connsiteY139" fmla="*/ 396233 h 685038"/>
                <a:gd name="connsiteX140" fmla="*/ 693171 w 931640"/>
                <a:gd name="connsiteY140" fmla="*/ 400080 h 685038"/>
                <a:gd name="connsiteX141" fmla="*/ 693361 w 931640"/>
                <a:gd name="connsiteY141" fmla="*/ 400614 h 685038"/>
                <a:gd name="connsiteX142" fmla="*/ 695126 w 931640"/>
                <a:gd name="connsiteY142" fmla="*/ 402190 h 685038"/>
                <a:gd name="connsiteX143" fmla="*/ 697341 w 931640"/>
                <a:gd name="connsiteY143" fmla="*/ 403793 h 685038"/>
                <a:gd name="connsiteX144" fmla="*/ 701716 w 931640"/>
                <a:gd name="connsiteY144" fmla="*/ 405784 h 685038"/>
                <a:gd name="connsiteX145" fmla="*/ 709277 w 931640"/>
                <a:gd name="connsiteY145" fmla="*/ 413738 h 685038"/>
                <a:gd name="connsiteX146" fmla="*/ 712062 w 931640"/>
                <a:gd name="connsiteY146" fmla="*/ 418513 h 685038"/>
                <a:gd name="connsiteX147" fmla="*/ 712575 w 931640"/>
                <a:gd name="connsiteY147" fmla="*/ 420637 h 685038"/>
                <a:gd name="connsiteX148" fmla="*/ 712575 w 931640"/>
                <a:gd name="connsiteY148" fmla="*/ 420637 h 685038"/>
                <a:gd name="connsiteX149" fmla="*/ 712575 w 931640"/>
                <a:gd name="connsiteY149" fmla="*/ 420645 h 685038"/>
                <a:gd name="connsiteX150" fmla="*/ 714045 w 931640"/>
                <a:gd name="connsiteY150" fmla="*/ 426468 h 685038"/>
                <a:gd name="connsiteX151" fmla="*/ 716176 w 931640"/>
                <a:gd name="connsiteY151" fmla="*/ 431208 h 685038"/>
                <a:gd name="connsiteX152" fmla="*/ 716176 w 931640"/>
                <a:gd name="connsiteY152" fmla="*/ 431208 h 685038"/>
                <a:gd name="connsiteX153" fmla="*/ 716176 w 931640"/>
                <a:gd name="connsiteY153" fmla="*/ 431208 h 685038"/>
                <a:gd name="connsiteX154" fmla="*/ 716176 w 931640"/>
                <a:gd name="connsiteY154" fmla="*/ 431208 h 685038"/>
                <a:gd name="connsiteX155" fmla="*/ 716176 w 931640"/>
                <a:gd name="connsiteY155" fmla="*/ 431208 h 685038"/>
                <a:gd name="connsiteX156" fmla="*/ 716176 w 931640"/>
                <a:gd name="connsiteY156" fmla="*/ 431208 h 685038"/>
                <a:gd name="connsiteX157" fmla="*/ 716830 w 931640"/>
                <a:gd name="connsiteY157" fmla="*/ 432432 h 685038"/>
                <a:gd name="connsiteX158" fmla="*/ 718525 w 931640"/>
                <a:gd name="connsiteY158" fmla="*/ 435477 h 685038"/>
                <a:gd name="connsiteX159" fmla="*/ 718525 w 931640"/>
                <a:gd name="connsiteY159" fmla="*/ 435477 h 685038"/>
                <a:gd name="connsiteX160" fmla="*/ 720811 w 931640"/>
                <a:gd name="connsiteY160" fmla="*/ 439599 h 685038"/>
                <a:gd name="connsiteX161" fmla="*/ 722801 w 931640"/>
                <a:gd name="connsiteY161" fmla="*/ 442974 h 685038"/>
                <a:gd name="connsiteX162" fmla="*/ 724791 w 931640"/>
                <a:gd name="connsiteY162" fmla="*/ 446357 h 685038"/>
                <a:gd name="connsiteX163" fmla="*/ 731951 w 931640"/>
                <a:gd name="connsiteY163" fmla="*/ 451527 h 685038"/>
                <a:gd name="connsiteX164" fmla="*/ 731951 w 931640"/>
                <a:gd name="connsiteY164" fmla="*/ 459882 h 685038"/>
                <a:gd name="connsiteX165" fmla="*/ 730755 w 931640"/>
                <a:gd name="connsiteY165" fmla="*/ 459882 h 685038"/>
                <a:gd name="connsiteX166" fmla="*/ 727176 w 931640"/>
                <a:gd name="connsiteY166" fmla="*/ 458686 h 685038"/>
                <a:gd name="connsiteX167" fmla="*/ 722801 w 931640"/>
                <a:gd name="connsiteY167" fmla="*/ 456703 h 685038"/>
                <a:gd name="connsiteX168" fmla="*/ 722801 w 931640"/>
                <a:gd name="connsiteY168" fmla="*/ 460677 h 685038"/>
                <a:gd name="connsiteX169" fmla="*/ 725235 w 931640"/>
                <a:gd name="connsiteY169" fmla="*/ 462681 h 685038"/>
                <a:gd name="connsiteX170" fmla="*/ 727176 w 931640"/>
                <a:gd name="connsiteY170" fmla="*/ 463863 h 685038"/>
                <a:gd name="connsiteX171" fmla="*/ 729560 w 931640"/>
                <a:gd name="connsiteY171" fmla="*/ 465255 h 685038"/>
                <a:gd name="connsiteX172" fmla="*/ 731951 w 931640"/>
                <a:gd name="connsiteY172" fmla="*/ 466648 h 685038"/>
                <a:gd name="connsiteX173" fmla="*/ 733140 w 931640"/>
                <a:gd name="connsiteY173" fmla="*/ 471022 h 685038"/>
                <a:gd name="connsiteX174" fmla="*/ 730158 w 931640"/>
                <a:gd name="connsiteY174" fmla="*/ 472598 h 685038"/>
                <a:gd name="connsiteX175" fmla="*/ 724791 w 931640"/>
                <a:gd name="connsiteY175" fmla="*/ 474602 h 685038"/>
                <a:gd name="connsiteX176" fmla="*/ 718026 w 931640"/>
                <a:gd name="connsiteY176" fmla="*/ 483752 h 685038"/>
                <a:gd name="connsiteX177" fmla="*/ 723990 w 931640"/>
                <a:gd name="connsiteY177" fmla="*/ 481361 h 685038"/>
                <a:gd name="connsiteX178" fmla="*/ 727176 w 931640"/>
                <a:gd name="connsiteY178" fmla="*/ 482957 h 685038"/>
                <a:gd name="connsiteX179" fmla="*/ 728962 w 931640"/>
                <a:gd name="connsiteY179" fmla="*/ 484941 h 685038"/>
                <a:gd name="connsiteX180" fmla="*/ 728962 w 931640"/>
                <a:gd name="connsiteY180" fmla="*/ 484941 h 685038"/>
                <a:gd name="connsiteX181" fmla="*/ 730755 w 931640"/>
                <a:gd name="connsiteY181" fmla="*/ 486931 h 685038"/>
                <a:gd name="connsiteX182" fmla="*/ 733140 w 931640"/>
                <a:gd name="connsiteY182" fmla="*/ 490511 h 685038"/>
                <a:gd name="connsiteX183" fmla="*/ 731149 w 931640"/>
                <a:gd name="connsiteY183" fmla="*/ 494091 h 685038"/>
                <a:gd name="connsiteX184" fmla="*/ 729560 w 931640"/>
                <a:gd name="connsiteY184" fmla="*/ 498472 h 685038"/>
                <a:gd name="connsiteX185" fmla="*/ 729560 w 931640"/>
                <a:gd name="connsiteY185" fmla="*/ 512391 h 685038"/>
                <a:gd name="connsiteX186" fmla="*/ 725425 w 931640"/>
                <a:gd name="connsiteY186" fmla="*/ 517862 h 685038"/>
                <a:gd name="connsiteX187" fmla="*/ 725425 w 931640"/>
                <a:gd name="connsiteY187" fmla="*/ 517869 h 685038"/>
                <a:gd name="connsiteX188" fmla="*/ 723990 w 931640"/>
                <a:gd name="connsiteY188" fmla="*/ 519550 h 685038"/>
                <a:gd name="connsiteX189" fmla="*/ 723392 w 931640"/>
                <a:gd name="connsiteY189" fmla="*/ 520275 h 685038"/>
                <a:gd name="connsiteX190" fmla="*/ 723315 w 931640"/>
                <a:gd name="connsiteY190" fmla="*/ 520359 h 685038"/>
                <a:gd name="connsiteX191" fmla="*/ 723315 w 931640"/>
                <a:gd name="connsiteY191" fmla="*/ 520359 h 685038"/>
                <a:gd name="connsiteX192" fmla="*/ 723307 w 931640"/>
                <a:gd name="connsiteY192" fmla="*/ 520373 h 685038"/>
                <a:gd name="connsiteX193" fmla="*/ 716436 w 931640"/>
                <a:gd name="connsiteY193" fmla="*/ 529101 h 685038"/>
                <a:gd name="connsiteX194" fmla="*/ 711246 w 931640"/>
                <a:gd name="connsiteY194" fmla="*/ 535543 h 685038"/>
                <a:gd name="connsiteX195" fmla="*/ 711246 w 931640"/>
                <a:gd name="connsiteY195" fmla="*/ 535543 h 685038"/>
                <a:gd name="connsiteX196" fmla="*/ 711246 w 931640"/>
                <a:gd name="connsiteY196" fmla="*/ 535550 h 685038"/>
                <a:gd name="connsiteX197" fmla="*/ 711239 w 931640"/>
                <a:gd name="connsiteY197" fmla="*/ 535550 h 685038"/>
                <a:gd name="connsiteX198" fmla="*/ 709277 w 931640"/>
                <a:gd name="connsiteY198" fmla="*/ 537850 h 685038"/>
                <a:gd name="connsiteX199" fmla="*/ 708306 w 931640"/>
                <a:gd name="connsiteY199" fmla="*/ 538990 h 685038"/>
                <a:gd name="connsiteX200" fmla="*/ 703706 w 931640"/>
                <a:gd name="connsiteY200" fmla="*/ 545805 h 685038"/>
                <a:gd name="connsiteX201" fmla="*/ 699311 w 931640"/>
                <a:gd name="connsiteY201" fmla="*/ 556769 h 685038"/>
                <a:gd name="connsiteX202" fmla="*/ 699304 w 931640"/>
                <a:gd name="connsiteY202" fmla="*/ 556776 h 685038"/>
                <a:gd name="connsiteX203" fmla="*/ 697341 w 931640"/>
                <a:gd name="connsiteY203" fmla="*/ 561720 h 685038"/>
                <a:gd name="connsiteX204" fmla="*/ 695351 w 931640"/>
                <a:gd name="connsiteY204" fmla="*/ 564899 h 685038"/>
                <a:gd name="connsiteX205" fmla="*/ 693410 w 931640"/>
                <a:gd name="connsiteY205" fmla="*/ 567312 h 685038"/>
                <a:gd name="connsiteX206" fmla="*/ 693410 w 931640"/>
                <a:gd name="connsiteY206" fmla="*/ 567312 h 685038"/>
                <a:gd name="connsiteX207" fmla="*/ 693410 w 931640"/>
                <a:gd name="connsiteY207" fmla="*/ 567319 h 685038"/>
                <a:gd name="connsiteX208" fmla="*/ 689781 w 931640"/>
                <a:gd name="connsiteY208" fmla="*/ 572059 h 685038"/>
                <a:gd name="connsiteX209" fmla="*/ 684928 w 931640"/>
                <a:gd name="connsiteY209" fmla="*/ 576033 h 685038"/>
                <a:gd name="connsiteX210" fmla="*/ 684928 w 931640"/>
                <a:gd name="connsiteY210" fmla="*/ 576033 h 685038"/>
                <a:gd name="connsiteX211" fmla="*/ 684928 w 931640"/>
                <a:gd name="connsiteY211" fmla="*/ 576033 h 685038"/>
                <a:gd name="connsiteX212" fmla="*/ 682220 w 931640"/>
                <a:gd name="connsiteY212" fmla="*/ 578030 h 685038"/>
                <a:gd name="connsiteX213" fmla="*/ 681686 w 931640"/>
                <a:gd name="connsiteY213" fmla="*/ 578551 h 685038"/>
                <a:gd name="connsiteX214" fmla="*/ 680786 w 931640"/>
                <a:gd name="connsiteY214" fmla="*/ 579402 h 685038"/>
                <a:gd name="connsiteX215" fmla="*/ 680786 w 931640"/>
                <a:gd name="connsiteY215" fmla="*/ 579409 h 685038"/>
                <a:gd name="connsiteX216" fmla="*/ 675061 w 931640"/>
                <a:gd name="connsiteY216" fmla="*/ 585190 h 685038"/>
                <a:gd name="connsiteX217" fmla="*/ 667901 w 931640"/>
                <a:gd name="connsiteY217" fmla="*/ 592349 h 685038"/>
                <a:gd name="connsiteX218" fmla="*/ 662331 w 931640"/>
                <a:gd name="connsiteY218" fmla="*/ 596921 h 685038"/>
                <a:gd name="connsiteX219" fmla="*/ 656768 w 931640"/>
                <a:gd name="connsiteY219" fmla="*/ 601499 h 685038"/>
                <a:gd name="connsiteX220" fmla="*/ 653870 w 931640"/>
                <a:gd name="connsiteY220" fmla="*/ 604172 h 685038"/>
                <a:gd name="connsiteX221" fmla="*/ 650002 w 931640"/>
                <a:gd name="connsiteY221" fmla="*/ 607463 h 685038"/>
                <a:gd name="connsiteX222" fmla="*/ 636477 w 931640"/>
                <a:gd name="connsiteY222" fmla="*/ 609060 h 685038"/>
                <a:gd name="connsiteX223" fmla="*/ 624542 w 931640"/>
                <a:gd name="connsiteY223" fmla="*/ 612239 h 685038"/>
                <a:gd name="connsiteX224" fmla="*/ 620956 w 931640"/>
                <a:gd name="connsiteY224" fmla="*/ 615017 h 685038"/>
                <a:gd name="connsiteX225" fmla="*/ 616187 w 931640"/>
                <a:gd name="connsiteY225" fmla="*/ 618604 h 685038"/>
                <a:gd name="connsiteX226" fmla="*/ 611510 w 931640"/>
                <a:gd name="connsiteY226" fmla="*/ 614771 h 685038"/>
                <a:gd name="connsiteX227" fmla="*/ 609822 w 931640"/>
                <a:gd name="connsiteY227" fmla="*/ 612239 h 685038"/>
                <a:gd name="connsiteX228" fmla="*/ 604674 w 931640"/>
                <a:gd name="connsiteY228" fmla="*/ 618512 h 685038"/>
                <a:gd name="connsiteX229" fmla="*/ 602662 w 931640"/>
                <a:gd name="connsiteY229" fmla="*/ 621389 h 685038"/>
                <a:gd name="connsiteX230" fmla="*/ 596298 w 931640"/>
                <a:gd name="connsiteY230" fmla="*/ 623773 h 685038"/>
                <a:gd name="connsiteX231" fmla="*/ 594792 w 931640"/>
                <a:gd name="connsiteY231" fmla="*/ 624202 h 685038"/>
                <a:gd name="connsiteX232" fmla="*/ 594792 w 931640"/>
                <a:gd name="connsiteY232" fmla="*/ 624202 h 685038"/>
                <a:gd name="connsiteX233" fmla="*/ 584362 w 931640"/>
                <a:gd name="connsiteY233" fmla="*/ 627754 h 685038"/>
                <a:gd name="connsiteX234" fmla="*/ 567659 w 931640"/>
                <a:gd name="connsiteY234" fmla="*/ 632128 h 685038"/>
                <a:gd name="connsiteX235" fmla="*/ 562089 w 931640"/>
                <a:gd name="connsiteY235" fmla="*/ 634913 h 685038"/>
                <a:gd name="connsiteX236" fmla="*/ 557616 w 931640"/>
                <a:gd name="connsiteY236" fmla="*/ 638838 h 685038"/>
                <a:gd name="connsiteX237" fmla="*/ 556919 w 931640"/>
                <a:gd name="connsiteY237" fmla="*/ 639689 h 685038"/>
                <a:gd name="connsiteX238" fmla="*/ 557883 w 931640"/>
                <a:gd name="connsiteY238" fmla="*/ 643670 h 685038"/>
                <a:gd name="connsiteX239" fmla="*/ 557883 w 931640"/>
                <a:gd name="connsiteY239" fmla="*/ 643677 h 685038"/>
                <a:gd name="connsiteX240" fmla="*/ 559304 w 931640"/>
                <a:gd name="connsiteY240" fmla="*/ 647643 h 685038"/>
                <a:gd name="connsiteX241" fmla="*/ 558924 w 931640"/>
                <a:gd name="connsiteY241" fmla="*/ 650077 h 685038"/>
                <a:gd name="connsiteX242" fmla="*/ 558509 w 931640"/>
                <a:gd name="connsiteY242" fmla="*/ 650027 h 685038"/>
                <a:gd name="connsiteX243" fmla="*/ 558242 w 931640"/>
                <a:gd name="connsiteY243" fmla="*/ 650042 h 685038"/>
                <a:gd name="connsiteX244" fmla="*/ 557686 w 931640"/>
                <a:gd name="connsiteY244" fmla="*/ 650105 h 685038"/>
                <a:gd name="connsiteX245" fmla="*/ 555330 w 931640"/>
                <a:gd name="connsiteY245" fmla="*/ 650027 h 685038"/>
                <a:gd name="connsiteX246" fmla="*/ 552545 w 931640"/>
                <a:gd name="connsiteY246" fmla="*/ 647643 h 685038"/>
                <a:gd name="connsiteX247" fmla="*/ 549359 w 931640"/>
                <a:gd name="connsiteY247" fmla="*/ 644457 h 685038"/>
                <a:gd name="connsiteX248" fmla="*/ 549120 w 931640"/>
                <a:gd name="connsiteY248" fmla="*/ 643374 h 685038"/>
                <a:gd name="connsiteX249" fmla="*/ 548163 w 931640"/>
                <a:gd name="connsiteY249" fmla="*/ 635708 h 685038"/>
                <a:gd name="connsiteX250" fmla="*/ 547917 w 931640"/>
                <a:gd name="connsiteY250" fmla="*/ 633099 h 685038"/>
                <a:gd name="connsiteX251" fmla="*/ 547368 w 931640"/>
                <a:gd name="connsiteY251" fmla="*/ 632128 h 685038"/>
                <a:gd name="connsiteX252" fmla="*/ 544281 w 931640"/>
                <a:gd name="connsiteY252" fmla="*/ 629132 h 685038"/>
                <a:gd name="connsiteX253" fmla="*/ 542600 w 931640"/>
                <a:gd name="connsiteY253" fmla="*/ 627754 h 685038"/>
                <a:gd name="connsiteX254" fmla="*/ 533049 w 931640"/>
                <a:gd name="connsiteY254" fmla="*/ 626558 h 685038"/>
                <a:gd name="connsiteX255" fmla="*/ 520720 w 931640"/>
                <a:gd name="connsiteY255" fmla="*/ 630933 h 685038"/>
                <a:gd name="connsiteX256" fmla="*/ 517935 w 931640"/>
                <a:gd name="connsiteY256" fmla="*/ 630138 h 685038"/>
                <a:gd name="connsiteX257" fmla="*/ 514264 w 931640"/>
                <a:gd name="connsiteY257" fmla="*/ 629210 h 685038"/>
                <a:gd name="connsiteX258" fmla="*/ 512365 w 931640"/>
                <a:gd name="connsiteY258" fmla="*/ 628949 h 685038"/>
                <a:gd name="connsiteX259" fmla="*/ 504804 w 931640"/>
                <a:gd name="connsiteY259" fmla="*/ 625763 h 685038"/>
                <a:gd name="connsiteX260" fmla="*/ 501225 w 931640"/>
                <a:gd name="connsiteY260" fmla="*/ 619399 h 685038"/>
                <a:gd name="connsiteX261" fmla="*/ 501211 w 931640"/>
                <a:gd name="connsiteY261" fmla="*/ 613568 h 685038"/>
                <a:gd name="connsiteX262" fmla="*/ 501626 w 931640"/>
                <a:gd name="connsiteY262" fmla="*/ 611838 h 685038"/>
                <a:gd name="connsiteX263" fmla="*/ 496456 w 931640"/>
                <a:gd name="connsiteY263" fmla="*/ 610249 h 685038"/>
                <a:gd name="connsiteX264" fmla="*/ 492869 w 931640"/>
                <a:gd name="connsiteY264" fmla="*/ 609454 h 685038"/>
                <a:gd name="connsiteX265" fmla="*/ 490485 w 931640"/>
                <a:gd name="connsiteY265" fmla="*/ 608033 h 685038"/>
                <a:gd name="connsiteX266" fmla="*/ 490485 w 931640"/>
                <a:gd name="connsiteY266" fmla="*/ 608033 h 685038"/>
                <a:gd name="connsiteX267" fmla="*/ 490478 w 931640"/>
                <a:gd name="connsiteY267" fmla="*/ 608033 h 685038"/>
                <a:gd name="connsiteX268" fmla="*/ 489290 w 931640"/>
                <a:gd name="connsiteY268" fmla="*/ 607463 h 685038"/>
                <a:gd name="connsiteX269" fmla="*/ 486905 w 931640"/>
                <a:gd name="connsiteY269" fmla="*/ 605079 h 685038"/>
                <a:gd name="connsiteX270" fmla="*/ 481335 w 931640"/>
                <a:gd name="connsiteY270" fmla="*/ 603089 h 685038"/>
                <a:gd name="connsiteX271" fmla="*/ 480140 w 931640"/>
                <a:gd name="connsiteY271" fmla="*/ 602983 h 685038"/>
                <a:gd name="connsiteX272" fmla="*/ 478951 w 931640"/>
                <a:gd name="connsiteY272" fmla="*/ 603089 h 685038"/>
                <a:gd name="connsiteX273" fmla="*/ 477629 w 931640"/>
                <a:gd name="connsiteY273" fmla="*/ 603806 h 685038"/>
                <a:gd name="connsiteX274" fmla="*/ 474176 w 931640"/>
                <a:gd name="connsiteY274" fmla="*/ 605874 h 685038"/>
                <a:gd name="connsiteX275" fmla="*/ 470596 w 931640"/>
                <a:gd name="connsiteY275" fmla="*/ 607801 h 685038"/>
                <a:gd name="connsiteX276" fmla="*/ 470589 w 931640"/>
                <a:gd name="connsiteY276" fmla="*/ 607808 h 685038"/>
                <a:gd name="connsiteX277" fmla="*/ 469857 w 931640"/>
                <a:gd name="connsiteY277" fmla="*/ 608082 h 685038"/>
                <a:gd name="connsiteX278" fmla="*/ 469400 w 931640"/>
                <a:gd name="connsiteY278" fmla="*/ 608258 h 685038"/>
                <a:gd name="connsiteX279" fmla="*/ 467150 w 931640"/>
                <a:gd name="connsiteY279" fmla="*/ 608933 h 685038"/>
                <a:gd name="connsiteX280" fmla="*/ 463830 w 931640"/>
                <a:gd name="connsiteY280" fmla="*/ 610249 h 685038"/>
                <a:gd name="connsiteX281" fmla="*/ 461664 w 931640"/>
                <a:gd name="connsiteY281" fmla="*/ 610889 h 685038"/>
                <a:gd name="connsiteX282" fmla="*/ 458267 w 931640"/>
                <a:gd name="connsiteY282" fmla="*/ 611838 h 685038"/>
                <a:gd name="connsiteX283" fmla="*/ 451304 w 931640"/>
                <a:gd name="connsiteY283" fmla="*/ 612183 h 685038"/>
                <a:gd name="connsiteX284" fmla="*/ 451304 w 931640"/>
                <a:gd name="connsiteY284" fmla="*/ 612183 h 685038"/>
                <a:gd name="connsiteX285" fmla="*/ 447921 w 931640"/>
                <a:gd name="connsiteY285" fmla="*/ 611838 h 685038"/>
                <a:gd name="connsiteX286" fmla="*/ 440593 w 931640"/>
                <a:gd name="connsiteY286" fmla="*/ 612921 h 685038"/>
                <a:gd name="connsiteX287" fmla="*/ 440593 w 931640"/>
                <a:gd name="connsiteY287" fmla="*/ 612921 h 685038"/>
                <a:gd name="connsiteX288" fmla="*/ 437575 w 931640"/>
                <a:gd name="connsiteY288" fmla="*/ 613434 h 685038"/>
                <a:gd name="connsiteX289" fmla="*/ 431611 w 931640"/>
                <a:gd name="connsiteY289" fmla="*/ 616220 h 685038"/>
                <a:gd name="connsiteX290" fmla="*/ 429284 w 931640"/>
                <a:gd name="connsiteY290" fmla="*/ 617436 h 685038"/>
                <a:gd name="connsiteX291" fmla="*/ 426041 w 931640"/>
                <a:gd name="connsiteY291" fmla="*/ 619399 h 685038"/>
                <a:gd name="connsiteX292" fmla="*/ 425880 w 931640"/>
                <a:gd name="connsiteY292" fmla="*/ 628668 h 685038"/>
                <a:gd name="connsiteX293" fmla="*/ 426041 w 931640"/>
                <a:gd name="connsiteY293" fmla="*/ 630933 h 685038"/>
                <a:gd name="connsiteX294" fmla="*/ 426041 w 931640"/>
                <a:gd name="connsiteY294" fmla="*/ 635708 h 685038"/>
                <a:gd name="connsiteX295" fmla="*/ 425886 w 931640"/>
                <a:gd name="connsiteY295" fmla="*/ 636735 h 685038"/>
                <a:gd name="connsiteX296" fmla="*/ 424009 w 931640"/>
                <a:gd name="connsiteY296" fmla="*/ 636932 h 685038"/>
                <a:gd name="connsiteX297" fmla="*/ 424009 w 931640"/>
                <a:gd name="connsiteY297" fmla="*/ 636932 h 685038"/>
                <a:gd name="connsiteX298" fmla="*/ 422068 w 931640"/>
                <a:gd name="connsiteY298" fmla="*/ 636904 h 685038"/>
                <a:gd name="connsiteX299" fmla="*/ 416891 w 931640"/>
                <a:gd name="connsiteY299" fmla="*/ 634119 h 685038"/>
                <a:gd name="connsiteX300" fmla="*/ 416891 w 931640"/>
                <a:gd name="connsiteY300" fmla="*/ 630138 h 685038"/>
                <a:gd name="connsiteX301" fmla="*/ 416097 w 931640"/>
                <a:gd name="connsiteY301" fmla="*/ 627353 h 685038"/>
                <a:gd name="connsiteX302" fmla="*/ 414507 w 931640"/>
                <a:gd name="connsiteY302" fmla="*/ 628549 h 685038"/>
                <a:gd name="connsiteX303" fmla="*/ 408142 w 931640"/>
                <a:gd name="connsiteY303" fmla="*/ 630138 h 685038"/>
                <a:gd name="connsiteX304" fmla="*/ 404562 w 931640"/>
                <a:gd name="connsiteY304" fmla="*/ 630933 h 685038"/>
                <a:gd name="connsiteX305" fmla="*/ 401777 w 931640"/>
                <a:gd name="connsiteY305" fmla="*/ 630138 h 685038"/>
                <a:gd name="connsiteX306" fmla="*/ 397797 w 931640"/>
                <a:gd name="connsiteY306" fmla="*/ 628549 h 685038"/>
                <a:gd name="connsiteX307" fmla="*/ 389449 w 931640"/>
                <a:gd name="connsiteY307" fmla="*/ 624174 h 685038"/>
                <a:gd name="connsiteX308" fmla="*/ 387852 w 931640"/>
                <a:gd name="connsiteY308" fmla="*/ 620988 h 685038"/>
                <a:gd name="connsiteX309" fmla="*/ 389449 w 931640"/>
                <a:gd name="connsiteY309" fmla="*/ 617408 h 685038"/>
                <a:gd name="connsiteX310" fmla="*/ 390637 w 931640"/>
                <a:gd name="connsiteY310" fmla="*/ 613434 h 685038"/>
                <a:gd name="connsiteX311" fmla="*/ 391080 w 931640"/>
                <a:gd name="connsiteY311" fmla="*/ 611599 h 685038"/>
                <a:gd name="connsiteX312" fmla="*/ 391432 w 931640"/>
                <a:gd name="connsiteY312" fmla="*/ 610249 h 685038"/>
                <a:gd name="connsiteX313" fmla="*/ 391537 w 931640"/>
                <a:gd name="connsiteY313" fmla="*/ 609088 h 685038"/>
                <a:gd name="connsiteX314" fmla="*/ 391432 w 931640"/>
                <a:gd name="connsiteY314" fmla="*/ 607463 h 685038"/>
                <a:gd name="connsiteX315" fmla="*/ 388766 w 931640"/>
                <a:gd name="connsiteY315" fmla="*/ 606641 h 685038"/>
                <a:gd name="connsiteX316" fmla="*/ 385868 w 931640"/>
                <a:gd name="connsiteY316" fmla="*/ 605874 h 685038"/>
                <a:gd name="connsiteX317" fmla="*/ 383773 w 931640"/>
                <a:gd name="connsiteY317" fmla="*/ 602751 h 685038"/>
                <a:gd name="connsiteX318" fmla="*/ 382683 w 931640"/>
                <a:gd name="connsiteY318" fmla="*/ 600705 h 685038"/>
                <a:gd name="connsiteX319" fmla="*/ 379898 w 931640"/>
                <a:gd name="connsiteY319" fmla="*/ 592750 h 685038"/>
                <a:gd name="connsiteX320" fmla="*/ 379103 w 931640"/>
                <a:gd name="connsiteY320" fmla="*/ 589564 h 685038"/>
                <a:gd name="connsiteX321" fmla="*/ 375523 w 931640"/>
                <a:gd name="connsiteY321" fmla="*/ 591154 h 685038"/>
                <a:gd name="connsiteX322" fmla="*/ 363588 w 931640"/>
                <a:gd name="connsiteY322" fmla="*/ 591154 h 685038"/>
                <a:gd name="connsiteX323" fmla="*/ 363588 w 931640"/>
                <a:gd name="connsiteY323" fmla="*/ 575639 h 685038"/>
                <a:gd name="connsiteX324" fmla="*/ 366373 w 931640"/>
                <a:gd name="connsiteY324" fmla="*/ 572059 h 685038"/>
                <a:gd name="connsiteX325" fmla="*/ 370354 w 931640"/>
                <a:gd name="connsiteY325" fmla="*/ 566496 h 685038"/>
                <a:gd name="connsiteX326" fmla="*/ 375523 w 931640"/>
                <a:gd name="connsiteY326" fmla="*/ 561720 h 685038"/>
                <a:gd name="connsiteX327" fmla="*/ 379103 w 931640"/>
                <a:gd name="connsiteY327" fmla="*/ 556945 h 685038"/>
                <a:gd name="connsiteX328" fmla="*/ 379440 w 931640"/>
                <a:gd name="connsiteY328" fmla="*/ 554160 h 685038"/>
                <a:gd name="connsiteX329" fmla="*/ 379440 w 931640"/>
                <a:gd name="connsiteY329" fmla="*/ 554146 h 685038"/>
                <a:gd name="connsiteX330" fmla="*/ 379440 w 931640"/>
                <a:gd name="connsiteY330" fmla="*/ 554146 h 685038"/>
                <a:gd name="connsiteX331" fmla="*/ 379440 w 931640"/>
                <a:gd name="connsiteY331" fmla="*/ 554146 h 685038"/>
                <a:gd name="connsiteX332" fmla="*/ 379440 w 931640"/>
                <a:gd name="connsiteY332" fmla="*/ 554146 h 685038"/>
                <a:gd name="connsiteX333" fmla="*/ 379898 w 931640"/>
                <a:gd name="connsiteY333" fmla="*/ 550186 h 685038"/>
                <a:gd name="connsiteX334" fmla="*/ 379898 w 931640"/>
                <a:gd name="connsiteY334" fmla="*/ 542626 h 685038"/>
                <a:gd name="connsiteX335" fmla="*/ 379602 w 931640"/>
                <a:gd name="connsiteY335" fmla="*/ 538842 h 685038"/>
                <a:gd name="connsiteX336" fmla="*/ 379103 w 931640"/>
                <a:gd name="connsiteY336" fmla="*/ 532280 h 685038"/>
                <a:gd name="connsiteX337" fmla="*/ 377513 w 931640"/>
                <a:gd name="connsiteY337" fmla="*/ 529896 h 685038"/>
                <a:gd name="connsiteX338" fmla="*/ 373934 w 931640"/>
                <a:gd name="connsiteY338" fmla="*/ 526316 h 685038"/>
                <a:gd name="connsiteX339" fmla="*/ 372140 w 931640"/>
                <a:gd name="connsiteY339" fmla="*/ 524129 h 685038"/>
                <a:gd name="connsiteX340" fmla="*/ 370354 w 931640"/>
                <a:gd name="connsiteY340" fmla="*/ 521941 h 685038"/>
                <a:gd name="connsiteX341" fmla="*/ 369045 w 931640"/>
                <a:gd name="connsiteY341" fmla="*/ 518910 h 685038"/>
                <a:gd name="connsiteX342" fmla="*/ 368757 w 931640"/>
                <a:gd name="connsiteY342" fmla="*/ 517961 h 685038"/>
                <a:gd name="connsiteX343" fmla="*/ 366907 w 931640"/>
                <a:gd name="connsiteY343" fmla="*/ 516941 h 685038"/>
                <a:gd name="connsiteX344" fmla="*/ 365177 w 931640"/>
                <a:gd name="connsiteY344" fmla="*/ 516371 h 685038"/>
                <a:gd name="connsiteX345" fmla="*/ 358405 w 931640"/>
                <a:gd name="connsiteY345" fmla="*/ 519128 h 685038"/>
                <a:gd name="connsiteX346" fmla="*/ 356829 w 931640"/>
                <a:gd name="connsiteY346" fmla="*/ 519951 h 685038"/>
                <a:gd name="connsiteX347" fmla="*/ 354438 w 931640"/>
                <a:gd name="connsiteY347" fmla="*/ 519156 h 685038"/>
                <a:gd name="connsiteX348" fmla="*/ 350464 w 931640"/>
                <a:gd name="connsiteY348" fmla="*/ 516371 h 685038"/>
                <a:gd name="connsiteX349" fmla="*/ 345288 w 931640"/>
                <a:gd name="connsiteY349" fmla="*/ 515577 h 685038"/>
                <a:gd name="connsiteX350" fmla="*/ 344493 w 931640"/>
                <a:gd name="connsiteY350" fmla="*/ 512391 h 685038"/>
                <a:gd name="connsiteX351" fmla="*/ 348073 w 931640"/>
                <a:gd name="connsiteY351" fmla="*/ 508417 h 685038"/>
                <a:gd name="connsiteX352" fmla="*/ 345632 w 931640"/>
                <a:gd name="connsiteY352" fmla="*/ 504267 h 685038"/>
                <a:gd name="connsiteX353" fmla="*/ 344493 w 931640"/>
                <a:gd name="connsiteY353" fmla="*/ 502847 h 685038"/>
                <a:gd name="connsiteX354" fmla="*/ 340780 w 931640"/>
                <a:gd name="connsiteY354" fmla="*/ 499394 h 685038"/>
                <a:gd name="connsiteX355" fmla="*/ 340119 w 931640"/>
                <a:gd name="connsiteY355" fmla="*/ 498866 h 685038"/>
                <a:gd name="connsiteX356" fmla="*/ 337734 w 931640"/>
                <a:gd name="connsiteY356" fmla="*/ 498866 h 685038"/>
                <a:gd name="connsiteX357" fmla="*/ 332558 w 931640"/>
                <a:gd name="connsiteY357" fmla="*/ 502847 h 685038"/>
                <a:gd name="connsiteX358" fmla="*/ 328183 w 931640"/>
                <a:gd name="connsiteY358" fmla="*/ 505231 h 685038"/>
                <a:gd name="connsiteX359" fmla="*/ 325595 w 931640"/>
                <a:gd name="connsiteY359" fmla="*/ 503859 h 685038"/>
                <a:gd name="connsiteX360" fmla="*/ 323809 w 931640"/>
                <a:gd name="connsiteY360" fmla="*/ 502847 h 685038"/>
                <a:gd name="connsiteX361" fmla="*/ 320103 w 931640"/>
                <a:gd name="connsiteY361" fmla="*/ 500948 h 685038"/>
                <a:gd name="connsiteX362" fmla="*/ 320103 w 931640"/>
                <a:gd name="connsiteY362" fmla="*/ 500948 h 685038"/>
                <a:gd name="connsiteX363" fmla="*/ 320103 w 931640"/>
                <a:gd name="connsiteY363" fmla="*/ 500948 h 685038"/>
                <a:gd name="connsiteX364" fmla="*/ 317845 w 931640"/>
                <a:gd name="connsiteY364" fmla="*/ 499661 h 685038"/>
                <a:gd name="connsiteX365" fmla="*/ 314110 w 931640"/>
                <a:gd name="connsiteY365" fmla="*/ 501454 h 685038"/>
                <a:gd name="connsiteX366" fmla="*/ 312274 w 931640"/>
                <a:gd name="connsiteY366" fmla="*/ 502847 h 685038"/>
                <a:gd name="connsiteX367" fmla="*/ 309398 w 931640"/>
                <a:gd name="connsiteY367" fmla="*/ 504781 h 685038"/>
                <a:gd name="connsiteX368" fmla="*/ 309398 w 931640"/>
                <a:gd name="connsiteY368" fmla="*/ 504781 h 685038"/>
                <a:gd name="connsiteX369" fmla="*/ 303919 w 931640"/>
                <a:gd name="connsiteY369" fmla="*/ 508417 h 685038"/>
                <a:gd name="connsiteX370" fmla="*/ 290395 w 931640"/>
                <a:gd name="connsiteY370" fmla="*/ 519951 h 685038"/>
                <a:gd name="connsiteX371" fmla="*/ 280844 w 931640"/>
                <a:gd name="connsiteY371" fmla="*/ 526316 h 685038"/>
                <a:gd name="connsiteX372" fmla="*/ 275281 w 931640"/>
                <a:gd name="connsiteY372" fmla="*/ 527906 h 685038"/>
                <a:gd name="connsiteX373" fmla="*/ 267720 w 931640"/>
                <a:gd name="connsiteY373" fmla="*/ 521541 h 685038"/>
                <a:gd name="connsiteX374" fmla="*/ 263536 w 931640"/>
                <a:gd name="connsiteY374" fmla="*/ 520718 h 685038"/>
                <a:gd name="connsiteX375" fmla="*/ 258971 w 931640"/>
                <a:gd name="connsiteY375" fmla="*/ 519951 h 685038"/>
                <a:gd name="connsiteX376" fmla="*/ 247831 w 931640"/>
                <a:gd name="connsiteY376" fmla="*/ 518362 h 685038"/>
                <a:gd name="connsiteX377" fmla="*/ 243456 w 931640"/>
                <a:gd name="connsiteY377" fmla="*/ 519951 h 685038"/>
                <a:gd name="connsiteX378" fmla="*/ 241881 w 931640"/>
                <a:gd name="connsiteY378" fmla="*/ 521330 h 685038"/>
                <a:gd name="connsiteX379" fmla="*/ 240671 w 931640"/>
                <a:gd name="connsiteY379" fmla="*/ 522335 h 685038"/>
                <a:gd name="connsiteX380" fmla="*/ 236191 w 931640"/>
                <a:gd name="connsiteY380" fmla="*/ 526703 h 685038"/>
                <a:gd name="connsiteX381" fmla="*/ 235101 w 931640"/>
                <a:gd name="connsiteY381" fmla="*/ 527906 h 685038"/>
                <a:gd name="connsiteX382" fmla="*/ 230726 w 931640"/>
                <a:gd name="connsiteY382" fmla="*/ 529896 h 685038"/>
                <a:gd name="connsiteX383" fmla="*/ 226352 w 931640"/>
                <a:gd name="connsiteY383" fmla="*/ 522335 h 685038"/>
                <a:gd name="connsiteX384" fmla="*/ 219987 w 931640"/>
                <a:gd name="connsiteY384" fmla="*/ 525521 h 685038"/>
                <a:gd name="connsiteX385" fmla="*/ 217202 w 931640"/>
                <a:gd name="connsiteY385" fmla="*/ 524727 h 685038"/>
                <a:gd name="connsiteX386" fmla="*/ 213073 w 931640"/>
                <a:gd name="connsiteY386" fmla="*/ 524628 h 685038"/>
                <a:gd name="connsiteX387" fmla="*/ 209641 w 931640"/>
                <a:gd name="connsiteY387" fmla="*/ 524727 h 685038"/>
                <a:gd name="connsiteX388" fmla="*/ 204669 w 931640"/>
                <a:gd name="connsiteY388" fmla="*/ 524326 h 685038"/>
                <a:gd name="connsiteX389" fmla="*/ 199697 w 931640"/>
                <a:gd name="connsiteY389" fmla="*/ 523925 h 685038"/>
                <a:gd name="connsiteX390" fmla="*/ 190153 w 931640"/>
                <a:gd name="connsiteY390" fmla="*/ 522335 h 685038"/>
                <a:gd name="connsiteX391" fmla="*/ 184062 w 931640"/>
                <a:gd name="connsiteY391" fmla="*/ 519536 h 685038"/>
                <a:gd name="connsiteX392" fmla="*/ 182592 w 931640"/>
                <a:gd name="connsiteY392" fmla="*/ 518362 h 685038"/>
                <a:gd name="connsiteX393" fmla="*/ 165882 w 931640"/>
                <a:gd name="connsiteY393" fmla="*/ 510400 h 685038"/>
                <a:gd name="connsiteX394" fmla="*/ 160311 w 931640"/>
                <a:gd name="connsiteY394" fmla="*/ 506427 h 685038"/>
                <a:gd name="connsiteX395" fmla="*/ 154129 w 931640"/>
                <a:gd name="connsiteY395" fmla="*/ 502460 h 685038"/>
                <a:gd name="connsiteX396" fmla="*/ 154122 w 931640"/>
                <a:gd name="connsiteY396" fmla="*/ 502453 h 685038"/>
                <a:gd name="connsiteX397" fmla="*/ 154115 w 931640"/>
                <a:gd name="connsiteY397" fmla="*/ 502453 h 685038"/>
                <a:gd name="connsiteX398" fmla="*/ 136842 w 931640"/>
                <a:gd name="connsiteY398" fmla="*/ 491306 h 685038"/>
                <a:gd name="connsiteX399" fmla="*/ 135886 w 931640"/>
                <a:gd name="connsiteY399" fmla="*/ 490483 h 685038"/>
                <a:gd name="connsiteX400" fmla="*/ 135886 w 931640"/>
                <a:gd name="connsiteY400" fmla="*/ 490483 h 685038"/>
                <a:gd name="connsiteX401" fmla="*/ 132074 w 931640"/>
                <a:gd name="connsiteY401" fmla="*/ 486931 h 685038"/>
                <a:gd name="connsiteX402" fmla="*/ 128853 w 931640"/>
                <a:gd name="connsiteY402" fmla="*/ 485257 h 685038"/>
                <a:gd name="connsiteX403" fmla="*/ 128853 w 931640"/>
                <a:gd name="connsiteY403" fmla="*/ 485257 h 685038"/>
                <a:gd name="connsiteX404" fmla="*/ 128846 w 931640"/>
                <a:gd name="connsiteY404" fmla="*/ 485257 h 685038"/>
                <a:gd name="connsiteX405" fmla="*/ 128846 w 931640"/>
                <a:gd name="connsiteY405" fmla="*/ 485257 h 685038"/>
                <a:gd name="connsiteX406" fmla="*/ 122924 w 931640"/>
                <a:gd name="connsiteY406" fmla="*/ 482163 h 685038"/>
                <a:gd name="connsiteX407" fmla="*/ 119428 w 931640"/>
                <a:gd name="connsiteY407" fmla="*/ 481642 h 685038"/>
                <a:gd name="connsiteX408" fmla="*/ 116953 w 931640"/>
                <a:gd name="connsiteY408" fmla="*/ 482163 h 685038"/>
                <a:gd name="connsiteX409" fmla="*/ 110588 w 931640"/>
                <a:gd name="connsiteY409" fmla="*/ 484146 h 685038"/>
                <a:gd name="connsiteX410" fmla="*/ 105017 w 931640"/>
                <a:gd name="connsiteY410" fmla="*/ 480967 h 685038"/>
                <a:gd name="connsiteX411" fmla="*/ 94960 w 931640"/>
                <a:gd name="connsiteY411" fmla="*/ 474229 h 685038"/>
                <a:gd name="connsiteX412" fmla="*/ 93089 w 931640"/>
                <a:gd name="connsiteY412" fmla="*/ 473013 h 685038"/>
                <a:gd name="connsiteX413" fmla="*/ 89706 w 931640"/>
                <a:gd name="connsiteY413" fmla="*/ 471219 h 685038"/>
                <a:gd name="connsiteX414" fmla="*/ 86324 w 931640"/>
                <a:gd name="connsiteY414" fmla="*/ 469433 h 685038"/>
                <a:gd name="connsiteX415" fmla="*/ 83145 w 931640"/>
                <a:gd name="connsiteY415" fmla="*/ 467639 h 685038"/>
                <a:gd name="connsiteX416" fmla="*/ 83145 w 931640"/>
                <a:gd name="connsiteY416" fmla="*/ 467639 h 685038"/>
                <a:gd name="connsiteX417" fmla="*/ 79959 w 931640"/>
                <a:gd name="connsiteY417" fmla="*/ 465853 h 685038"/>
                <a:gd name="connsiteX418" fmla="*/ 76632 w 931640"/>
                <a:gd name="connsiteY418" fmla="*/ 462055 h 685038"/>
                <a:gd name="connsiteX419" fmla="*/ 75183 w 931640"/>
                <a:gd name="connsiteY419" fmla="*/ 460283 h 685038"/>
                <a:gd name="connsiteX420" fmla="*/ 75134 w 931640"/>
                <a:gd name="connsiteY420" fmla="*/ 451070 h 685038"/>
                <a:gd name="connsiteX421" fmla="*/ 75183 w 931640"/>
                <a:gd name="connsiteY421" fmla="*/ 450338 h 685038"/>
                <a:gd name="connsiteX422" fmla="*/ 74340 w 931640"/>
                <a:gd name="connsiteY422" fmla="*/ 449740 h 685038"/>
                <a:gd name="connsiteX423" fmla="*/ 72398 w 931640"/>
                <a:gd name="connsiteY423" fmla="*/ 447947 h 685038"/>
                <a:gd name="connsiteX424" fmla="*/ 72398 w 931640"/>
                <a:gd name="connsiteY424" fmla="*/ 442778 h 685038"/>
                <a:gd name="connsiteX425" fmla="*/ 75183 w 931640"/>
                <a:gd name="connsiteY425" fmla="*/ 441983 h 685038"/>
                <a:gd name="connsiteX426" fmla="*/ 79959 w 931640"/>
                <a:gd name="connsiteY426" fmla="*/ 443973 h 685038"/>
                <a:gd name="connsiteX427" fmla="*/ 82744 w 931640"/>
                <a:gd name="connsiteY427" fmla="*/ 442778 h 685038"/>
                <a:gd name="connsiteX428" fmla="*/ 82744 w 931640"/>
                <a:gd name="connsiteY428" fmla="*/ 436413 h 685038"/>
                <a:gd name="connsiteX429" fmla="*/ 80753 w 931640"/>
                <a:gd name="connsiteY429" fmla="*/ 432432 h 685038"/>
                <a:gd name="connsiteX430" fmla="*/ 79642 w 931640"/>
                <a:gd name="connsiteY430" fmla="*/ 430730 h 685038"/>
                <a:gd name="connsiteX431" fmla="*/ 79642 w 931640"/>
                <a:gd name="connsiteY431" fmla="*/ 430730 h 685038"/>
                <a:gd name="connsiteX432" fmla="*/ 77574 w 931640"/>
                <a:gd name="connsiteY432" fmla="*/ 427663 h 685038"/>
                <a:gd name="connsiteX433" fmla="*/ 77490 w 931640"/>
                <a:gd name="connsiteY433" fmla="*/ 420159 h 685038"/>
                <a:gd name="connsiteX434" fmla="*/ 77574 w 931640"/>
                <a:gd name="connsiteY434" fmla="*/ 418907 h 685038"/>
                <a:gd name="connsiteX435" fmla="*/ 77574 w 931640"/>
                <a:gd name="connsiteY435" fmla="*/ 409757 h 685038"/>
                <a:gd name="connsiteX436" fmla="*/ 74979 w 931640"/>
                <a:gd name="connsiteY436" fmla="*/ 405988 h 685038"/>
                <a:gd name="connsiteX437" fmla="*/ 73594 w 931640"/>
                <a:gd name="connsiteY437" fmla="*/ 404194 h 685038"/>
                <a:gd name="connsiteX438" fmla="*/ 59274 w 931640"/>
                <a:gd name="connsiteY438" fmla="*/ 389073 h 685038"/>
                <a:gd name="connsiteX439" fmla="*/ 54105 w 931640"/>
                <a:gd name="connsiteY439" fmla="*/ 386689 h 685038"/>
                <a:gd name="connsiteX440" fmla="*/ 48254 w 931640"/>
                <a:gd name="connsiteY440" fmla="*/ 385008 h 685038"/>
                <a:gd name="connsiteX441" fmla="*/ 48254 w 931640"/>
                <a:gd name="connsiteY441" fmla="*/ 385008 h 685038"/>
                <a:gd name="connsiteX442" fmla="*/ 48254 w 931640"/>
                <a:gd name="connsiteY442" fmla="*/ 385008 h 685038"/>
                <a:gd name="connsiteX443" fmla="*/ 48233 w 931640"/>
                <a:gd name="connsiteY443" fmla="*/ 385001 h 685038"/>
                <a:gd name="connsiteX444" fmla="*/ 46946 w 931640"/>
                <a:gd name="connsiteY444" fmla="*/ 384699 h 685038"/>
                <a:gd name="connsiteX445" fmla="*/ 45124 w 931640"/>
                <a:gd name="connsiteY445" fmla="*/ 384276 h 685038"/>
                <a:gd name="connsiteX446" fmla="*/ 38984 w 931640"/>
                <a:gd name="connsiteY446" fmla="*/ 382708 h 685038"/>
                <a:gd name="connsiteX447" fmla="*/ 35644 w 931640"/>
                <a:gd name="connsiteY447" fmla="*/ 376814 h 685038"/>
                <a:gd name="connsiteX448" fmla="*/ 35404 w 931640"/>
                <a:gd name="connsiteY448" fmla="*/ 375949 h 685038"/>
                <a:gd name="connsiteX449" fmla="*/ 34891 w 931640"/>
                <a:gd name="connsiteY449" fmla="*/ 373825 h 685038"/>
                <a:gd name="connsiteX450" fmla="*/ 33414 w 931640"/>
                <a:gd name="connsiteY450" fmla="*/ 368790 h 685038"/>
                <a:gd name="connsiteX451" fmla="*/ 25565 w 931640"/>
                <a:gd name="connsiteY451" fmla="*/ 361433 h 685038"/>
                <a:gd name="connsiteX452" fmla="*/ 25565 w 931640"/>
                <a:gd name="connsiteY452" fmla="*/ 361433 h 685038"/>
                <a:gd name="connsiteX453" fmla="*/ 25565 w 931640"/>
                <a:gd name="connsiteY453" fmla="*/ 361426 h 685038"/>
                <a:gd name="connsiteX454" fmla="*/ 22281 w 931640"/>
                <a:gd name="connsiteY454" fmla="*/ 358444 h 685038"/>
                <a:gd name="connsiteX455" fmla="*/ 17906 w 931640"/>
                <a:gd name="connsiteY455" fmla="*/ 351685 h 685038"/>
                <a:gd name="connsiteX456" fmla="*/ 15916 w 931640"/>
                <a:gd name="connsiteY456" fmla="*/ 343330 h 685038"/>
                <a:gd name="connsiteX457" fmla="*/ 14326 w 931640"/>
                <a:gd name="connsiteY457" fmla="*/ 332190 h 685038"/>
                <a:gd name="connsiteX458" fmla="*/ 10739 w 931640"/>
                <a:gd name="connsiteY458" fmla="*/ 330600 h 685038"/>
                <a:gd name="connsiteX459" fmla="*/ 3580 w 931640"/>
                <a:gd name="connsiteY459" fmla="*/ 328209 h 685038"/>
                <a:gd name="connsiteX460" fmla="*/ 0 w 931640"/>
                <a:gd name="connsiteY460" fmla="*/ 322646 h 685038"/>
                <a:gd name="connsiteX461" fmla="*/ 0 w 931640"/>
                <a:gd name="connsiteY461" fmla="*/ 312300 h 685038"/>
                <a:gd name="connsiteX462" fmla="*/ 1990 w 931640"/>
                <a:gd name="connsiteY462" fmla="*/ 305935 h 685038"/>
                <a:gd name="connsiteX463" fmla="*/ 7146 w 931640"/>
                <a:gd name="connsiteY463" fmla="*/ 300886 h 685038"/>
                <a:gd name="connsiteX464" fmla="*/ 7153 w 931640"/>
                <a:gd name="connsiteY464" fmla="*/ 300886 h 685038"/>
                <a:gd name="connsiteX465" fmla="*/ 9945 w 931640"/>
                <a:gd name="connsiteY465" fmla="*/ 298375 h 685038"/>
                <a:gd name="connsiteX466" fmla="*/ 14347 w 931640"/>
                <a:gd name="connsiteY466" fmla="*/ 295920 h 685038"/>
                <a:gd name="connsiteX467" fmla="*/ 14355 w 931640"/>
                <a:gd name="connsiteY467" fmla="*/ 295920 h 685038"/>
                <a:gd name="connsiteX468" fmla="*/ 16710 w 931640"/>
                <a:gd name="connsiteY468" fmla="*/ 294795 h 685038"/>
                <a:gd name="connsiteX469" fmla="*/ 21324 w 931640"/>
                <a:gd name="connsiteY469" fmla="*/ 293325 h 685038"/>
                <a:gd name="connsiteX470" fmla="*/ 24665 w 931640"/>
                <a:gd name="connsiteY470" fmla="*/ 292411 h 685038"/>
                <a:gd name="connsiteX471" fmla="*/ 32239 w 931640"/>
                <a:gd name="connsiteY471" fmla="*/ 292277 h 685038"/>
                <a:gd name="connsiteX472" fmla="*/ 34610 w 931640"/>
                <a:gd name="connsiteY472" fmla="*/ 292411 h 685038"/>
                <a:gd name="connsiteX473" fmla="*/ 40180 w 931640"/>
                <a:gd name="connsiteY473" fmla="*/ 290821 h 685038"/>
                <a:gd name="connsiteX474" fmla="*/ 47340 w 931640"/>
                <a:gd name="connsiteY474" fmla="*/ 283662 h 685038"/>
                <a:gd name="connsiteX475" fmla="*/ 54105 w 931640"/>
                <a:gd name="connsiteY475" fmla="*/ 280476 h 685038"/>
                <a:gd name="connsiteX476" fmla="*/ 64845 w 931640"/>
                <a:gd name="connsiteY476" fmla="*/ 278485 h 685038"/>
                <a:gd name="connsiteX477" fmla="*/ 68819 w 931640"/>
                <a:gd name="connsiteY477" fmla="*/ 273316 h 685038"/>
                <a:gd name="connsiteX478" fmla="*/ 74923 w 931640"/>
                <a:gd name="connsiteY478" fmla="*/ 270221 h 685038"/>
                <a:gd name="connsiteX479" fmla="*/ 74923 w 931640"/>
                <a:gd name="connsiteY479" fmla="*/ 270221 h 685038"/>
                <a:gd name="connsiteX480" fmla="*/ 74923 w 931640"/>
                <a:gd name="connsiteY480" fmla="*/ 270221 h 685038"/>
                <a:gd name="connsiteX481" fmla="*/ 74923 w 931640"/>
                <a:gd name="connsiteY481" fmla="*/ 270221 h 685038"/>
                <a:gd name="connsiteX482" fmla="*/ 74923 w 931640"/>
                <a:gd name="connsiteY482" fmla="*/ 270221 h 685038"/>
                <a:gd name="connsiteX483" fmla="*/ 74923 w 931640"/>
                <a:gd name="connsiteY483" fmla="*/ 270221 h 685038"/>
                <a:gd name="connsiteX484" fmla="*/ 74923 w 931640"/>
                <a:gd name="connsiteY484" fmla="*/ 270221 h 685038"/>
                <a:gd name="connsiteX485" fmla="*/ 79959 w 931640"/>
                <a:gd name="connsiteY485" fmla="*/ 267746 h 685038"/>
                <a:gd name="connsiteX486" fmla="*/ 91099 w 931640"/>
                <a:gd name="connsiteY486" fmla="*/ 261782 h 685038"/>
                <a:gd name="connsiteX487" fmla="*/ 97858 w 931640"/>
                <a:gd name="connsiteY487" fmla="*/ 255811 h 685038"/>
                <a:gd name="connsiteX488" fmla="*/ 99455 w 931640"/>
                <a:gd name="connsiteY488" fmla="*/ 241098 h 685038"/>
                <a:gd name="connsiteX489" fmla="*/ 105819 w 931640"/>
                <a:gd name="connsiteY489" fmla="*/ 232342 h 685038"/>
                <a:gd name="connsiteX490" fmla="*/ 104047 w 931640"/>
                <a:gd name="connsiteY490" fmla="*/ 227453 h 685038"/>
                <a:gd name="connsiteX491" fmla="*/ 104047 w 931640"/>
                <a:gd name="connsiteY491" fmla="*/ 227453 h 685038"/>
                <a:gd name="connsiteX492" fmla="*/ 103428 w 931640"/>
                <a:gd name="connsiteY492" fmla="*/ 225977 h 685038"/>
                <a:gd name="connsiteX493" fmla="*/ 99455 w 931640"/>
                <a:gd name="connsiteY493" fmla="*/ 213648 h 685038"/>
                <a:gd name="connsiteX494" fmla="*/ 94679 w 931640"/>
                <a:gd name="connsiteY494" fmla="*/ 200517 h 685038"/>
                <a:gd name="connsiteX495" fmla="*/ 96669 w 931640"/>
                <a:gd name="connsiteY495" fmla="*/ 198133 h 685038"/>
                <a:gd name="connsiteX496" fmla="*/ 107409 w 931640"/>
                <a:gd name="connsiteY496" fmla="*/ 196142 h 685038"/>
                <a:gd name="connsiteX497" fmla="*/ 119344 w 931640"/>
                <a:gd name="connsiteY497" fmla="*/ 193357 h 685038"/>
                <a:gd name="connsiteX498" fmla="*/ 130083 w 931640"/>
                <a:gd name="connsiteY498" fmla="*/ 186599 h 685038"/>
                <a:gd name="connsiteX499" fmla="*/ 136047 w 931640"/>
                <a:gd name="connsiteY499" fmla="*/ 177449 h 685038"/>
                <a:gd name="connsiteX500" fmla="*/ 139234 w 931640"/>
                <a:gd name="connsiteY500" fmla="*/ 160738 h 685038"/>
                <a:gd name="connsiteX501" fmla="*/ 145198 w 931640"/>
                <a:gd name="connsiteY501" fmla="*/ 146820 h 685038"/>
                <a:gd name="connsiteX502" fmla="*/ 148784 w 931640"/>
                <a:gd name="connsiteY502" fmla="*/ 146974 h 685038"/>
                <a:gd name="connsiteX503" fmla="*/ 150367 w 931640"/>
                <a:gd name="connsiteY503" fmla="*/ 147614 h 685038"/>
                <a:gd name="connsiteX504" fmla="*/ 156457 w 931640"/>
                <a:gd name="connsiteY504" fmla="*/ 149682 h 685038"/>
                <a:gd name="connsiteX505" fmla="*/ 156457 w 931640"/>
                <a:gd name="connsiteY505" fmla="*/ 149682 h 685038"/>
                <a:gd name="connsiteX506" fmla="*/ 158328 w 931640"/>
                <a:gd name="connsiteY506" fmla="*/ 150399 h 685038"/>
                <a:gd name="connsiteX507" fmla="*/ 159369 w 931640"/>
                <a:gd name="connsiteY507" fmla="*/ 150758 h 685038"/>
                <a:gd name="connsiteX508" fmla="*/ 159369 w 931640"/>
                <a:gd name="connsiteY508" fmla="*/ 150758 h 685038"/>
                <a:gd name="connsiteX509" fmla="*/ 159369 w 931640"/>
                <a:gd name="connsiteY509" fmla="*/ 150758 h 685038"/>
                <a:gd name="connsiteX510" fmla="*/ 159369 w 931640"/>
                <a:gd name="connsiteY510" fmla="*/ 150758 h 685038"/>
                <a:gd name="connsiteX511" fmla="*/ 159369 w 931640"/>
                <a:gd name="connsiteY511" fmla="*/ 150758 h 685038"/>
                <a:gd name="connsiteX512" fmla="*/ 164693 w 931640"/>
                <a:gd name="connsiteY512" fmla="*/ 152383 h 685038"/>
                <a:gd name="connsiteX513" fmla="*/ 173836 w 931640"/>
                <a:gd name="connsiteY513" fmla="*/ 154373 h 685038"/>
                <a:gd name="connsiteX514" fmla="*/ 180602 w 931640"/>
                <a:gd name="connsiteY514" fmla="*/ 146025 h 685038"/>
                <a:gd name="connsiteX515" fmla="*/ 180637 w 931640"/>
                <a:gd name="connsiteY515" fmla="*/ 144639 h 685038"/>
                <a:gd name="connsiteX516" fmla="*/ 180602 w 931640"/>
                <a:gd name="connsiteY516" fmla="*/ 132894 h 685038"/>
                <a:gd name="connsiteX517" fmla="*/ 182986 w 931640"/>
                <a:gd name="connsiteY517" fmla="*/ 120565 h 685038"/>
                <a:gd name="connsiteX518" fmla="*/ 195322 w 931640"/>
                <a:gd name="connsiteY518" fmla="*/ 120565 h 685038"/>
                <a:gd name="connsiteX519" fmla="*/ 206455 w 931640"/>
                <a:gd name="connsiteY519" fmla="*/ 103454 h 685038"/>
                <a:gd name="connsiteX520" fmla="*/ 213622 w 931640"/>
                <a:gd name="connsiteY520" fmla="*/ 103454 h 685038"/>
                <a:gd name="connsiteX521" fmla="*/ 214417 w 931640"/>
                <a:gd name="connsiteY521" fmla="*/ 108630 h 685038"/>
                <a:gd name="connsiteX522" fmla="*/ 215936 w 931640"/>
                <a:gd name="connsiteY522" fmla="*/ 115269 h 685038"/>
                <a:gd name="connsiteX523" fmla="*/ 215936 w 931640"/>
                <a:gd name="connsiteY523" fmla="*/ 115269 h 685038"/>
                <a:gd name="connsiteX524" fmla="*/ 216407 w 931640"/>
                <a:gd name="connsiteY524" fmla="*/ 116985 h 685038"/>
                <a:gd name="connsiteX525" fmla="*/ 218869 w 931640"/>
                <a:gd name="connsiteY525" fmla="*/ 120706 h 685038"/>
                <a:gd name="connsiteX526" fmla="*/ 220782 w 931640"/>
                <a:gd name="connsiteY526" fmla="*/ 123350 h 685038"/>
                <a:gd name="connsiteX527" fmla="*/ 224966 w 931640"/>
                <a:gd name="connsiteY527" fmla="*/ 126571 h 685038"/>
                <a:gd name="connsiteX528" fmla="*/ 228335 w 931640"/>
                <a:gd name="connsiteY528" fmla="*/ 128913 h 685038"/>
                <a:gd name="connsiteX529" fmla="*/ 240270 w 931640"/>
                <a:gd name="connsiteY529" fmla="*/ 133689 h 685038"/>
                <a:gd name="connsiteX530" fmla="*/ 251010 w 931640"/>
                <a:gd name="connsiteY530" fmla="*/ 138464 h 685038"/>
                <a:gd name="connsiteX531" fmla="*/ 258570 w 931640"/>
                <a:gd name="connsiteY531" fmla="*/ 151588 h 685038"/>
                <a:gd name="connsiteX532" fmla="*/ 259611 w 931640"/>
                <a:gd name="connsiteY532" fmla="*/ 153831 h 685038"/>
                <a:gd name="connsiteX533" fmla="*/ 261355 w 931640"/>
                <a:gd name="connsiteY533" fmla="*/ 158354 h 685038"/>
                <a:gd name="connsiteX534" fmla="*/ 259611 w 931640"/>
                <a:gd name="connsiteY534" fmla="*/ 164128 h 685038"/>
                <a:gd name="connsiteX535" fmla="*/ 258570 w 931640"/>
                <a:gd name="connsiteY535" fmla="*/ 167103 h 685038"/>
                <a:gd name="connsiteX536" fmla="*/ 256981 w 931640"/>
                <a:gd name="connsiteY536" fmla="*/ 177842 h 685038"/>
                <a:gd name="connsiteX537" fmla="*/ 257972 w 931640"/>
                <a:gd name="connsiteY537" fmla="*/ 184622 h 685038"/>
                <a:gd name="connsiteX538" fmla="*/ 258570 w 931640"/>
                <a:gd name="connsiteY538" fmla="*/ 187393 h 685038"/>
                <a:gd name="connsiteX539" fmla="*/ 263515 w 931640"/>
                <a:gd name="connsiteY539" fmla="*/ 190987 h 685038"/>
                <a:gd name="connsiteX540" fmla="*/ 267319 w 931640"/>
                <a:gd name="connsiteY540" fmla="*/ 192963 h 685038"/>
                <a:gd name="connsiteX541" fmla="*/ 274950 w 931640"/>
                <a:gd name="connsiteY541" fmla="*/ 194778 h 685038"/>
                <a:gd name="connsiteX542" fmla="*/ 274950 w 931640"/>
                <a:gd name="connsiteY542" fmla="*/ 194778 h 685038"/>
                <a:gd name="connsiteX543" fmla="*/ 280049 w 931640"/>
                <a:gd name="connsiteY543" fmla="*/ 195749 h 685038"/>
                <a:gd name="connsiteX544" fmla="*/ 299545 w 931640"/>
                <a:gd name="connsiteY544" fmla="*/ 197338 h 685038"/>
                <a:gd name="connsiteX545" fmla="*/ 310137 w 931640"/>
                <a:gd name="connsiteY545" fmla="*/ 206319 h 685038"/>
                <a:gd name="connsiteX546" fmla="*/ 310284 w 931640"/>
                <a:gd name="connsiteY546" fmla="*/ 206488 h 685038"/>
                <a:gd name="connsiteX547" fmla="*/ 326193 w 931640"/>
                <a:gd name="connsiteY547" fmla="*/ 213648 h 685038"/>
                <a:gd name="connsiteX548" fmla="*/ 328992 w 931640"/>
                <a:gd name="connsiteY548" fmla="*/ 215983 h 685038"/>
                <a:gd name="connsiteX549" fmla="*/ 329379 w 931640"/>
                <a:gd name="connsiteY549" fmla="*/ 216827 h 685038"/>
                <a:gd name="connsiteX550" fmla="*/ 331046 w 931640"/>
                <a:gd name="connsiteY550" fmla="*/ 221574 h 685038"/>
                <a:gd name="connsiteX551" fmla="*/ 331046 w 931640"/>
                <a:gd name="connsiteY551" fmla="*/ 221574 h 685038"/>
                <a:gd name="connsiteX552" fmla="*/ 335744 w 931640"/>
                <a:gd name="connsiteY552" fmla="*/ 233931 h 685038"/>
                <a:gd name="connsiteX553" fmla="*/ 339120 w 931640"/>
                <a:gd name="connsiteY553" fmla="*/ 238854 h 685038"/>
                <a:gd name="connsiteX554" fmla="*/ 339120 w 931640"/>
                <a:gd name="connsiteY554" fmla="*/ 238854 h 685038"/>
                <a:gd name="connsiteX555" fmla="*/ 343698 w 931640"/>
                <a:gd name="connsiteY555" fmla="*/ 245866 h 685038"/>
                <a:gd name="connsiteX556" fmla="*/ 361942 w 931640"/>
                <a:gd name="connsiteY556" fmla="*/ 246161 h 685038"/>
                <a:gd name="connsiteX557" fmla="*/ 367168 w 931640"/>
                <a:gd name="connsiteY557" fmla="*/ 245866 h 685038"/>
                <a:gd name="connsiteX558" fmla="*/ 372724 w 931640"/>
                <a:gd name="connsiteY558" fmla="*/ 247153 h 685038"/>
                <a:gd name="connsiteX559" fmla="*/ 379504 w 931640"/>
                <a:gd name="connsiteY559" fmla="*/ 248651 h 685038"/>
                <a:gd name="connsiteX560" fmla="*/ 386994 w 931640"/>
                <a:gd name="connsiteY560" fmla="*/ 250304 h 685038"/>
                <a:gd name="connsiteX561" fmla="*/ 393823 w 931640"/>
                <a:gd name="connsiteY561" fmla="*/ 251837 h 685038"/>
                <a:gd name="connsiteX562" fmla="*/ 402903 w 931640"/>
                <a:gd name="connsiteY562" fmla="*/ 250114 h 685038"/>
                <a:gd name="connsiteX563" fmla="*/ 409732 w 931640"/>
                <a:gd name="connsiteY563" fmla="*/ 248651 h 685038"/>
                <a:gd name="connsiteX564" fmla="*/ 418396 w 931640"/>
                <a:gd name="connsiteY564" fmla="*/ 249671 h 685038"/>
                <a:gd name="connsiteX565" fmla="*/ 418396 w 931640"/>
                <a:gd name="connsiteY565" fmla="*/ 249671 h 685038"/>
                <a:gd name="connsiteX566" fmla="*/ 425247 w 931640"/>
                <a:gd name="connsiteY566" fmla="*/ 250641 h 685038"/>
                <a:gd name="connsiteX567" fmla="*/ 439777 w 931640"/>
                <a:gd name="connsiteY567" fmla="*/ 258976 h 685038"/>
                <a:gd name="connsiteX568" fmla="*/ 441957 w 931640"/>
                <a:gd name="connsiteY568" fmla="*/ 260586 h 685038"/>
                <a:gd name="connsiteX569" fmla="*/ 460482 w 931640"/>
                <a:gd name="connsiteY569" fmla="*/ 262879 h 685038"/>
                <a:gd name="connsiteX570" fmla="*/ 466221 w 931640"/>
                <a:gd name="connsiteY570" fmla="*/ 262970 h 685038"/>
                <a:gd name="connsiteX571" fmla="*/ 476961 w 931640"/>
                <a:gd name="connsiteY571" fmla="*/ 268941 h 685038"/>
                <a:gd name="connsiteX572" fmla="*/ 483726 w 931640"/>
                <a:gd name="connsiteY572" fmla="*/ 264567 h 685038"/>
                <a:gd name="connsiteX573" fmla="*/ 500831 w 931640"/>
                <a:gd name="connsiteY573" fmla="*/ 256212 h 685038"/>
                <a:gd name="connsiteX574" fmla="*/ 509559 w 931640"/>
                <a:gd name="connsiteY574" fmla="*/ 253694 h 685038"/>
                <a:gd name="connsiteX575" fmla="*/ 509559 w 931640"/>
                <a:gd name="connsiteY575" fmla="*/ 253694 h 685038"/>
                <a:gd name="connsiteX576" fmla="*/ 515945 w 931640"/>
                <a:gd name="connsiteY576" fmla="*/ 251837 h 685038"/>
                <a:gd name="connsiteX577" fmla="*/ 524624 w 931640"/>
                <a:gd name="connsiteY577" fmla="*/ 251464 h 685038"/>
                <a:gd name="connsiteX578" fmla="*/ 540209 w 931640"/>
                <a:gd name="connsiteY578" fmla="*/ 250641 h 685038"/>
                <a:gd name="connsiteX579" fmla="*/ 555836 w 931640"/>
                <a:gd name="connsiteY579" fmla="*/ 243848 h 685038"/>
                <a:gd name="connsiteX580" fmla="*/ 555843 w 931640"/>
                <a:gd name="connsiteY580" fmla="*/ 243840 h 685038"/>
                <a:gd name="connsiteX581" fmla="*/ 557046 w 931640"/>
                <a:gd name="connsiteY581" fmla="*/ 243222 h 685038"/>
                <a:gd name="connsiteX582" fmla="*/ 558108 w 931640"/>
                <a:gd name="connsiteY582" fmla="*/ 242687 h 685038"/>
                <a:gd name="connsiteX583" fmla="*/ 578799 w 931640"/>
                <a:gd name="connsiteY583" fmla="*/ 223592 h 685038"/>
                <a:gd name="connsiteX584" fmla="*/ 573229 w 931640"/>
                <a:gd name="connsiteY584" fmla="*/ 210462 h 685038"/>
                <a:gd name="connsiteX585" fmla="*/ 580783 w 931640"/>
                <a:gd name="connsiteY585" fmla="*/ 198133 h 685038"/>
                <a:gd name="connsiteX586" fmla="*/ 589932 w 931640"/>
                <a:gd name="connsiteY586" fmla="*/ 198133 h 685038"/>
                <a:gd name="connsiteX587" fmla="*/ 599083 w 931640"/>
                <a:gd name="connsiteY587" fmla="*/ 200918 h 685038"/>
                <a:gd name="connsiteX588" fmla="*/ 600334 w 931640"/>
                <a:gd name="connsiteY588" fmla="*/ 201171 h 685038"/>
                <a:gd name="connsiteX589" fmla="*/ 600334 w 931640"/>
                <a:gd name="connsiteY589" fmla="*/ 201171 h 685038"/>
                <a:gd name="connsiteX590" fmla="*/ 600334 w 931640"/>
                <a:gd name="connsiteY590" fmla="*/ 201171 h 685038"/>
                <a:gd name="connsiteX591" fmla="*/ 605849 w 931640"/>
                <a:gd name="connsiteY591" fmla="*/ 202113 h 685038"/>
                <a:gd name="connsiteX592" fmla="*/ 616187 w 931640"/>
                <a:gd name="connsiteY592" fmla="*/ 194553 h 685038"/>
                <a:gd name="connsiteX593" fmla="*/ 626132 w 931640"/>
                <a:gd name="connsiteY593" fmla="*/ 188188 h 685038"/>
                <a:gd name="connsiteX594" fmla="*/ 634888 w 931640"/>
                <a:gd name="connsiteY594" fmla="*/ 186198 h 685038"/>
                <a:gd name="connsiteX595" fmla="*/ 642842 w 931640"/>
                <a:gd name="connsiteY595" fmla="*/ 181823 h 685038"/>
                <a:gd name="connsiteX596" fmla="*/ 653983 w 931640"/>
                <a:gd name="connsiteY596" fmla="*/ 169494 h 685038"/>
                <a:gd name="connsiteX597" fmla="*/ 662900 w 931640"/>
                <a:gd name="connsiteY597" fmla="*/ 163706 h 685038"/>
                <a:gd name="connsiteX598" fmla="*/ 662908 w 931640"/>
                <a:gd name="connsiteY598" fmla="*/ 163706 h 685038"/>
                <a:gd name="connsiteX599" fmla="*/ 667901 w 931640"/>
                <a:gd name="connsiteY599" fmla="*/ 160738 h 685038"/>
                <a:gd name="connsiteX600" fmla="*/ 694950 w 931640"/>
                <a:gd name="connsiteY600" fmla="*/ 160738 h 685038"/>
                <a:gd name="connsiteX601" fmla="*/ 702117 w 931640"/>
                <a:gd name="connsiteY601" fmla="*/ 155970 h 685038"/>
                <a:gd name="connsiteX602" fmla="*/ 697890 w 931640"/>
                <a:gd name="connsiteY602" fmla="*/ 150280 h 685038"/>
                <a:gd name="connsiteX603" fmla="*/ 693361 w 931640"/>
                <a:gd name="connsiteY603" fmla="*/ 145223 h 685038"/>
                <a:gd name="connsiteX604" fmla="*/ 675061 w 931640"/>
                <a:gd name="connsiteY604" fmla="*/ 130904 h 685038"/>
                <a:gd name="connsiteX605" fmla="*/ 662331 w 931640"/>
                <a:gd name="connsiteY605" fmla="*/ 139259 h 685038"/>
                <a:gd name="connsiteX606" fmla="*/ 656768 w 931640"/>
                <a:gd name="connsiteY606" fmla="*/ 136073 h 685038"/>
                <a:gd name="connsiteX607" fmla="*/ 640057 w 931640"/>
                <a:gd name="connsiteY607" fmla="*/ 136073 h 685038"/>
                <a:gd name="connsiteX608" fmla="*/ 640057 w 931640"/>
                <a:gd name="connsiteY608" fmla="*/ 117379 h 685038"/>
                <a:gd name="connsiteX609" fmla="*/ 655171 w 931640"/>
                <a:gd name="connsiteY609" fmla="*/ 88340 h 685038"/>
                <a:gd name="connsiteX610" fmla="*/ 662331 w 931640"/>
                <a:gd name="connsiteY610" fmla="*/ 91919 h 685038"/>
                <a:gd name="connsiteX611" fmla="*/ 673471 w 931640"/>
                <a:gd name="connsiteY611" fmla="*/ 95900 h 685038"/>
                <a:gd name="connsiteX612" fmla="*/ 693361 w 931640"/>
                <a:gd name="connsiteY612" fmla="*/ 83170 h 685038"/>
                <a:gd name="connsiteX613" fmla="*/ 693361 w 931640"/>
                <a:gd name="connsiteY613" fmla="*/ 72030 h 685038"/>
                <a:gd name="connsiteX614" fmla="*/ 704895 w 931640"/>
                <a:gd name="connsiteY614" fmla="*/ 51346 h 685038"/>
                <a:gd name="connsiteX615" fmla="*/ 715241 w 931640"/>
                <a:gd name="connsiteY615" fmla="*/ 39017 h 685038"/>
                <a:gd name="connsiteX616" fmla="*/ 715241 w 931640"/>
                <a:gd name="connsiteY616" fmla="*/ 23502 h 685038"/>
                <a:gd name="connsiteX617" fmla="*/ 707286 w 931640"/>
                <a:gd name="connsiteY617" fmla="*/ 17932 h 685038"/>
                <a:gd name="connsiteX618" fmla="*/ 717231 w 931640"/>
                <a:gd name="connsiteY618" fmla="*/ 7987 h 685038"/>
                <a:gd name="connsiteX619" fmla="*/ 726219 w 931640"/>
                <a:gd name="connsiteY619" fmla="*/ 3753 h 685038"/>
                <a:gd name="connsiteX620" fmla="*/ 726226 w 931640"/>
                <a:gd name="connsiteY620" fmla="*/ 3753 h 685038"/>
                <a:gd name="connsiteX621" fmla="*/ 726226 w 931640"/>
                <a:gd name="connsiteY621" fmla="*/ 3753 h 685038"/>
                <a:gd name="connsiteX622" fmla="*/ 731550 w 931640"/>
                <a:gd name="connsiteY622" fmla="*/ 1622 h 685038"/>
                <a:gd name="connsiteX623" fmla="*/ 751201 w 931640"/>
                <a:gd name="connsiteY623" fmla="*/ 19 h 685038"/>
                <a:gd name="connsiteX624" fmla="*/ 753824 w 931640"/>
                <a:gd name="connsiteY624" fmla="*/ 33 h 685038"/>
                <a:gd name="connsiteX625" fmla="*/ 771020 w 931640"/>
                <a:gd name="connsiteY625" fmla="*/ 3409 h 685038"/>
                <a:gd name="connsiteX626" fmla="*/ 771730 w 931640"/>
                <a:gd name="connsiteY626" fmla="*/ 3612 h 685038"/>
                <a:gd name="connsiteX627" fmla="*/ 781443 w 931640"/>
                <a:gd name="connsiteY627" fmla="*/ 8050 h 685038"/>
                <a:gd name="connsiteX628" fmla="*/ 781457 w 931640"/>
                <a:gd name="connsiteY628" fmla="*/ 8057 h 685038"/>
                <a:gd name="connsiteX629" fmla="*/ 785255 w 931640"/>
                <a:gd name="connsiteY629" fmla="*/ 9977 h 685038"/>
                <a:gd name="connsiteX630" fmla="*/ 797583 w 931640"/>
                <a:gd name="connsiteY630" fmla="*/ 26681 h 685038"/>
                <a:gd name="connsiteX631" fmla="*/ 799384 w 931640"/>
                <a:gd name="connsiteY631" fmla="*/ 31224 h 685038"/>
                <a:gd name="connsiteX632" fmla="*/ 799391 w 931640"/>
                <a:gd name="connsiteY632" fmla="*/ 31231 h 685038"/>
                <a:gd name="connsiteX633" fmla="*/ 799391 w 931640"/>
                <a:gd name="connsiteY633" fmla="*/ 31231 h 685038"/>
                <a:gd name="connsiteX634" fmla="*/ 804349 w 931640"/>
                <a:gd name="connsiteY634" fmla="*/ 44580 h 685038"/>
                <a:gd name="connsiteX635" fmla="*/ 809434 w 931640"/>
                <a:gd name="connsiteY635" fmla="*/ 54483 h 685038"/>
                <a:gd name="connsiteX636" fmla="*/ 813893 w 931640"/>
                <a:gd name="connsiteY636" fmla="*/ 62486 h 685038"/>
                <a:gd name="connsiteX637" fmla="*/ 819456 w 931640"/>
                <a:gd name="connsiteY637" fmla="*/ 83635 h 685038"/>
                <a:gd name="connsiteX638" fmla="*/ 821053 w 931640"/>
                <a:gd name="connsiteY638" fmla="*/ 90330 h 685038"/>
                <a:gd name="connsiteX639" fmla="*/ 827411 w 931640"/>
                <a:gd name="connsiteY639" fmla="*/ 93980 h 685038"/>
                <a:gd name="connsiteX640" fmla="*/ 829408 w 931640"/>
                <a:gd name="connsiteY640" fmla="*/ 94705 h 685038"/>
                <a:gd name="connsiteX641" fmla="*/ 836153 w 931640"/>
                <a:gd name="connsiteY641" fmla="*/ 96104 h 685038"/>
                <a:gd name="connsiteX642" fmla="*/ 844923 w 931640"/>
                <a:gd name="connsiteY642" fmla="*/ 97891 h 685038"/>
                <a:gd name="connsiteX643" fmla="*/ 853278 w 931640"/>
                <a:gd name="connsiteY643" fmla="*/ 104649 h 685038"/>
                <a:gd name="connsiteX644" fmla="*/ 857730 w 931640"/>
                <a:gd name="connsiteY644" fmla="*/ 108651 h 685038"/>
                <a:gd name="connsiteX645" fmla="*/ 867197 w 931640"/>
                <a:gd name="connsiteY645" fmla="*/ 118575 h 685038"/>
                <a:gd name="connsiteX646" fmla="*/ 870777 w 931640"/>
                <a:gd name="connsiteY646" fmla="*/ 134090 h 685038"/>
                <a:gd name="connsiteX647" fmla="*/ 889871 w 931640"/>
                <a:gd name="connsiteY647" fmla="*/ 136474 h 685038"/>
                <a:gd name="connsiteX648" fmla="*/ 897833 w 931640"/>
                <a:gd name="connsiteY648" fmla="*/ 134090 h 685038"/>
                <a:gd name="connsiteX649" fmla="*/ 911751 w 931640"/>
                <a:gd name="connsiteY649" fmla="*/ 126529 h 685038"/>
                <a:gd name="connsiteX650" fmla="*/ 923686 w 931640"/>
                <a:gd name="connsiteY650" fmla="*/ 123350 h 685038"/>
                <a:gd name="connsiteX651" fmla="*/ 931641 w 931640"/>
                <a:gd name="connsiteY651" fmla="*/ 123350 h 685038"/>
                <a:gd name="connsiteX652" fmla="*/ 928061 w 931640"/>
                <a:gd name="connsiteY652" fmla="*/ 134090 h 685038"/>
                <a:gd name="connsiteX653" fmla="*/ 923503 w 931640"/>
                <a:gd name="connsiteY653" fmla="*/ 142923 h 685038"/>
                <a:gd name="connsiteX654" fmla="*/ 918911 w 931640"/>
                <a:gd name="connsiteY654" fmla="*/ 151989 h 685038"/>
                <a:gd name="connsiteX655" fmla="*/ 917124 w 931640"/>
                <a:gd name="connsiteY655" fmla="*/ 158698 h 685038"/>
                <a:gd name="connsiteX656" fmla="*/ 916527 w 931640"/>
                <a:gd name="connsiteY656" fmla="*/ 161139 h 685038"/>
                <a:gd name="connsiteX657" fmla="*/ 909641 w 931640"/>
                <a:gd name="connsiteY657" fmla="*/ 180262 h 685038"/>
                <a:gd name="connsiteX658" fmla="*/ 909634 w 931640"/>
                <a:gd name="connsiteY658" fmla="*/ 180276 h 685038"/>
                <a:gd name="connsiteX659" fmla="*/ 908171 w 931640"/>
                <a:gd name="connsiteY659" fmla="*/ 184207 h 685038"/>
                <a:gd name="connsiteX660" fmla="*/ 906469 w 931640"/>
                <a:gd name="connsiteY660" fmla="*/ 188146 h 685038"/>
                <a:gd name="connsiteX661" fmla="*/ 906462 w 931640"/>
                <a:gd name="connsiteY661" fmla="*/ 188146 h 685038"/>
                <a:gd name="connsiteX662" fmla="*/ 903396 w 931640"/>
                <a:gd name="connsiteY662" fmla="*/ 195348 h 685038"/>
                <a:gd name="connsiteX663" fmla="*/ 897115 w 931640"/>
                <a:gd name="connsiteY663" fmla="*/ 194708 h 685038"/>
                <a:gd name="connsiteX664" fmla="*/ 889871 w 931640"/>
                <a:gd name="connsiteY664" fmla="*/ 192963 h 685038"/>
                <a:gd name="connsiteX665" fmla="*/ 877943 w 931640"/>
                <a:gd name="connsiteY665" fmla="*/ 195348 h 685038"/>
                <a:gd name="connsiteX666" fmla="*/ 872767 w 931640"/>
                <a:gd name="connsiteY666" fmla="*/ 200517 h 685038"/>
                <a:gd name="connsiteX667" fmla="*/ 875953 w 931640"/>
                <a:gd name="connsiteY667" fmla="*/ 206882 h 685038"/>
                <a:gd name="connsiteX668" fmla="*/ 875953 w 931640"/>
                <a:gd name="connsiteY668" fmla="*/ 239107 h 685038"/>
                <a:gd name="connsiteX669" fmla="*/ 867598 w 931640"/>
                <a:gd name="connsiteY669" fmla="*/ 244277 h 685038"/>
                <a:gd name="connsiteX670" fmla="*/ 867598 w 931640"/>
                <a:gd name="connsiteY670" fmla="*/ 253827 h 685038"/>
                <a:gd name="connsiteX671" fmla="*/ 856064 w 931640"/>
                <a:gd name="connsiteY671" fmla="*/ 242286 h 685038"/>
                <a:gd name="connsiteX672" fmla="*/ 852877 w 931640"/>
                <a:gd name="connsiteY672" fmla="*/ 249052 h 685038"/>
                <a:gd name="connsiteX673" fmla="*/ 849150 w 931640"/>
                <a:gd name="connsiteY673" fmla="*/ 252435 h 685038"/>
                <a:gd name="connsiteX674" fmla="*/ 847307 w 931640"/>
                <a:gd name="connsiteY674" fmla="*/ 253827 h 685038"/>
                <a:gd name="connsiteX675" fmla="*/ 843756 w 931640"/>
                <a:gd name="connsiteY675" fmla="*/ 255241 h 685038"/>
                <a:gd name="connsiteX676" fmla="*/ 841737 w 931640"/>
                <a:gd name="connsiteY676" fmla="*/ 255811 h 685038"/>
                <a:gd name="connsiteX677" fmla="*/ 829809 w 931640"/>
                <a:gd name="connsiteY677" fmla="*/ 260192 h 685038"/>
                <a:gd name="connsiteX678" fmla="*/ 826757 w 931640"/>
                <a:gd name="connsiteY678" fmla="*/ 265179 h 685038"/>
                <a:gd name="connsiteX679" fmla="*/ 827024 w 931640"/>
                <a:gd name="connsiteY679" fmla="*/ 266156 h 685038"/>
                <a:gd name="connsiteX680" fmla="*/ 827987 w 931640"/>
                <a:gd name="connsiteY680" fmla="*/ 268083 h 685038"/>
                <a:gd name="connsiteX681" fmla="*/ 829809 w 931640"/>
                <a:gd name="connsiteY681" fmla="*/ 272521 h 685038"/>
                <a:gd name="connsiteX682" fmla="*/ 821482 w 931640"/>
                <a:gd name="connsiteY682" fmla="*/ 272901 h 685038"/>
                <a:gd name="connsiteX683" fmla="*/ 821482 w 931640"/>
                <a:gd name="connsiteY683" fmla="*/ 272901 h 685038"/>
                <a:gd name="connsiteX684" fmla="*/ 819864 w 931640"/>
                <a:gd name="connsiteY684" fmla="*/ 272521 h 685038"/>
                <a:gd name="connsiteX685" fmla="*/ 807528 w 931640"/>
                <a:gd name="connsiteY685" fmla="*/ 264961 h 685038"/>
                <a:gd name="connsiteX686" fmla="*/ 801564 w 931640"/>
                <a:gd name="connsiteY686" fmla="*/ 276101 h 685038"/>
                <a:gd name="connsiteX687" fmla="*/ 787245 w 931640"/>
                <a:gd name="connsiteY687" fmla="*/ 286046 h 685038"/>
                <a:gd name="connsiteX688" fmla="*/ 563284 w 931640"/>
                <a:gd name="connsiteY688" fmla="*/ 655204 h 685038"/>
                <a:gd name="connsiteX689" fmla="*/ 559571 w 931640"/>
                <a:gd name="connsiteY689" fmla="*/ 656041 h 685038"/>
                <a:gd name="connsiteX690" fmla="*/ 559571 w 931640"/>
                <a:gd name="connsiteY690" fmla="*/ 656041 h 685038"/>
                <a:gd name="connsiteX691" fmla="*/ 556125 w 931640"/>
                <a:gd name="connsiteY691" fmla="*/ 657187 h 685038"/>
                <a:gd name="connsiteX692" fmla="*/ 550555 w 931640"/>
                <a:gd name="connsiteY692" fmla="*/ 656392 h 685038"/>
                <a:gd name="connsiteX693" fmla="*/ 543789 w 931640"/>
                <a:gd name="connsiteY693" fmla="*/ 658383 h 685038"/>
                <a:gd name="connsiteX694" fmla="*/ 539484 w 931640"/>
                <a:gd name="connsiteY694" fmla="*/ 662005 h 685038"/>
                <a:gd name="connsiteX695" fmla="*/ 537424 w 931640"/>
                <a:gd name="connsiteY695" fmla="*/ 663953 h 685038"/>
                <a:gd name="connsiteX696" fmla="*/ 532255 w 931640"/>
                <a:gd name="connsiteY696" fmla="*/ 668728 h 685038"/>
                <a:gd name="connsiteX697" fmla="*/ 532255 w 931640"/>
                <a:gd name="connsiteY697" fmla="*/ 668728 h 685038"/>
                <a:gd name="connsiteX698" fmla="*/ 531010 w 931640"/>
                <a:gd name="connsiteY698" fmla="*/ 677091 h 685038"/>
                <a:gd name="connsiteX699" fmla="*/ 531059 w 931640"/>
                <a:gd name="connsiteY699" fmla="*/ 678272 h 685038"/>
                <a:gd name="connsiteX700" fmla="*/ 537424 w 931640"/>
                <a:gd name="connsiteY700" fmla="*/ 683842 h 685038"/>
                <a:gd name="connsiteX701" fmla="*/ 546180 w 931640"/>
                <a:gd name="connsiteY701" fmla="*/ 685038 h 685038"/>
                <a:gd name="connsiteX702" fmla="*/ 551743 w 931640"/>
                <a:gd name="connsiteY702" fmla="*/ 681458 h 685038"/>
                <a:gd name="connsiteX703" fmla="*/ 555527 w 931640"/>
                <a:gd name="connsiteY703" fmla="*/ 679067 h 685038"/>
                <a:gd name="connsiteX704" fmla="*/ 559304 w 931640"/>
                <a:gd name="connsiteY704" fmla="*/ 676683 h 685038"/>
                <a:gd name="connsiteX705" fmla="*/ 560682 w 931640"/>
                <a:gd name="connsiteY705" fmla="*/ 671464 h 685038"/>
                <a:gd name="connsiteX706" fmla="*/ 560682 w 931640"/>
                <a:gd name="connsiteY706" fmla="*/ 671464 h 685038"/>
                <a:gd name="connsiteX707" fmla="*/ 560682 w 931640"/>
                <a:gd name="connsiteY707" fmla="*/ 671464 h 685038"/>
                <a:gd name="connsiteX708" fmla="*/ 560682 w 931640"/>
                <a:gd name="connsiteY708" fmla="*/ 671464 h 685038"/>
                <a:gd name="connsiteX709" fmla="*/ 561294 w 931640"/>
                <a:gd name="connsiteY709" fmla="*/ 668728 h 685038"/>
                <a:gd name="connsiteX710" fmla="*/ 562581 w 931640"/>
                <a:gd name="connsiteY710" fmla="*/ 666914 h 685038"/>
                <a:gd name="connsiteX711" fmla="*/ 566864 w 931640"/>
                <a:gd name="connsiteY711" fmla="*/ 659972 h 685038"/>
                <a:gd name="connsiteX712" fmla="*/ 563713 w 931640"/>
                <a:gd name="connsiteY712" fmla="*/ 655619 h 685038"/>
                <a:gd name="connsiteX713" fmla="*/ 563284 w 931640"/>
                <a:gd name="connsiteY713" fmla="*/ 655204 h 685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</a:cxnLst>
              <a:rect l="l" t="t" r="r" b="b"/>
              <a:pathLst>
                <a:path w="931640" h="685038">
                  <a:moveTo>
                    <a:pt x="787245" y="286046"/>
                  </a:moveTo>
                  <a:cubicBezTo>
                    <a:pt x="785255" y="287241"/>
                    <a:pt x="771329" y="302756"/>
                    <a:pt x="770534" y="304346"/>
                  </a:cubicBezTo>
                  <a:lnTo>
                    <a:pt x="766955" y="303551"/>
                  </a:lnTo>
                  <a:cubicBezTo>
                    <a:pt x="766554" y="303551"/>
                    <a:pt x="764486" y="303706"/>
                    <a:pt x="759394" y="304346"/>
                  </a:cubicBezTo>
                  <a:cubicBezTo>
                    <a:pt x="757207" y="304972"/>
                    <a:pt x="756496" y="305352"/>
                    <a:pt x="755512" y="305872"/>
                  </a:cubicBezTo>
                  <a:cubicBezTo>
                    <a:pt x="755252" y="306013"/>
                    <a:pt x="754963" y="306160"/>
                    <a:pt x="754626" y="306336"/>
                  </a:cubicBezTo>
                  <a:cubicBezTo>
                    <a:pt x="753029" y="307131"/>
                    <a:pt x="751440" y="307926"/>
                    <a:pt x="748261" y="309121"/>
                  </a:cubicBezTo>
                  <a:cubicBezTo>
                    <a:pt x="746467" y="309789"/>
                    <a:pt x="745813" y="310458"/>
                    <a:pt x="745152" y="311133"/>
                  </a:cubicBezTo>
                  <a:cubicBezTo>
                    <a:pt x="744646" y="311653"/>
                    <a:pt x="744132" y="312174"/>
                    <a:pt x="743084" y="312701"/>
                  </a:cubicBezTo>
                  <a:cubicBezTo>
                    <a:pt x="741214" y="313637"/>
                    <a:pt x="740567" y="314326"/>
                    <a:pt x="739610" y="315345"/>
                  </a:cubicBezTo>
                  <a:lnTo>
                    <a:pt x="739610" y="315345"/>
                  </a:lnTo>
                  <a:lnTo>
                    <a:pt x="739603" y="315353"/>
                  </a:lnTo>
                  <a:cubicBezTo>
                    <a:pt x="739336" y="315634"/>
                    <a:pt x="739055" y="315936"/>
                    <a:pt x="738710" y="316281"/>
                  </a:cubicBezTo>
                  <a:cubicBezTo>
                    <a:pt x="737845" y="317146"/>
                    <a:pt x="737099" y="317652"/>
                    <a:pt x="736213" y="318264"/>
                  </a:cubicBezTo>
                  <a:cubicBezTo>
                    <a:pt x="735468" y="318771"/>
                    <a:pt x="734631" y="319347"/>
                    <a:pt x="733541" y="320255"/>
                  </a:cubicBezTo>
                  <a:cubicBezTo>
                    <a:pt x="732176" y="321394"/>
                    <a:pt x="731332" y="322013"/>
                    <a:pt x="730488" y="322625"/>
                  </a:cubicBezTo>
                  <a:lnTo>
                    <a:pt x="730488" y="322625"/>
                  </a:lnTo>
                  <a:cubicBezTo>
                    <a:pt x="729855" y="323089"/>
                    <a:pt x="729222" y="323553"/>
                    <a:pt x="728371" y="324235"/>
                  </a:cubicBezTo>
                  <a:cubicBezTo>
                    <a:pt x="726381" y="325825"/>
                    <a:pt x="723596" y="326619"/>
                    <a:pt x="722006" y="326619"/>
                  </a:cubicBezTo>
                  <a:cubicBezTo>
                    <a:pt x="720895" y="326619"/>
                    <a:pt x="721331" y="325459"/>
                    <a:pt x="721697" y="324488"/>
                  </a:cubicBezTo>
                  <a:cubicBezTo>
                    <a:pt x="721859" y="324067"/>
                    <a:pt x="722006" y="323680"/>
                    <a:pt x="722006" y="323441"/>
                  </a:cubicBezTo>
                  <a:cubicBezTo>
                    <a:pt x="722006" y="322892"/>
                    <a:pt x="723139" y="322154"/>
                    <a:pt x="724370" y="321352"/>
                  </a:cubicBezTo>
                  <a:cubicBezTo>
                    <a:pt x="724918" y="320993"/>
                    <a:pt x="725488" y="320627"/>
                    <a:pt x="725980" y="320255"/>
                  </a:cubicBezTo>
                  <a:cubicBezTo>
                    <a:pt x="727253" y="319298"/>
                    <a:pt x="728104" y="317737"/>
                    <a:pt x="728371" y="317076"/>
                  </a:cubicBezTo>
                  <a:cubicBezTo>
                    <a:pt x="728765" y="316147"/>
                    <a:pt x="729321" y="314129"/>
                    <a:pt x="728371" y="313496"/>
                  </a:cubicBezTo>
                  <a:cubicBezTo>
                    <a:pt x="727569" y="312961"/>
                    <a:pt x="727485" y="313137"/>
                    <a:pt x="727394" y="313320"/>
                  </a:cubicBezTo>
                  <a:cubicBezTo>
                    <a:pt x="727351" y="313405"/>
                    <a:pt x="727309" y="313496"/>
                    <a:pt x="727176" y="313496"/>
                  </a:cubicBezTo>
                  <a:cubicBezTo>
                    <a:pt x="726775" y="313496"/>
                    <a:pt x="724391" y="312300"/>
                    <a:pt x="723596" y="311505"/>
                  </a:cubicBezTo>
                  <a:cubicBezTo>
                    <a:pt x="723061" y="310971"/>
                    <a:pt x="723244" y="310092"/>
                    <a:pt x="723420" y="309206"/>
                  </a:cubicBezTo>
                  <a:cubicBezTo>
                    <a:pt x="723505" y="308763"/>
                    <a:pt x="723596" y="308319"/>
                    <a:pt x="723596" y="307926"/>
                  </a:cubicBezTo>
                  <a:cubicBezTo>
                    <a:pt x="723596" y="307131"/>
                    <a:pt x="724658" y="306688"/>
                    <a:pt x="725713" y="306245"/>
                  </a:cubicBezTo>
                  <a:cubicBezTo>
                    <a:pt x="726247" y="306027"/>
                    <a:pt x="726775" y="305802"/>
                    <a:pt x="727176" y="305534"/>
                  </a:cubicBezTo>
                  <a:cubicBezTo>
                    <a:pt x="727773" y="305141"/>
                    <a:pt x="728069" y="304838"/>
                    <a:pt x="728371" y="304543"/>
                  </a:cubicBezTo>
                  <a:cubicBezTo>
                    <a:pt x="728667" y="304247"/>
                    <a:pt x="728962" y="303945"/>
                    <a:pt x="729560" y="303551"/>
                  </a:cubicBezTo>
                  <a:cubicBezTo>
                    <a:pt x="730516" y="302911"/>
                    <a:pt x="732078" y="300900"/>
                    <a:pt x="732746" y="299971"/>
                  </a:cubicBezTo>
                  <a:cubicBezTo>
                    <a:pt x="734335" y="298375"/>
                    <a:pt x="737514" y="294957"/>
                    <a:pt x="737514" y="294000"/>
                  </a:cubicBezTo>
                  <a:lnTo>
                    <a:pt x="737514" y="290026"/>
                  </a:lnTo>
                  <a:cubicBezTo>
                    <a:pt x="737514" y="288824"/>
                    <a:pt x="737064" y="288529"/>
                    <a:pt x="736157" y="287938"/>
                  </a:cubicBezTo>
                  <a:cubicBezTo>
                    <a:pt x="735861" y="287748"/>
                    <a:pt x="735517" y="287530"/>
                    <a:pt x="735130" y="287241"/>
                  </a:cubicBezTo>
                  <a:cubicBezTo>
                    <a:pt x="734012" y="286398"/>
                    <a:pt x="733287" y="286151"/>
                    <a:pt x="732260" y="285800"/>
                  </a:cubicBezTo>
                  <a:cubicBezTo>
                    <a:pt x="731824" y="285652"/>
                    <a:pt x="731346" y="285483"/>
                    <a:pt x="730755" y="285251"/>
                  </a:cubicBezTo>
                  <a:cubicBezTo>
                    <a:pt x="729314" y="284674"/>
                    <a:pt x="728920" y="284724"/>
                    <a:pt x="728350" y="284794"/>
                  </a:cubicBezTo>
                  <a:cubicBezTo>
                    <a:pt x="728139" y="284822"/>
                    <a:pt x="727900" y="284850"/>
                    <a:pt x="727569" y="284850"/>
                  </a:cubicBezTo>
                  <a:cubicBezTo>
                    <a:pt x="726381" y="284850"/>
                    <a:pt x="723596" y="285251"/>
                    <a:pt x="722006" y="286046"/>
                  </a:cubicBezTo>
                  <a:cubicBezTo>
                    <a:pt x="720410" y="286841"/>
                    <a:pt x="719615" y="287635"/>
                    <a:pt x="718820" y="288430"/>
                  </a:cubicBezTo>
                  <a:cubicBezTo>
                    <a:pt x="718490" y="288761"/>
                    <a:pt x="717681" y="289499"/>
                    <a:pt x="716739" y="290364"/>
                  </a:cubicBezTo>
                  <a:lnTo>
                    <a:pt x="716739" y="290371"/>
                  </a:lnTo>
                  <a:lnTo>
                    <a:pt x="716731" y="290371"/>
                  </a:lnTo>
                  <a:lnTo>
                    <a:pt x="716731" y="290371"/>
                  </a:lnTo>
                  <a:lnTo>
                    <a:pt x="716725" y="290378"/>
                  </a:lnTo>
                  <a:lnTo>
                    <a:pt x="716717" y="290385"/>
                  </a:lnTo>
                  <a:cubicBezTo>
                    <a:pt x="715388" y="291609"/>
                    <a:pt x="713785" y="293072"/>
                    <a:pt x="712856" y="294000"/>
                  </a:cubicBezTo>
                  <a:cubicBezTo>
                    <a:pt x="711513" y="295344"/>
                    <a:pt x="704241" y="300070"/>
                    <a:pt x="701273" y="302004"/>
                  </a:cubicBezTo>
                  <a:lnTo>
                    <a:pt x="701273" y="302004"/>
                  </a:lnTo>
                  <a:cubicBezTo>
                    <a:pt x="701006" y="302180"/>
                    <a:pt x="700773" y="302327"/>
                    <a:pt x="700584" y="302454"/>
                  </a:cubicBezTo>
                  <a:lnTo>
                    <a:pt x="700422" y="302559"/>
                  </a:lnTo>
                  <a:lnTo>
                    <a:pt x="700281" y="302651"/>
                  </a:lnTo>
                  <a:cubicBezTo>
                    <a:pt x="700218" y="302693"/>
                    <a:pt x="700169" y="302728"/>
                    <a:pt x="700127" y="302756"/>
                  </a:cubicBezTo>
                  <a:cubicBezTo>
                    <a:pt x="699170" y="303389"/>
                    <a:pt x="695217" y="308854"/>
                    <a:pt x="693361" y="311505"/>
                  </a:cubicBezTo>
                  <a:cubicBezTo>
                    <a:pt x="693361" y="311899"/>
                    <a:pt x="693206" y="313018"/>
                    <a:pt x="692566" y="314291"/>
                  </a:cubicBezTo>
                  <a:cubicBezTo>
                    <a:pt x="692088" y="315254"/>
                    <a:pt x="691750" y="315634"/>
                    <a:pt x="691384" y="316049"/>
                  </a:cubicBezTo>
                  <a:cubicBezTo>
                    <a:pt x="691145" y="316316"/>
                    <a:pt x="690892" y="316604"/>
                    <a:pt x="690576" y="317076"/>
                  </a:cubicBezTo>
                  <a:cubicBezTo>
                    <a:pt x="690154" y="317716"/>
                    <a:pt x="688803" y="318356"/>
                    <a:pt x="687594" y="318932"/>
                  </a:cubicBezTo>
                  <a:cubicBezTo>
                    <a:pt x="686546" y="319432"/>
                    <a:pt x="685589" y="319889"/>
                    <a:pt x="685406" y="320255"/>
                  </a:cubicBezTo>
                  <a:cubicBezTo>
                    <a:pt x="685139" y="320789"/>
                    <a:pt x="684169" y="321317"/>
                    <a:pt x="683198" y="321844"/>
                  </a:cubicBezTo>
                  <a:cubicBezTo>
                    <a:pt x="682713" y="322111"/>
                    <a:pt x="682220" y="322379"/>
                    <a:pt x="681826" y="322646"/>
                  </a:cubicBezTo>
                  <a:cubicBezTo>
                    <a:pt x="680982" y="323209"/>
                    <a:pt x="679935" y="322969"/>
                    <a:pt x="679112" y="322787"/>
                  </a:cubicBezTo>
                  <a:cubicBezTo>
                    <a:pt x="678774" y="322709"/>
                    <a:pt x="678479" y="322646"/>
                    <a:pt x="678247" y="322646"/>
                  </a:cubicBezTo>
                  <a:cubicBezTo>
                    <a:pt x="677452" y="322646"/>
                    <a:pt x="676657" y="320655"/>
                    <a:pt x="676657" y="320255"/>
                  </a:cubicBezTo>
                  <a:cubicBezTo>
                    <a:pt x="676657" y="319861"/>
                    <a:pt x="675462" y="318665"/>
                    <a:pt x="674266" y="318264"/>
                  </a:cubicBezTo>
                  <a:cubicBezTo>
                    <a:pt x="673077" y="317870"/>
                    <a:pt x="672677" y="318665"/>
                    <a:pt x="672677" y="319460"/>
                  </a:cubicBezTo>
                  <a:cubicBezTo>
                    <a:pt x="672677" y="319819"/>
                    <a:pt x="672515" y="320255"/>
                    <a:pt x="672339" y="320740"/>
                  </a:cubicBezTo>
                  <a:cubicBezTo>
                    <a:pt x="672121" y="321331"/>
                    <a:pt x="671882" y="321985"/>
                    <a:pt x="671882" y="322646"/>
                  </a:cubicBezTo>
                  <a:cubicBezTo>
                    <a:pt x="671882" y="323279"/>
                    <a:pt x="671537" y="323919"/>
                    <a:pt x="671101" y="324742"/>
                  </a:cubicBezTo>
                  <a:cubicBezTo>
                    <a:pt x="670714" y="325459"/>
                    <a:pt x="670264" y="326310"/>
                    <a:pt x="669892" y="327414"/>
                  </a:cubicBezTo>
                  <a:cubicBezTo>
                    <a:pt x="669399" y="328153"/>
                    <a:pt x="669519" y="328434"/>
                    <a:pt x="669680" y="328828"/>
                  </a:cubicBezTo>
                  <a:cubicBezTo>
                    <a:pt x="669779" y="329067"/>
                    <a:pt x="669892" y="329348"/>
                    <a:pt x="669892" y="329805"/>
                  </a:cubicBezTo>
                  <a:cubicBezTo>
                    <a:pt x="669892" y="330354"/>
                    <a:pt x="670060" y="330741"/>
                    <a:pt x="670250" y="331149"/>
                  </a:cubicBezTo>
                  <a:cubicBezTo>
                    <a:pt x="670461" y="331620"/>
                    <a:pt x="670686" y="332133"/>
                    <a:pt x="670686" y="332984"/>
                  </a:cubicBezTo>
                  <a:cubicBezTo>
                    <a:pt x="670686" y="333849"/>
                    <a:pt x="670925" y="334131"/>
                    <a:pt x="671200" y="334454"/>
                  </a:cubicBezTo>
                  <a:cubicBezTo>
                    <a:pt x="671432" y="334736"/>
                    <a:pt x="671699" y="335045"/>
                    <a:pt x="671882" y="335770"/>
                  </a:cubicBezTo>
                  <a:cubicBezTo>
                    <a:pt x="672128" y="336754"/>
                    <a:pt x="672522" y="336979"/>
                    <a:pt x="673077" y="337289"/>
                  </a:cubicBezTo>
                  <a:cubicBezTo>
                    <a:pt x="673415" y="337479"/>
                    <a:pt x="673809" y="337704"/>
                    <a:pt x="674266" y="338154"/>
                  </a:cubicBezTo>
                  <a:cubicBezTo>
                    <a:pt x="675026" y="338913"/>
                    <a:pt x="675623" y="338871"/>
                    <a:pt x="676059" y="338843"/>
                  </a:cubicBezTo>
                  <a:cubicBezTo>
                    <a:pt x="676313" y="338822"/>
                    <a:pt x="676509" y="338808"/>
                    <a:pt x="676657" y="338955"/>
                  </a:cubicBezTo>
                  <a:cubicBezTo>
                    <a:pt x="676826" y="339124"/>
                    <a:pt x="677354" y="339145"/>
                    <a:pt x="678099" y="339181"/>
                  </a:cubicBezTo>
                  <a:cubicBezTo>
                    <a:pt x="679091" y="339230"/>
                    <a:pt x="680455" y="339293"/>
                    <a:pt x="681826" y="339750"/>
                  </a:cubicBezTo>
                  <a:cubicBezTo>
                    <a:pt x="683163" y="340193"/>
                    <a:pt x="684253" y="340017"/>
                    <a:pt x="685308" y="339842"/>
                  </a:cubicBezTo>
                  <a:cubicBezTo>
                    <a:pt x="686124" y="339708"/>
                    <a:pt x="686919" y="339574"/>
                    <a:pt x="687791" y="339750"/>
                  </a:cubicBezTo>
                  <a:cubicBezTo>
                    <a:pt x="689106" y="340010"/>
                    <a:pt x="689204" y="340271"/>
                    <a:pt x="689352" y="340651"/>
                  </a:cubicBezTo>
                  <a:cubicBezTo>
                    <a:pt x="689422" y="340840"/>
                    <a:pt x="689514" y="341065"/>
                    <a:pt x="689781" y="341340"/>
                  </a:cubicBezTo>
                  <a:cubicBezTo>
                    <a:pt x="690576" y="342134"/>
                    <a:pt x="690576" y="342929"/>
                    <a:pt x="690576" y="345320"/>
                  </a:cubicBezTo>
                  <a:cubicBezTo>
                    <a:pt x="690231" y="345665"/>
                    <a:pt x="690034" y="345707"/>
                    <a:pt x="689858" y="345750"/>
                  </a:cubicBezTo>
                  <a:cubicBezTo>
                    <a:pt x="689626" y="345799"/>
                    <a:pt x="689436" y="345841"/>
                    <a:pt x="688986" y="346509"/>
                  </a:cubicBezTo>
                  <a:cubicBezTo>
                    <a:pt x="688656" y="347008"/>
                    <a:pt x="688459" y="347304"/>
                    <a:pt x="688262" y="347585"/>
                  </a:cubicBezTo>
                  <a:cubicBezTo>
                    <a:pt x="687980" y="347986"/>
                    <a:pt x="687692" y="348373"/>
                    <a:pt x="686996" y="349294"/>
                  </a:cubicBezTo>
                  <a:lnTo>
                    <a:pt x="686996" y="349294"/>
                  </a:lnTo>
                  <a:cubicBezTo>
                    <a:pt x="686271" y="350258"/>
                    <a:pt x="686426" y="350785"/>
                    <a:pt x="686658" y="351580"/>
                  </a:cubicBezTo>
                  <a:cubicBezTo>
                    <a:pt x="686813" y="352100"/>
                    <a:pt x="686996" y="352733"/>
                    <a:pt x="686996" y="353669"/>
                  </a:cubicBezTo>
                  <a:cubicBezTo>
                    <a:pt x="686996" y="355040"/>
                    <a:pt x="687390" y="355103"/>
                    <a:pt x="688023" y="355202"/>
                  </a:cubicBezTo>
                  <a:cubicBezTo>
                    <a:pt x="688494" y="355279"/>
                    <a:pt x="689099" y="355378"/>
                    <a:pt x="689781" y="356060"/>
                  </a:cubicBezTo>
                  <a:cubicBezTo>
                    <a:pt x="690969" y="357241"/>
                    <a:pt x="691708" y="357108"/>
                    <a:pt x="692503" y="356953"/>
                  </a:cubicBezTo>
                  <a:cubicBezTo>
                    <a:pt x="692777" y="356904"/>
                    <a:pt x="693058" y="356855"/>
                    <a:pt x="693361" y="356855"/>
                  </a:cubicBezTo>
                  <a:lnTo>
                    <a:pt x="700127" y="356855"/>
                  </a:lnTo>
                  <a:cubicBezTo>
                    <a:pt x="701076" y="356855"/>
                    <a:pt x="702644" y="356320"/>
                    <a:pt x="703305" y="356060"/>
                  </a:cubicBezTo>
                  <a:lnTo>
                    <a:pt x="706091" y="351284"/>
                  </a:lnTo>
                  <a:cubicBezTo>
                    <a:pt x="706091" y="350884"/>
                    <a:pt x="706330" y="349934"/>
                    <a:pt x="707286" y="349294"/>
                  </a:cubicBezTo>
                  <a:cubicBezTo>
                    <a:pt x="708482" y="348499"/>
                    <a:pt x="709277" y="347705"/>
                    <a:pt x="710465" y="346509"/>
                  </a:cubicBezTo>
                  <a:cubicBezTo>
                    <a:pt x="711661" y="345320"/>
                    <a:pt x="714045" y="344519"/>
                    <a:pt x="716436" y="344519"/>
                  </a:cubicBezTo>
                  <a:cubicBezTo>
                    <a:pt x="718004" y="344519"/>
                    <a:pt x="718715" y="345553"/>
                    <a:pt x="719355" y="346488"/>
                  </a:cubicBezTo>
                  <a:cubicBezTo>
                    <a:pt x="719685" y="346973"/>
                    <a:pt x="720002" y="347430"/>
                    <a:pt x="720410" y="347705"/>
                  </a:cubicBezTo>
                  <a:cubicBezTo>
                    <a:pt x="721605" y="348499"/>
                    <a:pt x="722801" y="349294"/>
                    <a:pt x="723596" y="350089"/>
                  </a:cubicBezTo>
                  <a:cubicBezTo>
                    <a:pt x="724391" y="350884"/>
                    <a:pt x="728765" y="351284"/>
                    <a:pt x="730355" y="351284"/>
                  </a:cubicBezTo>
                  <a:cubicBezTo>
                    <a:pt x="731951" y="351284"/>
                    <a:pt x="735925" y="351284"/>
                    <a:pt x="738710" y="352079"/>
                  </a:cubicBezTo>
                  <a:cubicBezTo>
                    <a:pt x="740799" y="352677"/>
                    <a:pt x="741101" y="353050"/>
                    <a:pt x="741622" y="353704"/>
                  </a:cubicBezTo>
                  <a:cubicBezTo>
                    <a:pt x="741790" y="353922"/>
                    <a:pt x="741994" y="354168"/>
                    <a:pt x="742290" y="354463"/>
                  </a:cubicBezTo>
                  <a:cubicBezTo>
                    <a:pt x="743084" y="355265"/>
                    <a:pt x="742824" y="356412"/>
                    <a:pt x="742557" y="357558"/>
                  </a:cubicBezTo>
                  <a:cubicBezTo>
                    <a:pt x="742423" y="358135"/>
                    <a:pt x="742290" y="358711"/>
                    <a:pt x="742290" y="359239"/>
                  </a:cubicBezTo>
                  <a:cubicBezTo>
                    <a:pt x="742290" y="360828"/>
                    <a:pt x="741495" y="361630"/>
                    <a:pt x="739906" y="362425"/>
                  </a:cubicBezTo>
                  <a:cubicBezTo>
                    <a:pt x="738632" y="363058"/>
                    <a:pt x="736719" y="362685"/>
                    <a:pt x="735925" y="362425"/>
                  </a:cubicBezTo>
                  <a:lnTo>
                    <a:pt x="732746" y="361630"/>
                  </a:lnTo>
                  <a:cubicBezTo>
                    <a:pt x="731951" y="362158"/>
                    <a:pt x="730200" y="363297"/>
                    <a:pt x="729560" y="363613"/>
                  </a:cubicBezTo>
                  <a:cubicBezTo>
                    <a:pt x="729314" y="363740"/>
                    <a:pt x="728878" y="363867"/>
                    <a:pt x="728350" y="364007"/>
                  </a:cubicBezTo>
                  <a:cubicBezTo>
                    <a:pt x="727190" y="364338"/>
                    <a:pt x="725614" y="364781"/>
                    <a:pt x="724791" y="365604"/>
                  </a:cubicBezTo>
                  <a:cubicBezTo>
                    <a:pt x="723596" y="366799"/>
                    <a:pt x="720811" y="369184"/>
                    <a:pt x="719221" y="370379"/>
                  </a:cubicBezTo>
                  <a:cubicBezTo>
                    <a:pt x="717625" y="371575"/>
                    <a:pt x="715241" y="373558"/>
                    <a:pt x="714045" y="374754"/>
                  </a:cubicBezTo>
                  <a:cubicBezTo>
                    <a:pt x="713103" y="375696"/>
                    <a:pt x="711907" y="376392"/>
                    <a:pt x="710465" y="377236"/>
                  </a:cubicBezTo>
                  <a:cubicBezTo>
                    <a:pt x="710254" y="377356"/>
                    <a:pt x="710036" y="377483"/>
                    <a:pt x="709818" y="377616"/>
                  </a:cubicBezTo>
                  <a:cubicBezTo>
                    <a:pt x="709642" y="377722"/>
                    <a:pt x="709459" y="377827"/>
                    <a:pt x="709277" y="377940"/>
                  </a:cubicBezTo>
                  <a:cubicBezTo>
                    <a:pt x="707976" y="378713"/>
                    <a:pt x="707525" y="379325"/>
                    <a:pt x="707033" y="379986"/>
                  </a:cubicBezTo>
                  <a:lnTo>
                    <a:pt x="707033" y="379986"/>
                  </a:lnTo>
                  <a:cubicBezTo>
                    <a:pt x="706773" y="380338"/>
                    <a:pt x="706505" y="380704"/>
                    <a:pt x="706091" y="381119"/>
                  </a:cubicBezTo>
                  <a:cubicBezTo>
                    <a:pt x="705662" y="381555"/>
                    <a:pt x="705331" y="381935"/>
                    <a:pt x="705029" y="382279"/>
                  </a:cubicBezTo>
                  <a:cubicBezTo>
                    <a:pt x="704508" y="382891"/>
                    <a:pt x="704065" y="383397"/>
                    <a:pt x="703305" y="383904"/>
                  </a:cubicBezTo>
                  <a:cubicBezTo>
                    <a:pt x="702708" y="384305"/>
                    <a:pt x="702314" y="384699"/>
                    <a:pt x="701864" y="385149"/>
                  </a:cubicBezTo>
                  <a:lnTo>
                    <a:pt x="701864" y="385149"/>
                  </a:lnTo>
                  <a:cubicBezTo>
                    <a:pt x="701420" y="385592"/>
                    <a:pt x="700921" y="386091"/>
                    <a:pt x="700127" y="386689"/>
                  </a:cubicBezTo>
                  <a:cubicBezTo>
                    <a:pt x="698530" y="387884"/>
                    <a:pt x="697341" y="390269"/>
                    <a:pt x="697341" y="391464"/>
                  </a:cubicBezTo>
                  <a:cubicBezTo>
                    <a:pt x="697341" y="392104"/>
                    <a:pt x="696533" y="392864"/>
                    <a:pt x="695597" y="393743"/>
                  </a:cubicBezTo>
                  <a:cubicBezTo>
                    <a:pt x="694803" y="394488"/>
                    <a:pt x="693909" y="395318"/>
                    <a:pt x="693361" y="396233"/>
                  </a:cubicBezTo>
                  <a:cubicBezTo>
                    <a:pt x="692348" y="397928"/>
                    <a:pt x="692770" y="399046"/>
                    <a:pt x="693171" y="400080"/>
                  </a:cubicBezTo>
                  <a:cubicBezTo>
                    <a:pt x="693234" y="400256"/>
                    <a:pt x="693304" y="400432"/>
                    <a:pt x="693361" y="400614"/>
                  </a:cubicBezTo>
                  <a:cubicBezTo>
                    <a:pt x="693579" y="401268"/>
                    <a:pt x="694282" y="401683"/>
                    <a:pt x="695126" y="402190"/>
                  </a:cubicBezTo>
                  <a:cubicBezTo>
                    <a:pt x="695822" y="402605"/>
                    <a:pt x="696624" y="403076"/>
                    <a:pt x="697341" y="403793"/>
                  </a:cubicBezTo>
                  <a:cubicBezTo>
                    <a:pt x="698614" y="405066"/>
                    <a:pt x="700788" y="405650"/>
                    <a:pt x="701716" y="405784"/>
                  </a:cubicBezTo>
                  <a:lnTo>
                    <a:pt x="709277" y="413738"/>
                  </a:lnTo>
                  <a:cubicBezTo>
                    <a:pt x="710071" y="414934"/>
                    <a:pt x="711738" y="417557"/>
                    <a:pt x="712062" y="418513"/>
                  </a:cubicBezTo>
                  <a:cubicBezTo>
                    <a:pt x="712216" y="418985"/>
                    <a:pt x="712371" y="419702"/>
                    <a:pt x="712575" y="420637"/>
                  </a:cubicBezTo>
                  <a:lnTo>
                    <a:pt x="712575" y="420637"/>
                  </a:lnTo>
                  <a:lnTo>
                    <a:pt x="712575" y="420645"/>
                  </a:lnTo>
                  <a:cubicBezTo>
                    <a:pt x="712891" y="422086"/>
                    <a:pt x="713328" y="424062"/>
                    <a:pt x="714045" y="426468"/>
                  </a:cubicBezTo>
                  <a:cubicBezTo>
                    <a:pt x="714833" y="429084"/>
                    <a:pt x="715620" y="430322"/>
                    <a:pt x="716176" y="431208"/>
                  </a:cubicBezTo>
                  <a:lnTo>
                    <a:pt x="716176" y="431208"/>
                  </a:lnTo>
                  <a:lnTo>
                    <a:pt x="716176" y="431208"/>
                  </a:lnTo>
                  <a:lnTo>
                    <a:pt x="716176" y="431208"/>
                  </a:lnTo>
                  <a:lnTo>
                    <a:pt x="716176" y="431208"/>
                  </a:lnTo>
                  <a:lnTo>
                    <a:pt x="716176" y="431208"/>
                  </a:lnTo>
                  <a:cubicBezTo>
                    <a:pt x="716464" y="431665"/>
                    <a:pt x="716696" y="432024"/>
                    <a:pt x="716830" y="432432"/>
                  </a:cubicBezTo>
                  <a:cubicBezTo>
                    <a:pt x="717020" y="432994"/>
                    <a:pt x="717737" y="434176"/>
                    <a:pt x="718525" y="435477"/>
                  </a:cubicBezTo>
                  <a:lnTo>
                    <a:pt x="718525" y="435477"/>
                  </a:lnTo>
                  <a:cubicBezTo>
                    <a:pt x="719411" y="436933"/>
                    <a:pt x="720389" y="438544"/>
                    <a:pt x="720811" y="439599"/>
                  </a:cubicBezTo>
                  <a:cubicBezTo>
                    <a:pt x="721205" y="440590"/>
                    <a:pt x="722006" y="441786"/>
                    <a:pt x="722801" y="442974"/>
                  </a:cubicBezTo>
                  <a:cubicBezTo>
                    <a:pt x="723596" y="444170"/>
                    <a:pt x="724391" y="445366"/>
                    <a:pt x="724791" y="446357"/>
                  </a:cubicBezTo>
                  <a:cubicBezTo>
                    <a:pt x="725586" y="448348"/>
                    <a:pt x="729560" y="450338"/>
                    <a:pt x="731951" y="451527"/>
                  </a:cubicBezTo>
                  <a:cubicBezTo>
                    <a:pt x="733857" y="452483"/>
                    <a:pt x="732746" y="457498"/>
                    <a:pt x="731951" y="459882"/>
                  </a:cubicBezTo>
                  <a:lnTo>
                    <a:pt x="730755" y="459882"/>
                  </a:lnTo>
                  <a:lnTo>
                    <a:pt x="727176" y="458686"/>
                  </a:lnTo>
                  <a:lnTo>
                    <a:pt x="722801" y="456703"/>
                  </a:lnTo>
                  <a:cubicBezTo>
                    <a:pt x="722667" y="457498"/>
                    <a:pt x="722477" y="459404"/>
                    <a:pt x="722801" y="460677"/>
                  </a:cubicBezTo>
                  <a:cubicBezTo>
                    <a:pt x="723040" y="461633"/>
                    <a:pt x="724137" y="462160"/>
                    <a:pt x="725235" y="462681"/>
                  </a:cubicBezTo>
                  <a:cubicBezTo>
                    <a:pt x="725966" y="463033"/>
                    <a:pt x="726697" y="463384"/>
                    <a:pt x="727176" y="463863"/>
                  </a:cubicBezTo>
                  <a:cubicBezTo>
                    <a:pt x="727773" y="464460"/>
                    <a:pt x="728667" y="464854"/>
                    <a:pt x="729560" y="465255"/>
                  </a:cubicBezTo>
                  <a:cubicBezTo>
                    <a:pt x="730460" y="465649"/>
                    <a:pt x="731353" y="466050"/>
                    <a:pt x="731951" y="466648"/>
                  </a:cubicBezTo>
                  <a:cubicBezTo>
                    <a:pt x="733140" y="467836"/>
                    <a:pt x="733934" y="469433"/>
                    <a:pt x="733140" y="471022"/>
                  </a:cubicBezTo>
                  <a:cubicBezTo>
                    <a:pt x="732718" y="471873"/>
                    <a:pt x="731719" y="472155"/>
                    <a:pt x="730158" y="472598"/>
                  </a:cubicBezTo>
                  <a:cubicBezTo>
                    <a:pt x="728800" y="472984"/>
                    <a:pt x="727007" y="473491"/>
                    <a:pt x="724791" y="474602"/>
                  </a:cubicBezTo>
                  <a:cubicBezTo>
                    <a:pt x="720973" y="476508"/>
                    <a:pt x="718687" y="481495"/>
                    <a:pt x="718026" y="483752"/>
                  </a:cubicBezTo>
                  <a:cubicBezTo>
                    <a:pt x="719615" y="483091"/>
                    <a:pt x="723040" y="481684"/>
                    <a:pt x="723990" y="481361"/>
                  </a:cubicBezTo>
                  <a:cubicBezTo>
                    <a:pt x="725185" y="480967"/>
                    <a:pt x="725980" y="481762"/>
                    <a:pt x="727176" y="482957"/>
                  </a:cubicBezTo>
                  <a:cubicBezTo>
                    <a:pt x="727773" y="483548"/>
                    <a:pt x="728364" y="484244"/>
                    <a:pt x="728962" y="484941"/>
                  </a:cubicBezTo>
                  <a:lnTo>
                    <a:pt x="728962" y="484941"/>
                  </a:lnTo>
                  <a:cubicBezTo>
                    <a:pt x="729560" y="485637"/>
                    <a:pt x="730158" y="486333"/>
                    <a:pt x="730755" y="486931"/>
                  </a:cubicBezTo>
                  <a:cubicBezTo>
                    <a:pt x="731712" y="487887"/>
                    <a:pt x="732746" y="489716"/>
                    <a:pt x="733140" y="490511"/>
                  </a:cubicBezTo>
                  <a:cubicBezTo>
                    <a:pt x="732746" y="491306"/>
                    <a:pt x="731789" y="493141"/>
                    <a:pt x="731149" y="494091"/>
                  </a:cubicBezTo>
                  <a:cubicBezTo>
                    <a:pt x="730355" y="495286"/>
                    <a:pt x="729560" y="497277"/>
                    <a:pt x="729560" y="498472"/>
                  </a:cubicBezTo>
                  <a:lnTo>
                    <a:pt x="729560" y="512391"/>
                  </a:lnTo>
                  <a:cubicBezTo>
                    <a:pt x="729560" y="513017"/>
                    <a:pt x="727337" y="515619"/>
                    <a:pt x="725425" y="517862"/>
                  </a:cubicBezTo>
                  <a:lnTo>
                    <a:pt x="725425" y="517869"/>
                  </a:lnTo>
                  <a:cubicBezTo>
                    <a:pt x="724904" y="518467"/>
                    <a:pt x="724411" y="519044"/>
                    <a:pt x="723990" y="519550"/>
                  </a:cubicBezTo>
                  <a:cubicBezTo>
                    <a:pt x="723814" y="519768"/>
                    <a:pt x="723610" y="520014"/>
                    <a:pt x="723392" y="520275"/>
                  </a:cubicBezTo>
                  <a:lnTo>
                    <a:pt x="723315" y="520359"/>
                  </a:lnTo>
                  <a:lnTo>
                    <a:pt x="723315" y="520359"/>
                  </a:lnTo>
                  <a:lnTo>
                    <a:pt x="723307" y="520373"/>
                  </a:lnTo>
                  <a:cubicBezTo>
                    <a:pt x="721134" y="522968"/>
                    <a:pt x="717505" y="527315"/>
                    <a:pt x="716436" y="529101"/>
                  </a:cubicBezTo>
                  <a:cubicBezTo>
                    <a:pt x="715564" y="530543"/>
                    <a:pt x="713222" y="533258"/>
                    <a:pt x="711246" y="535543"/>
                  </a:cubicBezTo>
                  <a:lnTo>
                    <a:pt x="711246" y="535543"/>
                  </a:lnTo>
                  <a:lnTo>
                    <a:pt x="711246" y="535550"/>
                  </a:lnTo>
                  <a:lnTo>
                    <a:pt x="711239" y="535550"/>
                  </a:lnTo>
                  <a:cubicBezTo>
                    <a:pt x="710500" y="536408"/>
                    <a:pt x="709818" y="537203"/>
                    <a:pt x="709277" y="537850"/>
                  </a:cubicBezTo>
                  <a:cubicBezTo>
                    <a:pt x="708953" y="538237"/>
                    <a:pt x="708629" y="538617"/>
                    <a:pt x="708306" y="538990"/>
                  </a:cubicBezTo>
                  <a:cubicBezTo>
                    <a:pt x="706653" y="540924"/>
                    <a:pt x="705036" y="542809"/>
                    <a:pt x="703706" y="545805"/>
                  </a:cubicBezTo>
                  <a:cubicBezTo>
                    <a:pt x="702750" y="547950"/>
                    <a:pt x="700802" y="552936"/>
                    <a:pt x="699311" y="556769"/>
                  </a:cubicBezTo>
                  <a:lnTo>
                    <a:pt x="699304" y="556776"/>
                  </a:lnTo>
                  <a:cubicBezTo>
                    <a:pt x="698305" y="559350"/>
                    <a:pt x="697503" y="561397"/>
                    <a:pt x="697341" y="561720"/>
                  </a:cubicBezTo>
                  <a:cubicBezTo>
                    <a:pt x="696941" y="562515"/>
                    <a:pt x="696146" y="563711"/>
                    <a:pt x="695351" y="564899"/>
                  </a:cubicBezTo>
                  <a:cubicBezTo>
                    <a:pt x="695048" y="565357"/>
                    <a:pt x="694289" y="566271"/>
                    <a:pt x="693410" y="567312"/>
                  </a:cubicBezTo>
                  <a:lnTo>
                    <a:pt x="693410" y="567312"/>
                  </a:lnTo>
                  <a:lnTo>
                    <a:pt x="693410" y="567319"/>
                  </a:lnTo>
                  <a:cubicBezTo>
                    <a:pt x="691989" y="569021"/>
                    <a:pt x="690273" y="571074"/>
                    <a:pt x="689781" y="572059"/>
                  </a:cubicBezTo>
                  <a:cubicBezTo>
                    <a:pt x="689282" y="573058"/>
                    <a:pt x="686925" y="574675"/>
                    <a:pt x="684928" y="576033"/>
                  </a:cubicBezTo>
                  <a:lnTo>
                    <a:pt x="684928" y="576033"/>
                  </a:lnTo>
                  <a:lnTo>
                    <a:pt x="684928" y="576033"/>
                  </a:lnTo>
                  <a:cubicBezTo>
                    <a:pt x="683732" y="576856"/>
                    <a:pt x="682671" y="577580"/>
                    <a:pt x="682220" y="578030"/>
                  </a:cubicBezTo>
                  <a:cubicBezTo>
                    <a:pt x="682080" y="578171"/>
                    <a:pt x="681897" y="578347"/>
                    <a:pt x="681686" y="578551"/>
                  </a:cubicBezTo>
                  <a:cubicBezTo>
                    <a:pt x="681426" y="578797"/>
                    <a:pt x="681123" y="579085"/>
                    <a:pt x="680786" y="579402"/>
                  </a:cubicBezTo>
                  <a:lnTo>
                    <a:pt x="680786" y="579409"/>
                  </a:lnTo>
                  <a:cubicBezTo>
                    <a:pt x="679070" y="581026"/>
                    <a:pt x="676531" y="583432"/>
                    <a:pt x="675061" y="585190"/>
                  </a:cubicBezTo>
                  <a:cubicBezTo>
                    <a:pt x="673077" y="587574"/>
                    <a:pt x="669892" y="590760"/>
                    <a:pt x="667901" y="592349"/>
                  </a:cubicBezTo>
                  <a:cubicBezTo>
                    <a:pt x="666909" y="593144"/>
                    <a:pt x="664624" y="595036"/>
                    <a:pt x="662331" y="596921"/>
                  </a:cubicBezTo>
                  <a:cubicBezTo>
                    <a:pt x="660045" y="598813"/>
                    <a:pt x="657760" y="600705"/>
                    <a:pt x="656768" y="601499"/>
                  </a:cubicBezTo>
                  <a:cubicBezTo>
                    <a:pt x="655966" y="602132"/>
                    <a:pt x="654918" y="603152"/>
                    <a:pt x="653870" y="604172"/>
                  </a:cubicBezTo>
                  <a:cubicBezTo>
                    <a:pt x="652295" y="605698"/>
                    <a:pt x="650719" y="607224"/>
                    <a:pt x="650002" y="607463"/>
                  </a:cubicBezTo>
                  <a:cubicBezTo>
                    <a:pt x="648806" y="607864"/>
                    <a:pt x="637272" y="609060"/>
                    <a:pt x="636477" y="609060"/>
                  </a:cubicBezTo>
                  <a:cubicBezTo>
                    <a:pt x="635683" y="609060"/>
                    <a:pt x="627328" y="610649"/>
                    <a:pt x="624542" y="612239"/>
                  </a:cubicBezTo>
                  <a:cubicBezTo>
                    <a:pt x="623255" y="612977"/>
                    <a:pt x="622137" y="613969"/>
                    <a:pt x="620956" y="615017"/>
                  </a:cubicBezTo>
                  <a:cubicBezTo>
                    <a:pt x="619577" y="616234"/>
                    <a:pt x="618114" y="617535"/>
                    <a:pt x="616187" y="618604"/>
                  </a:cubicBezTo>
                  <a:cubicBezTo>
                    <a:pt x="613894" y="619877"/>
                    <a:pt x="612579" y="617063"/>
                    <a:pt x="611510" y="614771"/>
                  </a:cubicBezTo>
                  <a:cubicBezTo>
                    <a:pt x="610912" y="613498"/>
                    <a:pt x="610392" y="612380"/>
                    <a:pt x="609822" y="612239"/>
                  </a:cubicBezTo>
                  <a:cubicBezTo>
                    <a:pt x="608795" y="611979"/>
                    <a:pt x="606425" y="615727"/>
                    <a:pt x="604674" y="618512"/>
                  </a:cubicBezTo>
                  <a:cubicBezTo>
                    <a:pt x="603717" y="620025"/>
                    <a:pt x="602944" y="621248"/>
                    <a:pt x="602662" y="621389"/>
                  </a:cubicBezTo>
                  <a:cubicBezTo>
                    <a:pt x="601868" y="621783"/>
                    <a:pt x="597493" y="623379"/>
                    <a:pt x="596298" y="623773"/>
                  </a:cubicBezTo>
                  <a:cubicBezTo>
                    <a:pt x="596037" y="623865"/>
                    <a:pt x="595503" y="624005"/>
                    <a:pt x="594792" y="624202"/>
                  </a:cubicBezTo>
                  <a:lnTo>
                    <a:pt x="594792" y="624202"/>
                  </a:lnTo>
                  <a:cubicBezTo>
                    <a:pt x="592260" y="624891"/>
                    <a:pt x="587471" y="626200"/>
                    <a:pt x="584362" y="627754"/>
                  </a:cubicBezTo>
                  <a:cubicBezTo>
                    <a:pt x="581183" y="629343"/>
                    <a:pt x="571900" y="631334"/>
                    <a:pt x="567659" y="632128"/>
                  </a:cubicBezTo>
                  <a:cubicBezTo>
                    <a:pt x="566731" y="632656"/>
                    <a:pt x="564318" y="633957"/>
                    <a:pt x="562089" y="634913"/>
                  </a:cubicBezTo>
                  <a:cubicBezTo>
                    <a:pt x="559965" y="635828"/>
                    <a:pt x="558530" y="637663"/>
                    <a:pt x="557616" y="638838"/>
                  </a:cubicBezTo>
                  <a:cubicBezTo>
                    <a:pt x="557335" y="639204"/>
                    <a:pt x="557102" y="639499"/>
                    <a:pt x="556919" y="639689"/>
                  </a:cubicBezTo>
                  <a:cubicBezTo>
                    <a:pt x="556441" y="640160"/>
                    <a:pt x="557102" y="641771"/>
                    <a:pt x="557883" y="643670"/>
                  </a:cubicBezTo>
                  <a:lnTo>
                    <a:pt x="557883" y="643677"/>
                  </a:lnTo>
                  <a:cubicBezTo>
                    <a:pt x="558404" y="644950"/>
                    <a:pt x="558987" y="646363"/>
                    <a:pt x="559304" y="647643"/>
                  </a:cubicBezTo>
                  <a:cubicBezTo>
                    <a:pt x="559958" y="650260"/>
                    <a:pt x="559536" y="650189"/>
                    <a:pt x="558924" y="650077"/>
                  </a:cubicBezTo>
                  <a:cubicBezTo>
                    <a:pt x="558790" y="650056"/>
                    <a:pt x="558649" y="650027"/>
                    <a:pt x="558509" y="650027"/>
                  </a:cubicBezTo>
                  <a:cubicBezTo>
                    <a:pt x="558425" y="650027"/>
                    <a:pt x="558333" y="650035"/>
                    <a:pt x="558242" y="650042"/>
                  </a:cubicBezTo>
                  <a:cubicBezTo>
                    <a:pt x="558066" y="650056"/>
                    <a:pt x="557883" y="650084"/>
                    <a:pt x="557686" y="650105"/>
                  </a:cubicBezTo>
                  <a:cubicBezTo>
                    <a:pt x="556990" y="650196"/>
                    <a:pt x="556160" y="650309"/>
                    <a:pt x="555330" y="650027"/>
                  </a:cubicBezTo>
                  <a:cubicBezTo>
                    <a:pt x="554374" y="649711"/>
                    <a:pt x="553072" y="648304"/>
                    <a:pt x="552545" y="647643"/>
                  </a:cubicBezTo>
                  <a:cubicBezTo>
                    <a:pt x="551483" y="646715"/>
                    <a:pt x="549359" y="644781"/>
                    <a:pt x="549359" y="644457"/>
                  </a:cubicBezTo>
                  <a:cubicBezTo>
                    <a:pt x="549359" y="644373"/>
                    <a:pt x="549261" y="643965"/>
                    <a:pt x="549120" y="643374"/>
                  </a:cubicBezTo>
                  <a:cubicBezTo>
                    <a:pt x="548613" y="641307"/>
                    <a:pt x="547544" y="636946"/>
                    <a:pt x="548163" y="635708"/>
                  </a:cubicBezTo>
                  <a:cubicBezTo>
                    <a:pt x="548775" y="634498"/>
                    <a:pt x="548459" y="633978"/>
                    <a:pt x="547917" y="633099"/>
                  </a:cubicBezTo>
                  <a:cubicBezTo>
                    <a:pt x="547748" y="632818"/>
                    <a:pt x="547558" y="632508"/>
                    <a:pt x="547368" y="632128"/>
                  </a:cubicBezTo>
                  <a:cubicBezTo>
                    <a:pt x="546855" y="631095"/>
                    <a:pt x="545491" y="630061"/>
                    <a:pt x="544281" y="629132"/>
                  </a:cubicBezTo>
                  <a:cubicBezTo>
                    <a:pt x="543627" y="628633"/>
                    <a:pt x="543015" y="628169"/>
                    <a:pt x="542600" y="627754"/>
                  </a:cubicBezTo>
                  <a:cubicBezTo>
                    <a:pt x="541404" y="626558"/>
                    <a:pt x="536629" y="626558"/>
                    <a:pt x="533049" y="626558"/>
                  </a:cubicBezTo>
                  <a:cubicBezTo>
                    <a:pt x="530187" y="626558"/>
                    <a:pt x="523639" y="629477"/>
                    <a:pt x="520720" y="630933"/>
                  </a:cubicBezTo>
                  <a:cubicBezTo>
                    <a:pt x="520186" y="630933"/>
                    <a:pt x="518892" y="630778"/>
                    <a:pt x="517935" y="630138"/>
                  </a:cubicBezTo>
                  <a:cubicBezTo>
                    <a:pt x="517077" y="629568"/>
                    <a:pt x="515804" y="629407"/>
                    <a:pt x="514264" y="629210"/>
                  </a:cubicBezTo>
                  <a:cubicBezTo>
                    <a:pt x="513666" y="629139"/>
                    <a:pt x="513033" y="629055"/>
                    <a:pt x="512365" y="628949"/>
                  </a:cubicBezTo>
                  <a:cubicBezTo>
                    <a:pt x="509981" y="628549"/>
                    <a:pt x="506000" y="626558"/>
                    <a:pt x="504804" y="625763"/>
                  </a:cubicBezTo>
                  <a:cubicBezTo>
                    <a:pt x="503616" y="624969"/>
                    <a:pt x="502420" y="622978"/>
                    <a:pt x="501225" y="619399"/>
                  </a:cubicBezTo>
                  <a:cubicBezTo>
                    <a:pt x="500339" y="616740"/>
                    <a:pt x="500768" y="615179"/>
                    <a:pt x="501211" y="613568"/>
                  </a:cubicBezTo>
                  <a:cubicBezTo>
                    <a:pt x="501365" y="613013"/>
                    <a:pt x="501520" y="612457"/>
                    <a:pt x="501626" y="611838"/>
                  </a:cubicBezTo>
                  <a:cubicBezTo>
                    <a:pt x="501942" y="609932"/>
                    <a:pt x="498306" y="609988"/>
                    <a:pt x="496456" y="610249"/>
                  </a:cubicBezTo>
                  <a:cubicBezTo>
                    <a:pt x="495528" y="610249"/>
                    <a:pt x="493510" y="610094"/>
                    <a:pt x="492869" y="609454"/>
                  </a:cubicBezTo>
                  <a:cubicBezTo>
                    <a:pt x="492293" y="608870"/>
                    <a:pt x="491498" y="608504"/>
                    <a:pt x="490485" y="608033"/>
                  </a:cubicBezTo>
                  <a:lnTo>
                    <a:pt x="490485" y="608033"/>
                  </a:lnTo>
                  <a:lnTo>
                    <a:pt x="490478" y="608033"/>
                  </a:lnTo>
                  <a:cubicBezTo>
                    <a:pt x="490113" y="607857"/>
                    <a:pt x="489719" y="607674"/>
                    <a:pt x="489290" y="607463"/>
                  </a:cubicBezTo>
                  <a:cubicBezTo>
                    <a:pt x="487700" y="606669"/>
                    <a:pt x="487306" y="605874"/>
                    <a:pt x="486905" y="605079"/>
                  </a:cubicBezTo>
                  <a:cubicBezTo>
                    <a:pt x="486505" y="604284"/>
                    <a:pt x="482531" y="603089"/>
                    <a:pt x="481335" y="603089"/>
                  </a:cubicBezTo>
                  <a:cubicBezTo>
                    <a:pt x="480878" y="603089"/>
                    <a:pt x="480484" y="603033"/>
                    <a:pt x="480140" y="602983"/>
                  </a:cubicBezTo>
                  <a:cubicBezTo>
                    <a:pt x="479591" y="602899"/>
                    <a:pt x="479197" y="602843"/>
                    <a:pt x="478951" y="603089"/>
                  </a:cubicBezTo>
                  <a:cubicBezTo>
                    <a:pt x="478803" y="603237"/>
                    <a:pt x="478283" y="603490"/>
                    <a:pt x="477629" y="603806"/>
                  </a:cubicBezTo>
                  <a:cubicBezTo>
                    <a:pt x="476489" y="604362"/>
                    <a:pt x="474935" y="605114"/>
                    <a:pt x="474176" y="605874"/>
                  </a:cubicBezTo>
                  <a:cubicBezTo>
                    <a:pt x="473233" y="606816"/>
                    <a:pt x="472037" y="607266"/>
                    <a:pt x="470596" y="607801"/>
                  </a:cubicBezTo>
                  <a:lnTo>
                    <a:pt x="470589" y="607808"/>
                  </a:lnTo>
                  <a:cubicBezTo>
                    <a:pt x="470350" y="607893"/>
                    <a:pt x="470111" y="607984"/>
                    <a:pt x="469857" y="608082"/>
                  </a:cubicBezTo>
                  <a:cubicBezTo>
                    <a:pt x="469709" y="608139"/>
                    <a:pt x="469555" y="608202"/>
                    <a:pt x="469400" y="608258"/>
                  </a:cubicBezTo>
                  <a:cubicBezTo>
                    <a:pt x="468648" y="608568"/>
                    <a:pt x="467888" y="608751"/>
                    <a:pt x="467150" y="608933"/>
                  </a:cubicBezTo>
                  <a:cubicBezTo>
                    <a:pt x="465954" y="609229"/>
                    <a:pt x="464822" y="609510"/>
                    <a:pt x="463830" y="610249"/>
                  </a:cubicBezTo>
                  <a:cubicBezTo>
                    <a:pt x="463092" y="610811"/>
                    <a:pt x="462430" y="610846"/>
                    <a:pt x="461664" y="610889"/>
                  </a:cubicBezTo>
                  <a:cubicBezTo>
                    <a:pt x="460778" y="610938"/>
                    <a:pt x="459751" y="610994"/>
                    <a:pt x="458267" y="611838"/>
                  </a:cubicBezTo>
                  <a:cubicBezTo>
                    <a:pt x="456382" y="612914"/>
                    <a:pt x="453780" y="612541"/>
                    <a:pt x="451304" y="612183"/>
                  </a:cubicBezTo>
                  <a:lnTo>
                    <a:pt x="451304" y="612183"/>
                  </a:lnTo>
                  <a:cubicBezTo>
                    <a:pt x="450115" y="612007"/>
                    <a:pt x="448955" y="611838"/>
                    <a:pt x="447921" y="611838"/>
                  </a:cubicBezTo>
                  <a:cubicBezTo>
                    <a:pt x="445945" y="611838"/>
                    <a:pt x="442900" y="612450"/>
                    <a:pt x="440593" y="612921"/>
                  </a:cubicBezTo>
                  <a:lnTo>
                    <a:pt x="440593" y="612921"/>
                  </a:lnTo>
                  <a:cubicBezTo>
                    <a:pt x="439172" y="613202"/>
                    <a:pt x="438033" y="613434"/>
                    <a:pt x="437575" y="613434"/>
                  </a:cubicBezTo>
                  <a:cubicBezTo>
                    <a:pt x="436387" y="613434"/>
                    <a:pt x="433602" y="615024"/>
                    <a:pt x="431611" y="616220"/>
                  </a:cubicBezTo>
                  <a:cubicBezTo>
                    <a:pt x="430866" y="616670"/>
                    <a:pt x="430057" y="617057"/>
                    <a:pt x="429284" y="617436"/>
                  </a:cubicBezTo>
                  <a:cubicBezTo>
                    <a:pt x="427996" y="618069"/>
                    <a:pt x="426787" y="618653"/>
                    <a:pt x="426041" y="619399"/>
                  </a:cubicBezTo>
                  <a:cubicBezTo>
                    <a:pt x="425141" y="620299"/>
                    <a:pt x="425598" y="625482"/>
                    <a:pt x="425880" y="628668"/>
                  </a:cubicBezTo>
                  <a:cubicBezTo>
                    <a:pt x="425971" y="629716"/>
                    <a:pt x="426041" y="630546"/>
                    <a:pt x="426041" y="630933"/>
                  </a:cubicBezTo>
                  <a:lnTo>
                    <a:pt x="426041" y="635708"/>
                  </a:lnTo>
                  <a:cubicBezTo>
                    <a:pt x="426041" y="636250"/>
                    <a:pt x="426041" y="636559"/>
                    <a:pt x="425886" y="636735"/>
                  </a:cubicBezTo>
                  <a:cubicBezTo>
                    <a:pt x="425676" y="636974"/>
                    <a:pt x="425183" y="636960"/>
                    <a:pt x="424009" y="636932"/>
                  </a:cubicBezTo>
                  <a:lnTo>
                    <a:pt x="424009" y="636932"/>
                  </a:lnTo>
                  <a:cubicBezTo>
                    <a:pt x="423495" y="636918"/>
                    <a:pt x="422862" y="636904"/>
                    <a:pt x="422068" y="636904"/>
                  </a:cubicBezTo>
                  <a:cubicBezTo>
                    <a:pt x="418882" y="636904"/>
                    <a:pt x="417292" y="635047"/>
                    <a:pt x="416891" y="634119"/>
                  </a:cubicBezTo>
                  <a:lnTo>
                    <a:pt x="416891" y="630138"/>
                  </a:lnTo>
                  <a:lnTo>
                    <a:pt x="416097" y="627353"/>
                  </a:lnTo>
                  <a:lnTo>
                    <a:pt x="414507" y="628549"/>
                  </a:lnTo>
                  <a:cubicBezTo>
                    <a:pt x="412650" y="629076"/>
                    <a:pt x="408775" y="630138"/>
                    <a:pt x="408142" y="630138"/>
                  </a:cubicBezTo>
                  <a:cubicBezTo>
                    <a:pt x="407502" y="630138"/>
                    <a:pt x="405491" y="630673"/>
                    <a:pt x="404562" y="630933"/>
                  </a:cubicBezTo>
                  <a:lnTo>
                    <a:pt x="401777" y="630138"/>
                  </a:lnTo>
                  <a:lnTo>
                    <a:pt x="397797" y="628549"/>
                  </a:lnTo>
                  <a:lnTo>
                    <a:pt x="389449" y="624174"/>
                  </a:lnTo>
                  <a:cubicBezTo>
                    <a:pt x="388914" y="623379"/>
                    <a:pt x="387852" y="621628"/>
                    <a:pt x="387852" y="620988"/>
                  </a:cubicBezTo>
                  <a:cubicBezTo>
                    <a:pt x="387852" y="620193"/>
                    <a:pt x="388647" y="618203"/>
                    <a:pt x="389449" y="617408"/>
                  </a:cubicBezTo>
                  <a:cubicBezTo>
                    <a:pt x="390243" y="616613"/>
                    <a:pt x="390637" y="615024"/>
                    <a:pt x="390637" y="613434"/>
                  </a:cubicBezTo>
                  <a:cubicBezTo>
                    <a:pt x="390637" y="612576"/>
                    <a:pt x="390869" y="612070"/>
                    <a:pt x="391080" y="611599"/>
                  </a:cubicBezTo>
                  <a:cubicBezTo>
                    <a:pt x="391263" y="611184"/>
                    <a:pt x="391432" y="610804"/>
                    <a:pt x="391432" y="610249"/>
                  </a:cubicBezTo>
                  <a:cubicBezTo>
                    <a:pt x="391432" y="609820"/>
                    <a:pt x="391488" y="609440"/>
                    <a:pt x="391537" y="609088"/>
                  </a:cubicBezTo>
                  <a:cubicBezTo>
                    <a:pt x="391622" y="608483"/>
                    <a:pt x="391685" y="607970"/>
                    <a:pt x="391432" y="607463"/>
                  </a:cubicBezTo>
                  <a:cubicBezTo>
                    <a:pt x="391228" y="607048"/>
                    <a:pt x="390032" y="606852"/>
                    <a:pt x="388766" y="606641"/>
                  </a:cubicBezTo>
                  <a:cubicBezTo>
                    <a:pt x="387627" y="606451"/>
                    <a:pt x="386431" y="606254"/>
                    <a:pt x="385868" y="605874"/>
                  </a:cubicBezTo>
                  <a:cubicBezTo>
                    <a:pt x="385067" y="605346"/>
                    <a:pt x="384448" y="604109"/>
                    <a:pt x="383773" y="602751"/>
                  </a:cubicBezTo>
                  <a:cubicBezTo>
                    <a:pt x="383435" y="602076"/>
                    <a:pt x="383083" y="601366"/>
                    <a:pt x="382683" y="600705"/>
                  </a:cubicBezTo>
                  <a:cubicBezTo>
                    <a:pt x="381726" y="599115"/>
                    <a:pt x="380432" y="594734"/>
                    <a:pt x="379898" y="592750"/>
                  </a:cubicBezTo>
                  <a:cubicBezTo>
                    <a:pt x="379898" y="591822"/>
                    <a:pt x="379736" y="589881"/>
                    <a:pt x="379103" y="589564"/>
                  </a:cubicBezTo>
                  <a:cubicBezTo>
                    <a:pt x="378470" y="589248"/>
                    <a:pt x="376451" y="590493"/>
                    <a:pt x="375523" y="591154"/>
                  </a:cubicBezTo>
                  <a:lnTo>
                    <a:pt x="363588" y="591154"/>
                  </a:lnTo>
                  <a:lnTo>
                    <a:pt x="363588" y="575639"/>
                  </a:lnTo>
                  <a:cubicBezTo>
                    <a:pt x="363588" y="574844"/>
                    <a:pt x="365972" y="572460"/>
                    <a:pt x="366373" y="572059"/>
                  </a:cubicBezTo>
                  <a:cubicBezTo>
                    <a:pt x="366774" y="571665"/>
                    <a:pt x="370354" y="566890"/>
                    <a:pt x="370354" y="566496"/>
                  </a:cubicBezTo>
                  <a:cubicBezTo>
                    <a:pt x="370354" y="566095"/>
                    <a:pt x="373934" y="562909"/>
                    <a:pt x="375523" y="561720"/>
                  </a:cubicBezTo>
                  <a:cubicBezTo>
                    <a:pt x="377113" y="560525"/>
                    <a:pt x="379103" y="557740"/>
                    <a:pt x="379103" y="556945"/>
                  </a:cubicBezTo>
                  <a:cubicBezTo>
                    <a:pt x="379103" y="556586"/>
                    <a:pt x="379264" y="555433"/>
                    <a:pt x="379440" y="554160"/>
                  </a:cubicBezTo>
                  <a:lnTo>
                    <a:pt x="379440" y="554146"/>
                  </a:lnTo>
                  <a:lnTo>
                    <a:pt x="379440" y="554146"/>
                  </a:lnTo>
                  <a:lnTo>
                    <a:pt x="379440" y="554146"/>
                  </a:lnTo>
                  <a:lnTo>
                    <a:pt x="379440" y="554146"/>
                  </a:lnTo>
                  <a:cubicBezTo>
                    <a:pt x="379658" y="552577"/>
                    <a:pt x="379898" y="550840"/>
                    <a:pt x="379898" y="550186"/>
                  </a:cubicBezTo>
                  <a:lnTo>
                    <a:pt x="379898" y="542626"/>
                  </a:lnTo>
                  <a:cubicBezTo>
                    <a:pt x="379898" y="542457"/>
                    <a:pt x="379764" y="540790"/>
                    <a:pt x="379602" y="538842"/>
                  </a:cubicBezTo>
                  <a:cubicBezTo>
                    <a:pt x="379377" y="536078"/>
                    <a:pt x="379103" y="532751"/>
                    <a:pt x="379103" y="532280"/>
                  </a:cubicBezTo>
                  <a:cubicBezTo>
                    <a:pt x="379103" y="531485"/>
                    <a:pt x="377907" y="530290"/>
                    <a:pt x="377513" y="529896"/>
                  </a:cubicBezTo>
                  <a:lnTo>
                    <a:pt x="373934" y="526316"/>
                  </a:lnTo>
                  <a:cubicBezTo>
                    <a:pt x="373532" y="525915"/>
                    <a:pt x="372836" y="525022"/>
                    <a:pt x="372140" y="524129"/>
                  </a:cubicBezTo>
                  <a:cubicBezTo>
                    <a:pt x="371444" y="523236"/>
                    <a:pt x="370747" y="522335"/>
                    <a:pt x="370354" y="521941"/>
                  </a:cubicBezTo>
                  <a:cubicBezTo>
                    <a:pt x="369742" y="521330"/>
                    <a:pt x="369369" y="520028"/>
                    <a:pt x="369045" y="518910"/>
                  </a:cubicBezTo>
                  <a:cubicBezTo>
                    <a:pt x="368947" y="518566"/>
                    <a:pt x="368856" y="518242"/>
                    <a:pt x="368757" y="517961"/>
                  </a:cubicBezTo>
                  <a:cubicBezTo>
                    <a:pt x="368525" y="517265"/>
                    <a:pt x="367751" y="517110"/>
                    <a:pt x="366907" y="516941"/>
                  </a:cubicBezTo>
                  <a:cubicBezTo>
                    <a:pt x="366310" y="516822"/>
                    <a:pt x="365677" y="516702"/>
                    <a:pt x="365177" y="516371"/>
                  </a:cubicBezTo>
                  <a:cubicBezTo>
                    <a:pt x="364319" y="515795"/>
                    <a:pt x="360585" y="517897"/>
                    <a:pt x="358405" y="519128"/>
                  </a:cubicBezTo>
                  <a:cubicBezTo>
                    <a:pt x="357554" y="519607"/>
                    <a:pt x="356934" y="519951"/>
                    <a:pt x="356829" y="519951"/>
                  </a:cubicBezTo>
                  <a:cubicBezTo>
                    <a:pt x="356505" y="519951"/>
                    <a:pt x="355099" y="519417"/>
                    <a:pt x="354438" y="519156"/>
                  </a:cubicBezTo>
                  <a:lnTo>
                    <a:pt x="350464" y="516371"/>
                  </a:lnTo>
                  <a:cubicBezTo>
                    <a:pt x="349001" y="516238"/>
                    <a:pt x="345928" y="515893"/>
                    <a:pt x="345288" y="515577"/>
                  </a:cubicBezTo>
                  <a:cubicBezTo>
                    <a:pt x="344493" y="515176"/>
                    <a:pt x="344493" y="512792"/>
                    <a:pt x="344493" y="512391"/>
                  </a:cubicBezTo>
                  <a:cubicBezTo>
                    <a:pt x="344493" y="511997"/>
                    <a:pt x="347278" y="509212"/>
                    <a:pt x="348073" y="508417"/>
                  </a:cubicBezTo>
                  <a:cubicBezTo>
                    <a:pt x="348650" y="507840"/>
                    <a:pt x="346926" y="505801"/>
                    <a:pt x="345632" y="504267"/>
                  </a:cubicBezTo>
                  <a:cubicBezTo>
                    <a:pt x="345147" y="503684"/>
                    <a:pt x="344711" y="503170"/>
                    <a:pt x="344493" y="502847"/>
                  </a:cubicBezTo>
                  <a:cubicBezTo>
                    <a:pt x="343790" y="501785"/>
                    <a:pt x="342461" y="500730"/>
                    <a:pt x="340780" y="499394"/>
                  </a:cubicBezTo>
                  <a:cubicBezTo>
                    <a:pt x="340569" y="499225"/>
                    <a:pt x="340344" y="499049"/>
                    <a:pt x="340119" y="498866"/>
                  </a:cubicBezTo>
                  <a:cubicBezTo>
                    <a:pt x="338529" y="497593"/>
                    <a:pt x="337868" y="498339"/>
                    <a:pt x="337734" y="498866"/>
                  </a:cubicBezTo>
                  <a:cubicBezTo>
                    <a:pt x="336539" y="499794"/>
                    <a:pt x="333831" y="501890"/>
                    <a:pt x="332558" y="502847"/>
                  </a:cubicBezTo>
                  <a:cubicBezTo>
                    <a:pt x="330968" y="504035"/>
                    <a:pt x="329379" y="505231"/>
                    <a:pt x="328183" y="505231"/>
                  </a:cubicBezTo>
                  <a:cubicBezTo>
                    <a:pt x="327529" y="505231"/>
                    <a:pt x="326510" y="504507"/>
                    <a:pt x="325595" y="503859"/>
                  </a:cubicBezTo>
                  <a:cubicBezTo>
                    <a:pt x="324843" y="503325"/>
                    <a:pt x="324167" y="502847"/>
                    <a:pt x="323809" y="502847"/>
                  </a:cubicBezTo>
                  <a:cubicBezTo>
                    <a:pt x="323302" y="502847"/>
                    <a:pt x="321643" y="501862"/>
                    <a:pt x="320103" y="500948"/>
                  </a:cubicBezTo>
                  <a:lnTo>
                    <a:pt x="320103" y="500948"/>
                  </a:lnTo>
                  <a:lnTo>
                    <a:pt x="320103" y="500948"/>
                  </a:lnTo>
                  <a:cubicBezTo>
                    <a:pt x="319237" y="500442"/>
                    <a:pt x="318415" y="499949"/>
                    <a:pt x="317845" y="499661"/>
                  </a:cubicBezTo>
                  <a:cubicBezTo>
                    <a:pt x="316790" y="499140"/>
                    <a:pt x="315397" y="500343"/>
                    <a:pt x="314110" y="501454"/>
                  </a:cubicBezTo>
                  <a:cubicBezTo>
                    <a:pt x="313449" y="502024"/>
                    <a:pt x="312816" y="502573"/>
                    <a:pt x="312274" y="502847"/>
                  </a:cubicBezTo>
                  <a:cubicBezTo>
                    <a:pt x="311585" y="503191"/>
                    <a:pt x="310594" y="503909"/>
                    <a:pt x="309398" y="504781"/>
                  </a:cubicBezTo>
                  <a:lnTo>
                    <a:pt x="309398" y="504781"/>
                  </a:lnTo>
                  <a:cubicBezTo>
                    <a:pt x="307844" y="505906"/>
                    <a:pt x="305945" y="507292"/>
                    <a:pt x="303919" y="508417"/>
                  </a:cubicBezTo>
                  <a:cubicBezTo>
                    <a:pt x="301057" y="510006"/>
                    <a:pt x="293707" y="516765"/>
                    <a:pt x="290395" y="519951"/>
                  </a:cubicBezTo>
                  <a:lnTo>
                    <a:pt x="280844" y="526316"/>
                  </a:lnTo>
                  <a:cubicBezTo>
                    <a:pt x="279522" y="526844"/>
                    <a:pt x="276554" y="527906"/>
                    <a:pt x="275281" y="527906"/>
                  </a:cubicBezTo>
                  <a:cubicBezTo>
                    <a:pt x="273684" y="527906"/>
                    <a:pt x="268114" y="522335"/>
                    <a:pt x="267720" y="521541"/>
                  </a:cubicBezTo>
                  <a:cubicBezTo>
                    <a:pt x="267509" y="521126"/>
                    <a:pt x="265568" y="520929"/>
                    <a:pt x="263536" y="520718"/>
                  </a:cubicBezTo>
                  <a:cubicBezTo>
                    <a:pt x="261672" y="520528"/>
                    <a:pt x="259731" y="520331"/>
                    <a:pt x="258971" y="519951"/>
                  </a:cubicBezTo>
                  <a:cubicBezTo>
                    <a:pt x="257698" y="519311"/>
                    <a:pt x="251010" y="518622"/>
                    <a:pt x="247831" y="518362"/>
                  </a:cubicBezTo>
                  <a:cubicBezTo>
                    <a:pt x="246769" y="518756"/>
                    <a:pt x="244406" y="519635"/>
                    <a:pt x="243456" y="519951"/>
                  </a:cubicBezTo>
                  <a:cubicBezTo>
                    <a:pt x="242844" y="520155"/>
                    <a:pt x="242338" y="520774"/>
                    <a:pt x="241881" y="521330"/>
                  </a:cubicBezTo>
                  <a:cubicBezTo>
                    <a:pt x="241445" y="521864"/>
                    <a:pt x="241058" y="522335"/>
                    <a:pt x="240671" y="522335"/>
                  </a:cubicBezTo>
                  <a:cubicBezTo>
                    <a:pt x="240073" y="522335"/>
                    <a:pt x="237689" y="525022"/>
                    <a:pt x="236191" y="526703"/>
                  </a:cubicBezTo>
                  <a:cubicBezTo>
                    <a:pt x="235699" y="527258"/>
                    <a:pt x="235298" y="527709"/>
                    <a:pt x="235101" y="527906"/>
                  </a:cubicBezTo>
                  <a:cubicBezTo>
                    <a:pt x="234306" y="528700"/>
                    <a:pt x="231521" y="530290"/>
                    <a:pt x="230726" y="529896"/>
                  </a:cubicBezTo>
                  <a:cubicBezTo>
                    <a:pt x="230086" y="529579"/>
                    <a:pt x="227540" y="524727"/>
                    <a:pt x="226352" y="522335"/>
                  </a:cubicBezTo>
                  <a:cubicBezTo>
                    <a:pt x="224495" y="523397"/>
                    <a:pt x="220620" y="525521"/>
                    <a:pt x="219987" y="525521"/>
                  </a:cubicBezTo>
                  <a:cubicBezTo>
                    <a:pt x="219185" y="525521"/>
                    <a:pt x="218791" y="525521"/>
                    <a:pt x="217202" y="524727"/>
                  </a:cubicBezTo>
                  <a:cubicBezTo>
                    <a:pt x="216316" y="524283"/>
                    <a:pt x="214684" y="524452"/>
                    <a:pt x="213073" y="524628"/>
                  </a:cubicBezTo>
                  <a:cubicBezTo>
                    <a:pt x="211794" y="524762"/>
                    <a:pt x="210520" y="524903"/>
                    <a:pt x="209641" y="524727"/>
                  </a:cubicBezTo>
                  <a:cubicBezTo>
                    <a:pt x="208650" y="524523"/>
                    <a:pt x="206659" y="524424"/>
                    <a:pt x="204669" y="524326"/>
                  </a:cubicBezTo>
                  <a:cubicBezTo>
                    <a:pt x="202679" y="524227"/>
                    <a:pt x="200688" y="524129"/>
                    <a:pt x="199697" y="523925"/>
                  </a:cubicBezTo>
                  <a:cubicBezTo>
                    <a:pt x="197706" y="523531"/>
                    <a:pt x="195322" y="523130"/>
                    <a:pt x="190153" y="522335"/>
                  </a:cubicBezTo>
                  <a:cubicBezTo>
                    <a:pt x="186467" y="521773"/>
                    <a:pt x="185201" y="520598"/>
                    <a:pt x="184062" y="519536"/>
                  </a:cubicBezTo>
                  <a:cubicBezTo>
                    <a:pt x="183605" y="519114"/>
                    <a:pt x="183162" y="518699"/>
                    <a:pt x="182592" y="518362"/>
                  </a:cubicBezTo>
                  <a:cubicBezTo>
                    <a:pt x="181003" y="517405"/>
                    <a:pt x="170791" y="512658"/>
                    <a:pt x="165882" y="510400"/>
                  </a:cubicBezTo>
                  <a:cubicBezTo>
                    <a:pt x="164426" y="509345"/>
                    <a:pt x="161268" y="507060"/>
                    <a:pt x="160311" y="506427"/>
                  </a:cubicBezTo>
                  <a:cubicBezTo>
                    <a:pt x="159932" y="506166"/>
                    <a:pt x="157400" y="504549"/>
                    <a:pt x="154129" y="502460"/>
                  </a:cubicBezTo>
                  <a:lnTo>
                    <a:pt x="154122" y="502453"/>
                  </a:lnTo>
                  <a:lnTo>
                    <a:pt x="154115" y="502453"/>
                  </a:lnTo>
                  <a:cubicBezTo>
                    <a:pt x="147244" y="498057"/>
                    <a:pt x="137116" y="491580"/>
                    <a:pt x="136842" y="491306"/>
                  </a:cubicBezTo>
                  <a:cubicBezTo>
                    <a:pt x="136737" y="491200"/>
                    <a:pt x="136371" y="490891"/>
                    <a:pt x="135886" y="490483"/>
                  </a:cubicBezTo>
                  <a:lnTo>
                    <a:pt x="135886" y="490483"/>
                  </a:lnTo>
                  <a:cubicBezTo>
                    <a:pt x="134563" y="489371"/>
                    <a:pt x="132362" y="487515"/>
                    <a:pt x="132074" y="486931"/>
                  </a:cubicBezTo>
                  <a:cubicBezTo>
                    <a:pt x="131891" y="486579"/>
                    <a:pt x="130526" y="485982"/>
                    <a:pt x="128853" y="485257"/>
                  </a:cubicBezTo>
                  <a:lnTo>
                    <a:pt x="128853" y="485257"/>
                  </a:lnTo>
                  <a:lnTo>
                    <a:pt x="128846" y="485257"/>
                  </a:lnTo>
                  <a:lnTo>
                    <a:pt x="128846" y="485257"/>
                  </a:lnTo>
                  <a:cubicBezTo>
                    <a:pt x="126778" y="484357"/>
                    <a:pt x="124239" y="483260"/>
                    <a:pt x="122924" y="482163"/>
                  </a:cubicBezTo>
                  <a:cubicBezTo>
                    <a:pt x="121426" y="480911"/>
                    <a:pt x="120554" y="481227"/>
                    <a:pt x="119428" y="481642"/>
                  </a:cubicBezTo>
                  <a:cubicBezTo>
                    <a:pt x="118753" y="481881"/>
                    <a:pt x="117994" y="482163"/>
                    <a:pt x="116953" y="482163"/>
                  </a:cubicBezTo>
                  <a:cubicBezTo>
                    <a:pt x="114730" y="482163"/>
                    <a:pt x="111783" y="483485"/>
                    <a:pt x="110588" y="484146"/>
                  </a:cubicBezTo>
                  <a:cubicBezTo>
                    <a:pt x="108998" y="483351"/>
                    <a:pt x="105658" y="481600"/>
                    <a:pt x="105017" y="480967"/>
                  </a:cubicBezTo>
                  <a:cubicBezTo>
                    <a:pt x="104399" y="480348"/>
                    <a:pt x="98217" y="476339"/>
                    <a:pt x="94960" y="474229"/>
                  </a:cubicBezTo>
                  <a:cubicBezTo>
                    <a:pt x="94039" y="473631"/>
                    <a:pt x="93350" y="473188"/>
                    <a:pt x="93089" y="473013"/>
                  </a:cubicBezTo>
                  <a:cubicBezTo>
                    <a:pt x="92492" y="472612"/>
                    <a:pt x="91099" y="471915"/>
                    <a:pt x="89706" y="471219"/>
                  </a:cubicBezTo>
                  <a:cubicBezTo>
                    <a:pt x="88314" y="470523"/>
                    <a:pt x="86921" y="469827"/>
                    <a:pt x="86324" y="469433"/>
                  </a:cubicBezTo>
                  <a:cubicBezTo>
                    <a:pt x="85726" y="469032"/>
                    <a:pt x="84439" y="468336"/>
                    <a:pt x="83145" y="467639"/>
                  </a:cubicBezTo>
                  <a:lnTo>
                    <a:pt x="83145" y="467639"/>
                  </a:lnTo>
                  <a:cubicBezTo>
                    <a:pt x="81851" y="466943"/>
                    <a:pt x="80557" y="466247"/>
                    <a:pt x="79959" y="465853"/>
                  </a:cubicBezTo>
                  <a:cubicBezTo>
                    <a:pt x="79192" y="465339"/>
                    <a:pt x="77764" y="463504"/>
                    <a:pt x="76632" y="462055"/>
                  </a:cubicBezTo>
                  <a:cubicBezTo>
                    <a:pt x="76006" y="461253"/>
                    <a:pt x="75472" y="460564"/>
                    <a:pt x="75183" y="460283"/>
                  </a:cubicBezTo>
                  <a:cubicBezTo>
                    <a:pt x="74515" y="459608"/>
                    <a:pt x="74979" y="453264"/>
                    <a:pt x="75134" y="451070"/>
                  </a:cubicBezTo>
                  <a:cubicBezTo>
                    <a:pt x="75169" y="450662"/>
                    <a:pt x="75183" y="450394"/>
                    <a:pt x="75183" y="450338"/>
                  </a:cubicBezTo>
                  <a:cubicBezTo>
                    <a:pt x="75183" y="450190"/>
                    <a:pt x="74811" y="449993"/>
                    <a:pt x="74340" y="449740"/>
                  </a:cubicBezTo>
                  <a:cubicBezTo>
                    <a:pt x="73524" y="449304"/>
                    <a:pt x="72398" y="448706"/>
                    <a:pt x="72398" y="447947"/>
                  </a:cubicBezTo>
                  <a:lnTo>
                    <a:pt x="72398" y="442778"/>
                  </a:lnTo>
                  <a:cubicBezTo>
                    <a:pt x="72398" y="441821"/>
                    <a:pt x="74255" y="441849"/>
                    <a:pt x="75183" y="441983"/>
                  </a:cubicBezTo>
                  <a:cubicBezTo>
                    <a:pt x="75978" y="442510"/>
                    <a:pt x="78053" y="443650"/>
                    <a:pt x="79959" y="443973"/>
                  </a:cubicBezTo>
                  <a:cubicBezTo>
                    <a:pt x="81872" y="444290"/>
                    <a:pt x="82610" y="443305"/>
                    <a:pt x="82744" y="442778"/>
                  </a:cubicBezTo>
                  <a:lnTo>
                    <a:pt x="82744" y="436413"/>
                  </a:lnTo>
                  <a:cubicBezTo>
                    <a:pt x="82744" y="435618"/>
                    <a:pt x="81155" y="432833"/>
                    <a:pt x="80753" y="432432"/>
                  </a:cubicBezTo>
                  <a:cubicBezTo>
                    <a:pt x="80592" y="432270"/>
                    <a:pt x="80156" y="431560"/>
                    <a:pt x="79642" y="430730"/>
                  </a:cubicBezTo>
                  <a:lnTo>
                    <a:pt x="79642" y="430730"/>
                  </a:lnTo>
                  <a:cubicBezTo>
                    <a:pt x="78918" y="429548"/>
                    <a:pt x="78039" y="428128"/>
                    <a:pt x="77574" y="427663"/>
                  </a:cubicBezTo>
                  <a:cubicBezTo>
                    <a:pt x="76949" y="427037"/>
                    <a:pt x="77307" y="422466"/>
                    <a:pt x="77490" y="420159"/>
                  </a:cubicBezTo>
                  <a:cubicBezTo>
                    <a:pt x="77539" y="419533"/>
                    <a:pt x="77574" y="419076"/>
                    <a:pt x="77574" y="418907"/>
                  </a:cubicBezTo>
                  <a:lnTo>
                    <a:pt x="77574" y="409757"/>
                  </a:lnTo>
                  <a:cubicBezTo>
                    <a:pt x="77574" y="409230"/>
                    <a:pt x="76161" y="407465"/>
                    <a:pt x="74979" y="405988"/>
                  </a:cubicBezTo>
                  <a:cubicBezTo>
                    <a:pt x="74389" y="405249"/>
                    <a:pt x="73861" y="404588"/>
                    <a:pt x="73594" y="404194"/>
                  </a:cubicBezTo>
                  <a:cubicBezTo>
                    <a:pt x="72799" y="402999"/>
                    <a:pt x="60470" y="389474"/>
                    <a:pt x="59274" y="389073"/>
                  </a:cubicBezTo>
                  <a:cubicBezTo>
                    <a:pt x="58079" y="388679"/>
                    <a:pt x="55695" y="387484"/>
                    <a:pt x="54105" y="386689"/>
                  </a:cubicBezTo>
                  <a:cubicBezTo>
                    <a:pt x="52853" y="386063"/>
                    <a:pt x="50139" y="385437"/>
                    <a:pt x="48254" y="385008"/>
                  </a:cubicBezTo>
                  <a:lnTo>
                    <a:pt x="48254" y="385008"/>
                  </a:lnTo>
                  <a:lnTo>
                    <a:pt x="48254" y="385008"/>
                  </a:lnTo>
                  <a:lnTo>
                    <a:pt x="48233" y="385001"/>
                  </a:lnTo>
                  <a:cubicBezTo>
                    <a:pt x="47726" y="384888"/>
                    <a:pt x="47283" y="384783"/>
                    <a:pt x="46946" y="384699"/>
                  </a:cubicBezTo>
                  <a:cubicBezTo>
                    <a:pt x="46495" y="384586"/>
                    <a:pt x="45863" y="384445"/>
                    <a:pt x="45124" y="384276"/>
                  </a:cubicBezTo>
                  <a:cubicBezTo>
                    <a:pt x="43246" y="383855"/>
                    <a:pt x="40700" y="383285"/>
                    <a:pt x="38984" y="382708"/>
                  </a:cubicBezTo>
                  <a:cubicBezTo>
                    <a:pt x="37001" y="382047"/>
                    <a:pt x="36115" y="378629"/>
                    <a:pt x="35644" y="376814"/>
                  </a:cubicBezTo>
                  <a:cubicBezTo>
                    <a:pt x="35552" y="376449"/>
                    <a:pt x="35475" y="376146"/>
                    <a:pt x="35404" y="375949"/>
                  </a:cubicBezTo>
                  <a:cubicBezTo>
                    <a:pt x="35271" y="375548"/>
                    <a:pt x="35095" y="374754"/>
                    <a:pt x="34891" y="373825"/>
                  </a:cubicBezTo>
                  <a:cubicBezTo>
                    <a:pt x="34476" y="371969"/>
                    <a:pt x="33949" y="369584"/>
                    <a:pt x="33414" y="368790"/>
                  </a:cubicBezTo>
                  <a:cubicBezTo>
                    <a:pt x="32886" y="367995"/>
                    <a:pt x="28688" y="364232"/>
                    <a:pt x="25565" y="361433"/>
                  </a:cubicBezTo>
                  <a:lnTo>
                    <a:pt x="25565" y="361433"/>
                  </a:lnTo>
                  <a:lnTo>
                    <a:pt x="25565" y="361426"/>
                  </a:lnTo>
                  <a:cubicBezTo>
                    <a:pt x="23983" y="360012"/>
                    <a:pt x="22682" y="358845"/>
                    <a:pt x="22281" y="358444"/>
                  </a:cubicBezTo>
                  <a:cubicBezTo>
                    <a:pt x="21085" y="357248"/>
                    <a:pt x="18300" y="352874"/>
                    <a:pt x="17906" y="351685"/>
                  </a:cubicBezTo>
                  <a:cubicBezTo>
                    <a:pt x="17505" y="350490"/>
                    <a:pt x="15916" y="344920"/>
                    <a:pt x="15916" y="343330"/>
                  </a:cubicBezTo>
                  <a:cubicBezTo>
                    <a:pt x="15916" y="341741"/>
                    <a:pt x="14720" y="332591"/>
                    <a:pt x="14326" y="332190"/>
                  </a:cubicBezTo>
                  <a:cubicBezTo>
                    <a:pt x="13925" y="331796"/>
                    <a:pt x="12730" y="330994"/>
                    <a:pt x="10739" y="330600"/>
                  </a:cubicBezTo>
                  <a:cubicBezTo>
                    <a:pt x="8756" y="330199"/>
                    <a:pt x="4775" y="329011"/>
                    <a:pt x="3580" y="328209"/>
                  </a:cubicBezTo>
                  <a:cubicBezTo>
                    <a:pt x="2391" y="327414"/>
                    <a:pt x="0" y="323441"/>
                    <a:pt x="0" y="322646"/>
                  </a:cubicBezTo>
                  <a:lnTo>
                    <a:pt x="0" y="312300"/>
                  </a:lnTo>
                  <a:cubicBezTo>
                    <a:pt x="0" y="311105"/>
                    <a:pt x="1196" y="307926"/>
                    <a:pt x="1990" y="305935"/>
                  </a:cubicBezTo>
                  <a:cubicBezTo>
                    <a:pt x="2476" y="304719"/>
                    <a:pt x="5043" y="302616"/>
                    <a:pt x="7146" y="300886"/>
                  </a:cubicBezTo>
                  <a:lnTo>
                    <a:pt x="7153" y="300886"/>
                  </a:lnTo>
                  <a:cubicBezTo>
                    <a:pt x="8489" y="299788"/>
                    <a:pt x="9635" y="298839"/>
                    <a:pt x="9945" y="298375"/>
                  </a:cubicBezTo>
                  <a:cubicBezTo>
                    <a:pt x="10451" y="297615"/>
                    <a:pt x="12568" y="296701"/>
                    <a:pt x="14347" y="295920"/>
                  </a:cubicBezTo>
                  <a:lnTo>
                    <a:pt x="14355" y="295920"/>
                  </a:lnTo>
                  <a:cubicBezTo>
                    <a:pt x="15367" y="295484"/>
                    <a:pt x="16275" y="295083"/>
                    <a:pt x="16710" y="294795"/>
                  </a:cubicBezTo>
                  <a:cubicBezTo>
                    <a:pt x="17442" y="294310"/>
                    <a:pt x="19383" y="293817"/>
                    <a:pt x="21324" y="293325"/>
                  </a:cubicBezTo>
                  <a:cubicBezTo>
                    <a:pt x="22534" y="293023"/>
                    <a:pt x="23751" y="292713"/>
                    <a:pt x="24665" y="292411"/>
                  </a:cubicBezTo>
                  <a:cubicBezTo>
                    <a:pt x="26381" y="291841"/>
                    <a:pt x="29743" y="292087"/>
                    <a:pt x="32239" y="292277"/>
                  </a:cubicBezTo>
                  <a:cubicBezTo>
                    <a:pt x="33210" y="292347"/>
                    <a:pt x="34054" y="292411"/>
                    <a:pt x="34610" y="292411"/>
                  </a:cubicBezTo>
                  <a:cubicBezTo>
                    <a:pt x="36600" y="292411"/>
                    <a:pt x="39385" y="291616"/>
                    <a:pt x="40180" y="290821"/>
                  </a:cubicBezTo>
                  <a:lnTo>
                    <a:pt x="47340" y="283662"/>
                  </a:lnTo>
                  <a:cubicBezTo>
                    <a:pt x="48613" y="282389"/>
                    <a:pt x="52382" y="281010"/>
                    <a:pt x="54105" y="280476"/>
                  </a:cubicBezTo>
                  <a:lnTo>
                    <a:pt x="64845" y="278485"/>
                  </a:lnTo>
                  <a:cubicBezTo>
                    <a:pt x="66033" y="277029"/>
                    <a:pt x="68502" y="273956"/>
                    <a:pt x="68819" y="273316"/>
                  </a:cubicBezTo>
                  <a:cubicBezTo>
                    <a:pt x="69037" y="272887"/>
                    <a:pt x="72068" y="271516"/>
                    <a:pt x="74923" y="270221"/>
                  </a:cubicBezTo>
                  <a:lnTo>
                    <a:pt x="74923" y="270221"/>
                  </a:lnTo>
                  <a:lnTo>
                    <a:pt x="74923" y="270221"/>
                  </a:lnTo>
                  <a:lnTo>
                    <a:pt x="74923" y="270221"/>
                  </a:lnTo>
                  <a:lnTo>
                    <a:pt x="74923" y="270221"/>
                  </a:lnTo>
                  <a:lnTo>
                    <a:pt x="74923" y="270221"/>
                  </a:lnTo>
                  <a:lnTo>
                    <a:pt x="74923" y="270221"/>
                  </a:lnTo>
                  <a:cubicBezTo>
                    <a:pt x="77321" y="269138"/>
                    <a:pt x="79593" y="268112"/>
                    <a:pt x="79959" y="267746"/>
                  </a:cubicBezTo>
                  <a:cubicBezTo>
                    <a:pt x="80753" y="266951"/>
                    <a:pt x="89510" y="262577"/>
                    <a:pt x="91099" y="261782"/>
                  </a:cubicBezTo>
                  <a:cubicBezTo>
                    <a:pt x="92689" y="260987"/>
                    <a:pt x="97464" y="257006"/>
                    <a:pt x="97858" y="255811"/>
                  </a:cubicBezTo>
                  <a:cubicBezTo>
                    <a:pt x="98182" y="254861"/>
                    <a:pt x="99053" y="245606"/>
                    <a:pt x="99455" y="241098"/>
                  </a:cubicBezTo>
                  <a:cubicBezTo>
                    <a:pt x="101571" y="238706"/>
                    <a:pt x="105819" y="233614"/>
                    <a:pt x="105819" y="232342"/>
                  </a:cubicBezTo>
                  <a:cubicBezTo>
                    <a:pt x="105819" y="231280"/>
                    <a:pt x="104757" y="228987"/>
                    <a:pt x="104047" y="227453"/>
                  </a:cubicBezTo>
                  <a:lnTo>
                    <a:pt x="104047" y="227453"/>
                  </a:lnTo>
                  <a:cubicBezTo>
                    <a:pt x="103695" y="226687"/>
                    <a:pt x="103428" y="226110"/>
                    <a:pt x="103428" y="225977"/>
                  </a:cubicBezTo>
                  <a:cubicBezTo>
                    <a:pt x="103428" y="225583"/>
                    <a:pt x="100249" y="216032"/>
                    <a:pt x="99455" y="213648"/>
                  </a:cubicBezTo>
                  <a:cubicBezTo>
                    <a:pt x="98653" y="211263"/>
                    <a:pt x="95474" y="202507"/>
                    <a:pt x="94679" y="200517"/>
                  </a:cubicBezTo>
                  <a:cubicBezTo>
                    <a:pt x="94039" y="198927"/>
                    <a:pt x="95741" y="198266"/>
                    <a:pt x="96669" y="198133"/>
                  </a:cubicBezTo>
                  <a:lnTo>
                    <a:pt x="107409" y="196142"/>
                  </a:lnTo>
                  <a:cubicBezTo>
                    <a:pt x="110588" y="195348"/>
                    <a:pt x="117431" y="193681"/>
                    <a:pt x="119344" y="193357"/>
                  </a:cubicBezTo>
                  <a:cubicBezTo>
                    <a:pt x="121250" y="193041"/>
                    <a:pt x="127298" y="188715"/>
                    <a:pt x="130083" y="186599"/>
                  </a:cubicBezTo>
                  <a:cubicBezTo>
                    <a:pt x="131539" y="184475"/>
                    <a:pt x="134774" y="179678"/>
                    <a:pt x="136047" y="177449"/>
                  </a:cubicBezTo>
                  <a:cubicBezTo>
                    <a:pt x="137320" y="175219"/>
                    <a:pt x="138699" y="165380"/>
                    <a:pt x="139234" y="160738"/>
                  </a:cubicBezTo>
                  <a:cubicBezTo>
                    <a:pt x="140823" y="156764"/>
                    <a:pt x="144241" y="148409"/>
                    <a:pt x="145198" y="146820"/>
                  </a:cubicBezTo>
                  <a:cubicBezTo>
                    <a:pt x="145999" y="145483"/>
                    <a:pt x="147511" y="146292"/>
                    <a:pt x="148784" y="146974"/>
                  </a:cubicBezTo>
                  <a:cubicBezTo>
                    <a:pt x="149410" y="147312"/>
                    <a:pt x="149973" y="147614"/>
                    <a:pt x="150367" y="147614"/>
                  </a:cubicBezTo>
                  <a:cubicBezTo>
                    <a:pt x="151225" y="147614"/>
                    <a:pt x="154326" y="148838"/>
                    <a:pt x="156457" y="149682"/>
                  </a:cubicBezTo>
                  <a:lnTo>
                    <a:pt x="156457" y="149682"/>
                  </a:lnTo>
                  <a:cubicBezTo>
                    <a:pt x="157301" y="150013"/>
                    <a:pt x="157991" y="150287"/>
                    <a:pt x="158328" y="150399"/>
                  </a:cubicBezTo>
                  <a:cubicBezTo>
                    <a:pt x="158560" y="150477"/>
                    <a:pt x="158926" y="150603"/>
                    <a:pt x="159369" y="150758"/>
                  </a:cubicBezTo>
                  <a:lnTo>
                    <a:pt x="159369" y="150758"/>
                  </a:lnTo>
                  <a:lnTo>
                    <a:pt x="159369" y="150758"/>
                  </a:lnTo>
                  <a:lnTo>
                    <a:pt x="159369" y="150758"/>
                  </a:lnTo>
                  <a:lnTo>
                    <a:pt x="159369" y="150758"/>
                  </a:lnTo>
                  <a:cubicBezTo>
                    <a:pt x="161127" y="151370"/>
                    <a:pt x="164053" y="152383"/>
                    <a:pt x="164693" y="152383"/>
                  </a:cubicBezTo>
                  <a:cubicBezTo>
                    <a:pt x="165326" y="152383"/>
                    <a:pt x="171058" y="153712"/>
                    <a:pt x="173836" y="154373"/>
                  </a:cubicBezTo>
                  <a:cubicBezTo>
                    <a:pt x="176094" y="151855"/>
                    <a:pt x="180602" y="146658"/>
                    <a:pt x="180602" y="146025"/>
                  </a:cubicBezTo>
                  <a:cubicBezTo>
                    <a:pt x="180602" y="145877"/>
                    <a:pt x="180616" y="145371"/>
                    <a:pt x="180637" y="144639"/>
                  </a:cubicBezTo>
                  <a:cubicBezTo>
                    <a:pt x="180721" y="141369"/>
                    <a:pt x="180925" y="133541"/>
                    <a:pt x="180602" y="132894"/>
                  </a:cubicBezTo>
                  <a:cubicBezTo>
                    <a:pt x="180201" y="132099"/>
                    <a:pt x="182191" y="123350"/>
                    <a:pt x="182986" y="120565"/>
                  </a:cubicBezTo>
                  <a:cubicBezTo>
                    <a:pt x="183626" y="118336"/>
                    <a:pt x="191475" y="119637"/>
                    <a:pt x="195322" y="120565"/>
                  </a:cubicBezTo>
                  <a:lnTo>
                    <a:pt x="206455" y="103454"/>
                  </a:lnTo>
                  <a:lnTo>
                    <a:pt x="213622" y="103454"/>
                  </a:lnTo>
                  <a:cubicBezTo>
                    <a:pt x="213882" y="104649"/>
                    <a:pt x="214417" y="107357"/>
                    <a:pt x="214417" y="108630"/>
                  </a:cubicBezTo>
                  <a:cubicBezTo>
                    <a:pt x="214417" y="109826"/>
                    <a:pt x="215317" y="113068"/>
                    <a:pt x="215936" y="115269"/>
                  </a:cubicBezTo>
                  <a:lnTo>
                    <a:pt x="215936" y="115269"/>
                  </a:lnTo>
                  <a:cubicBezTo>
                    <a:pt x="216133" y="115987"/>
                    <a:pt x="216309" y="116591"/>
                    <a:pt x="216407" y="116985"/>
                  </a:cubicBezTo>
                  <a:cubicBezTo>
                    <a:pt x="216632" y="117900"/>
                    <a:pt x="217786" y="119341"/>
                    <a:pt x="218869" y="120706"/>
                  </a:cubicBezTo>
                  <a:cubicBezTo>
                    <a:pt x="219678" y="121712"/>
                    <a:pt x="220444" y="122675"/>
                    <a:pt x="220782" y="123350"/>
                  </a:cubicBezTo>
                  <a:cubicBezTo>
                    <a:pt x="221239" y="124257"/>
                    <a:pt x="223131" y="125432"/>
                    <a:pt x="224966" y="126571"/>
                  </a:cubicBezTo>
                  <a:cubicBezTo>
                    <a:pt x="226331" y="127415"/>
                    <a:pt x="227660" y="128238"/>
                    <a:pt x="228335" y="128913"/>
                  </a:cubicBezTo>
                  <a:cubicBezTo>
                    <a:pt x="229932" y="130510"/>
                    <a:pt x="237091" y="132894"/>
                    <a:pt x="240270" y="133689"/>
                  </a:cubicBezTo>
                  <a:cubicBezTo>
                    <a:pt x="243456" y="134484"/>
                    <a:pt x="249026" y="137269"/>
                    <a:pt x="251010" y="138464"/>
                  </a:cubicBezTo>
                  <a:cubicBezTo>
                    <a:pt x="253000" y="139660"/>
                    <a:pt x="258570" y="149998"/>
                    <a:pt x="258570" y="151588"/>
                  </a:cubicBezTo>
                  <a:cubicBezTo>
                    <a:pt x="258570" y="152249"/>
                    <a:pt x="259049" y="152973"/>
                    <a:pt x="259611" y="153831"/>
                  </a:cubicBezTo>
                  <a:cubicBezTo>
                    <a:pt x="260399" y="155034"/>
                    <a:pt x="261355" y="156490"/>
                    <a:pt x="261355" y="158354"/>
                  </a:cubicBezTo>
                  <a:cubicBezTo>
                    <a:pt x="261355" y="160218"/>
                    <a:pt x="260399" y="162356"/>
                    <a:pt x="259611" y="164128"/>
                  </a:cubicBezTo>
                  <a:cubicBezTo>
                    <a:pt x="259049" y="165380"/>
                    <a:pt x="258570" y="166449"/>
                    <a:pt x="258570" y="167103"/>
                  </a:cubicBezTo>
                  <a:cubicBezTo>
                    <a:pt x="258570" y="168692"/>
                    <a:pt x="257375" y="175859"/>
                    <a:pt x="256981" y="177842"/>
                  </a:cubicBezTo>
                  <a:cubicBezTo>
                    <a:pt x="256700" y="179235"/>
                    <a:pt x="257389" y="182168"/>
                    <a:pt x="257972" y="184622"/>
                  </a:cubicBezTo>
                  <a:cubicBezTo>
                    <a:pt x="258219" y="185691"/>
                    <a:pt x="258451" y="186669"/>
                    <a:pt x="258570" y="187393"/>
                  </a:cubicBezTo>
                  <a:cubicBezTo>
                    <a:pt x="258823" y="188898"/>
                    <a:pt x="261137" y="189932"/>
                    <a:pt x="263515" y="190987"/>
                  </a:cubicBezTo>
                  <a:cubicBezTo>
                    <a:pt x="264893" y="191606"/>
                    <a:pt x="266300" y="192232"/>
                    <a:pt x="267319" y="192963"/>
                  </a:cubicBezTo>
                  <a:cubicBezTo>
                    <a:pt x="268916" y="194103"/>
                    <a:pt x="272088" y="194461"/>
                    <a:pt x="274950" y="194778"/>
                  </a:cubicBezTo>
                  <a:lnTo>
                    <a:pt x="274950" y="194778"/>
                  </a:lnTo>
                  <a:cubicBezTo>
                    <a:pt x="277074" y="195017"/>
                    <a:pt x="279036" y="195235"/>
                    <a:pt x="280049" y="195749"/>
                  </a:cubicBezTo>
                  <a:cubicBezTo>
                    <a:pt x="282440" y="196937"/>
                    <a:pt x="296760" y="197338"/>
                    <a:pt x="299545" y="197338"/>
                  </a:cubicBezTo>
                  <a:cubicBezTo>
                    <a:pt x="302281" y="197338"/>
                    <a:pt x="307324" y="203105"/>
                    <a:pt x="310137" y="206319"/>
                  </a:cubicBezTo>
                  <a:lnTo>
                    <a:pt x="310284" y="206488"/>
                  </a:lnTo>
                  <a:cubicBezTo>
                    <a:pt x="313069" y="209667"/>
                    <a:pt x="323809" y="213247"/>
                    <a:pt x="326193" y="213648"/>
                  </a:cubicBezTo>
                  <a:cubicBezTo>
                    <a:pt x="328134" y="213971"/>
                    <a:pt x="328500" y="214822"/>
                    <a:pt x="328992" y="215983"/>
                  </a:cubicBezTo>
                  <a:cubicBezTo>
                    <a:pt x="329112" y="216250"/>
                    <a:pt x="329231" y="216531"/>
                    <a:pt x="329379" y="216827"/>
                  </a:cubicBezTo>
                  <a:cubicBezTo>
                    <a:pt x="329653" y="217382"/>
                    <a:pt x="330272" y="219246"/>
                    <a:pt x="331046" y="221574"/>
                  </a:cubicBezTo>
                  <a:lnTo>
                    <a:pt x="331046" y="221574"/>
                  </a:lnTo>
                  <a:cubicBezTo>
                    <a:pt x="332481" y="225913"/>
                    <a:pt x="334450" y="231863"/>
                    <a:pt x="335744" y="233931"/>
                  </a:cubicBezTo>
                  <a:cubicBezTo>
                    <a:pt x="336525" y="235190"/>
                    <a:pt x="337805" y="237004"/>
                    <a:pt x="339120" y="238854"/>
                  </a:cubicBezTo>
                  <a:lnTo>
                    <a:pt x="339120" y="238854"/>
                  </a:lnTo>
                  <a:cubicBezTo>
                    <a:pt x="341131" y="241709"/>
                    <a:pt x="343220" y="244663"/>
                    <a:pt x="343698" y="245866"/>
                  </a:cubicBezTo>
                  <a:cubicBezTo>
                    <a:pt x="344289" y="247350"/>
                    <a:pt x="355014" y="246626"/>
                    <a:pt x="361942" y="246161"/>
                  </a:cubicBezTo>
                  <a:cubicBezTo>
                    <a:pt x="364319" y="246000"/>
                    <a:pt x="366253" y="245866"/>
                    <a:pt x="367168" y="245866"/>
                  </a:cubicBezTo>
                  <a:cubicBezTo>
                    <a:pt x="368870" y="245866"/>
                    <a:pt x="370747" y="246499"/>
                    <a:pt x="372724" y="247153"/>
                  </a:cubicBezTo>
                  <a:cubicBezTo>
                    <a:pt x="374904" y="247884"/>
                    <a:pt x="377204" y="248651"/>
                    <a:pt x="379504" y="248651"/>
                  </a:cubicBezTo>
                  <a:cubicBezTo>
                    <a:pt x="381740" y="248651"/>
                    <a:pt x="384399" y="249488"/>
                    <a:pt x="386994" y="250304"/>
                  </a:cubicBezTo>
                  <a:cubicBezTo>
                    <a:pt x="389462" y="251078"/>
                    <a:pt x="391882" y="251837"/>
                    <a:pt x="393823" y="251837"/>
                  </a:cubicBezTo>
                  <a:cubicBezTo>
                    <a:pt x="396060" y="251837"/>
                    <a:pt x="399562" y="250951"/>
                    <a:pt x="402903" y="250114"/>
                  </a:cubicBezTo>
                  <a:cubicBezTo>
                    <a:pt x="405498" y="249460"/>
                    <a:pt x="407994" y="248827"/>
                    <a:pt x="409732" y="248651"/>
                  </a:cubicBezTo>
                  <a:cubicBezTo>
                    <a:pt x="411933" y="248433"/>
                    <a:pt x="415217" y="249066"/>
                    <a:pt x="418396" y="249671"/>
                  </a:cubicBezTo>
                  <a:lnTo>
                    <a:pt x="418396" y="249671"/>
                  </a:lnTo>
                  <a:cubicBezTo>
                    <a:pt x="420971" y="250163"/>
                    <a:pt x="423467" y="250641"/>
                    <a:pt x="425247" y="250641"/>
                  </a:cubicBezTo>
                  <a:cubicBezTo>
                    <a:pt x="428637" y="250641"/>
                    <a:pt x="435205" y="255551"/>
                    <a:pt x="439777" y="258976"/>
                  </a:cubicBezTo>
                  <a:cubicBezTo>
                    <a:pt x="440572" y="259566"/>
                    <a:pt x="441310" y="260115"/>
                    <a:pt x="441957" y="260586"/>
                  </a:cubicBezTo>
                  <a:cubicBezTo>
                    <a:pt x="445171" y="262928"/>
                    <a:pt x="453984" y="262900"/>
                    <a:pt x="460482" y="262879"/>
                  </a:cubicBezTo>
                  <a:cubicBezTo>
                    <a:pt x="462817" y="262872"/>
                    <a:pt x="464850" y="262865"/>
                    <a:pt x="466221" y="262970"/>
                  </a:cubicBezTo>
                  <a:cubicBezTo>
                    <a:pt x="470356" y="263294"/>
                    <a:pt x="475104" y="267085"/>
                    <a:pt x="476961" y="268941"/>
                  </a:cubicBezTo>
                  <a:cubicBezTo>
                    <a:pt x="478817" y="267879"/>
                    <a:pt x="482770" y="265516"/>
                    <a:pt x="483726" y="264567"/>
                  </a:cubicBezTo>
                  <a:cubicBezTo>
                    <a:pt x="484915" y="263371"/>
                    <a:pt x="496850" y="257006"/>
                    <a:pt x="500831" y="256212"/>
                  </a:cubicBezTo>
                  <a:cubicBezTo>
                    <a:pt x="502948" y="255790"/>
                    <a:pt x="506415" y="254685"/>
                    <a:pt x="509559" y="253694"/>
                  </a:cubicBezTo>
                  <a:lnTo>
                    <a:pt x="509559" y="253694"/>
                  </a:lnTo>
                  <a:cubicBezTo>
                    <a:pt x="512323" y="252815"/>
                    <a:pt x="514826" y="252020"/>
                    <a:pt x="515945" y="251837"/>
                  </a:cubicBezTo>
                  <a:cubicBezTo>
                    <a:pt x="516930" y="251668"/>
                    <a:pt x="520481" y="251577"/>
                    <a:pt x="524624" y="251464"/>
                  </a:cubicBezTo>
                  <a:cubicBezTo>
                    <a:pt x="530531" y="251303"/>
                    <a:pt x="537642" y="251113"/>
                    <a:pt x="540209" y="250641"/>
                  </a:cubicBezTo>
                  <a:cubicBezTo>
                    <a:pt x="543894" y="249973"/>
                    <a:pt x="551230" y="246211"/>
                    <a:pt x="555836" y="243848"/>
                  </a:cubicBezTo>
                  <a:lnTo>
                    <a:pt x="555843" y="243840"/>
                  </a:lnTo>
                  <a:cubicBezTo>
                    <a:pt x="556272" y="243622"/>
                    <a:pt x="556673" y="243419"/>
                    <a:pt x="557046" y="243222"/>
                  </a:cubicBezTo>
                  <a:cubicBezTo>
                    <a:pt x="557433" y="243025"/>
                    <a:pt x="557792" y="242849"/>
                    <a:pt x="558108" y="242687"/>
                  </a:cubicBezTo>
                  <a:cubicBezTo>
                    <a:pt x="562089" y="240697"/>
                    <a:pt x="578799" y="225182"/>
                    <a:pt x="578799" y="223592"/>
                  </a:cubicBezTo>
                  <a:cubicBezTo>
                    <a:pt x="578799" y="222003"/>
                    <a:pt x="574024" y="211657"/>
                    <a:pt x="573229" y="210462"/>
                  </a:cubicBezTo>
                  <a:cubicBezTo>
                    <a:pt x="572434" y="209273"/>
                    <a:pt x="578799" y="199722"/>
                    <a:pt x="580783" y="198133"/>
                  </a:cubicBezTo>
                  <a:cubicBezTo>
                    <a:pt x="582773" y="196543"/>
                    <a:pt x="588744" y="197732"/>
                    <a:pt x="589932" y="198133"/>
                  </a:cubicBezTo>
                  <a:cubicBezTo>
                    <a:pt x="591128" y="198534"/>
                    <a:pt x="597092" y="200517"/>
                    <a:pt x="599083" y="200918"/>
                  </a:cubicBezTo>
                  <a:cubicBezTo>
                    <a:pt x="599455" y="200988"/>
                    <a:pt x="599877" y="201079"/>
                    <a:pt x="600334" y="201171"/>
                  </a:cubicBezTo>
                  <a:lnTo>
                    <a:pt x="600334" y="201171"/>
                  </a:lnTo>
                  <a:lnTo>
                    <a:pt x="600334" y="201171"/>
                  </a:lnTo>
                  <a:cubicBezTo>
                    <a:pt x="602325" y="201586"/>
                    <a:pt x="604878" y="202113"/>
                    <a:pt x="605849" y="202113"/>
                  </a:cubicBezTo>
                  <a:cubicBezTo>
                    <a:pt x="607037" y="202113"/>
                    <a:pt x="615793" y="195348"/>
                    <a:pt x="616187" y="194553"/>
                  </a:cubicBezTo>
                  <a:cubicBezTo>
                    <a:pt x="616588" y="193758"/>
                    <a:pt x="625337" y="188589"/>
                    <a:pt x="626132" y="188188"/>
                  </a:cubicBezTo>
                  <a:cubicBezTo>
                    <a:pt x="626934" y="187787"/>
                    <a:pt x="631702" y="186198"/>
                    <a:pt x="634888" y="186198"/>
                  </a:cubicBezTo>
                  <a:cubicBezTo>
                    <a:pt x="638067" y="186198"/>
                    <a:pt x="642047" y="182618"/>
                    <a:pt x="642842" y="181823"/>
                  </a:cubicBezTo>
                  <a:cubicBezTo>
                    <a:pt x="643637" y="181028"/>
                    <a:pt x="652787" y="171477"/>
                    <a:pt x="653983" y="169494"/>
                  </a:cubicBezTo>
                  <a:cubicBezTo>
                    <a:pt x="654721" y="168249"/>
                    <a:pt x="659173" y="165781"/>
                    <a:pt x="662900" y="163706"/>
                  </a:cubicBezTo>
                  <a:lnTo>
                    <a:pt x="662908" y="163706"/>
                  </a:lnTo>
                  <a:cubicBezTo>
                    <a:pt x="665158" y="162447"/>
                    <a:pt x="667156" y="161343"/>
                    <a:pt x="667901" y="160738"/>
                  </a:cubicBezTo>
                  <a:cubicBezTo>
                    <a:pt x="669892" y="159149"/>
                    <a:pt x="691370" y="160344"/>
                    <a:pt x="694950" y="160738"/>
                  </a:cubicBezTo>
                  <a:cubicBezTo>
                    <a:pt x="698530" y="161139"/>
                    <a:pt x="701716" y="157953"/>
                    <a:pt x="702117" y="155970"/>
                  </a:cubicBezTo>
                  <a:cubicBezTo>
                    <a:pt x="702349" y="154795"/>
                    <a:pt x="700232" y="152657"/>
                    <a:pt x="697890" y="150280"/>
                  </a:cubicBezTo>
                  <a:cubicBezTo>
                    <a:pt x="696251" y="148627"/>
                    <a:pt x="694507" y="146862"/>
                    <a:pt x="693361" y="145223"/>
                  </a:cubicBezTo>
                  <a:cubicBezTo>
                    <a:pt x="691138" y="142044"/>
                    <a:pt x="680237" y="134350"/>
                    <a:pt x="675061" y="130904"/>
                  </a:cubicBezTo>
                  <a:cubicBezTo>
                    <a:pt x="672149" y="133161"/>
                    <a:pt x="665517" y="137986"/>
                    <a:pt x="662331" y="139259"/>
                  </a:cubicBezTo>
                  <a:cubicBezTo>
                    <a:pt x="659152" y="140532"/>
                    <a:pt x="657295" y="137670"/>
                    <a:pt x="656768" y="136073"/>
                  </a:cubicBezTo>
                  <a:cubicBezTo>
                    <a:pt x="653448" y="136340"/>
                    <a:pt x="645465" y="136713"/>
                    <a:pt x="640057" y="136073"/>
                  </a:cubicBezTo>
                  <a:cubicBezTo>
                    <a:pt x="634649" y="135440"/>
                    <a:pt x="637807" y="123350"/>
                    <a:pt x="640057" y="117379"/>
                  </a:cubicBezTo>
                  <a:lnTo>
                    <a:pt x="655171" y="88340"/>
                  </a:lnTo>
                  <a:lnTo>
                    <a:pt x="662331" y="91919"/>
                  </a:lnTo>
                  <a:cubicBezTo>
                    <a:pt x="665250" y="93249"/>
                    <a:pt x="671565" y="95900"/>
                    <a:pt x="673471" y="95900"/>
                  </a:cubicBezTo>
                  <a:cubicBezTo>
                    <a:pt x="675384" y="95900"/>
                    <a:pt x="687530" y="87411"/>
                    <a:pt x="693361" y="83170"/>
                  </a:cubicBezTo>
                  <a:lnTo>
                    <a:pt x="693361" y="72030"/>
                  </a:lnTo>
                  <a:cubicBezTo>
                    <a:pt x="693361" y="70834"/>
                    <a:pt x="702511" y="55326"/>
                    <a:pt x="704895" y="51346"/>
                  </a:cubicBezTo>
                  <a:cubicBezTo>
                    <a:pt x="706808" y="48160"/>
                    <a:pt x="712589" y="41802"/>
                    <a:pt x="715241" y="39017"/>
                  </a:cubicBezTo>
                  <a:lnTo>
                    <a:pt x="715241" y="23502"/>
                  </a:lnTo>
                  <a:lnTo>
                    <a:pt x="707286" y="17932"/>
                  </a:lnTo>
                  <a:lnTo>
                    <a:pt x="717231" y="7987"/>
                  </a:lnTo>
                  <a:cubicBezTo>
                    <a:pt x="718546" y="6672"/>
                    <a:pt x="722456" y="5188"/>
                    <a:pt x="726219" y="3753"/>
                  </a:cubicBezTo>
                  <a:lnTo>
                    <a:pt x="726226" y="3753"/>
                  </a:lnTo>
                  <a:lnTo>
                    <a:pt x="726226" y="3753"/>
                  </a:lnTo>
                  <a:cubicBezTo>
                    <a:pt x="728160" y="3022"/>
                    <a:pt x="730066" y="2297"/>
                    <a:pt x="731550" y="1622"/>
                  </a:cubicBezTo>
                  <a:cubicBezTo>
                    <a:pt x="735355" y="-108"/>
                    <a:pt x="744857" y="-31"/>
                    <a:pt x="751201" y="19"/>
                  </a:cubicBezTo>
                  <a:cubicBezTo>
                    <a:pt x="752157" y="26"/>
                    <a:pt x="753043" y="33"/>
                    <a:pt x="753824" y="33"/>
                  </a:cubicBezTo>
                  <a:cubicBezTo>
                    <a:pt x="759359" y="33"/>
                    <a:pt x="767630" y="2424"/>
                    <a:pt x="771020" y="3409"/>
                  </a:cubicBezTo>
                  <a:cubicBezTo>
                    <a:pt x="771287" y="3486"/>
                    <a:pt x="771526" y="3549"/>
                    <a:pt x="771730" y="3612"/>
                  </a:cubicBezTo>
                  <a:cubicBezTo>
                    <a:pt x="773917" y="4238"/>
                    <a:pt x="777089" y="5842"/>
                    <a:pt x="781443" y="8050"/>
                  </a:cubicBezTo>
                  <a:lnTo>
                    <a:pt x="781457" y="8057"/>
                  </a:lnTo>
                  <a:cubicBezTo>
                    <a:pt x="782631" y="8655"/>
                    <a:pt x="783897" y="9295"/>
                    <a:pt x="785255" y="9977"/>
                  </a:cubicBezTo>
                  <a:cubicBezTo>
                    <a:pt x="791619" y="13156"/>
                    <a:pt x="796789" y="24297"/>
                    <a:pt x="797583" y="26681"/>
                  </a:cubicBezTo>
                  <a:cubicBezTo>
                    <a:pt x="797844" y="27469"/>
                    <a:pt x="798533" y="29149"/>
                    <a:pt x="799384" y="31224"/>
                  </a:cubicBezTo>
                  <a:lnTo>
                    <a:pt x="799391" y="31231"/>
                  </a:lnTo>
                  <a:lnTo>
                    <a:pt x="799391" y="31231"/>
                  </a:lnTo>
                  <a:cubicBezTo>
                    <a:pt x="801128" y="35479"/>
                    <a:pt x="803547" y="41380"/>
                    <a:pt x="804349" y="44580"/>
                  </a:cubicBezTo>
                  <a:cubicBezTo>
                    <a:pt x="805024" y="47281"/>
                    <a:pt x="807219" y="50868"/>
                    <a:pt x="809434" y="54483"/>
                  </a:cubicBezTo>
                  <a:cubicBezTo>
                    <a:pt x="811143" y="57261"/>
                    <a:pt x="812859" y="60060"/>
                    <a:pt x="813893" y="62486"/>
                  </a:cubicBezTo>
                  <a:cubicBezTo>
                    <a:pt x="815511" y="66256"/>
                    <a:pt x="817860" y="76609"/>
                    <a:pt x="819456" y="83635"/>
                  </a:cubicBezTo>
                  <a:cubicBezTo>
                    <a:pt x="820209" y="86975"/>
                    <a:pt x="820800" y="89564"/>
                    <a:pt x="821053" y="90330"/>
                  </a:cubicBezTo>
                  <a:cubicBezTo>
                    <a:pt x="821643" y="92088"/>
                    <a:pt x="825026" y="93200"/>
                    <a:pt x="827411" y="93980"/>
                  </a:cubicBezTo>
                  <a:cubicBezTo>
                    <a:pt x="828262" y="94255"/>
                    <a:pt x="828986" y="94494"/>
                    <a:pt x="829408" y="94705"/>
                  </a:cubicBezTo>
                  <a:cubicBezTo>
                    <a:pt x="830182" y="95091"/>
                    <a:pt x="833023" y="95577"/>
                    <a:pt x="836153" y="96104"/>
                  </a:cubicBezTo>
                  <a:cubicBezTo>
                    <a:pt x="839458" y="96660"/>
                    <a:pt x="843081" y="97272"/>
                    <a:pt x="844923" y="97891"/>
                  </a:cubicBezTo>
                  <a:cubicBezTo>
                    <a:pt x="848503" y="99079"/>
                    <a:pt x="851288" y="101864"/>
                    <a:pt x="853278" y="104649"/>
                  </a:cubicBezTo>
                  <a:cubicBezTo>
                    <a:pt x="853996" y="105662"/>
                    <a:pt x="855719" y="107041"/>
                    <a:pt x="857730" y="108651"/>
                  </a:cubicBezTo>
                  <a:cubicBezTo>
                    <a:pt x="861254" y="111478"/>
                    <a:pt x="865678" y="115030"/>
                    <a:pt x="867197" y="118575"/>
                  </a:cubicBezTo>
                  <a:cubicBezTo>
                    <a:pt x="869110" y="123027"/>
                    <a:pt x="870383" y="130770"/>
                    <a:pt x="870777" y="134090"/>
                  </a:cubicBezTo>
                  <a:cubicBezTo>
                    <a:pt x="875953" y="134751"/>
                    <a:pt x="887009" y="136157"/>
                    <a:pt x="889871" y="136474"/>
                  </a:cubicBezTo>
                  <a:cubicBezTo>
                    <a:pt x="892741" y="136790"/>
                    <a:pt x="896370" y="135018"/>
                    <a:pt x="897833" y="134090"/>
                  </a:cubicBezTo>
                  <a:cubicBezTo>
                    <a:pt x="901279" y="132233"/>
                    <a:pt x="908889" y="128119"/>
                    <a:pt x="911751" y="126529"/>
                  </a:cubicBezTo>
                  <a:cubicBezTo>
                    <a:pt x="915331" y="124539"/>
                    <a:pt x="922097" y="123350"/>
                    <a:pt x="923686" y="123350"/>
                  </a:cubicBezTo>
                  <a:lnTo>
                    <a:pt x="931641" y="123350"/>
                  </a:lnTo>
                  <a:cubicBezTo>
                    <a:pt x="931113" y="125467"/>
                    <a:pt x="929650" y="130587"/>
                    <a:pt x="928061" y="134090"/>
                  </a:cubicBezTo>
                  <a:cubicBezTo>
                    <a:pt x="927146" y="136101"/>
                    <a:pt x="925304" y="139554"/>
                    <a:pt x="923503" y="142923"/>
                  </a:cubicBezTo>
                  <a:cubicBezTo>
                    <a:pt x="921393" y="146869"/>
                    <a:pt x="919340" y="150702"/>
                    <a:pt x="918911" y="151989"/>
                  </a:cubicBezTo>
                  <a:cubicBezTo>
                    <a:pt x="918313" y="153775"/>
                    <a:pt x="917722" y="156237"/>
                    <a:pt x="917124" y="158698"/>
                  </a:cubicBezTo>
                  <a:cubicBezTo>
                    <a:pt x="916928" y="159521"/>
                    <a:pt x="916724" y="160344"/>
                    <a:pt x="916527" y="161139"/>
                  </a:cubicBezTo>
                  <a:cubicBezTo>
                    <a:pt x="915936" y="163488"/>
                    <a:pt x="911885" y="174284"/>
                    <a:pt x="909641" y="180262"/>
                  </a:cubicBezTo>
                  <a:lnTo>
                    <a:pt x="909634" y="180276"/>
                  </a:lnTo>
                  <a:cubicBezTo>
                    <a:pt x="908840" y="182386"/>
                    <a:pt x="908277" y="183898"/>
                    <a:pt x="908171" y="184207"/>
                  </a:cubicBezTo>
                  <a:cubicBezTo>
                    <a:pt x="908010" y="184707"/>
                    <a:pt x="907299" y="186289"/>
                    <a:pt x="906469" y="188146"/>
                  </a:cubicBezTo>
                  <a:lnTo>
                    <a:pt x="906462" y="188146"/>
                  </a:lnTo>
                  <a:cubicBezTo>
                    <a:pt x="905288" y="190776"/>
                    <a:pt x="903867" y="193948"/>
                    <a:pt x="903396" y="195348"/>
                  </a:cubicBezTo>
                  <a:cubicBezTo>
                    <a:pt x="902953" y="196691"/>
                    <a:pt x="900245" y="195770"/>
                    <a:pt x="897115" y="194708"/>
                  </a:cubicBezTo>
                  <a:cubicBezTo>
                    <a:pt x="894675" y="193878"/>
                    <a:pt x="891967" y="192963"/>
                    <a:pt x="889871" y="192963"/>
                  </a:cubicBezTo>
                  <a:cubicBezTo>
                    <a:pt x="885103" y="192963"/>
                    <a:pt x="879132" y="194954"/>
                    <a:pt x="877943" y="195348"/>
                  </a:cubicBezTo>
                  <a:cubicBezTo>
                    <a:pt x="876748" y="195749"/>
                    <a:pt x="873962" y="197732"/>
                    <a:pt x="872767" y="200517"/>
                  </a:cubicBezTo>
                  <a:cubicBezTo>
                    <a:pt x="871810" y="202746"/>
                    <a:pt x="874490" y="205693"/>
                    <a:pt x="875953" y="206882"/>
                  </a:cubicBezTo>
                  <a:lnTo>
                    <a:pt x="875953" y="239107"/>
                  </a:lnTo>
                  <a:cubicBezTo>
                    <a:pt x="875953" y="240697"/>
                    <a:pt x="870383" y="243215"/>
                    <a:pt x="867598" y="244277"/>
                  </a:cubicBezTo>
                  <a:lnTo>
                    <a:pt x="867598" y="253827"/>
                  </a:lnTo>
                  <a:lnTo>
                    <a:pt x="856064" y="242286"/>
                  </a:lnTo>
                  <a:cubicBezTo>
                    <a:pt x="855135" y="244143"/>
                    <a:pt x="853194" y="248096"/>
                    <a:pt x="852877" y="249052"/>
                  </a:cubicBezTo>
                  <a:cubicBezTo>
                    <a:pt x="852589" y="249917"/>
                    <a:pt x="850845" y="251190"/>
                    <a:pt x="849150" y="252435"/>
                  </a:cubicBezTo>
                  <a:cubicBezTo>
                    <a:pt x="848503" y="252913"/>
                    <a:pt x="847863" y="253384"/>
                    <a:pt x="847307" y="253827"/>
                  </a:cubicBezTo>
                  <a:cubicBezTo>
                    <a:pt x="846097" y="254798"/>
                    <a:pt x="844881" y="255023"/>
                    <a:pt x="843756" y="255241"/>
                  </a:cubicBezTo>
                  <a:cubicBezTo>
                    <a:pt x="843038" y="255375"/>
                    <a:pt x="842363" y="255501"/>
                    <a:pt x="841737" y="255811"/>
                  </a:cubicBezTo>
                  <a:cubicBezTo>
                    <a:pt x="840147" y="256606"/>
                    <a:pt x="835379" y="258596"/>
                    <a:pt x="829809" y="260192"/>
                  </a:cubicBezTo>
                  <a:cubicBezTo>
                    <a:pt x="825406" y="261444"/>
                    <a:pt x="826222" y="263695"/>
                    <a:pt x="826757" y="265179"/>
                  </a:cubicBezTo>
                  <a:cubicBezTo>
                    <a:pt x="826897" y="265566"/>
                    <a:pt x="827024" y="265903"/>
                    <a:pt x="827024" y="266156"/>
                  </a:cubicBezTo>
                  <a:cubicBezTo>
                    <a:pt x="827024" y="266628"/>
                    <a:pt x="827460" y="267289"/>
                    <a:pt x="827987" y="268083"/>
                  </a:cubicBezTo>
                  <a:cubicBezTo>
                    <a:pt x="828789" y="269300"/>
                    <a:pt x="829809" y="270840"/>
                    <a:pt x="829809" y="272521"/>
                  </a:cubicBezTo>
                  <a:cubicBezTo>
                    <a:pt x="829809" y="274920"/>
                    <a:pt x="825083" y="273773"/>
                    <a:pt x="821482" y="272901"/>
                  </a:cubicBezTo>
                  <a:lnTo>
                    <a:pt x="821482" y="272901"/>
                  </a:lnTo>
                  <a:cubicBezTo>
                    <a:pt x="820905" y="272760"/>
                    <a:pt x="820357" y="272634"/>
                    <a:pt x="819864" y="272521"/>
                  </a:cubicBezTo>
                  <a:cubicBezTo>
                    <a:pt x="816995" y="271881"/>
                    <a:pt x="810447" y="267218"/>
                    <a:pt x="807528" y="264961"/>
                  </a:cubicBezTo>
                  <a:cubicBezTo>
                    <a:pt x="805805" y="268280"/>
                    <a:pt x="802197" y="275145"/>
                    <a:pt x="801564" y="276101"/>
                  </a:cubicBezTo>
                  <a:cubicBezTo>
                    <a:pt x="800770" y="277297"/>
                    <a:pt x="789228" y="284850"/>
                    <a:pt x="787245" y="286046"/>
                  </a:cubicBezTo>
                  <a:close/>
                  <a:moveTo>
                    <a:pt x="563284" y="655204"/>
                  </a:moveTo>
                  <a:cubicBezTo>
                    <a:pt x="562820" y="654733"/>
                    <a:pt x="561259" y="655359"/>
                    <a:pt x="559571" y="656041"/>
                  </a:cubicBezTo>
                  <a:lnTo>
                    <a:pt x="559571" y="656041"/>
                  </a:lnTo>
                  <a:cubicBezTo>
                    <a:pt x="558375" y="656519"/>
                    <a:pt x="557109" y="657025"/>
                    <a:pt x="556125" y="657187"/>
                  </a:cubicBezTo>
                  <a:lnTo>
                    <a:pt x="550555" y="656392"/>
                  </a:lnTo>
                  <a:cubicBezTo>
                    <a:pt x="549092" y="656660"/>
                    <a:pt x="545702" y="657426"/>
                    <a:pt x="543789" y="658383"/>
                  </a:cubicBezTo>
                  <a:cubicBezTo>
                    <a:pt x="542291" y="659135"/>
                    <a:pt x="540786" y="660668"/>
                    <a:pt x="539484" y="662005"/>
                  </a:cubicBezTo>
                  <a:cubicBezTo>
                    <a:pt x="538718" y="662792"/>
                    <a:pt x="538015" y="663510"/>
                    <a:pt x="537424" y="663953"/>
                  </a:cubicBezTo>
                  <a:cubicBezTo>
                    <a:pt x="535834" y="665149"/>
                    <a:pt x="534245" y="666738"/>
                    <a:pt x="532255" y="668728"/>
                  </a:cubicBezTo>
                  <a:lnTo>
                    <a:pt x="532255" y="668728"/>
                  </a:lnTo>
                  <a:cubicBezTo>
                    <a:pt x="530609" y="670367"/>
                    <a:pt x="530869" y="674728"/>
                    <a:pt x="531010" y="677091"/>
                  </a:cubicBezTo>
                  <a:cubicBezTo>
                    <a:pt x="531038" y="677583"/>
                    <a:pt x="531059" y="677998"/>
                    <a:pt x="531059" y="678272"/>
                  </a:cubicBezTo>
                  <a:cubicBezTo>
                    <a:pt x="531059" y="679862"/>
                    <a:pt x="535834" y="683442"/>
                    <a:pt x="537424" y="683842"/>
                  </a:cubicBezTo>
                  <a:cubicBezTo>
                    <a:pt x="539020" y="684243"/>
                    <a:pt x="544189" y="685038"/>
                    <a:pt x="546180" y="685038"/>
                  </a:cubicBezTo>
                  <a:cubicBezTo>
                    <a:pt x="548163" y="685038"/>
                    <a:pt x="550948" y="682253"/>
                    <a:pt x="551743" y="681458"/>
                  </a:cubicBezTo>
                  <a:cubicBezTo>
                    <a:pt x="552144" y="681057"/>
                    <a:pt x="553832" y="680066"/>
                    <a:pt x="555527" y="679067"/>
                  </a:cubicBezTo>
                  <a:cubicBezTo>
                    <a:pt x="557215" y="678075"/>
                    <a:pt x="558910" y="677077"/>
                    <a:pt x="559304" y="676683"/>
                  </a:cubicBezTo>
                  <a:cubicBezTo>
                    <a:pt x="559796" y="676190"/>
                    <a:pt x="560288" y="673581"/>
                    <a:pt x="560682" y="671464"/>
                  </a:cubicBezTo>
                  <a:lnTo>
                    <a:pt x="560682" y="671464"/>
                  </a:lnTo>
                  <a:lnTo>
                    <a:pt x="560682" y="671464"/>
                  </a:lnTo>
                  <a:lnTo>
                    <a:pt x="560682" y="671464"/>
                  </a:lnTo>
                  <a:cubicBezTo>
                    <a:pt x="560928" y="670149"/>
                    <a:pt x="561139" y="669031"/>
                    <a:pt x="561294" y="668728"/>
                  </a:cubicBezTo>
                  <a:cubicBezTo>
                    <a:pt x="561407" y="668496"/>
                    <a:pt x="561913" y="667814"/>
                    <a:pt x="562581" y="666914"/>
                  </a:cubicBezTo>
                  <a:cubicBezTo>
                    <a:pt x="564234" y="664677"/>
                    <a:pt x="566864" y="661112"/>
                    <a:pt x="566864" y="659972"/>
                  </a:cubicBezTo>
                  <a:cubicBezTo>
                    <a:pt x="566864" y="658601"/>
                    <a:pt x="564797" y="656638"/>
                    <a:pt x="563713" y="655619"/>
                  </a:cubicBezTo>
                  <a:cubicBezTo>
                    <a:pt x="563538" y="655450"/>
                    <a:pt x="563390" y="655309"/>
                    <a:pt x="563284" y="655204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1" name="Freihandform: Form 96">
              <a:extLst>
                <a:ext uri="{FF2B5EF4-FFF2-40B4-BE49-F238E27FC236}">
                  <a16:creationId xmlns:a16="http://schemas.microsoft.com/office/drawing/2014/main" id="{55F56145-B769-E744-8B5D-D601920470EC}"/>
                </a:ext>
              </a:extLst>
            </p:cNvPr>
            <p:cNvSpPr/>
            <p:nvPr/>
          </p:nvSpPr>
          <p:spPr>
            <a:xfrm>
              <a:off x="7575482" y="2239820"/>
              <a:ext cx="81959" cy="102863"/>
            </a:xfrm>
            <a:custGeom>
              <a:avLst/>
              <a:gdLst>
                <a:gd name="connsiteX0" fmla="*/ 81837 w 81959"/>
                <a:gd name="connsiteY0" fmla="*/ 40521 h 102863"/>
                <a:gd name="connsiteX1" fmla="*/ 50659 w 81959"/>
                <a:gd name="connsiteY1" fmla="*/ 1544 h 102863"/>
                <a:gd name="connsiteX2" fmla="*/ 15564 w 81959"/>
                <a:gd name="connsiteY2" fmla="*/ 17156 h 102863"/>
                <a:gd name="connsiteX3" fmla="*/ 0 w 81959"/>
                <a:gd name="connsiteY3" fmla="*/ 83375 h 102863"/>
                <a:gd name="connsiteX4" fmla="*/ 27246 w 81959"/>
                <a:gd name="connsiteY4" fmla="*/ 102863 h 102863"/>
                <a:gd name="connsiteX5" fmla="*/ 81837 w 81959"/>
                <a:gd name="connsiteY5" fmla="*/ 83375 h 102863"/>
                <a:gd name="connsiteX6" fmla="*/ 81837 w 81959"/>
                <a:gd name="connsiteY6" fmla="*/ 40521 h 10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959" h="102863">
                  <a:moveTo>
                    <a:pt x="81837" y="40521"/>
                  </a:moveTo>
                  <a:cubicBezTo>
                    <a:pt x="83771" y="30777"/>
                    <a:pt x="62348" y="5420"/>
                    <a:pt x="50659" y="1544"/>
                  </a:cubicBezTo>
                  <a:cubicBezTo>
                    <a:pt x="41319" y="-4670"/>
                    <a:pt x="23371" y="9363"/>
                    <a:pt x="15564" y="17156"/>
                  </a:cubicBezTo>
                  <a:lnTo>
                    <a:pt x="0" y="83375"/>
                  </a:lnTo>
                  <a:lnTo>
                    <a:pt x="27246" y="102863"/>
                  </a:lnTo>
                  <a:lnTo>
                    <a:pt x="81837" y="83375"/>
                  </a:lnTo>
                  <a:cubicBezTo>
                    <a:pt x="81190" y="72338"/>
                    <a:pt x="80282" y="48316"/>
                    <a:pt x="81837" y="4052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2" name="Freihandform: Form 97">
              <a:extLst>
                <a:ext uri="{FF2B5EF4-FFF2-40B4-BE49-F238E27FC236}">
                  <a16:creationId xmlns:a16="http://schemas.microsoft.com/office/drawing/2014/main" id="{259899B7-DA78-B34C-874B-C51E76948A8A}"/>
                </a:ext>
              </a:extLst>
            </p:cNvPr>
            <p:cNvSpPr/>
            <p:nvPr/>
          </p:nvSpPr>
          <p:spPr>
            <a:xfrm>
              <a:off x="7564580" y="2351135"/>
              <a:ext cx="26466" cy="23100"/>
            </a:xfrm>
            <a:custGeom>
              <a:avLst/>
              <a:gdLst>
                <a:gd name="connsiteX0" fmla="*/ 26466 w 26466"/>
                <a:gd name="connsiteY0" fmla="*/ 15505 h 23100"/>
                <a:gd name="connsiteX1" fmla="*/ 5951 w 26466"/>
                <a:gd name="connsiteY1" fmla="*/ 0 h 23100"/>
                <a:gd name="connsiteX2" fmla="*/ 514 w 26466"/>
                <a:gd name="connsiteY2" fmla="*/ 15505 h 23100"/>
                <a:gd name="connsiteX3" fmla="*/ 26466 w 26466"/>
                <a:gd name="connsiteY3" fmla="*/ 15505 h 2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66" h="23100">
                  <a:moveTo>
                    <a:pt x="26466" y="15505"/>
                  </a:moveTo>
                  <a:cubicBezTo>
                    <a:pt x="26466" y="6999"/>
                    <a:pt x="20650" y="808"/>
                    <a:pt x="5951" y="0"/>
                  </a:cubicBezTo>
                  <a:cubicBezTo>
                    <a:pt x="999" y="8452"/>
                    <a:pt x="-1047" y="3877"/>
                    <a:pt x="514" y="15505"/>
                  </a:cubicBezTo>
                  <a:cubicBezTo>
                    <a:pt x="2076" y="27134"/>
                    <a:pt x="26466" y="24011"/>
                    <a:pt x="26466" y="1550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3" name="Freihandform: Form 98">
              <a:extLst>
                <a:ext uri="{FF2B5EF4-FFF2-40B4-BE49-F238E27FC236}">
                  <a16:creationId xmlns:a16="http://schemas.microsoft.com/office/drawing/2014/main" id="{563FAC96-DB44-9841-90CB-A50F15E3B8B4}"/>
                </a:ext>
              </a:extLst>
            </p:cNvPr>
            <p:cNvSpPr/>
            <p:nvPr/>
          </p:nvSpPr>
          <p:spPr>
            <a:xfrm>
              <a:off x="7601092" y="2342683"/>
              <a:ext cx="90154" cy="111493"/>
            </a:xfrm>
            <a:custGeom>
              <a:avLst/>
              <a:gdLst>
                <a:gd name="connsiteX0" fmla="*/ 56226 w 90154"/>
                <a:gd name="connsiteY0" fmla="*/ 23957 h 111493"/>
                <a:gd name="connsiteX1" fmla="*/ 36034 w 90154"/>
                <a:gd name="connsiteY1" fmla="*/ 0 h 111493"/>
                <a:gd name="connsiteX2" fmla="*/ 1636 w 90154"/>
                <a:gd name="connsiteY2" fmla="*/ 40215 h 111493"/>
                <a:gd name="connsiteX3" fmla="*/ 19774 w 90154"/>
                <a:gd name="connsiteY3" fmla="*/ 86729 h 111493"/>
                <a:gd name="connsiteX4" fmla="*/ 83303 w 90154"/>
                <a:gd name="connsiteY4" fmla="*/ 111494 h 111493"/>
                <a:gd name="connsiteX5" fmla="*/ 83303 w 90154"/>
                <a:gd name="connsiteY5" fmla="*/ 72786 h 111493"/>
                <a:gd name="connsiteX6" fmla="*/ 83303 w 90154"/>
                <a:gd name="connsiteY6" fmla="*/ 8452 h 111493"/>
                <a:gd name="connsiteX7" fmla="*/ 56226 w 90154"/>
                <a:gd name="connsiteY7" fmla="*/ 23957 h 11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154" h="111493">
                  <a:moveTo>
                    <a:pt x="56226" y="23957"/>
                  </a:moveTo>
                  <a:cubicBezTo>
                    <a:pt x="46155" y="28587"/>
                    <a:pt x="52344" y="0"/>
                    <a:pt x="36034" y="0"/>
                  </a:cubicBezTo>
                  <a:cubicBezTo>
                    <a:pt x="6587" y="5491"/>
                    <a:pt x="8957" y="30148"/>
                    <a:pt x="1636" y="40215"/>
                  </a:cubicBezTo>
                  <a:cubicBezTo>
                    <a:pt x="-5686" y="50282"/>
                    <a:pt x="13585" y="72786"/>
                    <a:pt x="19774" y="86729"/>
                  </a:cubicBezTo>
                  <a:cubicBezTo>
                    <a:pt x="25970" y="100673"/>
                    <a:pt x="65482" y="111494"/>
                    <a:pt x="83303" y="111494"/>
                  </a:cubicBezTo>
                  <a:cubicBezTo>
                    <a:pt x="101125" y="111494"/>
                    <a:pt x="77916" y="79730"/>
                    <a:pt x="83303" y="72786"/>
                  </a:cubicBezTo>
                  <a:cubicBezTo>
                    <a:pt x="88683" y="65841"/>
                    <a:pt x="92615" y="23957"/>
                    <a:pt x="83303" y="8452"/>
                  </a:cubicBezTo>
                  <a:cubicBezTo>
                    <a:pt x="73992" y="-7053"/>
                    <a:pt x="66290" y="19327"/>
                    <a:pt x="56226" y="23957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4" name="Freihandform: Form 99">
              <a:extLst>
                <a:ext uri="{FF2B5EF4-FFF2-40B4-BE49-F238E27FC236}">
                  <a16:creationId xmlns:a16="http://schemas.microsoft.com/office/drawing/2014/main" id="{4C53B7E9-391D-6B4E-A322-D4962800A346}"/>
                </a:ext>
              </a:extLst>
            </p:cNvPr>
            <p:cNvSpPr/>
            <p:nvPr/>
          </p:nvSpPr>
          <p:spPr>
            <a:xfrm>
              <a:off x="7691393" y="2408470"/>
              <a:ext cx="90608" cy="112698"/>
            </a:xfrm>
            <a:custGeom>
              <a:avLst/>
              <a:gdLst>
                <a:gd name="connsiteX0" fmla="*/ 47269 w 90608"/>
                <a:gd name="connsiteY0" fmla="*/ 25571 h 112698"/>
                <a:gd name="connsiteX1" fmla="*/ 35636 w 90608"/>
                <a:gd name="connsiteY1" fmla="*/ 0 h 112698"/>
                <a:gd name="connsiteX2" fmla="*/ 17822 w 90608"/>
                <a:gd name="connsiteY2" fmla="*/ 57335 h 112698"/>
                <a:gd name="connsiteX3" fmla="*/ 0 w 90608"/>
                <a:gd name="connsiteY3" fmla="*/ 108479 h 112698"/>
                <a:gd name="connsiteX4" fmla="*/ 23202 w 90608"/>
                <a:gd name="connsiteY4" fmla="*/ 94536 h 112698"/>
                <a:gd name="connsiteX5" fmla="*/ 85219 w 90608"/>
                <a:gd name="connsiteY5" fmla="*/ 74401 h 112698"/>
                <a:gd name="connsiteX6" fmla="*/ 74346 w 90608"/>
                <a:gd name="connsiteY6" fmla="*/ 31763 h 112698"/>
                <a:gd name="connsiteX7" fmla="*/ 47269 w 90608"/>
                <a:gd name="connsiteY7" fmla="*/ 25571 h 112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608" h="112698">
                  <a:moveTo>
                    <a:pt x="47269" y="25571"/>
                  </a:moveTo>
                  <a:cubicBezTo>
                    <a:pt x="43394" y="30201"/>
                    <a:pt x="42585" y="6999"/>
                    <a:pt x="35636" y="0"/>
                  </a:cubicBezTo>
                  <a:cubicBezTo>
                    <a:pt x="15508" y="6190"/>
                    <a:pt x="23202" y="45706"/>
                    <a:pt x="17822" y="57335"/>
                  </a:cubicBezTo>
                  <a:cubicBezTo>
                    <a:pt x="12435" y="68963"/>
                    <a:pt x="0" y="94536"/>
                    <a:pt x="0" y="108479"/>
                  </a:cubicBezTo>
                  <a:cubicBezTo>
                    <a:pt x="0" y="122422"/>
                    <a:pt x="20888" y="97604"/>
                    <a:pt x="23202" y="94536"/>
                  </a:cubicBezTo>
                  <a:cubicBezTo>
                    <a:pt x="25516" y="91466"/>
                    <a:pt x="68966" y="79784"/>
                    <a:pt x="85219" y="74401"/>
                  </a:cubicBezTo>
                  <a:cubicBezTo>
                    <a:pt x="101480" y="69017"/>
                    <a:pt x="75908" y="45706"/>
                    <a:pt x="74346" y="31763"/>
                  </a:cubicBezTo>
                  <a:cubicBezTo>
                    <a:pt x="72785" y="17820"/>
                    <a:pt x="51144" y="20942"/>
                    <a:pt x="47269" y="2557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5" name="Freihandform: Form 100">
              <a:extLst>
                <a:ext uri="{FF2B5EF4-FFF2-40B4-BE49-F238E27FC236}">
                  <a16:creationId xmlns:a16="http://schemas.microsoft.com/office/drawing/2014/main" id="{2D7ABC95-B0BF-014B-8DBA-A74B3FA45558}"/>
                </a:ext>
              </a:extLst>
            </p:cNvPr>
            <p:cNvSpPr/>
            <p:nvPr/>
          </p:nvSpPr>
          <p:spPr>
            <a:xfrm>
              <a:off x="7575482" y="2239820"/>
              <a:ext cx="81959" cy="102863"/>
            </a:xfrm>
            <a:custGeom>
              <a:avLst/>
              <a:gdLst>
                <a:gd name="connsiteX0" fmla="*/ 81837 w 81959"/>
                <a:gd name="connsiteY0" fmla="*/ 40521 h 102863"/>
                <a:gd name="connsiteX1" fmla="*/ 50659 w 81959"/>
                <a:gd name="connsiteY1" fmla="*/ 1544 h 102863"/>
                <a:gd name="connsiteX2" fmla="*/ 15564 w 81959"/>
                <a:gd name="connsiteY2" fmla="*/ 17156 h 102863"/>
                <a:gd name="connsiteX3" fmla="*/ 0 w 81959"/>
                <a:gd name="connsiteY3" fmla="*/ 83375 h 102863"/>
                <a:gd name="connsiteX4" fmla="*/ 27246 w 81959"/>
                <a:gd name="connsiteY4" fmla="*/ 102863 h 102863"/>
                <a:gd name="connsiteX5" fmla="*/ 81837 w 81959"/>
                <a:gd name="connsiteY5" fmla="*/ 83375 h 102863"/>
                <a:gd name="connsiteX6" fmla="*/ 81837 w 81959"/>
                <a:gd name="connsiteY6" fmla="*/ 40521 h 10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959" h="102863">
                  <a:moveTo>
                    <a:pt x="81837" y="40521"/>
                  </a:moveTo>
                  <a:cubicBezTo>
                    <a:pt x="83771" y="30777"/>
                    <a:pt x="62348" y="5420"/>
                    <a:pt x="50659" y="1544"/>
                  </a:cubicBezTo>
                  <a:cubicBezTo>
                    <a:pt x="41319" y="-4670"/>
                    <a:pt x="23371" y="9363"/>
                    <a:pt x="15564" y="17156"/>
                  </a:cubicBezTo>
                  <a:lnTo>
                    <a:pt x="0" y="83375"/>
                  </a:lnTo>
                  <a:lnTo>
                    <a:pt x="27246" y="102863"/>
                  </a:lnTo>
                  <a:lnTo>
                    <a:pt x="81837" y="83375"/>
                  </a:lnTo>
                  <a:cubicBezTo>
                    <a:pt x="81190" y="72338"/>
                    <a:pt x="80282" y="48316"/>
                    <a:pt x="81837" y="4052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6" name="Freihandform: Form 101">
              <a:extLst>
                <a:ext uri="{FF2B5EF4-FFF2-40B4-BE49-F238E27FC236}">
                  <a16:creationId xmlns:a16="http://schemas.microsoft.com/office/drawing/2014/main" id="{73849C51-BD95-D14E-9BC2-35D4395D9FF1}"/>
                </a:ext>
              </a:extLst>
            </p:cNvPr>
            <p:cNvSpPr/>
            <p:nvPr/>
          </p:nvSpPr>
          <p:spPr>
            <a:xfrm>
              <a:off x="7564580" y="2351135"/>
              <a:ext cx="26466" cy="23100"/>
            </a:xfrm>
            <a:custGeom>
              <a:avLst/>
              <a:gdLst>
                <a:gd name="connsiteX0" fmla="*/ 26466 w 26466"/>
                <a:gd name="connsiteY0" fmla="*/ 15505 h 23100"/>
                <a:gd name="connsiteX1" fmla="*/ 5951 w 26466"/>
                <a:gd name="connsiteY1" fmla="*/ 0 h 23100"/>
                <a:gd name="connsiteX2" fmla="*/ 514 w 26466"/>
                <a:gd name="connsiteY2" fmla="*/ 15505 h 23100"/>
                <a:gd name="connsiteX3" fmla="*/ 26466 w 26466"/>
                <a:gd name="connsiteY3" fmla="*/ 15505 h 2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66" h="23100">
                  <a:moveTo>
                    <a:pt x="26466" y="15505"/>
                  </a:moveTo>
                  <a:cubicBezTo>
                    <a:pt x="26466" y="6999"/>
                    <a:pt x="20650" y="808"/>
                    <a:pt x="5951" y="0"/>
                  </a:cubicBezTo>
                  <a:cubicBezTo>
                    <a:pt x="999" y="8452"/>
                    <a:pt x="-1047" y="3877"/>
                    <a:pt x="514" y="15505"/>
                  </a:cubicBezTo>
                  <a:cubicBezTo>
                    <a:pt x="2076" y="27134"/>
                    <a:pt x="26466" y="24011"/>
                    <a:pt x="26466" y="1550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7" name="Freihandform: Form 102">
              <a:extLst>
                <a:ext uri="{FF2B5EF4-FFF2-40B4-BE49-F238E27FC236}">
                  <a16:creationId xmlns:a16="http://schemas.microsoft.com/office/drawing/2014/main" id="{68FA01E4-503E-6E43-97B7-2146CE7E989D}"/>
                </a:ext>
              </a:extLst>
            </p:cNvPr>
            <p:cNvSpPr/>
            <p:nvPr/>
          </p:nvSpPr>
          <p:spPr>
            <a:xfrm>
              <a:off x="7601092" y="2342683"/>
              <a:ext cx="90154" cy="111493"/>
            </a:xfrm>
            <a:custGeom>
              <a:avLst/>
              <a:gdLst>
                <a:gd name="connsiteX0" fmla="*/ 56226 w 90154"/>
                <a:gd name="connsiteY0" fmla="*/ 23957 h 111493"/>
                <a:gd name="connsiteX1" fmla="*/ 36034 w 90154"/>
                <a:gd name="connsiteY1" fmla="*/ 0 h 111493"/>
                <a:gd name="connsiteX2" fmla="*/ 1636 w 90154"/>
                <a:gd name="connsiteY2" fmla="*/ 40215 h 111493"/>
                <a:gd name="connsiteX3" fmla="*/ 19774 w 90154"/>
                <a:gd name="connsiteY3" fmla="*/ 86729 h 111493"/>
                <a:gd name="connsiteX4" fmla="*/ 83303 w 90154"/>
                <a:gd name="connsiteY4" fmla="*/ 111494 h 111493"/>
                <a:gd name="connsiteX5" fmla="*/ 83303 w 90154"/>
                <a:gd name="connsiteY5" fmla="*/ 72786 h 111493"/>
                <a:gd name="connsiteX6" fmla="*/ 83303 w 90154"/>
                <a:gd name="connsiteY6" fmla="*/ 8452 h 111493"/>
                <a:gd name="connsiteX7" fmla="*/ 56226 w 90154"/>
                <a:gd name="connsiteY7" fmla="*/ 23957 h 11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154" h="111493">
                  <a:moveTo>
                    <a:pt x="56226" y="23957"/>
                  </a:moveTo>
                  <a:cubicBezTo>
                    <a:pt x="46155" y="28587"/>
                    <a:pt x="52344" y="0"/>
                    <a:pt x="36034" y="0"/>
                  </a:cubicBezTo>
                  <a:cubicBezTo>
                    <a:pt x="6587" y="5491"/>
                    <a:pt x="8957" y="30148"/>
                    <a:pt x="1636" y="40215"/>
                  </a:cubicBezTo>
                  <a:cubicBezTo>
                    <a:pt x="-5686" y="50282"/>
                    <a:pt x="13585" y="72786"/>
                    <a:pt x="19774" y="86729"/>
                  </a:cubicBezTo>
                  <a:cubicBezTo>
                    <a:pt x="25970" y="100673"/>
                    <a:pt x="65482" y="111494"/>
                    <a:pt x="83303" y="111494"/>
                  </a:cubicBezTo>
                  <a:cubicBezTo>
                    <a:pt x="101125" y="111494"/>
                    <a:pt x="77916" y="79730"/>
                    <a:pt x="83303" y="72786"/>
                  </a:cubicBezTo>
                  <a:cubicBezTo>
                    <a:pt x="88683" y="65841"/>
                    <a:pt x="92615" y="23957"/>
                    <a:pt x="83303" y="8452"/>
                  </a:cubicBezTo>
                  <a:cubicBezTo>
                    <a:pt x="73992" y="-7053"/>
                    <a:pt x="66290" y="19327"/>
                    <a:pt x="56226" y="23957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8" name="Freihandform: Form 103">
              <a:extLst>
                <a:ext uri="{FF2B5EF4-FFF2-40B4-BE49-F238E27FC236}">
                  <a16:creationId xmlns:a16="http://schemas.microsoft.com/office/drawing/2014/main" id="{7F1C1316-C167-BE46-9B41-A57D8D6EB0B7}"/>
                </a:ext>
              </a:extLst>
            </p:cNvPr>
            <p:cNvSpPr/>
            <p:nvPr/>
          </p:nvSpPr>
          <p:spPr>
            <a:xfrm>
              <a:off x="7691393" y="2408470"/>
              <a:ext cx="90608" cy="112698"/>
            </a:xfrm>
            <a:custGeom>
              <a:avLst/>
              <a:gdLst>
                <a:gd name="connsiteX0" fmla="*/ 47269 w 90608"/>
                <a:gd name="connsiteY0" fmla="*/ 25571 h 112698"/>
                <a:gd name="connsiteX1" fmla="*/ 35636 w 90608"/>
                <a:gd name="connsiteY1" fmla="*/ 0 h 112698"/>
                <a:gd name="connsiteX2" fmla="*/ 17822 w 90608"/>
                <a:gd name="connsiteY2" fmla="*/ 57335 h 112698"/>
                <a:gd name="connsiteX3" fmla="*/ 0 w 90608"/>
                <a:gd name="connsiteY3" fmla="*/ 108479 h 112698"/>
                <a:gd name="connsiteX4" fmla="*/ 23202 w 90608"/>
                <a:gd name="connsiteY4" fmla="*/ 94536 h 112698"/>
                <a:gd name="connsiteX5" fmla="*/ 85219 w 90608"/>
                <a:gd name="connsiteY5" fmla="*/ 74401 h 112698"/>
                <a:gd name="connsiteX6" fmla="*/ 74346 w 90608"/>
                <a:gd name="connsiteY6" fmla="*/ 31763 h 112698"/>
                <a:gd name="connsiteX7" fmla="*/ 47269 w 90608"/>
                <a:gd name="connsiteY7" fmla="*/ 25571 h 112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608" h="112698">
                  <a:moveTo>
                    <a:pt x="47269" y="25571"/>
                  </a:moveTo>
                  <a:cubicBezTo>
                    <a:pt x="43394" y="30201"/>
                    <a:pt x="42585" y="6999"/>
                    <a:pt x="35636" y="0"/>
                  </a:cubicBezTo>
                  <a:cubicBezTo>
                    <a:pt x="15508" y="6190"/>
                    <a:pt x="23202" y="45706"/>
                    <a:pt x="17822" y="57335"/>
                  </a:cubicBezTo>
                  <a:cubicBezTo>
                    <a:pt x="12435" y="68963"/>
                    <a:pt x="0" y="94536"/>
                    <a:pt x="0" y="108479"/>
                  </a:cubicBezTo>
                  <a:cubicBezTo>
                    <a:pt x="0" y="122422"/>
                    <a:pt x="20888" y="97604"/>
                    <a:pt x="23202" y="94536"/>
                  </a:cubicBezTo>
                  <a:cubicBezTo>
                    <a:pt x="25516" y="91466"/>
                    <a:pt x="68966" y="79784"/>
                    <a:pt x="85219" y="74401"/>
                  </a:cubicBezTo>
                  <a:cubicBezTo>
                    <a:pt x="101480" y="69017"/>
                    <a:pt x="75908" y="45706"/>
                    <a:pt x="74346" y="31763"/>
                  </a:cubicBezTo>
                  <a:cubicBezTo>
                    <a:pt x="72785" y="17820"/>
                    <a:pt x="51144" y="20942"/>
                    <a:pt x="47269" y="2557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9" name="Freihandform: Form 104">
              <a:extLst>
                <a:ext uri="{FF2B5EF4-FFF2-40B4-BE49-F238E27FC236}">
                  <a16:creationId xmlns:a16="http://schemas.microsoft.com/office/drawing/2014/main" id="{A275E1CF-FF07-9143-9923-66B890F75100}"/>
                </a:ext>
              </a:extLst>
            </p:cNvPr>
            <p:cNvSpPr/>
            <p:nvPr/>
          </p:nvSpPr>
          <p:spPr>
            <a:xfrm>
              <a:off x="8272341" y="2643583"/>
              <a:ext cx="121003" cy="89095"/>
            </a:xfrm>
            <a:custGeom>
              <a:avLst/>
              <a:gdLst>
                <a:gd name="connsiteX0" fmla="*/ 30084 w 121003"/>
                <a:gd name="connsiteY0" fmla="*/ 795 h 89095"/>
                <a:gd name="connsiteX1" fmla="*/ 50543 w 121003"/>
                <a:gd name="connsiteY1" fmla="*/ 27659 h 89095"/>
                <a:gd name="connsiteX2" fmla="*/ 82522 w 121003"/>
                <a:gd name="connsiteY2" fmla="*/ 17430 h 89095"/>
                <a:gd name="connsiteX3" fmla="*/ 82522 w 121003"/>
                <a:gd name="connsiteY3" fmla="*/ 58344 h 89095"/>
                <a:gd name="connsiteX4" fmla="*/ 117034 w 121003"/>
                <a:gd name="connsiteY4" fmla="*/ 27659 h 89095"/>
                <a:gd name="connsiteX5" fmla="*/ 117034 w 121003"/>
                <a:gd name="connsiteY5" fmla="*/ 58344 h 89095"/>
                <a:gd name="connsiteX6" fmla="*/ 97869 w 121003"/>
                <a:gd name="connsiteY6" fmla="*/ 77509 h 89095"/>
                <a:gd name="connsiteX7" fmla="*/ 72296 w 121003"/>
                <a:gd name="connsiteY7" fmla="*/ 77509 h 89095"/>
                <a:gd name="connsiteX8" fmla="*/ 30084 w 121003"/>
                <a:gd name="connsiteY8" fmla="*/ 89029 h 89095"/>
                <a:gd name="connsiteX9" fmla="*/ 1931 w 121003"/>
                <a:gd name="connsiteY9" fmla="*/ 58344 h 89095"/>
                <a:gd name="connsiteX10" fmla="*/ 30084 w 121003"/>
                <a:gd name="connsiteY10" fmla="*/ 795 h 89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003" h="89095">
                  <a:moveTo>
                    <a:pt x="30084" y="795"/>
                  </a:moveTo>
                  <a:cubicBezTo>
                    <a:pt x="40338" y="-4330"/>
                    <a:pt x="47997" y="16570"/>
                    <a:pt x="50543" y="27659"/>
                  </a:cubicBezTo>
                  <a:cubicBezTo>
                    <a:pt x="71002" y="8494"/>
                    <a:pt x="82522" y="9732"/>
                    <a:pt x="82522" y="17430"/>
                  </a:cubicBezTo>
                  <a:cubicBezTo>
                    <a:pt x="82522" y="25127"/>
                    <a:pt x="72296" y="58344"/>
                    <a:pt x="82522" y="58344"/>
                  </a:cubicBezTo>
                  <a:cubicBezTo>
                    <a:pt x="92749" y="58344"/>
                    <a:pt x="108095" y="27659"/>
                    <a:pt x="117034" y="27659"/>
                  </a:cubicBezTo>
                  <a:cubicBezTo>
                    <a:pt x="125966" y="27659"/>
                    <a:pt x="117034" y="46824"/>
                    <a:pt x="117034" y="58344"/>
                  </a:cubicBezTo>
                  <a:cubicBezTo>
                    <a:pt x="117034" y="69864"/>
                    <a:pt x="110627" y="77509"/>
                    <a:pt x="97869" y="77509"/>
                  </a:cubicBezTo>
                  <a:cubicBezTo>
                    <a:pt x="85111" y="77509"/>
                    <a:pt x="79941" y="80097"/>
                    <a:pt x="72296" y="77509"/>
                  </a:cubicBezTo>
                  <a:cubicBezTo>
                    <a:pt x="64651" y="74928"/>
                    <a:pt x="40317" y="87742"/>
                    <a:pt x="30084" y="89029"/>
                  </a:cubicBezTo>
                  <a:cubicBezTo>
                    <a:pt x="19858" y="90323"/>
                    <a:pt x="10870" y="72396"/>
                    <a:pt x="1931" y="58344"/>
                  </a:cubicBezTo>
                  <a:cubicBezTo>
                    <a:pt x="-7008" y="44292"/>
                    <a:pt x="17277" y="7202"/>
                    <a:pt x="30084" y="79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0" name="Freihandform: Form 105">
              <a:extLst>
                <a:ext uri="{FF2B5EF4-FFF2-40B4-BE49-F238E27FC236}">
                  <a16:creationId xmlns:a16="http://schemas.microsoft.com/office/drawing/2014/main" id="{3E232B13-CE56-144D-A098-0C59EF675B8B}"/>
                </a:ext>
              </a:extLst>
            </p:cNvPr>
            <p:cNvSpPr/>
            <p:nvPr/>
          </p:nvSpPr>
          <p:spPr>
            <a:xfrm>
              <a:off x="8425173" y="2690101"/>
              <a:ext cx="59993" cy="43304"/>
            </a:xfrm>
            <a:custGeom>
              <a:avLst/>
              <a:gdLst>
                <a:gd name="connsiteX0" fmla="*/ 30685 w 59993"/>
                <a:gd name="connsiteY0" fmla="*/ 11825 h 43304"/>
                <a:gd name="connsiteX1" fmla="*/ 0 w 59993"/>
                <a:gd name="connsiteY1" fmla="*/ 305 h 43304"/>
                <a:gd name="connsiteX2" fmla="*/ 6407 w 59993"/>
                <a:gd name="connsiteY2" fmla="*/ 30990 h 43304"/>
                <a:gd name="connsiteX3" fmla="*/ 49907 w 59993"/>
                <a:gd name="connsiteY3" fmla="*/ 37398 h 43304"/>
                <a:gd name="connsiteX4" fmla="*/ 55020 w 59993"/>
                <a:gd name="connsiteY4" fmla="*/ 22058 h 43304"/>
                <a:gd name="connsiteX5" fmla="*/ 30685 w 59993"/>
                <a:gd name="connsiteY5" fmla="*/ 11825 h 43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993" h="43304">
                  <a:moveTo>
                    <a:pt x="30685" y="11825"/>
                  </a:moveTo>
                  <a:cubicBezTo>
                    <a:pt x="19165" y="11825"/>
                    <a:pt x="11520" y="-2227"/>
                    <a:pt x="0" y="305"/>
                  </a:cubicBezTo>
                  <a:cubicBezTo>
                    <a:pt x="0" y="4145"/>
                    <a:pt x="1280" y="15658"/>
                    <a:pt x="6407" y="30990"/>
                  </a:cubicBezTo>
                  <a:cubicBezTo>
                    <a:pt x="12814" y="50156"/>
                    <a:pt x="30685" y="42511"/>
                    <a:pt x="49907" y="37398"/>
                  </a:cubicBezTo>
                  <a:cubicBezTo>
                    <a:pt x="65281" y="33311"/>
                    <a:pt x="59725" y="25462"/>
                    <a:pt x="55020" y="22058"/>
                  </a:cubicBezTo>
                  <a:cubicBezTo>
                    <a:pt x="50750" y="18647"/>
                    <a:pt x="39905" y="11825"/>
                    <a:pt x="30685" y="1182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1" name="Freihandform: Form 106">
              <a:extLst>
                <a:ext uri="{FF2B5EF4-FFF2-40B4-BE49-F238E27FC236}">
                  <a16:creationId xmlns:a16="http://schemas.microsoft.com/office/drawing/2014/main" id="{3BD0EBF7-6B3E-1141-AB68-E55B45050907}"/>
                </a:ext>
              </a:extLst>
            </p:cNvPr>
            <p:cNvSpPr/>
            <p:nvPr/>
          </p:nvSpPr>
          <p:spPr>
            <a:xfrm>
              <a:off x="8319685" y="2754365"/>
              <a:ext cx="24952" cy="13422"/>
            </a:xfrm>
            <a:custGeom>
              <a:avLst/>
              <a:gdLst>
                <a:gd name="connsiteX0" fmla="*/ 24952 w 24952"/>
                <a:gd name="connsiteY0" fmla="*/ 0 h 13422"/>
                <a:gd name="connsiteX1" fmla="*/ 3199 w 24952"/>
                <a:gd name="connsiteY1" fmla="*/ 12758 h 13422"/>
                <a:gd name="connsiteX2" fmla="*/ 24952 w 24952"/>
                <a:gd name="connsiteY2" fmla="*/ 0 h 13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952" h="13422">
                  <a:moveTo>
                    <a:pt x="24952" y="0"/>
                  </a:moveTo>
                  <a:cubicBezTo>
                    <a:pt x="13017" y="3390"/>
                    <a:pt x="-8040" y="10690"/>
                    <a:pt x="3199" y="12758"/>
                  </a:cubicBezTo>
                  <a:cubicBezTo>
                    <a:pt x="17251" y="15346"/>
                    <a:pt x="24952" y="10226"/>
                    <a:pt x="24952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2" name="Freihandform: Form 107">
              <a:extLst>
                <a:ext uri="{FF2B5EF4-FFF2-40B4-BE49-F238E27FC236}">
                  <a16:creationId xmlns:a16="http://schemas.microsoft.com/office/drawing/2014/main" id="{3796E150-9883-EE43-BF2C-9E258912135E}"/>
                </a:ext>
              </a:extLst>
            </p:cNvPr>
            <p:cNvSpPr/>
            <p:nvPr/>
          </p:nvSpPr>
          <p:spPr>
            <a:xfrm>
              <a:off x="8330320" y="2787115"/>
              <a:ext cx="40469" cy="29552"/>
            </a:xfrm>
            <a:custGeom>
              <a:avLst/>
              <a:gdLst>
                <a:gd name="connsiteX0" fmla="*/ 39890 w 40469"/>
                <a:gd name="connsiteY0" fmla="*/ 8161 h 29552"/>
                <a:gd name="connsiteX1" fmla="*/ 4035 w 40469"/>
                <a:gd name="connsiteY1" fmla="*/ 1761 h 29552"/>
                <a:gd name="connsiteX2" fmla="*/ 24543 w 40469"/>
                <a:gd name="connsiteY2" fmla="*/ 27333 h 29552"/>
                <a:gd name="connsiteX3" fmla="*/ 39890 w 40469"/>
                <a:gd name="connsiteY3" fmla="*/ 8161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69" h="29552">
                  <a:moveTo>
                    <a:pt x="39890" y="8161"/>
                  </a:moveTo>
                  <a:cubicBezTo>
                    <a:pt x="39890" y="467"/>
                    <a:pt x="24543" y="-2065"/>
                    <a:pt x="4035" y="1761"/>
                  </a:cubicBezTo>
                  <a:cubicBezTo>
                    <a:pt x="-6247" y="10693"/>
                    <a:pt x="4035" y="18394"/>
                    <a:pt x="24543" y="27333"/>
                  </a:cubicBezTo>
                  <a:cubicBezTo>
                    <a:pt x="45059" y="36265"/>
                    <a:pt x="39890" y="15862"/>
                    <a:pt x="39890" y="816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3" name="Freihandform: Form 108">
              <a:extLst>
                <a:ext uri="{FF2B5EF4-FFF2-40B4-BE49-F238E27FC236}">
                  <a16:creationId xmlns:a16="http://schemas.microsoft.com/office/drawing/2014/main" id="{2050472C-A116-5D47-9D47-A8DEF79C75CE}"/>
                </a:ext>
              </a:extLst>
            </p:cNvPr>
            <p:cNvSpPr/>
            <p:nvPr/>
          </p:nvSpPr>
          <p:spPr>
            <a:xfrm>
              <a:off x="8920999" y="2905266"/>
              <a:ext cx="57928" cy="35805"/>
            </a:xfrm>
            <a:custGeom>
              <a:avLst/>
              <a:gdLst>
                <a:gd name="connsiteX0" fmla="*/ 23649 w 57928"/>
                <a:gd name="connsiteY0" fmla="*/ 0 h 35805"/>
                <a:gd name="connsiteX1" fmla="*/ 23418 w 57928"/>
                <a:gd name="connsiteY1" fmla="*/ 0 h 35805"/>
                <a:gd name="connsiteX2" fmla="*/ 377 w 57928"/>
                <a:gd name="connsiteY2" fmla="*/ 30685 h 35805"/>
                <a:gd name="connsiteX3" fmla="*/ 38764 w 57928"/>
                <a:gd name="connsiteY3" fmla="*/ 30685 h 35805"/>
                <a:gd name="connsiteX4" fmla="*/ 57929 w 57928"/>
                <a:gd name="connsiteY4" fmla="*/ 8939 h 35805"/>
                <a:gd name="connsiteX5" fmla="*/ 23649 w 57928"/>
                <a:gd name="connsiteY5" fmla="*/ 0 h 3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28" h="35805">
                  <a:moveTo>
                    <a:pt x="23649" y="0"/>
                  </a:moveTo>
                  <a:lnTo>
                    <a:pt x="23418" y="0"/>
                  </a:lnTo>
                  <a:cubicBezTo>
                    <a:pt x="8078" y="10226"/>
                    <a:pt x="4252" y="19165"/>
                    <a:pt x="377" y="30685"/>
                  </a:cubicBezTo>
                  <a:cubicBezTo>
                    <a:pt x="-3498" y="42205"/>
                    <a:pt x="23418" y="30685"/>
                    <a:pt x="38764" y="30685"/>
                  </a:cubicBezTo>
                  <a:cubicBezTo>
                    <a:pt x="54110" y="30685"/>
                    <a:pt x="57929" y="17927"/>
                    <a:pt x="57929" y="8939"/>
                  </a:cubicBezTo>
                  <a:cubicBezTo>
                    <a:pt x="57929" y="0"/>
                    <a:pt x="36436" y="0"/>
                    <a:pt x="23649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4" name="Freihandform: Form 109">
              <a:extLst>
                <a:ext uri="{FF2B5EF4-FFF2-40B4-BE49-F238E27FC236}">
                  <a16:creationId xmlns:a16="http://schemas.microsoft.com/office/drawing/2014/main" id="{5EFC953A-F988-6645-8EBE-0D22DA8027E3}"/>
                </a:ext>
              </a:extLst>
            </p:cNvPr>
            <p:cNvSpPr/>
            <p:nvPr/>
          </p:nvSpPr>
          <p:spPr>
            <a:xfrm>
              <a:off x="8272341" y="2643583"/>
              <a:ext cx="121003" cy="89095"/>
            </a:xfrm>
            <a:custGeom>
              <a:avLst/>
              <a:gdLst>
                <a:gd name="connsiteX0" fmla="*/ 30084 w 121003"/>
                <a:gd name="connsiteY0" fmla="*/ 795 h 89095"/>
                <a:gd name="connsiteX1" fmla="*/ 50543 w 121003"/>
                <a:gd name="connsiteY1" fmla="*/ 27659 h 89095"/>
                <a:gd name="connsiteX2" fmla="*/ 82522 w 121003"/>
                <a:gd name="connsiteY2" fmla="*/ 17430 h 89095"/>
                <a:gd name="connsiteX3" fmla="*/ 82522 w 121003"/>
                <a:gd name="connsiteY3" fmla="*/ 58344 h 89095"/>
                <a:gd name="connsiteX4" fmla="*/ 117034 w 121003"/>
                <a:gd name="connsiteY4" fmla="*/ 27659 h 89095"/>
                <a:gd name="connsiteX5" fmla="*/ 117034 w 121003"/>
                <a:gd name="connsiteY5" fmla="*/ 58344 h 89095"/>
                <a:gd name="connsiteX6" fmla="*/ 97869 w 121003"/>
                <a:gd name="connsiteY6" fmla="*/ 77509 h 89095"/>
                <a:gd name="connsiteX7" fmla="*/ 72296 w 121003"/>
                <a:gd name="connsiteY7" fmla="*/ 77509 h 89095"/>
                <a:gd name="connsiteX8" fmla="*/ 30084 w 121003"/>
                <a:gd name="connsiteY8" fmla="*/ 89029 h 89095"/>
                <a:gd name="connsiteX9" fmla="*/ 1931 w 121003"/>
                <a:gd name="connsiteY9" fmla="*/ 58344 h 89095"/>
                <a:gd name="connsiteX10" fmla="*/ 30084 w 121003"/>
                <a:gd name="connsiteY10" fmla="*/ 795 h 89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003" h="89095">
                  <a:moveTo>
                    <a:pt x="30084" y="795"/>
                  </a:moveTo>
                  <a:cubicBezTo>
                    <a:pt x="40338" y="-4330"/>
                    <a:pt x="47997" y="16570"/>
                    <a:pt x="50543" y="27659"/>
                  </a:cubicBezTo>
                  <a:cubicBezTo>
                    <a:pt x="71002" y="8494"/>
                    <a:pt x="82522" y="9732"/>
                    <a:pt x="82522" y="17430"/>
                  </a:cubicBezTo>
                  <a:cubicBezTo>
                    <a:pt x="82522" y="25127"/>
                    <a:pt x="72296" y="58344"/>
                    <a:pt x="82522" y="58344"/>
                  </a:cubicBezTo>
                  <a:cubicBezTo>
                    <a:pt x="92749" y="58344"/>
                    <a:pt x="108095" y="27659"/>
                    <a:pt x="117034" y="27659"/>
                  </a:cubicBezTo>
                  <a:cubicBezTo>
                    <a:pt x="125966" y="27659"/>
                    <a:pt x="117034" y="46824"/>
                    <a:pt x="117034" y="58344"/>
                  </a:cubicBezTo>
                  <a:cubicBezTo>
                    <a:pt x="117034" y="69864"/>
                    <a:pt x="110627" y="77509"/>
                    <a:pt x="97869" y="77509"/>
                  </a:cubicBezTo>
                  <a:cubicBezTo>
                    <a:pt x="85111" y="77509"/>
                    <a:pt x="79941" y="80097"/>
                    <a:pt x="72296" y="77509"/>
                  </a:cubicBezTo>
                  <a:cubicBezTo>
                    <a:pt x="64651" y="74928"/>
                    <a:pt x="40317" y="87742"/>
                    <a:pt x="30084" y="89029"/>
                  </a:cubicBezTo>
                  <a:cubicBezTo>
                    <a:pt x="19858" y="90323"/>
                    <a:pt x="10870" y="72396"/>
                    <a:pt x="1931" y="58344"/>
                  </a:cubicBezTo>
                  <a:cubicBezTo>
                    <a:pt x="-7008" y="44292"/>
                    <a:pt x="17277" y="7202"/>
                    <a:pt x="30084" y="79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5" name="Freihandform: Form 110">
              <a:extLst>
                <a:ext uri="{FF2B5EF4-FFF2-40B4-BE49-F238E27FC236}">
                  <a16:creationId xmlns:a16="http://schemas.microsoft.com/office/drawing/2014/main" id="{AEF2377C-2BD9-8C41-A19B-7CD2FA8E8EA6}"/>
                </a:ext>
              </a:extLst>
            </p:cNvPr>
            <p:cNvSpPr/>
            <p:nvPr/>
          </p:nvSpPr>
          <p:spPr>
            <a:xfrm>
              <a:off x="8425173" y="2690101"/>
              <a:ext cx="59993" cy="43304"/>
            </a:xfrm>
            <a:custGeom>
              <a:avLst/>
              <a:gdLst>
                <a:gd name="connsiteX0" fmla="*/ 30685 w 59993"/>
                <a:gd name="connsiteY0" fmla="*/ 11825 h 43304"/>
                <a:gd name="connsiteX1" fmla="*/ 0 w 59993"/>
                <a:gd name="connsiteY1" fmla="*/ 305 h 43304"/>
                <a:gd name="connsiteX2" fmla="*/ 6407 w 59993"/>
                <a:gd name="connsiteY2" fmla="*/ 30990 h 43304"/>
                <a:gd name="connsiteX3" fmla="*/ 49907 w 59993"/>
                <a:gd name="connsiteY3" fmla="*/ 37398 h 43304"/>
                <a:gd name="connsiteX4" fmla="*/ 55020 w 59993"/>
                <a:gd name="connsiteY4" fmla="*/ 22058 h 43304"/>
                <a:gd name="connsiteX5" fmla="*/ 30685 w 59993"/>
                <a:gd name="connsiteY5" fmla="*/ 11825 h 43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993" h="43304">
                  <a:moveTo>
                    <a:pt x="30685" y="11825"/>
                  </a:moveTo>
                  <a:cubicBezTo>
                    <a:pt x="19165" y="11825"/>
                    <a:pt x="11520" y="-2227"/>
                    <a:pt x="0" y="305"/>
                  </a:cubicBezTo>
                  <a:cubicBezTo>
                    <a:pt x="0" y="4145"/>
                    <a:pt x="1280" y="15658"/>
                    <a:pt x="6407" y="30990"/>
                  </a:cubicBezTo>
                  <a:cubicBezTo>
                    <a:pt x="12814" y="50156"/>
                    <a:pt x="30685" y="42511"/>
                    <a:pt x="49907" y="37398"/>
                  </a:cubicBezTo>
                  <a:cubicBezTo>
                    <a:pt x="65281" y="33311"/>
                    <a:pt x="59725" y="25462"/>
                    <a:pt x="55020" y="22058"/>
                  </a:cubicBezTo>
                  <a:cubicBezTo>
                    <a:pt x="50750" y="18647"/>
                    <a:pt x="39905" y="11825"/>
                    <a:pt x="30685" y="1182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6" name="Freihandform: Form 111">
              <a:extLst>
                <a:ext uri="{FF2B5EF4-FFF2-40B4-BE49-F238E27FC236}">
                  <a16:creationId xmlns:a16="http://schemas.microsoft.com/office/drawing/2014/main" id="{C34CCA7B-B9AA-2840-BD9E-BE693B7B3EAA}"/>
                </a:ext>
              </a:extLst>
            </p:cNvPr>
            <p:cNvSpPr/>
            <p:nvPr/>
          </p:nvSpPr>
          <p:spPr>
            <a:xfrm>
              <a:off x="8319685" y="2754365"/>
              <a:ext cx="24952" cy="13422"/>
            </a:xfrm>
            <a:custGeom>
              <a:avLst/>
              <a:gdLst>
                <a:gd name="connsiteX0" fmla="*/ 24952 w 24952"/>
                <a:gd name="connsiteY0" fmla="*/ 0 h 13422"/>
                <a:gd name="connsiteX1" fmla="*/ 3199 w 24952"/>
                <a:gd name="connsiteY1" fmla="*/ 12758 h 13422"/>
                <a:gd name="connsiteX2" fmla="*/ 24952 w 24952"/>
                <a:gd name="connsiteY2" fmla="*/ 0 h 13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952" h="13422">
                  <a:moveTo>
                    <a:pt x="24952" y="0"/>
                  </a:moveTo>
                  <a:cubicBezTo>
                    <a:pt x="13017" y="3390"/>
                    <a:pt x="-8040" y="10690"/>
                    <a:pt x="3199" y="12758"/>
                  </a:cubicBezTo>
                  <a:cubicBezTo>
                    <a:pt x="17251" y="15346"/>
                    <a:pt x="24952" y="10226"/>
                    <a:pt x="24952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7" name="Freihandform: Form 112">
              <a:extLst>
                <a:ext uri="{FF2B5EF4-FFF2-40B4-BE49-F238E27FC236}">
                  <a16:creationId xmlns:a16="http://schemas.microsoft.com/office/drawing/2014/main" id="{4C83ACD0-A0D3-EC4C-820A-86A0C7E97DAE}"/>
                </a:ext>
              </a:extLst>
            </p:cNvPr>
            <p:cNvSpPr/>
            <p:nvPr/>
          </p:nvSpPr>
          <p:spPr>
            <a:xfrm>
              <a:off x="8330320" y="2787115"/>
              <a:ext cx="40469" cy="29552"/>
            </a:xfrm>
            <a:custGeom>
              <a:avLst/>
              <a:gdLst>
                <a:gd name="connsiteX0" fmla="*/ 39890 w 40469"/>
                <a:gd name="connsiteY0" fmla="*/ 8161 h 29552"/>
                <a:gd name="connsiteX1" fmla="*/ 4035 w 40469"/>
                <a:gd name="connsiteY1" fmla="*/ 1761 h 29552"/>
                <a:gd name="connsiteX2" fmla="*/ 24543 w 40469"/>
                <a:gd name="connsiteY2" fmla="*/ 27333 h 29552"/>
                <a:gd name="connsiteX3" fmla="*/ 39890 w 40469"/>
                <a:gd name="connsiteY3" fmla="*/ 8161 h 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69" h="29552">
                  <a:moveTo>
                    <a:pt x="39890" y="8161"/>
                  </a:moveTo>
                  <a:cubicBezTo>
                    <a:pt x="39890" y="467"/>
                    <a:pt x="24543" y="-2065"/>
                    <a:pt x="4035" y="1761"/>
                  </a:cubicBezTo>
                  <a:cubicBezTo>
                    <a:pt x="-6247" y="10693"/>
                    <a:pt x="4035" y="18394"/>
                    <a:pt x="24543" y="27333"/>
                  </a:cubicBezTo>
                  <a:cubicBezTo>
                    <a:pt x="45059" y="36265"/>
                    <a:pt x="39890" y="15862"/>
                    <a:pt x="39890" y="816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8" name="Freihandform: Form 113">
              <a:extLst>
                <a:ext uri="{FF2B5EF4-FFF2-40B4-BE49-F238E27FC236}">
                  <a16:creationId xmlns:a16="http://schemas.microsoft.com/office/drawing/2014/main" id="{59BC4DEE-3EFC-B94C-B49B-83E645D3F69E}"/>
                </a:ext>
              </a:extLst>
            </p:cNvPr>
            <p:cNvSpPr/>
            <p:nvPr/>
          </p:nvSpPr>
          <p:spPr>
            <a:xfrm>
              <a:off x="8920999" y="2905266"/>
              <a:ext cx="57928" cy="35805"/>
            </a:xfrm>
            <a:custGeom>
              <a:avLst/>
              <a:gdLst>
                <a:gd name="connsiteX0" fmla="*/ 23649 w 57928"/>
                <a:gd name="connsiteY0" fmla="*/ 0 h 35805"/>
                <a:gd name="connsiteX1" fmla="*/ 23418 w 57928"/>
                <a:gd name="connsiteY1" fmla="*/ 0 h 35805"/>
                <a:gd name="connsiteX2" fmla="*/ 377 w 57928"/>
                <a:gd name="connsiteY2" fmla="*/ 30685 h 35805"/>
                <a:gd name="connsiteX3" fmla="*/ 38764 w 57928"/>
                <a:gd name="connsiteY3" fmla="*/ 30685 h 35805"/>
                <a:gd name="connsiteX4" fmla="*/ 57929 w 57928"/>
                <a:gd name="connsiteY4" fmla="*/ 8939 h 35805"/>
                <a:gd name="connsiteX5" fmla="*/ 23649 w 57928"/>
                <a:gd name="connsiteY5" fmla="*/ 0 h 3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28" h="35805">
                  <a:moveTo>
                    <a:pt x="23649" y="0"/>
                  </a:moveTo>
                  <a:lnTo>
                    <a:pt x="23418" y="0"/>
                  </a:lnTo>
                  <a:cubicBezTo>
                    <a:pt x="8078" y="10226"/>
                    <a:pt x="4252" y="19165"/>
                    <a:pt x="377" y="30685"/>
                  </a:cubicBezTo>
                  <a:cubicBezTo>
                    <a:pt x="-3498" y="42205"/>
                    <a:pt x="23418" y="30685"/>
                    <a:pt x="38764" y="30685"/>
                  </a:cubicBezTo>
                  <a:cubicBezTo>
                    <a:pt x="54110" y="30685"/>
                    <a:pt x="57929" y="17927"/>
                    <a:pt x="57929" y="8939"/>
                  </a:cubicBezTo>
                  <a:cubicBezTo>
                    <a:pt x="57929" y="0"/>
                    <a:pt x="36436" y="0"/>
                    <a:pt x="23649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9" name="Freihandform: Form 114">
              <a:extLst>
                <a:ext uri="{FF2B5EF4-FFF2-40B4-BE49-F238E27FC236}">
                  <a16:creationId xmlns:a16="http://schemas.microsoft.com/office/drawing/2014/main" id="{5DDEFD1C-5077-D449-B02A-AC15A10CAAE8}"/>
                </a:ext>
              </a:extLst>
            </p:cNvPr>
            <p:cNvSpPr/>
            <p:nvPr/>
          </p:nvSpPr>
          <p:spPr>
            <a:xfrm>
              <a:off x="6950596" y="2593582"/>
              <a:ext cx="269361" cy="350949"/>
            </a:xfrm>
            <a:custGeom>
              <a:avLst/>
              <a:gdLst>
                <a:gd name="connsiteX0" fmla="*/ 259673 w 269361"/>
                <a:gd name="connsiteY0" fmla="*/ 50224 h 350949"/>
                <a:gd name="connsiteX1" fmla="*/ 268950 w 269361"/>
                <a:gd name="connsiteY1" fmla="*/ 10177 h 350949"/>
                <a:gd name="connsiteX2" fmla="*/ 247007 w 269361"/>
                <a:gd name="connsiteY2" fmla="*/ 8 h 350949"/>
                <a:gd name="connsiteX3" fmla="*/ 237055 w 269361"/>
                <a:gd name="connsiteY3" fmla="*/ 4754 h 350949"/>
                <a:gd name="connsiteX4" fmla="*/ 227982 w 269361"/>
                <a:gd name="connsiteY4" fmla="*/ 21023 h 350949"/>
                <a:gd name="connsiteX5" fmla="*/ 206461 w 269361"/>
                <a:gd name="connsiteY5" fmla="*/ 40734 h 350949"/>
                <a:gd name="connsiteX6" fmla="*/ 189307 w 269361"/>
                <a:gd name="connsiteY6" fmla="*/ 50224 h 350949"/>
                <a:gd name="connsiteX7" fmla="*/ 173722 w 269361"/>
                <a:gd name="connsiteY7" fmla="*/ 50224 h 350949"/>
                <a:gd name="connsiteX8" fmla="*/ 159445 w 269361"/>
                <a:gd name="connsiteY8" fmla="*/ 50224 h 350949"/>
                <a:gd name="connsiteX9" fmla="*/ 145941 w 269361"/>
                <a:gd name="connsiteY9" fmla="*/ 57682 h 350949"/>
                <a:gd name="connsiteX10" fmla="*/ 114673 w 269361"/>
                <a:gd name="connsiteY10" fmla="*/ 71238 h 350949"/>
                <a:gd name="connsiteX11" fmla="*/ 110031 w 269361"/>
                <a:gd name="connsiteY11" fmla="*/ 77392 h 350949"/>
                <a:gd name="connsiteX12" fmla="*/ 96738 w 269361"/>
                <a:gd name="connsiteY12" fmla="*/ 94341 h 350949"/>
                <a:gd name="connsiteX13" fmla="*/ 79381 w 269361"/>
                <a:gd name="connsiteY13" fmla="*/ 118120 h 350949"/>
                <a:gd name="connsiteX14" fmla="*/ 69218 w 269361"/>
                <a:gd name="connsiteY14" fmla="*/ 160199 h 350949"/>
                <a:gd name="connsiteX15" fmla="*/ 57023 w 269361"/>
                <a:gd name="connsiteY15" fmla="*/ 177824 h 350949"/>
                <a:gd name="connsiteX16" fmla="*/ 47486 w 269361"/>
                <a:gd name="connsiteY16" fmla="*/ 191798 h 350949"/>
                <a:gd name="connsiteX17" fmla="*/ 50925 w 269361"/>
                <a:gd name="connsiteY17" fmla="*/ 209057 h 350949"/>
                <a:gd name="connsiteX18" fmla="*/ 36641 w 269361"/>
                <a:gd name="connsiteY18" fmla="*/ 226063 h 350949"/>
                <a:gd name="connsiteX19" fmla="*/ 33251 w 269361"/>
                <a:gd name="connsiteY19" fmla="*/ 247022 h 350949"/>
                <a:gd name="connsiteX20" fmla="*/ 22462 w 269361"/>
                <a:gd name="connsiteY20" fmla="*/ 274296 h 350949"/>
                <a:gd name="connsiteX21" fmla="*/ 681 w 269361"/>
                <a:gd name="connsiteY21" fmla="*/ 290929 h 350949"/>
                <a:gd name="connsiteX22" fmla="*/ 6779 w 269361"/>
                <a:gd name="connsiteY22" fmla="*/ 308245 h 350949"/>
                <a:gd name="connsiteX23" fmla="*/ 22462 w 269361"/>
                <a:gd name="connsiteY23" fmla="*/ 308245 h 350949"/>
                <a:gd name="connsiteX24" fmla="*/ 33251 w 269361"/>
                <a:gd name="connsiteY24" fmla="*/ 334211 h 350949"/>
                <a:gd name="connsiteX25" fmla="*/ 62283 w 269361"/>
                <a:gd name="connsiteY25" fmla="*/ 350949 h 350949"/>
                <a:gd name="connsiteX26" fmla="*/ 92990 w 269361"/>
                <a:gd name="connsiteY26" fmla="*/ 350949 h 350949"/>
                <a:gd name="connsiteX27" fmla="*/ 80738 w 269361"/>
                <a:gd name="connsiteY27" fmla="*/ 330195 h 350949"/>
                <a:gd name="connsiteX28" fmla="*/ 69218 w 269361"/>
                <a:gd name="connsiteY28" fmla="*/ 315545 h 350949"/>
                <a:gd name="connsiteX29" fmla="*/ 62283 w 269361"/>
                <a:gd name="connsiteY29" fmla="*/ 274296 h 350949"/>
                <a:gd name="connsiteX30" fmla="*/ 75527 w 269361"/>
                <a:gd name="connsiteY30" fmla="*/ 238941 h 350949"/>
                <a:gd name="connsiteX31" fmla="*/ 96738 w 269361"/>
                <a:gd name="connsiteY31" fmla="*/ 209057 h 350949"/>
                <a:gd name="connsiteX32" fmla="*/ 114673 w 269361"/>
                <a:gd name="connsiteY32" fmla="*/ 164946 h 350949"/>
                <a:gd name="connsiteX33" fmla="*/ 159445 w 269361"/>
                <a:gd name="connsiteY33" fmla="*/ 114730 h 350949"/>
                <a:gd name="connsiteX34" fmla="*/ 200884 w 269361"/>
                <a:gd name="connsiteY34" fmla="*/ 77392 h 350949"/>
                <a:gd name="connsiteX35" fmla="*/ 259673 w 269361"/>
                <a:gd name="connsiteY35" fmla="*/ 50224 h 35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69361" h="350949">
                  <a:moveTo>
                    <a:pt x="259673" y="50224"/>
                  </a:moveTo>
                  <a:cubicBezTo>
                    <a:pt x="272340" y="44801"/>
                    <a:pt x="268950" y="31870"/>
                    <a:pt x="268950" y="10177"/>
                  </a:cubicBezTo>
                  <a:cubicBezTo>
                    <a:pt x="268739" y="-670"/>
                    <a:pt x="251648" y="8"/>
                    <a:pt x="247007" y="8"/>
                  </a:cubicBezTo>
                  <a:cubicBezTo>
                    <a:pt x="243300" y="8"/>
                    <a:pt x="238827" y="3172"/>
                    <a:pt x="237055" y="4754"/>
                  </a:cubicBezTo>
                  <a:cubicBezTo>
                    <a:pt x="235163" y="8369"/>
                    <a:pt x="230697" y="16684"/>
                    <a:pt x="227982" y="21023"/>
                  </a:cubicBezTo>
                  <a:cubicBezTo>
                    <a:pt x="224599" y="26446"/>
                    <a:pt x="221885" y="31191"/>
                    <a:pt x="206461" y="40734"/>
                  </a:cubicBezTo>
                  <a:cubicBezTo>
                    <a:pt x="198486" y="45479"/>
                    <a:pt x="200884" y="43446"/>
                    <a:pt x="189307" y="50224"/>
                  </a:cubicBezTo>
                  <a:cubicBezTo>
                    <a:pt x="180052" y="55648"/>
                    <a:pt x="175065" y="52484"/>
                    <a:pt x="173722" y="50224"/>
                  </a:cubicBezTo>
                  <a:lnTo>
                    <a:pt x="159445" y="50224"/>
                  </a:lnTo>
                  <a:cubicBezTo>
                    <a:pt x="157187" y="51580"/>
                    <a:pt x="151322" y="54970"/>
                    <a:pt x="145941" y="57682"/>
                  </a:cubicBezTo>
                  <a:cubicBezTo>
                    <a:pt x="139218" y="61071"/>
                    <a:pt x="129632" y="64461"/>
                    <a:pt x="114673" y="71238"/>
                  </a:cubicBezTo>
                  <a:cubicBezTo>
                    <a:pt x="102702" y="76660"/>
                    <a:pt x="106592" y="77603"/>
                    <a:pt x="110031" y="77392"/>
                  </a:cubicBezTo>
                  <a:cubicBezTo>
                    <a:pt x="107372" y="78974"/>
                    <a:pt x="100993" y="84579"/>
                    <a:pt x="96738" y="94341"/>
                  </a:cubicBezTo>
                  <a:cubicBezTo>
                    <a:pt x="91422" y="106544"/>
                    <a:pt x="82771" y="112015"/>
                    <a:pt x="79381" y="118120"/>
                  </a:cubicBezTo>
                  <a:cubicBezTo>
                    <a:pt x="75998" y="124218"/>
                    <a:pt x="80738" y="142525"/>
                    <a:pt x="69218" y="160199"/>
                  </a:cubicBezTo>
                  <a:cubicBezTo>
                    <a:pt x="57698" y="171726"/>
                    <a:pt x="65153" y="168336"/>
                    <a:pt x="57023" y="177824"/>
                  </a:cubicBezTo>
                  <a:cubicBezTo>
                    <a:pt x="48893" y="187318"/>
                    <a:pt x="50925" y="185806"/>
                    <a:pt x="47486" y="191798"/>
                  </a:cubicBezTo>
                  <a:cubicBezTo>
                    <a:pt x="44047" y="197798"/>
                    <a:pt x="50925" y="203797"/>
                    <a:pt x="50925" y="209057"/>
                  </a:cubicBezTo>
                  <a:cubicBezTo>
                    <a:pt x="50925" y="214325"/>
                    <a:pt x="39876" y="218552"/>
                    <a:pt x="36641" y="226063"/>
                  </a:cubicBezTo>
                  <a:cubicBezTo>
                    <a:pt x="33413" y="233568"/>
                    <a:pt x="33251" y="238941"/>
                    <a:pt x="33251" y="247022"/>
                  </a:cubicBezTo>
                  <a:cubicBezTo>
                    <a:pt x="33251" y="255103"/>
                    <a:pt x="22462" y="268979"/>
                    <a:pt x="22462" y="274296"/>
                  </a:cubicBezTo>
                  <a:cubicBezTo>
                    <a:pt x="22462" y="279613"/>
                    <a:pt x="3389" y="285767"/>
                    <a:pt x="681" y="290929"/>
                  </a:cubicBezTo>
                  <a:cubicBezTo>
                    <a:pt x="-2034" y="296091"/>
                    <a:pt x="4064" y="300944"/>
                    <a:pt x="6779" y="308245"/>
                  </a:cubicBezTo>
                  <a:cubicBezTo>
                    <a:pt x="9486" y="315545"/>
                    <a:pt x="12511" y="308245"/>
                    <a:pt x="22462" y="308245"/>
                  </a:cubicBezTo>
                  <a:cubicBezTo>
                    <a:pt x="32421" y="308245"/>
                    <a:pt x="33251" y="322423"/>
                    <a:pt x="33251" y="334211"/>
                  </a:cubicBezTo>
                  <a:cubicBezTo>
                    <a:pt x="33251" y="345998"/>
                    <a:pt x="58380" y="350949"/>
                    <a:pt x="62283" y="350949"/>
                  </a:cubicBezTo>
                  <a:lnTo>
                    <a:pt x="92990" y="350949"/>
                  </a:lnTo>
                  <a:cubicBezTo>
                    <a:pt x="99531" y="350949"/>
                    <a:pt x="87546" y="337115"/>
                    <a:pt x="80738" y="330195"/>
                  </a:cubicBezTo>
                  <a:lnTo>
                    <a:pt x="69218" y="315545"/>
                  </a:lnTo>
                  <a:cubicBezTo>
                    <a:pt x="66911" y="305129"/>
                    <a:pt x="62283" y="282307"/>
                    <a:pt x="62283" y="274296"/>
                  </a:cubicBezTo>
                  <a:cubicBezTo>
                    <a:pt x="62283" y="264281"/>
                    <a:pt x="69218" y="258338"/>
                    <a:pt x="75527" y="238941"/>
                  </a:cubicBezTo>
                  <a:cubicBezTo>
                    <a:pt x="81835" y="219544"/>
                    <a:pt x="91632" y="214431"/>
                    <a:pt x="96738" y="209057"/>
                  </a:cubicBezTo>
                  <a:cubicBezTo>
                    <a:pt x="101851" y="203691"/>
                    <a:pt x="110031" y="171726"/>
                    <a:pt x="114673" y="164946"/>
                  </a:cubicBezTo>
                  <a:cubicBezTo>
                    <a:pt x="119308" y="158166"/>
                    <a:pt x="155380" y="120153"/>
                    <a:pt x="159445" y="114730"/>
                  </a:cubicBezTo>
                  <a:lnTo>
                    <a:pt x="200884" y="77392"/>
                  </a:lnTo>
                  <a:cubicBezTo>
                    <a:pt x="207706" y="71969"/>
                    <a:pt x="247007" y="55648"/>
                    <a:pt x="259673" y="50224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0" name="Freihandform: Form 115">
              <a:extLst>
                <a:ext uri="{FF2B5EF4-FFF2-40B4-BE49-F238E27FC236}">
                  <a16:creationId xmlns:a16="http://schemas.microsoft.com/office/drawing/2014/main" id="{6A1A9A1A-3FA2-6346-B649-74100650950D}"/>
                </a:ext>
              </a:extLst>
            </p:cNvPr>
            <p:cNvSpPr/>
            <p:nvPr/>
          </p:nvSpPr>
          <p:spPr>
            <a:xfrm>
              <a:off x="6274706" y="3905248"/>
              <a:ext cx="61782" cy="129104"/>
            </a:xfrm>
            <a:custGeom>
              <a:avLst/>
              <a:gdLst>
                <a:gd name="connsiteX0" fmla="*/ 8790 w 61782"/>
                <a:gd name="connsiteY0" fmla="*/ 17392 h 129104"/>
                <a:gd name="connsiteX1" fmla="*/ 12953 w 61782"/>
                <a:gd name="connsiteY1" fmla="*/ 9395 h 129104"/>
                <a:gd name="connsiteX2" fmla="*/ 13263 w 61782"/>
                <a:gd name="connsiteY2" fmla="*/ 9318 h 129104"/>
                <a:gd name="connsiteX3" fmla="*/ 16681 w 61782"/>
                <a:gd name="connsiteY3" fmla="*/ 9318 h 129104"/>
                <a:gd name="connsiteX4" fmla="*/ 17025 w 61782"/>
                <a:gd name="connsiteY4" fmla="*/ 9226 h 129104"/>
                <a:gd name="connsiteX5" fmla="*/ 30325 w 61782"/>
                <a:gd name="connsiteY5" fmla="*/ 1244 h 129104"/>
                <a:gd name="connsiteX6" fmla="*/ 42703 w 61782"/>
                <a:gd name="connsiteY6" fmla="*/ 4472 h 129104"/>
                <a:gd name="connsiteX7" fmla="*/ 47014 w 61782"/>
                <a:gd name="connsiteY7" fmla="*/ 10394 h 129104"/>
                <a:gd name="connsiteX8" fmla="*/ 54913 w 61782"/>
                <a:gd name="connsiteY8" fmla="*/ 9177 h 129104"/>
                <a:gd name="connsiteX9" fmla="*/ 55370 w 61782"/>
                <a:gd name="connsiteY9" fmla="*/ 10295 h 129104"/>
                <a:gd name="connsiteX10" fmla="*/ 49701 w 61782"/>
                <a:gd name="connsiteY10" fmla="*/ 17392 h 129104"/>
                <a:gd name="connsiteX11" fmla="*/ 46149 w 61782"/>
                <a:gd name="connsiteY11" fmla="*/ 22448 h 129104"/>
                <a:gd name="connsiteX12" fmla="*/ 46100 w 61782"/>
                <a:gd name="connsiteY12" fmla="*/ 23130 h 129104"/>
                <a:gd name="connsiteX13" fmla="*/ 51319 w 61782"/>
                <a:gd name="connsiteY13" fmla="*/ 34615 h 129104"/>
                <a:gd name="connsiteX14" fmla="*/ 56164 w 61782"/>
                <a:gd name="connsiteY14" fmla="*/ 45925 h 129104"/>
                <a:gd name="connsiteX15" fmla="*/ 45938 w 61782"/>
                <a:gd name="connsiteY15" fmla="*/ 55609 h 129104"/>
                <a:gd name="connsiteX16" fmla="*/ 40016 w 61782"/>
                <a:gd name="connsiteY16" fmla="*/ 64759 h 129104"/>
                <a:gd name="connsiteX17" fmla="*/ 51319 w 61782"/>
                <a:gd name="connsiteY17" fmla="*/ 73916 h 129104"/>
                <a:gd name="connsiteX18" fmla="*/ 61067 w 61782"/>
                <a:gd name="connsiteY18" fmla="*/ 78621 h 129104"/>
                <a:gd name="connsiteX19" fmla="*/ 61580 w 61782"/>
                <a:gd name="connsiteY19" fmla="*/ 79254 h 129104"/>
                <a:gd name="connsiteX20" fmla="*/ 61545 w 61782"/>
                <a:gd name="connsiteY20" fmla="*/ 89523 h 129104"/>
                <a:gd name="connsiteX21" fmla="*/ 56164 w 61782"/>
                <a:gd name="connsiteY21" fmla="*/ 96520 h 129104"/>
                <a:gd name="connsiteX22" fmla="*/ 38645 w 61782"/>
                <a:gd name="connsiteY22" fmla="*/ 111388 h 129104"/>
                <a:gd name="connsiteX23" fmla="*/ 38399 w 61782"/>
                <a:gd name="connsiteY23" fmla="*/ 111923 h 129104"/>
                <a:gd name="connsiteX24" fmla="*/ 38399 w 61782"/>
                <a:gd name="connsiteY24" fmla="*/ 121284 h 129104"/>
                <a:gd name="connsiteX25" fmla="*/ 30944 w 61782"/>
                <a:gd name="connsiteY25" fmla="*/ 129013 h 129104"/>
                <a:gd name="connsiteX26" fmla="*/ 29994 w 61782"/>
                <a:gd name="connsiteY26" fmla="*/ 128732 h 129104"/>
                <a:gd name="connsiteX27" fmla="*/ 25479 w 61782"/>
                <a:gd name="connsiteY27" fmla="*/ 117514 h 129104"/>
                <a:gd name="connsiteX28" fmla="*/ 25479 w 61782"/>
                <a:gd name="connsiteY28" fmla="*/ 101908 h 129104"/>
                <a:gd name="connsiteX29" fmla="*/ 13101 w 61782"/>
                <a:gd name="connsiteY29" fmla="*/ 86829 h 129104"/>
                <a:gd name="connsiteX30" fmla="*/ 716 w 61782"/>
                <a:gd name="connsiteY30" fmla="*/ 78755 h 129104"/>
                <a:gd name="connsiteX31" fmla="*/ 716 w 61782"/>
                <a:gd name="connsiteY31" fmla="*/ 61531 h 129104"/>
                <a:gd name="connsiteX32" fmla="*/ 8790 w 61782"/>
                <a:gd name="connsiteY32" fmla="*/ 45925 h 129104"/>
                <a:gd name="connsiteX33" fmla="*/ 13101 w 61782"/>
                <a:gd name="connsiteY33" fmla="*/ 26542 h 129104"/>
                <a:gd name="connsiteX34" fmla="*/ 8790 w 61782"/>
                <a:gd name="connsiteY34" fmla="*/ 17392 h 129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1782" h="129104">
                  <a:moveTo>
                    <a:pt x="8790" y="17392"/>
                  </a:moveTo>
                  <a:cubicBezTo>
                    <a:pt x="5407" y="14431"/>
                    <a:pt x="10070" y="10872"/>
                    <a:pt x="12953" y="9395"/>
                  </a:cubicBezTo>
                  <a:cubicBezTo>
                    <a:pt x="13052" y="9346"/>
                    <a:pt x="13157" y="9318"/>
                    <a:pt x="13263" y="9318"/>
                  </a:cubicBezTo>
                  <a:lnTo>
                    <a:pt x="16681" y="9318"/>
                  </a:lnTo>
                  <a:cubicBezTo>
                    <a:pt x="16807" y="9318"/>
                    <a:pt x="16920" y="9289"/>
                    <a:pt x="17025" y="9226"/>
                  </a:cubicBezTo>
                  <a:cubicBezTo>
                    <a:pt x="19979" y="7566"/>
                    <a:pt x="26520" y="3783"/>
                    <a:pt x="30325" y="1244"/>
                  </a:cubicBezTo>
                  <a:cubicBezTo>
                    <a:pt x="35171" y="-1985"/>
                    <a:pt x="40016" y="1785"/>
                    <a:pt x="42703" y="4472"/>
                  </a:cubicBezTo>
                  <a:cubicBezTo>
                    <a:pt x="45397" y="7165"/>
                    <a:pt x="45938" y="12546"/>
                    <a:pt x="47014" y="10394"/>
                  </a:cubicBezTo>
                  <a:cubicBezTo>
                    <a:pt x="47753" y="8910"/>
                    <a:pt x="52022" y="8917"/>
                    <a:pt x="54913" y="9177"/>
                  </a:cubicBezTo>
                  <a:cubicBezTo>
                    <a:pt x="55461" y="9226"/>
                    <a:pt x="55714" y="9866"/>
                    <a:pt x="55370" y="10295"/>
                  </a:cubicBezTo>
                  <a:cubicBezTo>
                    <a:pt x="53583" y="12482"/>
                    <a:pt x="50812" y="15915"/>
                    <a:pt x="49701" y="17392"/>
                  </a:cubicBezTo>
                  <a:cubicBezTo>
                    <a:pt x="48527" y="18960"/>
                    <a:pt x="46965" y="21239"/>
                    <a:pt x="46149" y="22448"/>
                  </a:cubicBezTo>
                  <a:cubicBezTo>
                    <a:pt x="46016" y="22652"/>
                    <a:pt x="45995" y="22913"/>
                    <a:pt x="46100" y="23130"/>
                  </a:cubicBezTo>
                  <a:lnTo>
                    <a:pt x="51319" y="34615"/>
                  </a:lnTo>
                  <a:cubicBezTo>
                    <a:pt x="52212" y="36951"/>
                    <a:pt x="54441" y="42478"/>
                    <a:pt x="56164" y="45925"/>
                  </a:cubicBezTo>
                  <a:cubicBezTo>
                    <a:pt x="58316" y="50229"/>
                    <a:pt x="47014" y="55075"/>
                    <a:pt x="45938" y="55609"/>
                  </a:cubicBezTo>
                  <a:cubicBezTo>
                    <a:pt x="44855" y="56151"/>
                    <a:pt x="40016" y="62073"/>
                    <a:pt x="40016" y="64759"/>
                  </a:cubicBezTo>
                  <a:cubicBezTo>
                    <a:pt x="40016" y="67453"/>
                    <a:pt x="47014" y="70681"/>
                    <a:pt x="51319" y="73916"/>
                  </a:cubicBezTo>
                  <a:cubicBezTo>
                    <a:pt x="54512" y="76307"/>
                    <a:pt x="58872" y="77960"/>
                    <a:pt x="61067" y="78621"/>
                  </a:cubicBezTo>
                  <a:cubicBezTo>
                    <a:pt x="61355" y="78706"/>
                    <a:pt x="61559" y="78959"/>
                    <a:pt x="61580" y="79254"/>
                  </a:cubicBezTo>
                  <a:cubicBezTo>
                    <a:pt x="61749" y="82124"/>
                    <a:pt x="61953" y="87497"/>
                    <a:pt x="61545" y="89523"/>
                  </a:cubicBezTo>
                  <a:cubicBezTo>
                    <a:pt x="61010" y="92216"/>
                    <a:pt x="57241" y="95444"/>
                    <a:pt x="56164" y="96520"/>
                  </a:cubicBezTo>
                  <a:cubicBezTo>
                    <a:pt x="55313" y="97371"/>
                    <a:pt x="44293" y="106648"/>
                    <a:pt x="38645" y="111388"/>
                  </a:cubicBezTo>
                  <a:cubicBezTo>
                    <a:pt x="38490" y="111522"/>
                    <a:pt x="38399" y="111712"/>
                    <a:pt x="38399" y="111923"/>
                  </a:cubicBezTo>
                  <a:lnTo>
                    <a:pt x="38399" y="121284"/>
                  </a:lnTo>
                  <a:cubicBezTo>
                    <a:pt x="38399" y="124083"/>
                    <a:pt x="33757" y="127410"/>
                    <a:pt x="30944" y="129013"/>
                  </a:cubicBezTo>
                  <a:cubicBezTo>
                    <a:pt x="30599" y="129210"/>
                    <a:pt x="30177" y="129076"/>
                    <a:pt x="29994" y="128732"/>
                  </a:cubicBezTo>
                  <a:cubicBezTo>
                    <a:pt x="28314" y="125483"/>
                    <a:pt x="25479" y="119533"/>
                    <a:pt x="25479" y="117514"/>
                  </a:cubicBezTo>
                  <a:lnTo>
                    <a:pt x="25479" y="101908"/>
                  </a:lnTo>
                  <a:cubicBezTo>
                    <a:pt x="25479" y="98138"/>
                    <a:pt x="17947" y="88988"/>
                    <a:pt x="13101" y="86829"/>
                  </a:cubicBezTo>
                  <a:cubicBezTo>
                    <a:pt x="8255" y="84677"/>
                    <a:pt x="2333" y="79831"/>
                    <a:pt x="716" y="78755"/>
                  </a:cubicBezTo>
                  <a:cubicBezTo>
                    <a:pt x="-895" y="77679"/>
                    <a:pt x="716" y="64225"/>
                    <a:pt x="716" y="61531"/>
                  </a:cubicBezTo>
                  <a:cubicBezTo>
                    <a:pt x="716" y="58844"/>
                    <a:pt x="8790" y="50763"/>
                    <a:pt x="8790" y="45925"/>
                  </a:cubicBezTo>
                  <a:cubicBezTo>
                    <a:pt x="8790" y="41079"/>
                    <a:pt x="10949" y="31929"/>
                    <a:pt x="13101" y="26542"/>
                  </a:cubicBezTo>
                  <a:cubicBezTo>
                    <a:pt x="15253" y="21161"/>
                    <a:pt x="13101" y="21161"/>
                    <a:pt x="8790" y="1739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1" name="Freihandform: Form 116">
              <a:extLst>
                <a:ext uri="{FF2B5EF4-FFF2-40B4-BE49-F238E27FC236}">
                  <a16:creationId xmlns:a16="http://schemas.microsoft.com/office/drawing/2014/main" id="{DBFE605D-39CF-E545-B66F-E1B79FC77A41}"/>
                </a:ext>
              </a:extLst>
            </p:cNvPr>
            <p:cNvSpPr/>
            <p:nvPr/>
          </p:nvSpPr>
          <p:spPr>
            <a:xfrm>
              <a:off x="6302710" y="3984245"/>
              <a:ext cx="241325" cy="231839"/>
            </a:xfrm>
            <a:custGeom>
              <a:avLst/>
              <a:gdLst>
                <a:gd name="connsiteX0" fmla="*/ 3720 w 241325"/>
                <a:gd name="connsiteY0" fmla="*/ 47492 h 231839"/>
                <a:gd name="connsiteX1" fmla="*/ 3390 w 241325"/>
                <a:gd name="connsiteY1" fmla="*/ 48153 h 231839"/>
                <a:gd name="connsiteX2" fmla="*/ 5014 w 241325"/>
                <a:gd name="connsiteY2" fmla="*/ 57563 h 231839"/>
                <a:gd name="connsiteX3" fmla="*/ 6625 w 241325"/>
                <a:gd name="connsiteY3" fmla="*/ 70630 h 231839"/>
                <a:gd name="connsiteX4" fmla="*/ 6625 w 241325"/>
                <a:gd name="connsiteY4" fmla="*/ 98249 h 231839"/>
                <a:gd name="connsiteX5" fmla="*/ 6569 w 241325"/>
                <a:gd name="connsiteY5" fmla="*/ 98523 h 231839"/>
                <a:gd name="connsiteX6" fmla="*/ 3397 w 241325"/>
                <a:gd name="connsiteY6" fmla="*/ 104382 h 231839"/>
                <a:gd name="connsiteX7" fmla="*/ 4205 w 241325"/>
                <a:gd name="connsiteY7" fmla="*/ 112653 h 231839"/>
                <a:gd name="connsiteX8" fmla="*/ 5014 w 241325"/>
                <a:gd name="connsiteY8" fmla="*/ 116352 h 231839"/>
                <a:gd name="connsiteX9" fmla="*/ 2243 w 241325"/>
                <a:gd name="connsiteY9" fmla="*/ 121100 h 231839"/>
                <a:gd name="connsiteX10" fmla="*/ 169 w 241325"/>
                <a:gd name="connsiteY10" fmla="*/ 123976 h 231839"/>
                <a:gd name="connsiteX11" fmla="*/ 6625 w 241325"/>
                <a:gd name="connsiteY11" fmla="*/ 133773 h 231839"/>
                <a:gd name="connsiteX12" fmla="*/ 9122 w 241325"/>
                <a:gd name="connsiteY12" fmla="*/ 138619 h 231839"/>
                <a:gd name="connsiteX13" fmla="*/ 9318 w 241325"/>
                <a:gd name="connsiteY13" fmla="*/ 140307 h 231839"/>
                <a:gd name="connsiteX14" fmla="*/ 14164 w 241325"/>
                <a:gd name="connsiteY14" fmla="*/ 150653 h 231839"/>
                <a:gd name="connsiteX15" fmla="*/ 21767 w 241325"/>
                <a:gd name="connsiteY15" fmla="*/ 152059 h 231839"/>
                <a:gd name="connsiteX16" fmla="*/ 29236 w 241325"/>
                <a:gd name="connsiteY16" fmla="*/ 152826 h 231839"/>
                <a:gd name="connsiteX17" fmla="*/ 35721 w 241325"/>
                <a:gd name="connsiteY17" fmla="*/ 159570 h 231839"/>
                <a:gd name="connsiteX18" fmla="*/ 36775 w 241325"/>
                <a:gd name="connsiteY18" fmla="*/ 162081 h 231839"/>
                <a:gd name="connsiteX19" fmla="*/ 41938 w 241325"/>
                <a:gd name="connsiteY19" fmla="*/ 167905 h 231839"/>
                <a:gd name="connsiteX20" fmla="*/ 43232 w 241325"/>
                <a:gd name="connsiteY20" fmla="*/ 169157 h 231839"/>
                <a:gd name="connsiteX21" fmla="*/ 51496 w 241325"/>
                <a:gd name="connsiteY21" fmla="*/ 171175 h 231839"/>
                <a:gd name="connsiteX22" fmla="*/ 59921 w 241325"/>
                <a:gd name="connsiteY22" fmla="*/ 172968 h 231839"/>
                <a:gd name="connsiteX23" fmla="*/ 74620 w 241325"/>
                <a:gd name="connsiteY23" fmla="*/ 184081 h 231839"/>
                <a:gd name="connsiteX24" fmla="*/ 75422 w 241325"/>
                <a:gd name="connsiteY24" fmla="*/ 184158 h 231839"/>
                <a:gd name="connsiteX25" fmla="*/ 102113 w 241325"/>
                <a:gd name="connsiteY25" fmla="*/ 169346 h 231839"/>
                <a:gd name="connsiteX26" fmla="*/ 102781 w 241325"/>
                <a:gd name="connsiteY26" fmla="*/ 169339 h 231839"/>
                <a:gd name="connsiteX27" fmla="*/ 220374 w 241325"/>
                <a:gd name="connsiteY27" fmla="*/ 231758 h 231839"/>
                <a:gd name="connsiteX28" fmla="*/ 221407 w 241325"/>
                <a:gd name="connsiteY28" fmla="*/ 231132 h 231839"/>
                <a:gd name="connsiteX29" fmla="*/ 221407 w 241325"/>
                <a:gd name="connsiteY29" fmla="*/ 224844 h 231839"/>
                <a:gd name="connsiteX30" fmla="*/ 222111 w 241325"/>
                <a:gd name="connsiteY30" fmla="*/ 224141 h 231839"/>
                <a:gd name="connsiteX31" fmla="*/ 237928 w 241325"/>
                <a:gd name="connsiteY31" fmla="*/ 224141 h 231839"/>
                <a:gd name="connsiteX32" fmla="*/ 238631 w 241325"/>
                <a:gd name="connsiteY32" fmla="*/ 223438 h 231839"/>
                <a:gd name="connsiteX33" fmla="*/ 238631 w 241325"/>
                <a:gd name="connsiteY33" fmla="*/ 68056 h 231839"/>
                <a:gd name="connsiteX34" fmla="*/ 238575 w 241325"/>
                <a:gd name="connsiteY34" fmla="*/ 67775 h 231839"/>
                <a:gd name="connsiteX35" fmla="*/ 236479 w 241325"/>
                <a:gd name="connsiteY35" fmla="*/ 60833 h 231839"/>
                <a:gd name="connsiteX36" fmla="*/ 236479 w 241325"/>
                <a:gd name="connsiteY36" fmla="*/ 47224 h 231839"/>
                <a:gd name="connsiteX37" fmla="*/ 238631 w 241325"/>
                <a:gd name="connsiteY37" fmla="*/ 34157 h 231839"/>
                <a:gd name="connsiteX38" fmla="*/ 241325 w 241325"/>
                <a:gd name="connsiteY38" fmla="*/ 23270 h 231839"/>
                <a:gd name="connsiteX39" fmla="*/ 230016 w 241325"/>
                <a:gd name="connsiteY39" fmla="*/ 18368 h 231839"/>
                <a:gd name="connsiteX40" fmla="*/ 222737 w 241325"/>
                <a:gd name="connsiteY40" fmla="*/ 16272 h 231839"/>
                <a:gd name="connsiteX41" fmla="*/ 219255 w 241325"/>
                <a:gd name="connsiteY41" fmla="*/ 15105 h 231839"/>
                <a:gd name="connsiteX42" fmla="*/ 207412 w 241325"/>
                <a:gd name="connsiteY42" fmla="*/ 5308 h 231839"/>
                <a:gd name="connsiteX43" fmla="*/ 190609 w 241325"/>
                <a:gd name="connsiteY43" fmla="*/ 3106 h 231839"/>
                <a:gd name="connsiteX44" fmla="*/ 186418 w 241325"/>
                <a:gd name="connsiteY44" fmla="*/ 3127 h 231839"/>
                <a:gd name="connsiteX45" fmla="*/ 170270 w 241325"/>
                <a:gd name="connsiteY45" fmla="*/ 9661 h 231839"/>
                <a:gd name="connsiteX46" fmla="*/ 163807 w 241325"/>
                <a:gd name="connsiteY46" fmla="*/ 28713 h 231839"/>
                <a:gd name="connsiteX47" fmla="*/ 163807 w 241325"/>
                <a:gd name="connsiteY47" fmla="*/ 41232 h 231839"/>
                <a:gd name="connsiteX48" fmla="*/ 151428 w 241325"/>
                <a:gd name="connsiteY48" fmla="*/ 50488 h 231839"/>
                <a:gd name="connsiteX49" fmla="*/ 137974 w 241325"/>
                <a:gd name="connsiteY49" fmla="*/ 43413 h 231839"/>
                <a:gd name="connsiteX50" fmla="*/ 118591 w 241325"/>
                <a:gd name="connsiteY50" fmla="*/ 34157 h 231839"/>
                <a:gd name="connsiteX51" fmla="*/ 107613 w 241325"/>
                <a:gd name="connsiteY51" fmla="*/ 32448 h 231839"/>
                <a:gd name="connsiteX52" fmla="*/ 99749 w 241325"/>
                <a:gd name="connsiteY52" fmla="*/ 31435 h 231839"/>
                <a:gd name="connsiteX53" fmla="*/ 93293 w 241325"/>
                <a:gd name="connsiteY53" fmla="*/ 18368 h 231839"/>
                <a:gd name="connsiteX54" fmla="*/ 75528 w 241325"/>
                <a:gd name="connsiteY54" fmla="*/ 5308 h 231839"/>
                <a:gd name="connsiteX55" fmla="*/ 61427 w 241325"/>
                <a:gd name="connsiteY55" fmla="*/ 4217 h 231839"/>
                <a:gd name="connsiteX56" fmla="*/ 47002 w 241325"/>
                <a:gd name="connsiteY56" fmla="*/ 3127 h 231839"/>
                <a:gd name="connsiteX57" fmla="*/ 34616 w 241325"/>
                <a:gd name="connsiteY57" fmla="*/ 26 h 231839"/>
                <a:gd name="connsiteX58" fmla="*/ 33716 w 241325"/>
                <a:gd name="connsiteY58" fmla="*/ 736 h 231839"/>
                <a:gd name="connsiteX59" fmla="*/ 33541 w 241325"/>
                <a:gd name="connsiteY59" fmla="*/ 8029 h 231839"/>
                <a:gd name="connsiteX60" fmla="*/ 28737 w 241325"/>
                <a:gd name="connsiteY60" fmla="*/ 14542 h 231839"/>
                <a:gd name="connsiteX61" fmla="*/ 28160 w 241325"/>
                <a:gd name="connsiteY61" fmla="*/ 15105 h 231839"/>
                <a:gd name="connsiteX62" fmla="*/ 10641 w 241325"/>
                <a:gd name="connsiteY62" fmla="*/ 30141 h 231839"/>
                <a:gd name="connsiteX63" fmla="*/ 10395 w 241325"/>
                <a:gd name="connsiteY63" fmla="*/ 30676 h 231839"/>
                <a:gd name="connsiteX64" fmla="*/ 10395 w 241325"/>
                <a:gd name="connsiteY64" fmla="*/ 40142 h 231839"/>
                <a:gd name="connsiteX65" fmla="*/ 3720 w 241325"/>
                <a:gd name="connsiteY65" fmla="*/ 47492 h 231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41325" h="231839">
                  <a:moveTo>
                    <a:pt x="3720" y="47492"/>
                  </a:moveTo>
                  <a:cubicBezTo>
                    <a:pt x="3495" y="47632"/>
                    <a:pt x="3368" y="47885"/>
                    <a:pt x="3390" y="48153"/>
                  </a:cubicBezTo>
                  <a:cubicBezTo>
                    <a:pt x="3756" y="52872"/>
                    <a:pt x="4339" y="56881"/>
                    <a:pt x="5014" y="57563"/>
                  </a:cubicBezTo>
                  <a:cubicBezTo>
                    <a:pt x="6625" y="59195"/>
                    <a:pt x="6625" y="65728"/>
                    <a:pt x="6625" y="70630"/>
                  </a:cubicBezTo>
                  <a:lnTo>
                    <a:pt x="6625" y="98249"/>
                  </a:lnTo>
                  <a:cubicBezTo>
                    <a:pt x="6625" y="98341"/>
                    <a:pt x="6611" y="98439"/>
                    <a:pt x="6569" y="98523"/>
                  </a:cubicBezTo>
                  <a:cubicBezTo>
                    <a:pt x="5999" y="99860"/>
                    <a:pt x="4649" y="102694"/>
                    <a:pt x="3397" y="104382"/>
                  </a:cubicBezTo>
                  <a:cubicBezTo>
                    <a:pt x="2335" y="105810"/>
                    <a:pt x="3368" y="109608"/>
                    <a:pt x="4205" y="112653"/>
                  </a:cubicBezTo>
                  <a:cubicBezTo>
                    <a:pt x="4635" y="114235"/>
                    <a:pt x="5014" y="115614"/>
                    <a:pt x="5014" y="116352"/>
                  </a:cubicBezTo>
                  <a:cubicBezTo>
                    <a:pt x="5014" y="117696"/>
                    <a:pt x="3587" y="119447"/>
                    <a:pt x="2243" y="121100"/>
                  </a:cubicBezTo>
                  <a:cubicBezTo>
                    <a:pt x="1399" y="122141"/>
                    <a:pt x="583" y="123139"/>
                    <a:pt x="169" y="123976"/>
                  </a:cubicBezTo>
                  <a:cubicBezTo>
                    <a:pt x="-908" y="126156"/>
                    <a:pt x="3397" y="131051"/>
                    <a:pt x="6625" y="133773"/>
                  </a:cubicBezTo>
                  <a:cubicBezTo>
                    <a:pt x="8981" y="135757"/>
                    <a:pt x="9051" y="137163"/>
                    <a:pt x="9122" y="138619"/>
                  </a:cubicBezTo>
                  <a:cubicBezTo>
                    <a:pt x="9143" y="139160"/>
                    <a:pt x="9171" y="139716"/>
                    <a:pt x="9318" y="140307"/>
                  </a:cubicBezTo>
                  <a:cubicBezTo>
                    <a:pt x="9860" y="142487"/>
                    <a:pt x="12547" y="149014"/>
                    <a:pt x="14164" y="150653"/>
                  </a:cubicBezTo>
                  <a:cubicBezTo>
                    <a:pt x="15128" y="151623"/>
                    <a:pt x="18194" y="151820"/>
                    <a:pt x="21767" y="152059"/>
                  </a:cubicBezTo>
                  <a:cubicBezTo>
                    <a:pt x="24186" y="152214"/>
                    <a:pt x="26845" y="152390"/>
                    <a:pt x="29236" y="152826"/>
                  </a:cubicBezTo>
                  <a:cubicBezTo>
                    <a:pt x="33639" y="153635"/>
                    <a:pt x="34764" y="156856"/>
                    <a:pt x="35721" y="159570"/>
                  </a:cubicBezTo>
                  <a:cubicBezTo>
                    <a:pt x="36051" y="160506"/>
                    <a:pt x="36361" y="161385"/>
                    <a:pt x="36775" y="162081"/>
                  </a:cubicBezTo>
                  <a:cubicBezTo>
                    <a:pt x="38028" y="164191"/>
                    <a:pt x="40250" y="166301"/>
                    <a:pt x="41938" y="167905"/>
                  </a:cubicBezTo>
                  <a:cubicBezTo>
                    <a:pt x="42423" y="168369"/>
                    <a:pt x="42866" y="168791"/>
                    <a:pt x="43232" y="169157"/>
                  </a:cubicBezTo>
                  <a:cubicBezTo>
                    <a:pt x="44097" y="170029"/>
                    <a:pt x="47726" y="170591"/>
                    <a:pt x="51496" y="171175"/>
                  </a:cubicBezTo>
                  <a:cubicBezTo>
                    <a:pt x="54773" y="171681"/>
                    <a:pt x="58163" y="172209"/>
                    <a:pt x="59921" y="172968"/>
                  </a:cubicBezTo>
                  <a:cubicBezTo>
                    <a:pt x="62840" y="174234"/>
                    <a:pt x="70703" y="180705"/>
                    <a:pt x="74620" y="184081"/>
                  </a:cubicBezTo>
                  <a:cubicBezTo>
                    <a:pt x="74846" y="184271"/>
                    <a:pt x="75162" y="184306"/>
                    <a:pt x="75422" y="184158"/>
                  </a:cubicBezTo>
                  <a:lnTo>
                    <a:pt x="102113" y="169346"/>
                  </a:lnTo>
                  <a:cubicBezTo>
                    <a:pt x="102316" y="169227"/>
                    <a:pt x="102570" y="169227"/>
                    <a:pt x="102781" y="169339"/>
                  </a:cubicBezTo>
                  <a:lnTo>
                    <a:pt x="220374" y="231758"/>
                  </a:lnTo>
                  <a:cubicBezTo>
                    <a:pt x="220845" y="232004"/>
                    <a:pt x="221407" y="231666"/>
                    <a:pt x="221407" y="231132"/>
                  </a:cubicBezTo>
                  <a:lnTo>
                    <a:pt x="221407" y="224844"/>
                  </a:lnTo>
                  <a:cubicBezTo>
                    <a:pt x="221407" y="224450"/>
                    <a:pt x="221724" y="224141"/>
                    <a:pt x="222111" y="224141"/>
                  </a:cubicBezTo>
                  <a:lnTo>
                    <a:pt x="237928" y="224141"/>
                  </a:lnTo>
                  <a:cubicBezTo>
                    <a:pt x="238315" y="224141"/>
                    <a:pt x="238631" y="223824"/>
                    <a:pt x="238631" y="223438"/>
                  </a:cubicBezTo>
                  <a:lnTo>
                    <a:pt x="238631" y="68056"/>
                  </a:lnTo>
                  <a:cubicBezTo>
                    <a:pt x="238631" y="67958"/>
                    <a:pt x="238610" y="67859"/>
                    <a:pt x="238575" y="67775"/>
                  </a:cubicBezTo>
                  <a:cubicBezTo>
                    <a:pt x="237837" y="66080"/>
                    <a:pt x="236479" y="62528"/>
                    <a:pt x="236479" y="60833"/>
                  </a:cubicBezTo>
                  <a:lnTo>
                    <a:pt x="236479" y="47224"/>
                  </a:lnTo>
                  <a:cubicBezTo>
                    <a:pt x="236479" y="43954"/>
                    <a:pt x="237555" y="35789"/>
                    <a:pt x="238631" y="34157"/>
                  </a:cubicBezTo>
                  <a:cubicBezTo>
                    <a:pt x="239707" y="32525"/>
                    <a:pt x="241325" y="27082"/>
                    <a:pt x="241325" y="23270"/>
                  </a:cubicBezTo>
                  <a:cubicBezTo>
                    <a:pt x="241325" y="19458"/>
                    <a:pt x="232175" y="18368"/>
                    <a:pt x="230016" y="18368"/>
                  </a:cubicBezTo>
                  <a:cubicBezTo>
                    <a:pt x="228623" y="18368"/>
                    <a:pt x="225409" y="17221"/>
                    <a:pt x="222737" y="16272"/>
                  </a:cubicBezTo>
                  <a:cubicBezTo>
                    <a:pt x="221295" y="15752"/>
                    <a:pt x="220008" y="15294"/>
                    <a:pt x="219255" y="15105"/>
                  </a:cubicBezTo>
                  <a:cubicBezTo>
                    <a:pt x="217103" y="14563"/>
                    <a:pt x="209564" y="8029"/>
                    <a:pt x="207412" y="5308"/>
                  </a:cubicBezTo>
                  <a:cubicBezTo>
                    <a:pt x="205569" y="2980"/>
                    <a:pt x="198627" y="3043"/>
                    <a:pt x="190609" y="3106"/>
                  </a:cubicBezTo>
                  <a:cubicBezTo>
                    <a:pt x="189238" y="3120"/>
                    <a:pt x="187832" y="3127"/>
                    <a:pt x="186418" y="3127"/>
                  </a:cubicBezTo>
                  <a:cubicBezTo>
                    <a:pt x="176726" y="3127"/>
                    <a:pt x="174574" y="5308"/>
                    <a:pt x="170270" y="9661"/>
                  </a:cubicBezTo>
                  <a:cubicBezTo>
                    <a:pt x="165959" y="14014"/>
                    <a:pt x="163807" y="23270"/>
                    <a:pt x="163807" y="28713"/>
                  </a:cubicBezTo>
                  <a:lnTo>
                    <a:pt x="163807" y="41232"/>
                  </a:lnTo>
                  <a:cubicBezTo>
                    <a:pt x="163807" y="43954"/>
                    <a:pt x="154122" y="49946"/>
                    <a:pt x="151428" y="50488"/>
                  </a:cubicBezTo>
                  <a:cubicBezTo>
                    <a:pt x="148735" y="51029"/>
                    <a:pt x="139050" y="45044"/>
                    <a:pt x="137974" y="43413"/>
                  </a:cubicBezTo>
                  <a:cubicBezTo>
                    <a:pt x="136891" y="41781"/>
                    <a:pt x="122895" y="35789"/>
                    <a:pt x="118591" y="34157"/>
                  </a:cubicBezTo>
                  <a:cubicBezTo>
                    <a:pt x="116130" y="33222"/>
                    <a:pt x="111734" y="32821"/>
                    <a:pt x="107613" y="32448"/>
                  </a:cubicBezTo>
                  <a:cubicBezTo>
                    <a:pt x="104525" y="32167"/>
                    <a:pt x="101599" y="31899"/>
                    <a:pt x="99749" y="31435"/>
                  </a:cubicBezTo>
                  <a:cubicBezTo>
                    <a:pt x="95445" y="30345"/>
                    <a:pt x="93293" y="20548"/>
                    <a:pt x="93293" y="18368"/>
                  </a:cubicBezTo>
                  <a:cubicBezTo>
                    <a:pt x="93293" y="16195"/>
                    <a:pt x="82526" y="6939"/>
                    <a:pt x="75528" y="5308"/>
                  </a:cubicBezTo>
                  <a:cubicBezTo>
                    <a:pt x="72025" y="4492"/>
                    <a:pt x="66758" y="4351"/>
                    <a:pt x="61427" y="4217"/>
                  </a:cubicBezTo>
                  <a:cubicBezTo>
                    <a:pt x="56124" y="4084"/>
                    <a:pt x="50757" y="3943"/>
                    <a:pt x="47002" y="3127"/>
                  </a:cubicBezTo>
                  <a:cubicBezTo>
                    <a:pt x="43337" y="2332"/>
                    <a:pt x="38646" y="1151"/>
                    <a:pt x="34616" y="26"/>
                  </a:cubicBezTo>
                  <a:cubicBezTo>
                    <a:pt x="34159" y="-101"/>
                    <a:pt x="33702" y="258"/>
                    <a:pt x="33716" y="736"/>
                  </a:cubicBezTo>
                  <a:cubicBezTo>
                    <a:pt x="33815" y="3465"/>
                    <a:pt x="33829" y="6587"/>
                    <a:pt x="33541" y="8029"/>
                  </a:cubicBezTo>
                  <a:cubicBezTo>
                    <a:pt x="33076" y="10378"/>
                    <a:pt x="30207" y="13135"/>
                    <a:pt x="28737" y="14542"/>
                  </a:cubicBezTo>
                  <a:cubicBezTo>
                    <a:pt x="28505" y="14767"/>
                    <a:pt x="28308" y="14957"/>
                    <a:pt x="28160" y="15105"/>
                  </a:cubicBezTo>
                  <a:cubicBezTo>
                    <a:pt x="27309" y="15963"/>
                    <a:pt x="16281" y="25352"/>
                    <a:pt x="10641" y="30141"/>
                  </a:cubicBezTo>
                  <a:cubicBezTo>
                    <a:pt x="10479" y="30275"/>
                    <a:pt x="10395" y="30465"/>
                    <a:pt x="10395" y="30676"/>
                  </a:cubicBezTo>
                  <a:lnTo>
                    <a:pt x="10395" y="40142"/>
                  </a:lnTo>
                  <a:cubicBezTo>
                    <a:pt x="10395" y="42723"/>
                    <a:pt x="6541" y="45748"/>
                    <a:pt x="3720" y="4749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2" name="Freihandform: Form 117">
              <a:extLst>
                <a:ext uri="{FF2B5EF4-FFF2-40B4-BE49-F238E27FC236}">
                  <a16:creationId xmlns:a16="http://schemas.microsoft.com/office/drawing/2014/main" id="{6A3584EB-A562-A240-B159-2CCEAAF1EE3B}"/>
                </a:ext>
              </a:extLst>
            </p:cNvPr>
            <p:cNvSpPr/>
            <p:nvPr/>
          </p:nvSpPr>
          <p:spPr>
            <a:xfrm>
              <a:off x="6026733" y="3911872"/>
              <a:ext cx="315244" cy="313299"/>
            </a:xfrm>
            <a:custGeom>
              <a:avLst/>
              <a:gdLst>
                <a:gd name="connsiteX0" fmla="*/ 256763 w 315244"/>
                <a:gd name="connsiteY0" fmla="*/ 10768 h 313299"/>
                <a:gd name="connsiteX1" fmla="*/ 257832 w 315244"/>
                <a:gd name="connsiteY1" fmla="*/ 4825 h 313299"/>
                <a:gd name="connsiteX2" fmla="*/ 257698 w 315244"/>
                <a:gd name="connsiteY2" fmla="*/ 3587 h 313299"/>
                <a:gd name="connsiteX3" fmla="*/ 250454 w 315244"/>
                <a:gd name="connsiteY3" fmla="*/ 70 h 313299"/>
                <a:gd name="connsiteX4" fmla="*/ 250145 w 315244"/>
                <a:gd name="connsiteY4" fmla="*/ 0 h 313299"/>
                <a:gd name="connsiteX5" fmla="*/ 241698 w 315244"/>
                <a:gd name="connsiteY5" fmla="*/ 0 h 313299"/>
                <a:gd name="connsiteX6" fmla="*/ 226085 w 315244"/>
                <a:gd name="connsiteY6" fmla="*/ 3235 h 313299"/>
                <a:gd name="connsiteX7" fmla="*/ 213165 w 315244"/>
                <a:gd name="connsiteY7" fmla="*/ 6464 h 313299"/>
                <a:gd name="connsiteX8" fmla="*/ 204550 w 315244"/>
                <a:gd name="connsiteY8" fmla="*/ 4846 h 313299"/>
                <a:gd name="connsiteX9" fmla="*/ 195941 w 315244"/>
                <a:gd name="connsiteY9" fmla="*/ 3235 h 313299"/>
                <a:gd name="connsiteX10" fmla="*/ 180869 w 315244"/>
                <a:gd name="connsiteY10" fmla="*/ 6464 h 313299"/>
                <a:gd name="connsiteX11" fmla="*/ 163104 w 315244"/>
                <a:gd name="connsiteY11" fmla="*/ 8615 h 313299"/>
                <a:gd name="connsiteX12" fmla="*/ 154277 w 315244"/>
                <a:gd name="connsiteY12" fmla="*/ 10114 h 313299"/>
                <a:gd name="connsiteX13" fmla="*/ 150725 w 315244"/>
                <a:gd name="connsiteY13" fmla="*/ 11309 h 313299"/>
                <a:gd name="connsiteX14" fmla="*/ 131427 w 315244"/>
                <a:gd name="connsiteY14" fmla="*/ 22555 h 313299"/>
                <a:gd name="connsiteX15" fmla="*/ 131251 w 315244"/>
                <a:gd name="connsiteY15" fmla="*/ 22640 h 313299"/>
                <a:gd name="connsiteX16" fmla="*/ 115194 w 315244"/>
                <a:gd name="connsiteY16" fmla="*/ 30144 h 313299"/>
                <a:gd name="connsiteX17" fmla="*/ 101016 w 315244"/>
                <a:gd name="connsiteY17" fmla="*/ 35854 h 313299"/>
                <a:gd name="connsiteX18" fmla="*/ 100552 w 315244"/>
                <a:gd name="connsiteY18" fmla="*/ 36881 h 313299"/>
                <a:gd name="connsiteX19" fmla="*/ 104427 w 315244"/>
                <a:gd name="connsiteY19" fmla="*/ 45757 h 313299"/>
                <a:gd name="connsiteX20" fmla="*/ 106516 w 315244"/>
                <a:gd name="connsiteY20" fmla="*/ 54084 h 313299"/>
                <a:gd name="connsiteX21" fmla="*/ 106516 w 315244"/>
                <a:gd name="connsiteY21" fmla="*/ 54084 h 313299"/>
                <a:gd name="connsiteX22" fmla="*/ 106516 w 315244"/>
                <a:gd name="connsiteY22" fmla="*/ 54084 h 313299"/>
                <a:gd name="connsiteX23" fmla="*/ 108738 w 315244"/>
                <a:gd name="connsiteY23" fmla="*/ 62447 h 313299"/>
                <a:gd name="connsiteX24" fmla="*/ 115194 w 315244"/>
                <a:gd name="connsiteY24" fmla="*/ 82364 h 313299"/>
                <a:gd name="connsiteX25" fmla="*/ 113225 w 315244"/>
                <a:gd name="connsiteY25" fmla="*/ 87013 h 313299"/>
                <a:gd name="connsiteX26" fmla="*/ 113225 w 315244"/>
                <a:gd name="connsiteY26" fmla="*/ 87013 h 313299"/>
                <a:gd name="connsiteX27" fmla="*/ 111425 w 315244"/>
                <a:gd name="connsiteY27" fmla="*/ 88820 h 313299"/>
                <a:gd name="connsiteX28" fmla="*/ 105236 w 315244"/>
                <a:gd name="connsiteY28" fmla="*/ 90023 h 313299"/>
                <a:gd name="connsiteX29" fmla="*/ 97429 w 315244"/>
                <a:gd name="connsiteY29" fmla="*/ 90438 h 313299"/>
                <a:gd name="connsiteX30" fmla="*/ 88954 w 315244"/>
                <a:gd name="connsiteY30" fmla="*/ 94672 h 313299"/>
                <a:gd name="connsiteX31" fmla="*/ 87203 w 315244"/>
                <a:gd name="connsiteY31" fmla="*/ 96360 h 313299"/>
                <a:gd name="connsiteX32" fmla="*/ 85135 w 315244"/>
                <a:gd name="connsiteY32" fmla="*/ 97724 h 313299"/>
                <a:gd name="connsiteX33" fmla="*/ 85135 w 315244"/>
                <a:gd name="connsiteY33" fmla="*/ 97724 h 313299"/>
                <a:gd name="connsiteX34" fmla="*/ 85135 w 315244"/>
                <a:gd name="connsiteY34" fmla="*/ 97724 h 313299"/>
                <a:gd name="connsiteX35" fmla="*/ 85135 w 315244"/>
                <a:gd name="connsiteY35" fmla="*/ 97724 h 313299"/>
                <a:gd name="connsiteX36" fmla="*/ 80747 w 315244"/>
                <a:gd name="connsiteY36" fmla="*/ 104434 h 313299"/>
                <a:gd name="connsiteX37" fmla="*/ 70520 w 315244"/>
                <a:gd name="connsiteY37" fmla="*/ 114660 h 313299"/>
                <a:gd name="connsiteX38" fmla="*/ 55836 w 315244"/>
                <a:gd name="connsiteY38" fmla="*/ 125653 h 313299"/>
                <a:gd name="connsiteX39" fmla="*/ 51137 w 315244"/>
                <a:gd name="connsiteY39" fmla="*/ 129732 h 313299"/>
                <a:gd name="connsiteX40" fmla="*/ 27992 w 315244"/>
                <a:gd name="connsiteY40" fmla="*/ 136188 h 313299"/>
                <a:gd name="connsiteX41" fmla="*/ 387 w 315244"/>
                <a:gd name="connsiteY41" fmla="*/ 147842 h 313299"/>
                <a:gd name="connsiteX42" fmla="*/ 0 w 315244"/>
                <a:gd name="connsiteY42" fmla="*/ 148475 h 313299"/>
                <a:gd name="connsiteX43" fmla="*/ 0 w 315244"/>
                <a:gd name="connsiteY43" fmla="*/ 173506 h 313299"/>
                <a:gd name="connsiteX44" fmla="*/ 288 w 315244"/>
                <a:gd name="connsiteY44" fmla="*/ 174075 h 313299"/>
                <a:gd name="connsiteX45" fmla="*/ 158799 w 315244"/>
                <a:gd name="connsiteY45" fmla="*/ 285296 h 313299"/>
                <a:gd name="connsiteX46" fmla="*/ 168519 w 315244"/>
                <a:gd name="connsiteY46" fmla="*/ 294868 h 313299"/>
                <a:gd name="connsiteX47" fmla="*/ 178175 w 315244"/>
                <a:gd name="connsiteY47" fmla="*/ 304679 h 313299"/>
                <a:gd name="connsiteX48" fmla="*/ 181678 w 315244"/>
                <a:gd name="connsiteY48" fmla="*/ 310242 h 313299"/>
                <a:gd name="connsiteX49" fmla="*/ 181945 w 315244"/>
                <a:gd name="connsiteY49" fmla="*/ 312211 h 313299"/>
                <a:gd name="connsiteX50" fmla="*/ 188043 w 315244"/>
                <a:gd name="connsiteY50" fmla="*/ 312873 h 313299"/>
                <a:gd name="connsiteX51" fmla="*/ 193247 w 315244"/>
                <a:gd name="connsiteY51" fmla="*/ 312211 h 313299"/>
                <a:gd name="connsiteX52" fmla="*/ 219523 w 315244"/>
                <a:gd name="connsiteY52" fmla="*/ 304714 h 313299"/>
                <a:gd name="connsiteX53" fmla="*/ 219713 w 315244"/>
                <a:gd name="connsiteY53" fmla="*/ 304609 h 313299"/>
                <a:gd name="connsiteX54" fmla="*/ 245461 w 315244"/>
                <a:gd name="connsiteY54" fmla="*/ 285296 h 313299"/>
                <a:gd name="connsiteX55" fmla="*/ 294446 w 315244"/>
                <a:gd name="connsiteY55" fmla="*/ 253542 h 313299"/>
                <a:gd name="connsiteX56" fmla="*/ 314961 w 315244"/>
                <a:gd name="connsiteY56" fmla="*/ 238491 h 313299"/>
                <a:gd name="connsiteX57" fmla="*/ 315053 w 315244"/>
                <a:gd name="connsiteY57" fmla="*/ 237436 h 313299"/>
                <a:gd name="connsiteX58" fmla="*/ 312753 w 315244"/>
                <a:gd name="connsiteY58" fmla="*/ 234454 h 313299"/>
                <a:gd name="connsiteX59" fmla="*/ 311698 w 315244"/>
                <a:gd name="connsiteY59" fmla="*/ 231943 h 313299"/>
                <a:gd name="connsiteX60" fmla="*/ 305214 w 315244"/>
                <a:gd name="connsiteY60" fmla="*/ 225199 h 313299"/>
                <a:gd name="connsiteX61" fmla="*/ 297744 w 315244"/>
                <a:gd name="connsiteY61" fmla="*/ 224432 h 313299"/>
                <a:gd name="connsiteX62" fmla="*/ 297744 w 315244"/>
                <a:gd name="connsiteY62" fmla="*/ 224432 h 313299"/>
                <a:gd name="connsiteX63" fmla="*/ 290142 w 315244"/>
                <a:gd name="connsiteY63" fmla="*/ 223025 h 313299"/>
                <a:gd name="connsiteX64" fmla="*/ 285296 w 315244"/>
                <a:gd name="connsiteY64" fmla="*/ 212680 h 313299"/>
                <a:gd name="connsiteX65" fmla="*/ 285099 w 315244"/>
                <a:gd name="connsiteY65" fmla="*/ 210992 h 313299"/>
                <a:gd name="connsiteX66" fmla="*/ 282602 w 315244"/>
                <a:gd name="connsiteY66" fmla="*/ 206146 h 313299"/>
                <a:gd name="connsiteX67" fmla="*/ 276146 w 315244"/>
                <a:gd name="connsiteY67" fmla="*/ 196349 h 313299"/>
                <a:gd name="connsiteX68" fmla="*/ 278221 w 315244"/>
                <a:gd name="connsiteY68" fmla="*/ 193472 h 313299"/>
                <a:gd name="connsiteX69" fmla="*/ 278221 w 315244"/>
                <a:gd name="connsiteY69" fmla="*/ 193472 h 313299"/>
                <a:gd name="connsiteX70" fmla="*/ 280992 w 315244"/>
                <a:gd name="connsiteY70" fmla="*/ 188725 h 313299"/>
                <a:gd name="connsiteX71" fmla="*/ 280183 w 315244"/>
                <a:gd name="connsiteY71" fmla="*/ 185026 h 313299"/>
                <a:gd name="connsiteX72" fmla="*/ 280183 w 315244"/>
                <a:gd name="connsiteY72" fmla="*/ 185026 h 313299"/>
                <a:gd name="connsiteX73" fmla="*/ 279374 w 315244"/>
                <a:gd name="connsiteY73" fmla="*/ 176755 h 313299"/>
                <a:gd name="connsiteX74" fmla="*/ 282546 w 315244"/>
                <a:gd name="connsiteY74" fmla="*/ 170896 h 313299"/>
                <a:gd name="connsiteX75" fmla="*/ 282602 w 315244"/>
                <a:gd name="connsiteY75" fmla="*/ 170622 h 313299"/>
                <a:gd name="connsiteX76" fmla="*/ 282602 w 315244"/>
                <a:gd name="connsiteY76" fmla="*/ 143003 h 313299"/>
                <a:gd name="connsiteX77" fmla="*/ 280992 w 315244"/>
                <a:gd name="connsiteY77" fmla="*/ 129936 h 313299"/>
                <a:gd name="connsiteX78" fmla="*/ 279578 w 315244"/>
                <a:gd name="connsiteY78" fmla="*/ 122896 h 313299"/>
                <a:gd name="connsiteX79" fmla="*/ 278734 w 315244"/>
                <a:gd name="connsiteY79" fmla="*/ 122495 h 313299"/>
                <a:gd name="connsiteX80" fmla="*/ 278734 w 315244"/>
                <a:gd name="connsiteY80" fmla="*/ 122495 h 313299"/>
                <a:gd name="connsiteX81" fmla="*/ 278052 w 315244"/>
                <a:gd name="connsiteY81" fmla="*/ 122263 h 313299"/>
                <a:gd name="connsiteX82" fmla="*/ 273452 w 315244"/>
                <a:gd name="connsiteY82" fmla="*/ 110890 h 313299"/>
                <a:gd name="connsiteX83" fmla="*/ 273452 w 315244"/>
                <a:gd name="connsiteY83" fmla="*/ 95284 h 313299"/>
                <a:gd name="connsiteX84" fmla="*/ 261074 w 315244"/>
                <a:gd name="connsiteY84" fmla="*/ 80205 h 313299"/>
                <a:gd name="connsiteX85" fmla="*/ 250405 w 315244"/>
                <a:gd name="connsiteY85" fmla="*/ 73383 h 313299"/>
                <a:gd name="connsiteX86" fmla="*/ 250405 w 315244"/>
                <a:gd name="connsiteY86" fmla="*/ 73383 h 313299"/>
                <a:gd name="connsiteX87" fmla="*/ 248689 w 315244"/>
                <a:gd name="connsiteY87" fmla="*/ 72131 h 313299"/>
                <a:gd name="connsiteX88" fmla="*/ 248450 w 315244"/>
                <a:gd name="connsiteY88" fmla="*/ 58740 h 313299"/>
                <a:gd name="connsiteX89" fmla="*/ 248450 w 315244"/>
                <a:gd name="connsiteY89" fmla="*/ 58740 h 313299"/>
                <a:gd name="connsiteX90" fmla="*/ 248450 w 315244"/>
                <a:gd name="connsiteY90" fmla="*/ 58740 h 313299"/>
                <a:gd name="connsiteX91" fmla="*/ 248689 w 315244"/>
                <a:gd name="connsiteY91" fmla="*/ 54907 h 313299"/>
                <a:gd name="connsiteX92" fmla="*/ 251854 w 315244"/>
                <a:gd name="connsiteY92" fmla="*/ 49189 h 313299"/>
                <a:gd name="connsiteX93" fmla="*/ 256763 w 315244"/>
                <a:gd name="connsiteY93" fmla="*/ 39301 h 313299"/>
                <a:gd name="connsiteX94" fmla="*/ 261074 w 315244"/>
                <a:gd name="connsiteY94" fmla="*/ 19918 h 313299"/>
                <a:gd name="connsiteX95" fmla="*/ 258999 w 315244"/>
                <a:gd name="connsiteY95" fmla="*/ 12589 h 313299"/>
                <a:gd name="connsiteX96" fmla="*/ 256763 w 315244"/>
                <a:gd name="connsiteY96" fmla="*/ 10768 h 313299"/>
                <a:gd name="connsiteX97" fmla="*/ 286372 w 315244"/>
                <a:gd name="connsiteY97" fmla="*/ 112578 h 313299"/>
                <a:gd name="connsiteX98" fmla="*/ 286372 w 315244"/>
                <a:gd name="connsiteY98" fmla="*/ 112515 h 313299"/>
                <a:gd name="connsiteX99" fmla="*/ 286372 w 315244"/>
                <a:gd name="connsiteY99" fmla="*/ 104968 h 313299"/>
                <a:gd name="connsiteX100" fmla="*/ 286372 w 315244"/>
                <a:gd name="connsiteY100" fmla="*/ 104968 h 313299"/>
                <a:gd name="connsiteX101" fmla="*/ 286372 w 315244"/>
                <a:gd name="connsiteY101" fmla="*/ 104968 h 313299"/>
                <a:gd name="connsiteX102" fmla="*/ 286372 w 315244"/>
                <a:gd name="connsiteY102" fmla="*/ 104968 h 313299"/>
                <a:gd name="connsiteX103" fmla="*/ 286372 w 315244"/>
                <a:gd name="connsiteY103" fmla="*/ 112578 h 31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315244" h="313299">
                  <a:moveTo>
                    <a:pt x="256763" y="10768"/>
                  </a:moveTo>
                  <a:cubicBezTo>
                    <a:pt x="254498" y="8784"/>
                    <a:pt x="255835" y="6541"/>
                    <a:pt x="257832" y="4825"/>
                  </a:cubicBezTo>
                  <a:cubicBezTo>
                    <a:pt x="258233" y="4480"/>
                    <a:pt x="258177" y="3819"/>
                    <a:pt x="257698" y="3587"/>
                  </a:cubicBezTo>
                  <a:lnTo>
                    <a:pt x="250454" y="70"/>
                  </a:lnTo>
                  <a:cubicBezTo>
                    <a:pt x="250356" y="28"/>
                    <a:pt x="250250" y="0"/>
                    <a:pt x="250145" y="0"/>
                  </a:cubicBezTo>
                  <a:lnTo>
                    <a:pt x="241698" y="0"/>
                  </a:lnTo>
                  <a:cubicBezTo>
                    <a:pt x="239539" y="0"/>
                    <a:pt x="229855" y="1076"/>
                    <a:pt x="226085" y="3235"/>
                  </a:cubicBezTo>
                  <a:cubicBezTo>
                    <a:pt x="222315" y="5387"/>
                    <a:pt x="216935" y="6464"/>
                    <a:pt x="213165" y="6464"/>
                  </a:cubicBezTo>
                  <a:cubicBezTo>
                    <a:pt x="211280" y="6464"/>
                    <a:pt x="207918" y="5655"/>
                    <a:pt x="204550" y="4846"/>
                  </a:cubicBezTo>
                  <a:cubicBezTo>
                    <a:pt x="201188" y="4037"/>
                    <a:pt x="197826" y="3235"/>
                    <a:pt x="195941" y="3235"/>
                  </a:cubicBezTo>
                  <a:cubicBezTo>
                    <a:pt x="192924" y="3235"/>
                    <a:pt x="184639" y="5387"/>
                    <a:pt x="180869" y="6464"/>
                  </a:cubicBezTo>
                  <a:cubicBezTo>
                    <a:pt x="177099" y="7181"/>
                    <a:pt x="168273" y="8615"/>
                    <a:pt x="163104" y="8615"/>
                  </a:cubicBezTo>
                  <a:cubicBezTo>
                    <a:pt x="158413" y="8615"/>
                    <a:pt x="156844" y="9185"/>
                    <a:pt x="154277" y="10114"/>
                  </a:cubicBezTo>
                  <a:cubicBezTo>
                    <a:pt x="153307" y="10465"/>
                    <a:pt x="152195" y="10866"/>
                    <a:pt x="150725" y="11309"/>
                  </a:cubicBezTo>
                  <a:cubicBezTo>
                    <a:pt x="146442" y="12589"/>
                    <a:pt x="136125" y="19306"/>
                    <a:pt x="131427" y="22555"/>
                  </a:cubicBezTo>
                  <a:cubicBezTo>
                    <a:pt x="131370" y="22590"/>
                    <a:pt x="131314" y="22618"/>
                    <a:pt x="131251" y="22640"/>
                  </a:cubicBezTo>
                  <a:cubicBezTo>
                    <a:pt x="126905" y="24095"/>
                    <a:pt x="117762" y="27584"/>
                    <a:pt x="115194" y="30144"/>
                  </a:cubicBezTo>
                  <a:cubicBezTo>
                    <a:pt x="112796" y="32549"/>
                    <a:pt x="105243" y="34828"/>
                    <a:pt x="101016" y="35854"/>
                  </a:cubicBezTo>
                  <a:cubicBezTo>
                    <a:pt x="100566" y="35967"/>
                    <a:pt x="100341" y="36473"/>
                    <a:pt x="100552" y="36881"/>
                  </a:cubicBezTo>
                  <a:cubicBezTo>
                    <a:pt x="102064" y="39772"/>
                    <a:pt x="104427" y="44583"/>
                    <a:pt x="104427" y="45757"/>
                  </a:cubicBezTo>
                  <a:cubicBezTo>
                    <a:pt x="104427" y="46657"/>
                    <a:pt x="105440" y="50244"/>
                    <a:pt x="106516" y="54084"/>
                  </a:cubicBezTo>
                  <a:lnTo>
                    <a:pt x="106516" y="54084"/>
                  </a:lnTo>
                  <a:lnTo>
                    <a:pt x="106516" y="54084"/>
                  </a:lnTo>
                  <a:cubicBezTo>
                    <a:pt x="107367" y="57115"/>
                    <a:pt x="108260" y="60308"/>
                    <a:pt x="108738" y="62447"/>
                  </a:cubicBezTo>
                  <a:cubicBezTo>
                    <a:pt x="109814" y="67292"/>
                    <a:pt x="113584" y="79670"/>
                    <a:pt x="115194" y="82364"/>
                  </a:cubicBezTo>
                  <a:cubicBezTo>
                    <a:pt x="116334" y="84256"/>
                    <a:pt x="114801" y="85620"/>
                    <a:pt x="113225" y="87013"/>
                  </a:cubicBezTo>
                  <a:lnTo>
                    <a:pt x="113225" y="87013"/>
                  </a:lnTo>
                  <a:cubicBezTo>
                    <a:pt x="112571" y="87597"/>
                    <a:pt x="111903" y="88188"/>
                    <a:pt x="111425" y="88820"/>
                  </a:cubicBezTo>
                  <a:cubicBezTo>
                    <a:pt x="110489" y="90072"/>
                    <a:pt x="108288" y="90051"/>
                    <a:pt x="105236" y="90023"/>
                  </a:cubicBezTo>
                  <a:cubicBezTo>
                    <a:pt x="103027" y="90009"/>
                    <a:pt x="100369" y="89981"/>
                    <a:pt x="97429" y="90438"/>
                  </a:cubicBezTo>
                  <a:cubicBezTo>
                    <a:pt x="92182" y="91240"/>
                    <a:pt x="90572" y="92956"/>
                    <a:pt x="88954" y="94672"/>
                  </a:cubicBezTo>
                  <a:cubicBezTo>
                    <a:pt x="88413" y="95249"/>
                    <a:pt x="87878" y="95818"/>
                    <a:pt x="87203" y="96360"/>
                  </a:cubicBezTo>
                  <a:cubicBezTo>
                    <a:pt x="86556" y="96873"/>
                    <a:pt x="85846" y="97302"/>
                    <a:pt x="85135" y="97724"/>
                  </a:cubicBezTo>
                  <a:cubicBezTo>
                    <a:pt x="85135" y="97724"/>
                    <a:pt x="85135" y="97724"/>
                    <a:pt x="85135" y="97724"/>
                  </a:cubicBezTo>
                  <a:lnTo>
                    <a:pt x="85135" y="97724"/>
                  </a:lnTo>
                  <a:cubicBezTo>
                    <a:pt x="85135" y="97724"/>
                    <a:pt x="85135" y="97724"/>
                    <a:pt x="85135" y="97724"/>
                  </a:cubicBezTo>
                  <a:cubicBezTo>
                    <a:pt x="82913" y="99054"/>
                    <a:pt x="80747" y="100348"/>
                    <a:pt x="80747" y="104434"/>
                  </a:cubicBezTo>
                  <a:cubicBezTo>
                    <a:pt x="80747" y="109814"/>
                    <a:pt x="76442" y="113042"/>
                    <a:pt x="70520" y="114660"/>
                  </a:cubicBezTo>
                  <a:cubicBezTo>
                    <a:pt x="66512" y="115750"/>
                    <a:pt x="60280" y="121531"/>
                    <a:pt x="55836" y="125653"/>
                  </a:cubicBezTo>
                  <a:cubicBezTo>
                    <a:pt x="53719" y="127622"/>
                    <a:pt x="52010" y="129211"/>
                    <a:pt x="51137" y="129732"/>
                  </a:cubicBezTo>
                  <a:cubicBezTo>
                    <a:pt x="48451" y="131349"/>
                    <a:pt x="32837" y="135654"/>
                    <a:pt x="27992" y="136188"/>
                  </a:cubicBezTo>
                  <a:cubicBezTo>
                    <a:pt x="24180" y="136617"/>
                    <a:pt x="8257" y="144016"/>
                    <a:pt x="387" y="147842"/>
                  </a:cubicBezTo>
                  <a:cubicBezTo>
                    <a:pt x="148" y="147961"/>
                    <a:pt x="0" y="148200"/>
                    <a:pt x="0" y="148475"/>
                  </a:cubicBezTo>
                  <a:lnTo>
                    <a:pt x="0" y="173506"/>
                  </a:lnTo>
                  <a:cubicBezTo>
                    <a:pt x="0" y="173738"/>
                    <a:pt x="106" y="173942"/>
                    <a:pt x="288" y="174075"/>
                  </a:cubicBezTo>
                  <a:cubicBezTo>
                    <a:pt x="51883" y="210570"/>
                    <a:pt x="155360" y="283580"/>
                    <a:pt x="158799" y="285296"/>
                  </a:cubicBezTo>
                  <a:cubicBezTo>
                    <a:pt x="161036" y="286414"/>
                    <a:pt x="164728" y="290592"/>
                    <a:pt x="168519" y="294868"/>
                  </a:cubicBezTo>
                  <a:cubicBezTo>
                    <a:pt x="172015" y="298820"/>
                    <a:pt x="175594" y="302864"/>
                    <a:pt x="178175" y="304679"/>
                  </a:cubicBezTo>
                  <a:cubicBezTo>
                    <a:pt x="181854" y="307253"/>
                    <a:pt x="181762" y="308821"/>
                    <a:pt x="181678" y="310242"/>
                  </a:cubicBezTo>
                  <a:cubicBezTo>
                    <a:pt x="181643" y="310903"/>
                    <a:pt x="181601" y="311529"/>
                    <a:pt x="181945" y="312211"/>
                  </a:cubicBezTo>
                  <a:cubicBezTo>
                    <a:pt x="182691" y="313702"/>
                    <a:pt x="184723" y="313386"/>
                    <a:pt x="188043" y="312873"/>
                  </a:cubicBezTo>
                  <a:cubicBezTo>
                    <a:pt x="189527" y="312647"/>
                    <a:pt x="191257" y="312380"/>
                    <a:pt x="193247" y="312211"/>
                  </a:cubicBezTo>
                  <a:cubicBezTo>
                    <a:pt x="198388" y="311782"/>
                    <a:pt x="212834" y="307056"/>
                    <a:pt x="219523" y="304714"/>
                  </a:cubicBezTo>
                  <a:cubicBezTo>
                    <a:pt x="219593" y="304686"/>
                    <a:pt x="219649" y="304658"/>
                    <a:pt x="219713" y="304609"/>
                  </a:cubicBezTo>
                  <a:cubicBezTo>
                    <a:pt x="227456" y="298666"/>
                    <a:pt x="243316" y="286583"/>
                    <a:pt x="245461" y="285296"/>
                  </a:cubicBezTo>
                  <a:cubicBezTo>
                    <a:pt x="248155" y="283685"/>
                    <a:pt x="291218" y="255694"/>
                    <a:pt x="294446" y="253542"/>
                  </a:cubicBezTo>
                  <a:cubicBezTo>
                    <a:pt x="296253" y="252332"/>
                    <a:pt x="306086" y="245074"/>
                    <a:pt x="314961" y="238491"/>
                  </a:cubicBezTo>
                  <a:cubicBezTo>
                    <a:pt x="315299" y="238238"/>
                    <a:pt x="315341" y="237745"/>
                    <a:pt x="315053" y="237436"/>
                  </a:cubicBezTo>
                  <a:cubicBezTo>
                    <a:pt x="314174" y="236479"/>
                    <a:pt x="313351" y="235467"/>
                    <a:pt x="312753" y="234454"/>
                  </a:cubicBezTo>
                  <a:cubicBezTo>
                    <a:pt x="312338" y="233758"/>
                    <a:pt x="312029" y="232879"/>
                    <a:pt x="311698" y="231943"/>
                  </a:cubicBezTo>
                  <a:cubicBezTo>
                    <a:pt x="310742" y="229228"/>
                    <a:pt x="309616" y="226007"/>
                    <a:pt x="305214" y="225199"/>
                  </a:cubicBezTo>
                  <a:cubicBezTo>
                    <a:pt x="302822" y="224762"/>
                    <a:pt x="300164" y="224587"/>
                    <a:pt x="297744" y="224432"/>
                  </a:cubicBezTo>
                  <a:lnTo>
                    <a:pt x="297744" y="224432"/>
                  </a:lnTo>
                  <a:cubicBezTo>
                    <a:pt x="294172" y="224193"/>
                    <a:pt x="291105" y="223996"/>
                    <a:pt x="290142" y="223025"/>
                  </a:cubicBezTo>
                  <a:cubicBezTo>
                    <a:pt x="288524" y="221386"/>
                    <a:pt x="285837" y="214860"/>
                    <a:pt x="285296" y="212680"/>
                  </a:cubicBezTo>
                  <a:cubicBezTo>
                    <a:pt x="285148" y="212089"/>
                    <a:pt x="285120" y="211533"/>
                    <a:pt x="285099" y="210992"/>
                  </a:cubicBezTo>
                  <a:cubicBezTo>
                    <a:pt x="285029" y="209536"/>
                    <a:pt x="284958" y="208129"/>
                    <a:pt x="282602" y="206146"/>
                  </a:cubicBezTo>
                  <a:cubicBezTo>
                    <a:pt x="279374" y="203424"/>
                    <a:pt x="275070" y="198529"/>
                    <a:pt x="276146" y="196349"/>
                  </a:cubicBezTo>
                  <a:cubicBezTo>
                    <a:pt x="276561" y="195512"/>
                    <a:pt x="277377" y="194513"/>
                    <a:pt x="278221" y="193472"/>
                  </a:cubicBezTo>
                  <a:lnTo>
                    <a:pt x="278221" y="193472"/>
                  </a:lnTo>
                  <a:cubicBezTo>
                    <a:pt x="279564" y="191819"/>
                    <a:pt x="280992" y="190068"/>
                    <a:pt x="280992" y="188725"/>
                  </a:cubicBezTo>
                  <a:cubicBezTo>
                    <a:pt x="280992" y="187987"/>
                    <a:pt x="280612" y="186608"/>
                    <a:pt x="280183" y="185026"/>
                  </a:cubicBezTo>
                  <a:lnTo>
                    <a:pt x="280183" y="185026"/>
                  </a:lnTo>
                  <a:cubicBezTo>
                    <a:pt x="279346" y="181980"/>
                    <a:pt x="278312" y="178190"/>
                    <a:pt x="279374" y="176755"/>
                  </a:cubicBezTo>
                  <a:cubicBezTo>
                    <a:pt x="280626" y="175067"/>
                    <a:pt x="281976" y="172233"/>
                    <a:pt x="282546" y="170896"/>
                  </a:cubicBezTo>
                  <a:cubicBezTo>
                    <a:pt x="282588" y="170812"/>
                    <a:pt x="282602" y="170713"/>
                    <a:pt x="282602" y="170622"/>
                  </a:cubicBezTo>
                  <a:lnTo>
                    <a:pt x="282602" y="143003"/>
                  </a:lnTo>
                  <a:cubicBezTo>
                    <a:pt x="282602" y="138101"/>
                    <a:pt x="282602" y="131574"/>
                    <a:pt x="280992" y="129936"/>
                  </a:cubicBezTo>
                  <a:cubicBezTo>
                    <a:pt x="280429" y="129373"/>
                    <a:pt x="279937" y="126532"/>
                    <a:pt x="279578" y="122896"/>
                  </a:cubicBezTo>
                  <a:cubicBezTo>
                    <a:pt x="279536" y="122502"/>
                    <a:pt x="279072" y="122305"/>
                    <a:pt x="278734" y="122495"/>
                  </a:cubicBezTo>
                  <a:lnTo>
                    <a:pt x="278734" y="122495"/>
                  </a:lnTo>
                  <a:cubicBezTo>
                    <a:pt x="278474" y="122642"/>
                    <a:pt x="278185" y="122523"/>
                    <a:pt x="278052" y="122263"/>
                  </a:cubicBezTo>
                  <a:cubicBezTo>
                    <a:pt x="276378" y="119049"/>
                    <a:pt x="273452" y="112937"/>
                    <a:pt x="273452" y="110890"/>
                  </a:cubicBezTo>
                  <a:lnTo>
                    <a:pt x="273452" y="95284"/>
                  </a:lnTo>
                  <a:cubicBezTo>
                    <a:pt x="273452" y="91514"/>
                    <a:pt x="265920" y="82364"/>
                    <a:pt x="261074" y="80205"/>
                  </a:cubicBezTo>
                  <a:cubicBezTo>
                    <a:pt x="257333" y="78545"/>
                    <a:pt x="252951" y="75282"/>
                    <a:pt x="250405" y="73383"/>
                  </a:cubicBezTo>
                  <a:lnTo>
                    <a:pt x="250405" y="73383"/>
                  </a:lnTo>
                  <a:cubicBezTo>
                    <a:pt x="249652" y="72820"/>
                    <a:pt x="249061" y="72377"/>
                    <a:pt x="248689" y="72131"/>
                  </a:cubicBezTo>
                  <a:cubicBezTo>
                    <a:pt x="247493" y="71336"/>
                    <a:pt x="248070" y="63720"/>
                    <a:pt x="248450" y="58740"/>
                  </a:cubicBezTo>
                  <a:lnTo>
                    <a:pt x="248450" y="58740"/>
                  </a:lnTo>
                  <a:lnTo>
                    <a:pt x="248450" y="58740"/>
                  </a:lnTo>
                  <a:cubicBezTo>
                    <a:pt x="248583" y="57010"/>
                    <a:pt x="248689" y="55603"/>
                    <a:pt x="248689" y="54907"/>
                  </a:cubicBezTo>
                  <a:cubicBezTo>
                    <a:pt x="248689" y="53761"/>
                    <a:pt x="250166" y="51630"/>
                    <a:pt x="251854" y="49189"/>
                  </a:cubicBezTo>
                  <a:cubicBezTo>
                    <a:pt x="254119" y="45912"/>
                    <a:pt x="256763" y="42072"/>
                    <a:pt x="256763" y="39301"/>
                  </a:cubicBezTo>
                  <a:cubicBezTo>
                    <a:pt x="256763" y="34455"/>
                    <a:pt x="258922" y="25305"/>
                    <a:pt x="261074" y="19918"/>
                  </a:cubicBezTo>
                  <a:cubicBezTo>
                    <a:pt x="262811" y="15571"/>
                    <a:pt x="261742" y="14734"/>
                    <a:pt x="258999" y="12589"/>
                  </a:cubicBezTo>
                  <a:cubicBezTo>
                    <a:pt x="258345" y="12076"/>
                    <a:pt x="257593" y="11492"/>
                    <a:pt x="256763" y="10768"/>
                  </a:cubicBezTo>
                  <a:close/>
                  <a:moveTo>
                    <a:pt x="286372" y="112578"/>
                  </a:moveTo>
                  <a:cubicBezTo>
                    <a:pt x="286372" y="112557"/>
                    <a:pt x="286372" y="112536"/>
                    <a:pt x="286372" y="112515"/>
                  </a:cubicBezTo>
                  <a:lnTo>
                    <a:pt x="286372" y="104968"/>
                  </a:lnTo>
                  <a:cubicBezTo>
                    <a:pt x="286372" y="104968"/>
                    <a:pt x="286372" y="104968"/>
                    <a:pt x="286372" y="104968"/>
                  </a:cubicBezTo>
                  <a:lnTo>
                    <a:pt x="286372" y="104968"/>
                  </a:lnTo>
                  <a:cubicBezTo>
                    <a:pt x="286372" y="104968"/>
                    <a:pt x="286372" y="104968"/>
                    <a:pt x="286372" y="104968"/>
                  </a:cubicBezTo>
                  <a:lnTo>
                    <a:pt x="286372" y="11257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3" name="Freihandform: Form 118">
              <a:extLst>
                <a:ext uri="{FF2B5EF4-FFF2-40B4-BE49-F238E27FC236}">
                  <a16:creationId xmlns:a16="http://schemas.microsoft.com/office/drawing/2014/main" id="{00D9AAE1-A6F5-0B4D-93B5-59EDA80D41BF}"/>
                </a:ext>
              </a:extLst>
            </p:cNvPr>
            <p:cNvSpPr/>
            <p:nvPr/>
          </p:nvSpPr>
          <p:spPr>
            <a:xfrm>
              <a:off x="5899349" y="3933988"/>
              <a:ext cx="242972" cy="255106"/>
            </a:xfrm>
            <a:custGeom>
              <a:avLst/>
              <a:gdLst>
                <a:gd name="connsiteX0" fmla="*/ 227872 w 242972"/>
                <a:gd name="connsiteY0" fmla="*/ 15223 h 255106"/>
                <a:gd name="connsiteX1" fmla="*/ 228364 w 242972"/>
                <a:gd name="connsiteY1" fmla="*/ 15588 h 255106"/>
                <a:gd name="connsiteX2" fmla="*/ 231810 w 242972"/>
                <a:gd name="connsiteY2" fmla="*/ 23641 h 255106"/>
                <a:gd name="connsiteX3" fmla="*/ 233899 w 242972"/>
                <a:gd name="connsiteY3" fmla="*/ 31968 h 255106"/>
                <a:gd name="connsiteX4" fmla="*/ 233899 w 242972"/>
                <a:gd name="connsiteY4" fmla="*/ 31968 h 255106"/>
                <a:gd name="connsiteX5" fmla="*/ 233899 w 242972"/>
                <a:gd name="connsiteY5" fmla="*/ 31968 h 255106"/>
                <a:gd name="connsiteX6" fmla="*/ 236121 w 242972"/>
                <a:gd name="connsiteY6" fmla="*/ 40331 h 255106"/>
                <a:gd name="connsiteX7" fmla="*/ 242578 w 242972"/>
                <a:gd name="connsiteY7" fmla="*/ 60248 h 255106"/>
                <a:gd name="connsiteX8" fmla="*/ 240608 w 242972"/>
                <a:gd name="connsiteY8" fmla="*/ 64897 h 255106"/>
                <a:gd name="connsiteX9" fmla="*/ 240608 w 242972"/>
                <a:gd name="connsiteY9" fmla="*/ 64897 h 255106"/>
                <a:gd name="connsiteX10" fmla="*/ 238808 w 242972"/>
                <a:gd name="connsiteY10" fmla="*/ 66705 h 255106"/>
                <a:gd name="connsiteX11" fmla="*/ 232619 w 242972"/>
                <a:gd name="connsiteY11" fmla="*/ 67907 h 255106"/>
                <a:gd name="connsiteX12" fmla="*/ 224812 w 242972"/>
                <a:gd name="connsiteY12" fmla="*/ 68322 h 255106"/>
                <a:gd name="connsiteX13" fmla="*/ 216337 w 242972"/>
                <a:gd name="connsiteY13" fmla="*/ 72556 h 255106"/>
                <a:gd name="connsiteX14" fmla="*/ 214586 w 242972"/>
                <a:gd name="connsiteY14" fmla="*/ 74244 h 255106"/>
                <a:gd name="connsiteX15" fmla="*/ 212518 w 242972"/>
                <a:gd name="connsiteY15" fmla="*/ 75609 h 255106"/>
                <a:gd name="connsiteX16" fmla="*/ 208130 w 242972"/>
                <a:gd name="connsiteY16" fmla="*/ 82318 h 255106"/>
                <a:gd name="connsiteX17" fmla="*/ 197904 w 242972"/>
                <a:gd name="connsiteY17" fmla="*/ 92544 h 255106"/>
                <a:gd name="connsiteX18" fmla="*/ 183219 w 242972"/>
                <a:gd name="connsiteY18" fmla="*/ 103537 h 255106"/>
                <a:gd name="connsiteX19" fmla="*/ 178521 w 242972"/>
                <a:gd name="connsiteY19" fmla="*/ 107616 h 255106"/>
                <a:gd name="connsiteX20" fmla="*/ 155375 w 242972"/>
                <a:gd name="connsiteY20" fmla="*/ 114072 h 255106"/>
                <a:gd name="connsiteX21" fmla="*/ 127770 w 242972"/>
                <a:gd name="connsiteY21" fmla="*/ 125726 h 255106"/>
                <a:gd name="connsiteX22" fmla="*/ 127383 w 242972"/>
                <a:gd name="connsiteY22" fmla="*/ 126359 h 255106"/>
                <a:gd name="connsiteX23" fmla="*/ 127383 w 242972"/>
                <a:gd name="connsiteY23" fmla="*/ 150138 h 255106"/>
                <a:gd name="connsiteX24" fmla="*/ 126307 w 242972"/>
                <a:gd name="connsiteY24" fmla="*/ 177053 h 255106"/>
                <a:gd name="connsiteX25" fmla="*/ 78560 w 242972"/>
                <a:gd name="connsiteY25" fmla="*/ 179712 h 255106"/>
                <a:gd name="connsiteX26" fmla="*/ 77899 w 242972"/>
                <a:gd name="connsiteY26" fmla="*/ 180443 h 255106"/>
                <a:gd name="connsiteX27" fmla="*/ 79474 w 242972"/>
                <a:gd name="connsiteY27" fmla="*/ 215812 h 255106"/>
                <a:gd name="connsiteX28" fmla="*/ 74692 w 242972"/>
                <a:gd name="connsiteY28" fmla="*/ 221172 h 255106"/>
                <a:gd name="connsiteX29" fmla="*/ 74565 w 242972"/>
                <a:gd name="connsiteY29" fmla="*/ 221207 h 255106"/>
                <a:gd name="connsiteX30" fmla="*/ 62771 w 242972"/>
                <a:gd name="connsiteY30" fmla="*/ 222740 h 255106"/>
                <a:gd name="connsiteX31" fmla="*/ 62166 w 242972"/>
                <a:gd name="connsiteY31" fmla="*/ 223324 h 255106"/>
                <a:gd name="connsiteX32" fmla="*/ 60640 w 242972"/>
                <a:gd name="connsiteY32" fmla="*/ 242728 h 255106"/>
                <a:gd name="connsiteX33" fmla="*/ 59683 w 242972"/>
                <a:gd name="connsiteY33" fmla="*/ 254565 h 255106"/>
                <a:gd name="connsiteX34" fmla="*/ 59001 w 242972"/>
                <a:gd name="connsiteY34" fmla="*/ 255106 h 255106"/>
                <a:gd name="connsiteX35" fmla="*/ 704 w 242972"/>
                <a:gd name="connsiteY35" fmla="*/ 255106 h 255106"/>
                <a:gd name="connsiteX36" fmla="*/ 22 w 242972"/>
                <a:gd name="connsiteY36" fmla="*/ 254241 h 255106"/>
                <a:gd name="connsiteX37" fmla="*/ 5191 w 242972"/>
                <a:gd name="connsiteY37" fmla="*/ 236806 h 255106"/>
                <a:gd name="connsiteX38" fmla="*/ 7329 w 242972"/>
                <a:gd name="connsiteY38" fmla="*/ 231749 h 255106"/>
                <a:gd name="connsiteX39" fmla="*/ 12730 w 242972"/>
                <a:gd name="connsiteY39" fmla="*/ 220117 h 255106"/>
                <a:gd name="connsiteX40" fmla="*/ 14179 w 242972"/>
                <a:gd name="connsiteY40" fmla="*/ 217683 h 255106"/>
                <a:gd name="connsiteX41" fmla="*/ 17576 w 242972"/>
                <a:gd name="connsiteY41" fmla="*/ 213660 h 255106"/>
                <a:gd name="connsiteX42" fmla="*/ 21677 w 242972"/>
                <a:gd name="connsiteY42" fmla="*/ 209820 h 255106"/>
                <a:gd name="connsiteX43" fmla="*/ 27802 w 242972"/>
                <a:gd name="connsiteY43" fmla="*/ 203969 h 255106"/>
                <a:gd name="connsiteX44" fmla="*/ 32318 w 242972"/>
                <a:gd name="connsiteY44" fmla="*/ 198293 h 255106"/>
                <a:gd name="connsiteX45" fmla="*/ 34259 w 242972"/>
                <a:gd name="connsiteY45" fmla="*/ 194819 h 255106"/>
                <a:gd name="connsiteX46" fmla="*/ 34990 w 242972"/>
                <a:gd name="connsiteY46" fmla="*/ 186660 h 255106"/>
                <a:gd name="connsiteX47" fmla="*/ 34259 w 242972"/>
                <a:gd name="connsiteY47" fmla="*/ 182441 h 255106"/>
                <a:gd name="connsiteX48" fmla="*/ 38570 w 242972"/>
                <a:gd name="connsiteY48" fmla="*/ 173284 h 255106"/>
                <a:gd name="connsiteX49" fmla="*/ 42354 w 242972"/>
                <a:gd name="connsiteY49" fmla="*/ 170646 h 255106"/>
                <a:gd name="connsiteX50" fmla="*/ 47720 w 242972"/>
                <a:gd name="connsiteY50" fmla="*/ 166827 h 255106"/>
                <a:gd name="connsiteX51" fmla="*/ 54718 w 242972"/>
                <a:gd name="connsiteY51" fmla="*/ 157136 h 255106"/>
                <a:gd name="connsiteX52" fmla="*/ 62250 w 242972"/>
                <a:gd name="connsiteY52" fmla="*/ 143681 h 255106"/>
                <a:gd name="connsiteX53" fmla="*/ 69016 w 242972"/>
                <a:gd name="connsiteY53" fmla="*/ 141185 h 255106"/>
                <a:gd name="connsiteX54" fmla="*/ 75711 w 242972"/>
                <a:gd name="connsiteY54" fmla="*/ 140988 h 255106"/>
                <a:gd name="connsiteX55" fmla="*/ 85213 w 242972"/>
                <a:gd name="connsiteY55" fmla="*/ 135101 h 255106"/>
                <a:gd name="connsiteX56" fmla="*/ 95088 w 242972"/>
                <a:gd name="connsiteY56" fmla="*/ 126457 h 255106"/>
                <a:gd name="connsiteX57" fmla="*/ 113929 w 242972"/>
                <a:gd name="connsiteY57" fmla="*/ 100076 h 255106"/>
                <a:gd name="connsiteX58" fmla="*/ 112508 w 242972"/>
                <a:gd name="connsiteY58" fmla="*/ 96877 h 255106"/>
                <a:gd name="connsiteX59" fmla="*/ 111235 w 242972"/>
                <a:gd name="connsiteY59" fmla="*/ 95238 h 255106"/>
                <a:gd name="connsiteX60" fmla="*/ 111235 w 242972"/>
                <a:gd name="connsiteY60" fmla="*/ 82853 h 255106"/>
                <a:gd name="connsiteX61" fmla="*/ 116939 w 242972"/>
                <a:gd name="connsiteY61" fmla="*/ 72366 h 255106"/>
                <a:gd name="connsiteX62" fmla="*/ 118233 w 242972"/>
                <a:gd name="connsiteY62" fmla="*/ 70474 h 255106"/>
                <a:gd name="connsiteX63" fmla="*/ 120955 w 242972"/>
                <a:gd name="connsiteY63" fmla="*/ 62872 h 255106"/>
                <a:gd name="connsiteX64" fmla="*/ 122003 w 242972"/>
                <a:gd name="connsiteY64" fmla="*/ 59172 h 255106"/>
                <a:gd name="connsiteX65" fmla="*/ 133390 w 242972"/>
                <a:gd name="connsiteY65" fmla="*/ 47715 h 255106"/>
                <a:gd name="connsiteX66" fmla="*/ 133847 w 242972"/>
                <a:gd name="connsiteY66" fmla="*/ 47329 h 255106"/>
                <a:gd name="connsiteX67" fmla="*/ 146541 w 242972"/>
                <a:gd name="connsiteY67" fmla="*/ 40682 h 255106"/>
                <a:gd name="connsiteX68" fmla="*/ 151071 w 242972"/>
                <a:gd name="connsiteY68" fmla="*/ 38713 h 255106"/>
                <a:gd name="connsiteX69" fmla="*/ 163470 w 242972"/>
                <a:gd name="connsiteY69" fmla="*/ 21496 h 255106"/>
                <a:gd name="connsiteX70" fmla="*/ 164525 w 242972"/>
                <a:gd name="connsiteY70" fmla="*/ 19337 h 255106"/>
                <a:gd name="connsiteX71" fmla="*/ 168766 w 242972"/>
                <a:gd name="connsiteY71" fmla="*/ 2085 h 255106"/>
                <a:gd name="connsiteX72" fmla="*/ 169350 w 242972"/>
                <a:gd name="connsiteY72" fmla="*/ 1487 h 255106"/>
                <a:gd name="connsiteX73" fmla="*/ 178204 w 242972"/>
                <a:gd name="connsiteY73" fmla="*/ 10 h 255106"/>
                <a:gd name="connsiteX74" fmla="*/ 178767 w 242972"/>
                <a:gd name="connsiteY74" fmla="*/ 172 h 255106"/>
                <a:gd name="connsiteX75" fmla="*/ 184443 w 242972"/>
                <a:gd name="connsiteY75" fmla="*/ 8569 h 255106"/>
                <a:gd name="connsiteX76" fmla="*/ 202131 w 242972"/>
                <a:gd name="connsiteY76" fmla="*/ 12529 h 255106"/>
                <a:gd name="connsiteX77" fmla="*/ 208130 w 242972"/>
                <a:gd name="connsiteY77" fmla="*/ 12339 h 255106"/>
                <a:gd name="connsiteX78" fmla="*/ 227872 w 242972"/>
                <a:gd name="connsiteY78" fmla="*/ 15223 h 255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242972" h="255106">
                  <a:moveTo>
                    <a:pt x="227872" y="15223"/>
                  </a:moveTo>
                  <a:cubicBezTo>
                    <a:pt x="228083" y="15258"/>
                    <a:pt x="228266" y="15399"/>
                    <a:pt x="228364" y="15588"/>
                  </a:cubicBezTo>
                  <a:cubicBezTo>
                    <a:pt x="229855" y="18493"/>
                    <a:pt x="231810" y="22572"/>
                    <a:pt x="231810" y="23641"/>
                  </a:cubicBezTo>
                  <a:cubicBezTo>
                    <a:pt x="231810" y="24542"/>
                    <a:pt x="232823" y="28128"/>
                    <a:pt x="233899" y="31968"/>
                  </a:cubicBezTo>
                  <a:lnTo>
                    <a:pt x="233899" y="31968"/>
                  </a:lnTo>
                  <a:lnTo>
                    <a:pt x="233899" y="31968"/>
                  </a:lnTo>
                  <a:cubicBezTo>
                    <a:pt x="234750" y="35000"/>
                    <a:pt x="235643" y="38193"/>
                    <a:pt x="236121" y="40331"/>
                  </a:cubicBezTo>
                  <a:cubicBezTo>
                    <a:pt x="237198" y="45177"/>
                    <a:pt x="240967" y="57555"/>
                    <a:pt x="242578" y="60248"/>
                  </a:cubicBezTo>
                  <a:cubicBezTo>
                    <a:pt x="243717" y="62140"/>
                    <a:pt x="242184" y="63505"/>
                    <a:pt x="240608" y="64897"/>
                  </a:cubicBezTo>
                  <a:lnTo>
                    <a:pt x="240608" y="64897"/>
                  </a:lnTo>
                  <a:cubicBezTo>
                    <a:pt x="239954" y="65481"/>
                    <a:pt x="239286" y="66072"/>
                    <a:pt x="238808" y="66705"/>
                  </a:cubicBezTo>
                  <a:cubicBezTo>
                    <a:pt x="237873" y="67957"/>
                    <a:pt x="235671" y="67935"/>
                    <a:pt x="232619" y="67907"/>
                  </a:cubicBezTo>
                  <a:cubicBezTo>
                    <a:pt x="230411" y="67893"/>
                    <a:pt x="227752" y="67865"/>
                    <a:pt x="224812" y="68322"/>
                  </a:cubicBezTo>
                  <a:cubicBezTo>
                    <a:pt x="219566" y="69124"/>
                    <a:pt x="217955" y="70840"/>
                    <a:pt x="216337" y="72556"/>
                  </a:cubicBezTo>
                  <a:cubicBezTo>
                    <a:pt x="215796" y="73133"/>
                    <a:pt x="215261" y="73702"/>
                    <a:pt x="214586" y="74244"/>
                  </a:cubicBezTo>
                  <a:cubicBezTo>
                    <a:pt x="213939" y="74757"/>
                    <a:pt x="213229" y="75187"/>
                    <a:pt x="212518" y="75609"/>
                  </a:cubicBezTo>
                  <a:cubicBezTo>
                    <a:pt x="210296" y="76938"/>
                    <a:pt x="208130" y="78232"/>
                    <a:pt x="208130" y="82318"/>
                  </a:cubicBezTo>
                  <a:cubicBezTo>
                    <a:pt x="208130" y="87698"/>
                    <a:pt x="203826" y="90926"/>
                    <a:pt x="197904" y="92544"/>
                  </a:cubicBezTo>
                  <a:cubicBezTo>
                    <a:pt x="193895" y="93634"/>
                    <a:pt x="187664" y="99415"/>
                    <a:pt x="183219" y="103537"/>
                  </a:cubicBezTo>
                  <a:cubicBezTo>
                    <a:pt x="181102" y="105506"/>
                    <a:pt x="179393" y="107095"/>
                    <a:pt x="178521" y="107616"/>
                  </a:cubicBezTo>
                  <a:cubicBezTo>
                    <a:pt x="175834" y="109233"/>
                    <a:pt x="160221" y="113538"/>
                    <a:pt x="155375" y="114072"/>
                  </a:cubicBezTo>
                  <a:cubicBezTo>
                    <a:pt x="151563" y="114501"/>
                    <a:pt x="135640" y="121900"/>
                    <a:pt x="127770" y="125726"/>
                  </a:cubicBezTo>
                  <a:cubicBezTo>
                    <a:pt x="127531" y="125846"/>
                    <a:pt x="127383" y="126085"/>
                    <a:pt x="127383" y="126359"/>
                  </a:cubicBezTo>
                  <a:lnTo>
                    <a:pt x="127383" y="150138"/>
                  </a:lnTo>
                  <a:cubicBezTo>
                    <a:pt x="127207" y="158929"/>
                    <a:pt x="126736" y="176624"/>
                    <a:pt x="126307" y="177053"/>
                  </a:cubicBezTo>
                  <a:cubicBezTo>
                    <a:pt x="125885" y="177482"/>
                    <a:pt x="94743" y="178987"/>
                    <a:pt x="78560" y="179712"/>
                  </a:cubicBezTo>
                  <a:cubicBezTo>
                    <a:pt x="78166" y="179733"/>
                    <a:pt x="77878" y="180056"/>
                    <a:pt x="77899" y="180443"/>
                  </a:cubicBezTo>
                  <a:cubicBezTo>
                    <a:pt x="78447" y="191450"/>
                    <a:pt x="79474" y="212859"/>
                    <a:pt x="79474" y="215812"/>
                  </a:cubicBezTo>
                  <a:cubicBezTo>
                    <a:pt x="79474" y="218787"/>
                    <a:pt x="76330" y="220609"/>
                    <a:pt x="74692" y="221172"/>
                  </a:cubicBezTo>
                  <a:cubicBezTo>
                    <a:pt x="74649" y="221186"/>
                    <a:pt x="74607" y="221200"/>
                    <a:pt x="74565" y="221207"/>
                  </a:cubicBezTo>
                  <a:lnTo>
                    <a:pt x="62771" y="222740"/>
                  </a:lnTo>
                  <a:cubicBezTo>
                    <a:pt x="62461" y="222782"/>
                    <a:pt x="62215" y="223021"/>
                    <a:pt x="62166" y="223324"/>
                  </a:cubicBezTo>
                  <a:cubicBezTo>
                    <a:pt x="61259" y="229070"/>
                    <a:pt x="59803" y="240217"/>
                    <a:pt x="60640" y="242728"/>
                  </a:cubicBezTo>
                  <a:cubicBezTo>
                    <a:pt x="61448" y="245168"/>
                    <a:pt x="60408" y="251322"/>
                    <a:pt x="59683" y="254565"/>
                  </a:cubicBezTo>
                  <a:cubicBezTo>
                    <a:pt x="59613" y="254881"/>
                    <a:pt x="59331" y="255106"/>
                    <a:pt x="59001" y="255106"/>
                  </a:cubicBezTo>
                  <a:lnTo>
                    <a:pt x="704" y="255106"/>
                  </a:lnTo>
                  <a:cubicBezTo>
                    <a:pt x="247" y="255106"/>
                    <a:pt x="-91" y="254684"/>
                    <a:pt x="22" y="254241"/>
                  </a:cubicBezTo>
                  <a:cubicBezTo>
                    <a:pt x="1196" y="249445"/>
                    <a:pt x="3574" y="240449"/>
                    <a:pt x="5191" y="236806"/>
                  </a:cubicBezTo>
                  <a:cubicBezTo>
                    <a:pt x="5831" y="235371"/>
                    <a:pt x="6563" y="233606"/>
                    <a:pt x="7329" y="231749"/>
                  </a:cubicBezTo>
                  <a:cubicBezTo>
                    <a:pt x="9165" y="227333"/>
                    <a:pt x="11211" y="222388"/>
                    <a:pt x="12730" y="220117"/>
                  </a:cubicBezTo>
                  <a:cubicBezTo>
                    <a:pt x="13420" y="219083"/>
                    <a:pt x="13835" y="218323"/>
                    <a:pt x="14179" y="217683"/>
                  </a:cubicBezTo>
                  <a:cubicBezTo>
                    <a:pt x="14925" y="216319"/>
                    <a:pt x="15382" y="215489"/>
                    <a:pt x="17576" y="213660"/>
                  </a:cubicBezTo>
                  <a:cubicBezTo>
                    <a:pt x="19187" y="212310"/>
                    <a:pt x="20263" y="211234"/>
                    <a:pt x="21677" y="209820"/>
                  </a:cubicBezTo>
                  <a:cubicBezTo>
                    <a:pt x="23090" y="208414"/>
                    <a:pt x="24842" y="206662"/>
                    <a:pt x="27802" y="203969"/>
                  </a:cubicBezTo>
                  <a:cubicBezTo>
                    <a:pt x="31410" y="200691"/>
                    <a:pt x="31818" y="199608"/>
                    <a:pt x="32318" y="198293"/>
                  </a:cubicBezTo>
                  <a:cubicBezTo>
                    <a:pt x="32641" y="197442"/>
                    <a:pt x="33000" y="196500"/>
                    <a:pt x="34259" y="194819"/>
                  </a:cubicBezTo>
                  <a:cubicBezTo>
                    <a:pt x="36397" y="191970"/>
                    <a:pt x="35708" y="189354"/>
                    <a:pt x="34990" y="186660"/>
                  </a:cubicBezTo>
                  <a:cubicBezTo>
                    <a:pt x="34631" y="185289"/>
                    <a:pt x="34259" y="183897"/>
                    <a:pt x="34259" y="182441"/>
                  </a:cubicBezTo>
                  <a:cubicBezTo>
                    <a:pt x="34259" y="178129"/>
                    <a:pt x="37487" y="174367"/>
                    <a:pt x="38570" y="173284"/>
                  </a:cubicBezTo>
                  <a:cubicBezTo>
                    <a:pt x="39048" y="172805"/>
                    <a:pt x="40624" y="171779"/>
                    <a:pt x="42354" y="170646"/>
                  </a:cubicBezTo>
                  <a:cubicBezTo>
                    <a:pt x="44471" y="169261"/>
                    <a:pt x="46827" y="167713"/>
                    <a:pt x="47720" y="166827"/>
                  </a:cubicBezTo>
                  <a:cubicBezTo>
                    <a:pt x="49330" y="165210"/>
                    <a:pt x="53642" y="159288"/>
                    <a:pt x="54718" y="157136"/>
                  </a:cubicBezTo>
                  <a:cubicBezTo>
                    <a:pt x="55794" y="154984"/>
                    <a:pt x="59557" y="147986"/>
                    <a:pt x="62250" y="143681"/>
                  </a:cubicBezTo>
                  <a:cubicBezTo>
                    <a:pt x="63966" y="140939"/>
                    <a:pt x="65893" y="141037"/>
                    <a:pt x="69016" y="141185"/>
                  </a:cubicBezTo>
                  <a:cubicBezTo>
                    <a:pt x="70802" y="141276"/>
                    <a:pt x="72969" y="141382"/>
                    <a:pt x="75711" y="140988"/>
                  </a:cubicBezTo>
                  <a:cubicBezTo>
                    <a:pt x="80072" y="140369"/>
                    <a:pt x="82091" y="138301"/>
                    <a:pt x="85213" y="135101"/>
                  </a:cubicBezTo>
                  <a:cubicBezTo>
                    <a:pt x="87478" y="132773"/>
                    <a:pt x="90326" y="129854"/>
                    <a:pt x="95088" y="126457"/>
                  </a:cubicBezTo>
                  <a:cubicBezTo>
                    <a:pt x="106390" y="118384"/>
                    <a:pt x="112853" y="102770"/>
                    <a:pt x="113929" y="100076"/>
                  </a:cubicBezTo>
                  <a:cubicBezTo>
                    <a:pt x="114569" y="98473"/>
                    <a:pt x="113486" y="97636"/>
                    <a:pt x="112508" y="96877"/>
                  </a:cubicBezTo>
                  <a:cubicBezTo>
                    <a:pt x="111847" y="96363"/>
                    <a:pt x="111235" y="95885"/>
                    <a:pt x="111235" y="95238"/>
                  </a:cubicBezTo>
                  <a:lnTo>
                    <a:pt x="111235" y="82853"/>
                  </a:lnTo>
                  <a:cubicBezTo>
                    <a:pt x="111235" y="80623"/>
                    <a:pt x="114569" y="75791"/>
                    <a:pt x="116939" y="72366"/>
                  </a:cubicBezTo>
                  <a:cubicBezTo>
                    <a:pt x="117425" y="71670"/>
                    <a:pt x="117868" y="71023"/>
                    <a:pt x="118233" y="70474"/>
                  </a:cubicBezTo>
                  <a:cubicBezTo>
                    <a:pt x="119619" y="68400"/>
                    <a:pt x="120336" y="65439"/>
                    <a:pt x="120955" y="62872"/>
                  </a:cubicBezTo>
                  <a:cubicBezTo>
                    <a:pt x="121300" y="61437"/>
                    <a:pt x="121616" y="60129"/>
                    <a:pt x="122003" y="59172"/>
                  </a:cubicBezTo>
                  <a:cubicBezTo>
                    <a:pt x="123037" y="56584"/>
                    <a:pt x="129543" y="51014"/>
                    <a:pt x="133390" y="47715"/>
                  </a:cubicBezTo>
                  <a:cubicBezTo>
                    <a:pt x="133544" y="47582"/>
                    <a:pt x="133699" y="47455"/>
                    <a:pt x="133847" y="47329"/>
                  </a:cubicBezTo>
                  <a:cubicBezTo>
                    <a:pt x="136695" y="44881"/>
                    <a:pt x="141710" y="42743"/>
                    <a:pt x="146541" y="40682"/>
                  </a:cubicBezTo>
                  <a:cubicBezTo>
                    <a:pt x="148096" y="40021"/>
                    <a:pt x="149629" y="39367"/>
                    <a:pt x="151071" y="38713"/>
                  </a:cubicBezTo>
                  <a:cubicBezTo>
                    <a:pt x="156282" y="36343"/>
                    <a:pt x="160657" y="27298"/>
                    <a:pt x="163470" y="21496"/>
                  </a:cubicBezTo>
                  <a:cubicBezTo>
                    <a:pt x="163850" y="20709"/>
                    <a:pt x="164201" y="19977"/>
                    <a:pt x="164525" y="19337"/>
                  </a:cubicBezTo>
                  <a:cubicBezTo>
                    <a:pt x="166593" y="15202"/>
                    <a:pt x="168168" y="6431"/>
                    <a:pt x="168766" y="2085"/>
                  </a:cubicBezTo>
                  <a:cubicBezTo>
                    <a:pt x="168808" y="1775"/>
                    <a:pt x="169040" y="1536"/>
                    <a:pt x="169350" y="1487"/>
                  </a:cubicBezTo>
                  <a:lnTo>
                    <a:pt x="178204" y="10"/>
                  </a:lnTo>
                  <a:cubicBezTo>
                    <a:pt x="178408" y="-25"/>
                    <a:pt x="178612" y="31"/>
                    <a:pt x="178767" y="172"/>
                  </a:cubicBezTo>
                  <a:cubicBezTo>
                    <a:pt x="179962" y="1269"/>
                    <a:pt x="182438" y="4153"/>
                    <a:pt x="184443" y="8569"/>
                  </a:cubicBezTo>
                  <a:cubicBezTo>
                    <a:pt x="186574" y="13246"/>
                    <a:pt x="194415" y="12888"/>
                    <a:pt x="202131" y="12529"/>
                  </a:cubicBezTo>
                  <a:cubicBezTo>
                    <a:pt x="204177" y="12431"/>
                    <a:pt x="206210" y="12339"/>
                    <a:pt x="208130" y="12339"/>
                  </a:cubicBezTo>
                  <a:cubicBezTo>
                    <a:pt x="212005" y="12339"/>
                    <a:pt x="219868" y="13647"/>
                    <a:pt x="227872" y="1522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4" name="Freihandform: Form 119">
              <a:extLst>
                <a:ext uri="{FF2B5EF4-FFF2-40B4-BE49-F238E27FC236}">
                  <a16:creationId xmlns:a16="http://schemas.microsoft.com/office/drawing/2014/main" id="{DE11644F-C33C-CB44-AB0B-B11BDF30C017}"/>
                </a:ext>
              </a:extLst>
            </p:cNvPr>
            <p:cNvSpPr/>
            <p:nvPr/>
          </p:nvSpPr>
          <p:spPr>
            <a:xfrm>
              <a:off x="5900710" y="4084125"/>
              <a:ext cx="183199" cy="210136"/>
            </a:xfrm>
            <a:custGeom>
              <a:avLst/>
              <a:gdLst>
                <a:gd name="connsiteX0" fmla="*/ 126318 w 183199"/>
                <a:gd name="connsiteY0" fmla="*/ 1828 h 210136"/>
                <a:gd name="connsiteX1" fmla="*/ 126023 w 183199"/>
                <a:gd name="connsiteY1" fmla="*/ 1252 h 210136"/>
                <a:gd name="connsiteX2" fmla="*/ 126023 w 183199"/>
                <a:gd name="connsiteY2" fmla="*/ 0 h 210136"/>
                <a:gd name="connsiteX3" fmla="*/ 124947 w 183199"/>
                <a:gd name="connsiteY3" fmla="*/ 26916 h 210136"/>
                <a:gd name="connsiteX4" fmla="*/ 77199 w 183199"/>
                <a:gd name="connsiteY4" fmla="*/ 29574 h 210136"/>
                <a:gd name="connsiteX5" fmla="*/ 76538 w 183199"/>
                <a:gd name="connsiteY5" fmla="*/ 30305 h 210136"/>
                <a:gd name="connsiteX6" fmla="*/ 78114 w 183199"/>
                <a:gd name="connsiteY6" fmla="*/ 65675 h 210136"/>
                <a:gd name="connsiteX7" fmla="*/ 73331 w 183199"/>
                <a:gd name="connsiteY7" fmla="*/ 71034 h 210136"/>
                <a:gd name="connsiteX8" fmla="*/ 73204 w 183199"/>
                <a:gd name="connsiteY8" fmla="*/ 71062 h 210136"/>
                <a:gd name="connsiteX9" fmla="*/ 61410 w 183199"/>
                <a:gd name="connsiteY9" fmla="*/ 72602 h 210136"/>
                <a:gd name="connsiteX10" fmla="*/ 60805 w 183199"/>
                <a:gd name="connsiteY10" fmla="*/ 73186 h 210136"/>
                <a:gd name="connsiteX11" fmla="*/ 59279 w 183199"/>
                <a:gd name="connsiteY11" fmla="*/ 92590 h 210136"/>
                <a:gd name="connsiteX12" fmla="*/ 58322 w 183199"/>
                <a:gd name="connsiteY12" fmla="*/ 104427 h 210136"/>
                <a:gd name="connsiteX13" fmla="*/ 57640 w 183199"/>
                <a:gd name="connsiteY13" fmla="*/ 104968 h 210136"/>
                <a:gd name="connsiteX14" fmla="*/ 701 w 183199"/>
                <a:gd name="connsiteY14" fmla="*/ 104968 h 210136"/>
                <a:gd name="connsiteX15" fmla="*/ 54 w 183199"/>
                <a:gd name="connsiteY15" fmla="*/ 105939 h 210136"/>
                <a:gd name="connsiteX16" fmla="*/ 2698 w 183199"/>
                <a:gd name="connsiteY16" fmla="*/ 112360 h 210136"/>
                <a:gd name="connsiteX17" fmla="*/ 2874 w 183199"/>
                <a:gd name="connsiteY17" fmla="*/ 112613 h 210136"/>
                <a:gd name="connsiteX18" fmla="*/ 8676 w 183199"/>
                <a:gd name="connsiteY18" fmla="*/ 120582 h 210136"/>
                <a:gd name="connsiteX19" fmla="*/ 8676 w 183199"/>
                <a:gd name="connsiteY19" fmla="*/ 129732 h 210136"/>
                <a:gd name="connsiteX20" fmla="*/ 8676 w 183199"/>
                <a:gd name="connsiteY20" fmla="*/ 139423 h 210136"/>
                <a:gd name="connsiteX21" fmla="*/ 10230 w 183199"/>
                <a:gd name="connsiteY21" fmla="*/ 144234 h 210136"/>
                <a:gd name="connsiteX22" fmla="*/ 12446 w 183199"/>
                <a:gd name="connsiteY22" fmla="*/ 151801 h 210136"/>
                <a:gd name="connsiteX23" fmla="*/ 12573 w 183199"/>
                <a:gd name="connsiteY23" fmla="*/ 155817 h 210136"/>
                <a:gd name="connsiteX24" fmla="*/ 12446 w 183199"/>
                <a:gd name="connsiteY24" fmla="*/ 163645 h 210136"/>
                <a:gd name="connsiteX25" fmla="*/ 10167 w 183199"/>
                <a:gd name="connsiteY25" fmla="*/ 170812 h 210136"/>
                <a:gd name="connsiteX26" fmla="*/ 8676 w 183199"/>
                <a:gd name="connsiteY26" fmla="*/ 175489 h 210136"/>
                <a:gd name="connsiteX27" fmla="*/ 8676 w 183199"/>
                <a:gd name="connsiteY27" fmla="*/ 183619 h 210136"/>
                <a:gd name="connsiteX28" fmla="*/ 9633 w 183199"/>
                <a:gd name="connsiteY28" fmla="*/ 184273 h 210136"/>
                <a:gd name="connsiteX29" fmla="*/ 19859 w 183199"/>
                <a:gd name="connsiteY29" fmla="*/ 180377 h 210136"/>
                <a:gd name="connsiteX30" fmla="*/ 20112 w 183199"/>
                <a:gd name="connsiteY30" fmla="*/ 180327 h 210136"/>
                <a:gd name="connsiteX31" fmla="*/ 32363 w 183199"/>
                <a:gd name="connsiteY31" fmla="*/ 180327 h 210136"/>
                <a:gd name="connsiteX32" fmla="*/ 38025 w 183199"/>
                <a:gd name="connsiteY32" fmla="*/ 181917 h 210136"/>
                <a:gd name="connsiteX33" fmla="*/ 38025 w 183199"/>
                <a:gd name="connsiteY33" fmla="*/ 181917 h 210136"/>
                <a:gd name="connsiteX34" fmla="*/ 46359 w 183199"/>
                <a:gd name="connsiteY34" fmla="*/ 184639 h 210136"/>
                <a:gd name="connsiteX35" fmla="*/ 56740 w 183199"/>
                <a:gd name="connsiteY35" fmla="*/ 192762 h 210136"/>
                <a:gd name="connsiteX36" fmla="*/ 56740 w 183199"/>
                <a:gd name="connsiteY36" fmla="*/ 192762 h 210136"/>
                <a:gd name="connsiteX37" fmla="*/ 57661 w 183199"/>
                <a:gd name="connsiteY37" fmla="*/ 194323 h 210136"/>
                <a:gd name="connsiteX38" fmla="*/ 72733 w 183199"/>
                <a:gd name="connsiteY38" fmla="*/ 209395 h 210136"/>
                <a:gd name="connsiteX39" fmla="*/ 77565 w 183199"/>
                <a:gd name="connsiteY39" fmla="*/ 206821 h 210136"/>
                <a:gd name="connsiteX40" fmla="*/ 77621 w 183199"/>
                <a:gd name="connsiteY40" fmla="*/ 206603 h 210136"/>
                <a:gd name="connsiteX41" fmla="*/ 81883 w 183199"/>
                <a:gd name="connsiteY41" fmla="*/ 197558 h 210136"/>
                <a:gd name="connsiteX42" fmla="*/ 90281 w 183199"/>
                <a:gd name="connsiteY42" fmla="*/ 201581 h 210136"/>
                <a:gd name="connsiteX43" fmla="*/ 90843 w 183199"/>
                <a:gd name="connsiteY43" fmla="*/ 201842 h 210136"/>
                <a:gd name="connsiteX44" fmla="*/ 103179 w 183199"/>
                <a:gd name="connsiteY44" fmla="*/ 197657 h 210136"/>
                <a:gd name="connsiteX45" fmla="*/ 103538 w 183199"/>
                <a:gd name="connsiteY45" fmla="*/ 197333 h 210136"/>
                <a:gd name="connsiteX46" fmla="*/ 109382 w 183199"/>
                <a:gd name="connsiteY46" fmla="*/ 200934 h 210136"/>
                <a:gd name="connsiteX47" fmla="*/ 110564 w 183199"/>
                <a:gd name="connsiteY47" fmla="*/ 201075 h 210136"/>
                <a:gd name="connsiteX48" fmla="*/ 113433 w 183199"/>
                <a:gd name="connsiteY48" fmla="*/ 197798 h 210136"/>
                <a:gd name="connsiteX49" fmla="*/ 113961 w 183199"/>
                <a:gd name="connsiteY49" fmla="*/ 197558 h 210136"/>
                <a:gd name="connsiteX50" fmla="*/ 171829 w 183199"/>
                <a:gd name="connsiteY50" fmla="*/ 197558 h 210136"/>
                <a:gd name="connsiteX51" fmla="*/ 172490 w 183199"/>
                <a:gd name="connsiteY51" fmla="*/ 197101 h 210136"/>
                <a:gd name="connsiteX52" fmla="*/ 175486 w 183199"/>
                <a:gd name="connsiteY52" fmla="*/ 189098 h 210136"/>
                <a:gd name="connsiteX53" fmla="*/ 175528 w 183199"/>
                <a:gd name="connsiteY53" fmla="*/ 188774 h 210136"/>
                <a:gd name="connsiteX54" fmla="*/ 159486 w 183199"/>
                <a:gd name="connsiteY54" fmla="*/ 43844 h 210136"/>
                <a:gd name="connsiteX55" fmla="*/ 160182 w 183199"/>
                <a:gd name="connsiteY55" fmla="*/ 43063 h 210136"/>
                <a:gd name="connsiteX56" fmla="*/ 182498 w 183199"/>
                <a:gd name="connsiteY56" fmla="*/ 43063 h 210136"/>
                <a:gd name="connsiteX57" fmla="*/ 182899 w 183199"/>
                <a:gd name="connsiteY57" fmla="*/ 41790 h 210136"/>
                <a:gd name="connsiteX58" fmla="*/ 126318 w 183199"/>
                <a:gd name="connsiteY58" fmla="*/ 1828 h 210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83199" h="210136">
                  <a:moveTo>
                    <a:pt x="126318" y="1828"/>
                  </a:moveTo>
                  <a:cubicBezTo>
                    <a:pt x="126135" y="1695"/>
                    <a:pt x="126023" y="1484"/>
                    <a:pt x="126023" y="1252"/>
                  </a:cubicBezTo>
                  <a:lnTo>
                    <a:pt x="126023" y="0"/>
                  </a:lnTo>
                  <a:cubicBezTo>
                    <a:pt x="125847" y="8791"/>
                    <a:pt x="125376" y="26486"/>
                    <a:pt x="124947" y="26916"/>
                  </a:cubicBezTo>
                  <a:cubicBezTo>
                    <a:pt x="124525" y="27344"/>
                    <a:pt x="93382" y="28850"/>
                    <a:pt x="77199" y="29574"/>
                  </a:cubicBezTo>
                  <a:cubicBezTo>
                    <a:pt x="76805" y="29595"/>
                    <a:pt x="76517" y="29918"/>
                    <a:pt x="76538" y="30305"/>
                  </a:cubicBezTo>
                  <a:cubicBezTo>
                    <a:pt x="77087" y="41312"/>
                    <a:pt x="78114" y="62721"/>
                    <a:pt x="78114" y="65675"/>
                  </a:cubicBezTo>
                  <a:cubicBezTo>
                    <a:pt x="78114" y="68650"/>
                    <a:pt x="74970" y="70471"/>
                    <a:pt x="73331" y="71034"/>
                  </a:cubicBezTo>
                  <a:cubicBezTo>
                    <a:pt x="73289" y="71048"/>
                    <a:pt x="73247" y="71062"/>
                    <a:pt x="73204" y="71062"/>
                  </a:cubicBezTo>
                  <a:lnTo>
                    <a:pt x="61410" y="72602"/>
                  </a:lnTo>
                  <a:cubicBezTo>
                    <a:pt x="61101" y="72644"/>
                    <a:pt x="60854" y="72883"/>
                    <a:pt x="60805" y="73186"/>
                  </a:cubicBezTo>
                  <a:cubicBezTo>
                    <a:pt x="59898" y="78932"/>
                    <a:pt x="58442" y="90079"/>
                    <a:pt x="59279" y="92590"/>
                  </a:cubicBezTo>
                  <a:cubicBezTo>
                    <a:pt x="60088" y="95031"/>
                    <a:pt x="59047" y="101184"/>
                    <a:pt x="58322" y="104427"/>
                  </a:cubicBezTo>
                  <a:cubicBezTo>
                    <a:pt x="58252" y="104743"/>
                    <a:pt x="57971" y="104968"/>
                    <a:pt x="57640" y="104968"/>
                  </a:cubicBezTo>
                  <a:lnTo>
                    <a:pt x="701" y="104968"/>
                  </a:lnTo>
                  <a:cubicBezTo>
                    <a:pt x="201" y="104968"/>
                    <a:pt x="-136" y="105475"/>
                    <a:pt x="54" y="105939"/>
                  </a:cubicBezTo>
                  <a:lnTo>
                    <a:pt x="2698" y="112360"/>
                  </a:lnTo>
                  <a:cubicBezTo>
                    <a:pt x="2733" y="112458"/>
                    <a:pt x="2796" y="112543"/>
                    <a:pt x="2874" y="112613"/>
                  </a:cubicBezTo>
                  <a:cubicBezTo>
                    <a:pt x="4878" y="114456"/>
                    <a:pt x="8676" y="118465"/>
                    <a:pt x="8676" y="120582"/>
                  </a:cubicBezTo>
                  <a:lnTo>
                    <a:pt x="8676" y="129732"/>
                  </a:lnTo>
                  <a:lnTo>
                    <a:pt x="8676" y="139423"/>
                  </a:lnTo>
                  <a:cubicBezTo>
                    <a:pt x="8676" y="140605"/>
                    <a:pt x="9415" y="142321"/>
                    <a:pt x="10230" y="144234"/>
                  </a:cubicBezTo>
                  <a:cubicBezTo>
                    <a:pt x="11271" y="146653"/>
                    <a:pt x="12446" y="149396"/>
                    <a:pt x="12446" y="151801"/>
                  </a:cubicBezTo>
                  <a:cubicBezTo>
                    <a:pt x="12446" y="153278"/>
                    <a:pt x="12509" y="154565"/>
                    <a:pt x="12573" y="155817"/>
                  </a:cubicBezTo>
                  <a:cubicBezTo>
                    <a:pt x="12685" y="158209"/>
                    <a:pt x="12797" y="160459"/>
                    <a:pt x="12446" y="163645"/>
                  </a:cubicBezTo>
                  <a:cubicBezTo>
                    <a:pt x="12158" y="166240"/>
                    <a:pt x="11096" y="168688"/>
                    <a:pt x="10167" y="170812"/>
                  </a:cubicBezTo>
                  <a:cubicBezTo>
                    <a:pt x="9372" y="172640"/>
                    <a:pt x="8676" y="174237"/>
                    <a:pt x="8676" y="175489"/>
                  </a:cubicBezTo>
                  <a:lnTo>
                    <a:pt x="8676" y="183619"/>
                  </a:lnTo>
                  <a:cubicBezTo>
                    <a:pt x="8676" y="184111"/>
                    <a:pt x="9168" y="184449"/>
                    <a:pt x="9633" y="184273"/>
                  </a:cubicBezTo>
                  <a:lnTo>
                    <a:pt x="19859" y="180377"/>
                  </a:lnTo>
                  <a:cubicBezTo>
                    <a:pt x="19943" y="180349"/>
                    <a:pt x="20027" y="180327"/>
                    <a:pt x="20112" y="180327"/>
                  </a:cubicBezTo>
                  <a:lnTo>
                    <a:pt x="32363" y="180327"/>
                  </a:lnTo>
                  <a:cubicBezTo>
                    <a:pt x="33545" y="180327"/>
                    <a:pt x="35374" y="180974"/>
                    <a:pt x="38025" y="181917"/>
                  </a:cubicBezTo>
                  <a:lnTo>
                    <a:pt x="38025" y="181917"/>
                  </a:lnTo>
                  <a:cubicBezTo>
                    <a:pt x="40212" y="182691"/>
                    <a:pt x="42955" y="183661"/>
                    <a:pt x="46359" y="184639"/>
                  </a:cubicBezTo>
                  <a:cubicBezTo>
                    <a:pt x="53118" y="186566"/>
                    <a:pt x="54243" y="188500"/>
                    <a:pt x="56740" y="192762"/>
                  </a:cubicBezTo>
                  <a:lnTo>
                    <a:pt x="56740" y="192762"/>
                  </a:lnTo>
                  <a:cubicBezTo>
                    <a:pt x="57021" y="193254"/>
                    <a:pt x="57331" y="193775"/>
                    <a:pt x="57661" y="194323"/>
                  </a:cubicBezTo>
                  <a:cubicBezTo>
                    <a:pt x="60890" y="199711"/>
                    <a:pt x="68429" y="206708"/>
                    <a:pt x="72733" y="209395"/>
                  </a:cubicBezTo>
                  <a:cubicBezTo>
                    <a:pt x="76109" y="211505"/>
                    <a:pt x="77347" y="208621"/>
                    <a:pt x="77565" y="206821"/>
                  </a:cubicBezTo>
                  <a:cubicBezTo>
                    <a:pt x="77572" y="206744"/>
                    <a:pt x="77593" y="206673"/>
                    <a:pt x="77621" y="206603"/>
                  </a:cubicBezTo>
                  <a:cubicBezTo>
                    <a:pt x="78374" y="204922"/>
                    <a:pt x="80195" y="200927"/>
                    <a:pt x="81883" y="197558"/>
                  </a:cubicBezTo>
                  <a:cubicBezTo>
                    <a:pt x="83550" y="194218"/>
                    <a:pt x="88044" y="198691"/>
                    <a:pt x="90281" y="201581"/>
                  </a:cubicBezTo>
                  <a:cubicBezTo>
                    <a:pt x="90421" y="201757"/>
                    <a:pt x="90625" y="201863"/>
                    <a:pt x="90843" y="201842"/>
                  </a:cubicBezTo>
                  <a:cubicBezTo>
                    <a:pt x="92299" y="201694"/>
                    <a:pt x="96252" y="200723"/>
                    <a:pt x="103179" y="197657"/>
                  </a:cubicBezTo>
                  <a:cubicBezTo>
                    <a:pt x="103334" y="197594"/>
                    <a:pt x="103454" y="197474"/>
                    <a:pt x="103538" y="197333"/>
                  </a:cubicBezTo>
                  <a:cubicBezTo>
                    <a:pt x="105106" y="194647"/>
                    <a:pt x="107828" y="198156"/>
                    <a:pt x="109382" y="200934"/>
                  </a:cubicBezTo>
                  <a:cubicBezTo>
                    <a:pt x="109629" y="201370"/>
                    <a:pt x="110233" y="201448"/>
                    <a:pt x="110564" y="201075"/>
                  </a:cubicBezTo>
                  <a:lnTo>
                    <a:pt x="113433" y="197798"/>
                  </a:lnTo>
                  <a:cubicBezTo>
                    <a:pt x="113567" y="197643"/>
                    <a:pt x="113757" y="197558"/>
                    <a:pt x="113961" y="197558"/>
                  </a:cubicBezTo>
                  <a:lnTo>
                    <a:pt x="171829" y="197558"/>
                  </a:lnTo>
                  <a:cubicBezTo>
                    <a:pt x="172124" y="197558"/>
                    <a:pt x="172385" y="197376"/>
                    <a:pt x="172490" y="197101"/>
                  </a:cubicBezTo>
                  <a:lnTo>
                    <a:pt x="175486" y="189098"/>
                  </a:lnTo>
                  <a:cubicBezTo>
                    <a:pt x="175528" y="188999"/>
                    <a:pt x="175542" y="188887"/>
                    <a:pt x="175528" y="188774"/>
                  </a:cubicBezTo>
                  <a:lnTo>
                    <a:pt x="159486" y="43844"/>
                  </a:lnTo>
                  <a:cubicBezTo>
                    <a:pt x="159437" y="43429"/>
                    <a:pt x="159767" y="43063"/>
                    <a:pt x="160182" y="43063"/>
                  </a:cubicBezTo>
                  <a:lnTo>
                    <a:pt x="182498" y="43063"/>
                  </a:lnTo>
                  <a:cubicBezTo>
                    <a:pt x="183180" y="43063"/>
                    <a:pt x="183462" y="42184"/>
                    <a:pt x="182899" y="41790"/>
                  </a:cubicBezTo>
                  <a:cubicBezTo>
                    <a:pt x="162102" y="27119"/>
                    <a:pt x="141861" y="12814"/>
                    <a:pt x="126318" y="182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5" name="Freihandform: Form 120">
              <a:extLst>
                <a:ext uri="{FF2B5EF4-FFF2-40B4-BE49-F238E27FC236}">
                  <a16:creationId xmlns:a16="http://schemas.microsoft.com/office/drawing/2014/main" id="{2CCF2465-67B9-A143-B6FF-6C3B2FF348C6}"/>
                </a:ext>
              </a:extLst>
            </p:cNvPr>
            <p:cNvSpPr/>
            <p:nvPr/>
          </p:nvSpPr>
          <p:spPr>
            <a:xfrm>
              <a:off x="5973443" y="4127189"/>
              <a:ext cx="252755" cy="237201"/>
            </a:xfrm>
            <a:custGeom>
              <a:avLst/>
              <a:gdLst>
                <a:gd name="connsiteX0" fmla="*/ 111755 w 252755"/>
                <a:gd name="connsiteY0" fmla="*/ 0 h 237201"/>
                <a:gd name="connsiteX1" fmla="*/ 112163 w 252755"/>
                <a:gd name="connsiteY1" fmla="*/ 134 h 237201"/>
                <a:gd name="connsiteX2" fmla="*/ 212089 w 252755"/>
                <a:gd name="connsiteY2" fmla="*/ 69979 h 237201"/>
                <a:gd name="connsiteX3" fmla="*/ 221809 w 252755"/>
                <a:gd name="connsiteY3" fmla="*/ 79551 h 237201"/>
                <a:gd name="connsiteX4" fmla="*/ 231465 w 252755"/>
                <a:gd name="connsiteY4" fmla="*/ 89362 h 237201"/>
                <a:gd name="connsiteX5" fmla="*/ 234967 w 252755"/>
                <a:gd name="connsiteY5" fmla="*/ 94925 h 237201"/>
                <a:gd name="connsiteX6" fmla="*/ 235235 w 252755"/>
                <a:gd name="connsiteY6" fmla="*/ 96894 h 237201"/>
                <a:gd name="connsiteX7" fmla="*/ 241332 w 252755"/>
                <a:gd name="connsiteY7" fmla="*/ 97555 h 237201"/>
                <a:gd name="connsiteX8" fmla="*/ 246537 w 252755"/>
                <a:gd name="connsiteY8" fmla="*/ 96894 h 237201"/>
                <a:gd name="connsiteX9" fmla="*/ 251875 w 252755"/>
                <a:gd name="connsiteY9" fmla="*/ 95874 h 237201"/>
                <a:gd name="connsiteX10" fmla="*/ 252754 w 252755"/>
                <a:gd name="connsiteY10" fmla="*/ 96606 h 237201"/>
                <a:gd name="connsiteX11" fmla="*/ 249765 w 252755"/>
                <a:gd name="connsiteY11" fmla="*/ 129732 h 237201"/>
                <a:gd name="connsiteX12" fmla="*/ 246649 w 252755"/>
                <a:gd name="connsiteY12" fmla="*/ 139128 h 237201"/>
                <a:gd name="connsiteX13" fmla="*/ 245461 w 252755"/>
                <a:gd name="connsiteY13" fmla="*/ 143186 h 237201"/>
                <a:gd name="connsiteX14" fmla="*/ 243266 w 252755"/>
                <a:gd name="connsiteY14" fmla="*/ 148123 h 237201"/>
                <a:gd name="connsiteX15" fmla="*/ 241691 w 252755"/>
                <a:gd name="connsiteY15" fmla="*/ 150725 h 237201"/>
                <a:gd name="connsiteX16" fmla="*/ 231936 w 252755"/>
                <a:gd name="connsiteY16" fmla="*/ 155381 h 237201"/>
                <a:gd name="connsiteX17" fmla="*/ 231936 w 252755"/>
                <a:gd name="connsiteY17" fmla="*/ 155381 h 237201"/>
                <a:gd name="connsiteX18" fmla="*/ 227161 w 252755"/>
                <a:gd name="connsiteY18" fmla="*/ 156647 h 237201"/>
                <a:gd name="connsiteX19" fmla="*/ 216773 w 252755"/>
                <a:gd name="connsiteY19" fmla="*/ 157808 h 237201"/>
                <a:gd name="connsiteX20" fmla="*/ 207243 w 252755"/>
                <a:gd name="connsiteY20" fmla="*/ 159875 h 237201"/>
                <a:gd name="connsiteX21" fmla="*/ 200709 w 252755"/>
                <a:gd name="connsiteY21" fmla="*/ 162583 h 237201"/>
                <a:gd name="connsiteX22" fmla="*/ 199704 w 252755"/>
                <a:gd name="connsiteY22" fmla="*/ 162569 h 237201"/>
                <a:gd name="connsiteX23" fmla="*/ 185708 w 252755"/>
                <a:gd name="connsiteY23" fmla="*/ 162569 h 237201"/>
                <a:gd name="connsiteX24" fmla="*/ 178710 w 252755"/>
                <a:gd name="connsiteY24" fmla="*/ 162569 h 237201"/>
                <a:gd name="connsiteX25" fmla="*/ 165579 w 252755"/>
                <a:gd name="connsiteY25" fmla="*/ 162569 h 237201"/>
                <a:gd name="connsiteX26" fmla="*/ 165045 w 252755"/>
                <a:gd name="connsiteY26" fmla="*/ 162815 h 237201"/>
                <a:gd name="connsiteX27" fmla="*/ 155691 w 252755"/>
                <a:gd name="connsiteY27" fmla="*/ 173731 h 237201"/>
                <a:gd name="connsiteX28" fmla="*/ 155395 w 252755"/>
                <a:gd name="connsiteY28" fmla="*/ 173934 h 237201"/>
                <a:gd name="connsiteX29" fmla="*/ 144804 w 252755"/>
                <a:gd name="connsiteY29" fmla="*/ 179793 h 237201"/>
                <a:gd name="connsiteX30" fmla="*/ 133494 w 252755"/>
                <a:gd name="connsiteY30" fmla="*/ 187220 h 237201"/>
                <a:gd name="connsiteX31" fmla="*/ 133494 w 252755"/>
                <a:gd name="connsiteY31" fmla="*/ 187220 h 237201"/>
                <a:gd name="connsiteX32" fmla="*/ 131342 w 252755"/>
                <a:gd name="connsiteY32" fmla="*/ 188401 h 237201"/>
                <a:gd name="connsiteX33" fmla="*/ 127383 w 252755"/>
                <a:gd name="connsiteY33" fmla="*/ 189569 h 237201"/>
                <a:gd name="connsiteX34" fmla="*/ 125034 w 252755"/>
                <a:gd name="connsiteY34" fmla="*/ 190139 h 237201"/>
                <a:gd name="connsiteX35" fmla="*/ 121686 w 252755"/>
                <a:gd name="connsiteY35" fmla="*/ 196412 h 237201"/>
                <a:gd name="connsiteX36" fmla="*/ 121609 w 252755"/>
                <a:gd name="connsiteY36" fmla="*/ 196532 h 237201"/>
                <a:gd name="connsiteX37" fmla="*/ 113042 w 252755"/>
                <a:gd name="connsiteY37" fmla="*/ 206708 h 237201"/>
                <a:gd name="connsiteX38" fmla="*/ 108612 w 252755"/>
                <a:gd name="connsiteY38" fmla="*/ 216667 h 237201"/>
                <a:gd name="connsiteX39" fmla="*/ 108612 w 252755"/>
                <a:gd name="connsiteY39" fmla="*/ 216667 h 237201"/>
                <a:gd name="connsiteX40" fmla="*/ 106044 w 252755"/>
                <a:gd name="connsiteY40" fmla="*/ 222856 h 237201"/>
                <a:gd name="connsiteX41" fmla="*/ 103927 w 252755"/>
                <a:gd name="connsiteY41" fmla="*/ 230600 h 237201"/>
                <a:gd name="connsiteX42" fmla="*/ 102816 w 252755"/>
                <a:gd name="connsiteY42" fmla="*/ 235776 h 237201"/>
                <a:gd name="connsiteX43" fmla="*/ 100847 w 252755"/>
                <a:gd name="connsiteY43" fmla="*/ 236247 h 237201"/>
                <a:gd name="connsiteX44" fmla="*/ 100151 w 252755"/>
                <a:gd name="connsiteY44" fmla="*/ 235776 h 237201"/>
                <a:gd name="connsiteX45" fmla="*/ 92583 w 252755"/>
                <a:gd name="connsiteY45" fmla="*/ 235776 h 237201"/>
                <a:gd name="connsiteX46" fmla="*/ 85585 w 252755"/>
                <a:gd name="connsiteY46" fmla="*/ 235776 h 237201"/>
                <a:gd name="connsiteX47" fmla="*/ 76435 w 252755"/>
                <a:gd name="connsiteY47" fmla="*/ 235776 h 237201"/>
                <a:gd name="connsiteX48" fmla="*/ 63270 w 252755"/>
                <a:gd name="connsiteY48" fmla="*/ 235776 h 237201"/>
                <a:gd name="connsiteX49" fmla="*/ 62777 w 252755"/>
                <a:gd name="connsiteY49" fmla="*/ 235565 h 237201"/>
                <a:gd name="connsiteX50" fmla="*/ 56729 w 252755"/>
                <a:gd name="connsiteY50" fmla="*/ 229524 h 237201"/>
                <a:gd name="connsiteX51" fmla="*/ 56518 w 252755"/>
                <a:gd name="connsiteY51" fmla="*/ 229024 h 237201"/>
                <a:gd name="connsiteX52" fmla="*/ 56518 w 252755"/>
                <a:gd name="connsiteY52" fmla="*/ 215697 h 237201"/>
                <a:gd name="connsiteX53" fmla="*/ 56208 w 252755"/>
                <a:gd name="connsiteY53" fmla="*/ 215113 h 237201"/>
                <a:gd name="connsiteX54" fmla="*/ 45216 w 252755"/>
                <a:gd name="connsiteY54" fmla="*/ 206708 h 237201"/>
                <a:gd name="connsiteX55" fmla="*/ 40595 w 252755"/>
                <a:gd name="connsiteY55" fmla="*/ 206336 h 237201"/>
                <a:gd name="connsiteX56" fmla="*/ 39934 w 252755"/>
                <a:gd name="connsiteY56" fmla="*/ 206708 h 237201"/>
                <a:gd name="connsiteX57" fmla="*/ 31923 w 252755"/>
                <a:gd name="connsiteY57" fmla="*/ 206708 h 237201"/>
                <a:gd name="connsiteX58" fmla="*/ 31614 w 252755"/>
                <a:gd name="connsiteY58" fmla="*/ 206779 h 237201"/>
                <a:gd name="connsiteX59" fmla="*/ 23146 w 252755"/>
                <a:gd name="connsiteY59" fmla="*/ 209937 h 237201"/>
                <a:gd name="connsiteX60" fmla="*/ 19770 w 252755"/>
                <a:gd name="connsiteY60" fmla="*/ 208150 h 237201"/>
                <a:gd name="connsiteX61" fmla="*/ 17224 w 252755"/>
                <a:gd name="connsiteY61" fmla="*/ 206708 h 237201"/>
                <a:gd name="connsiteX62" fmla="*/ 12526 w 252755"/>
                <a:gd name="connsiteY62" fmla="*/ 203621 h 237201"/>
                <a:gd name="connsiteX63" fmla="*/ 12336 w 252755"/>
                <a:gd name="connsiteY63" fmla="*/ 203283 h 237201"/>
                <a:gd name="connsiteX64" fmla="*/ 9692 w 252755"/>
                <a:gd name="connsiteY64" fmla="*/ 193247 h 237201"/>
                <a:gd name="connsiteX65" fmla="*/ 4895 w 252755"/>
                <a:gd name="connsiteY65" fmla="*/ 185771 h 237201"/>
                <a:gd name="connsiteX66" fmla="*/ 4811 w 252755"/>
                <a:gd name="connsiteY66" fmla="*/ 185644 h 237201"/>
                <a:gd name="connsiteX67" fmla="*/ 0 w 252755"/>
                <a:gd name="connsiteY67" fmla="*/ 173871 h 237201"/>
                <a:gd name="connsiteX68" fmla="*/ 626 w 252755"/>
                <a:gd name="connsiteY68" fmla="*/ 167675 h 237201"/>
                <a:gd name="connsiteX69" fmla="*/ 1646 w 252755"/>
                <a:gd name="connsiteY69" fmla="*/ 167028 h 237201"/>
                <a:gd name="connsiteX70" fmla="*/ 4832 w 252755"/>
                <a:gd name="connsiteY70" fmla="*/ 163758 h 237201"/>
                <a:gd name="connsiteX71" fmla="*/ 4888 w 252755"/>
                <a:gd name="connsiteY71" fmla="*/ 163540 h 237201"/>
                <a:gd name="connsiteX72" fmla="*/ 9150 w 252755"/>
                <a:gd name="connsiteY72" fmla="*/ 154495 h 237201"/>
                <a:gd name="connsiteX73" fmla="*/ 17548 w 252755"/>
                <a:gd name="connsiteY73" fmla="*/ 158518 h 237201"/>
                <a:gd name="connsiteX74" fmla="*/ 18110 w 252755"/>
                <a:gd name="connsiteY74" fmla="*/ 158778 h 237201"/>
                <a:gd name="connsiteX75" fmla="*/ 30453 w 252755"/>
                <a:gd name="connsiteY75" fmla="*/ 154593 h 237201"/>
                <a:gd name="connsiteX76" fmla="*/ 30805 w 252755"/>
                <a:gd name="connsiteY76" fmla="*/ 154270 h 237201"/>
                <a:gd name="connsiteX77" fmla="*/ 36649 w 252755"/>
                <a:gd name="connsiteY77" fmla="*/ 157871 h 237201"/>
                <a:gd name="connsiteX78" fmla="*/ 37831 w 252755"/>
                <a:gd name="connsiteY78" fmla="*/ 158012 h 237201"/>
                <a:gd name="connsiteX79" fmla="*/ 40700 w 252755"/>
                <a:gd name="connsiteY79" fmla="*/ 154734 h 237201"/>
                <a:gd name="connsiteX80" fmla="*/ 41228 w 252755"/>
                <a:gd name="connsiteY80" fmla="*/ 154495 h 237201"/>
                <a:gd name="connsiteX81" fmla="*/ 99096 w 252755"/>
                <a:gd name="connsiteY81" fmla="*/ 154495 h 237201"/>
                <a:gd name="connsiteX82" fmla="*/ 99757 w 252755"/>
                <a:gd name="connsiteY82" fmla="*/ 154038 h 237201"/>
                <a:gd name="connsiteX83" fmla="*/ 102753 w 252755"/>
                <a:gd name="connsiteY83" fmla="*/ 146034 h 237201"/>
                <a:gd name="connsiteX84" fmla="*/ 102795 w 252755"/>
                <a:gd name="connsiteY84" fmla="*/ 145711 h 237201"/>
                <a:gd name="connsiteX85" fmla="*/ 86753 w 252755"/>
                <a:gd name="connsiteY85" fmla="*/ 781 h 237201"/>
                <a:gd name="connsiteX86" fmla="*/ 87449 w 252755"/>
                <a:gd name="connsiteY86" fmla="*/ 0 h 237201"/>
                <a:gd name="connsiteX87" fmla="*/ 111755 w 252755"/>
                <a:gd name="connsiteY87" fmla="*/ 0 h 23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252755" h="237201">
                  <a:moveTo>
                    <a:pt x="111755" y="0"/>
                  </a:moveTo>
                  <a:cubicBezTo>
                    <a:pt x="111903" y="0"/>
                    <a:pt x="112044" y="49"/>
                    <a:pt x="112163" y="134"/>
                  </a:cubicBezTo>
                  <a:cubicBezTo>
                    <a:pt x="159833" y="33752"/>
                    <a:pt x="209719" y="68797"/>
                    <a:pt x="212089" y="69979"/>
                  </a:cubicBezTo>
                  <a:cubicBezTo>
                    <a:pt x="214325" y="71097"/>
                    <a:pt x="218018" y="75275"/>
                    <a:pt x="221809" y="79551"/>
                  </a:cubicBezTo>
                  <a:cubicBezTo>
                    <a:pt x="225304" y="83503"/>
                    <a:pt x="228884" y="87547"/>
                    <a:pt x="231465" y="89362"/>
                  </a:cubicBezTo>
                  <a:cubicBezTo>
                    <a:pt x="235143" y="91936"/>
                    <a:pt x="235052" y="93504"/>
                    <a:pt x="234967" y="94925"/>
                  </a:cubicBezTo>
                  <a:cubicBezTo>
                    <a:pt x="234932" y="95586"/>
                    <a:pt x="234890" y="96212"/>
                    <a:pt x="235235" y="96894"/>
                  </a:cubicBezTo>
                  <a:cubicBezTo>
                    <a:pt x="235980" y="98385"/>
                    <a:pt x="238013" y="98069"/>
                    <a:pt x="241332" y="97555"/>
                  </a:cubicBezTo>
                  <a:cubicBezTo>
                    <a:pt x="242816" y="97330"/>
                    <a:pt x="244546" y="97063"/>
                    <a:pt x="246537" y="96894"/>
                  </a:cubicBezTo>
                  <a:cubicBezTo>
                    <a:pt x="247824" y="96789"/>
                    <a:pt x="249695" y="96409"/>
                    <a:pt x="251875" y="95874"/>
                  </a:cubicBezTo>
                  <a:cubicBezTo>
                    <a:pt x="252339" y="95755"/>
                    <a:pt x="252789" y="96128"/>
                    <a:pt x="252754" y="96606"/>
                  </a:cubicBezTo>
                  <a:cubicBezTo>
                    <a:pt x="251650" y="112212"/>
                    <a:pt x="250356" y="128550"/>
                    <a:pt x="249765" y="129732"/>
                  </a:cubicBezTo>
                  <a:cubicBezTo>
                    <a:pt x="248872" y="131518"/>
                    <a:pt x="248351" y="133312"/>
                    <a:pt x="246649" y="139128"/>
                  </a:cubicBezTo>
                  <a:cubicBezTo>
                    <a:pt x="246305" y="140302"/>
                    <a:pt x="245918" y="141646"/>
                    <a:pt x="245461" y="143186"/>
                  </a:cubicBezTo>
                  <a:cubicBezTo>
                    <a:pt x="244771" y="145936"/>
                    <a:pt x="244089" y="146927"/>
                    <a:pt x="243266" y="148123"/>
                  </a:cubicBezTo>
                  <a:cubicBezTo>
                    <a:pt x="242795" y="148805"/>
                    <a:pt x="242282" y="149551"/>
                    <a:pt x="241691" y="150725"/>
                  </a:cubicBezTo>
                  <a:cubicBezTo>
                    <a:pt x="240446" y="153222"/>
                    <a:pt x="236944" y="154108"/>
                    <a:pt x="231936" y="155381"/>
                  </a:cubicBezTo>
                  <a:lnTo>
                    <a:pt x="231936" y="155381"/>
                  </a:lnTo>
                  <a:cubicBezTo>
                    <a:pt x="230466" y="155754"/>
                    <a:pt x="228870" y="156155"/>
                    <a:pt x="227161" y="156647"/>
                  </a:cubicBezTo>
                  <a:cubicBezTo>
                    <a:pt x="223855" y="157590"/>
                    <a:pt x="220135" y="157709"/>
                    <a:pt x="216773" y="157808"/>
                  </a:cubicBezTo>
                  <a:cubicBezTo>
                    <a:pt x="212469" y="157948"/>
                    <a:pt x="208755" y="158061"/>
                    <a:pt x="207243" y="159875"/>
                  </a:cubicBezTo>
                  <a:cubicBezTo>
                    <a:pt x="204894" y="162696"/>
                    <a:pt x="202953" y="162639"/>
                    <a:pt x="200709" y="162583"/>
                  </a:cubicBezTo>
                  <a:cubicBezTo>
                    <a:pt x="200386" y="162576"/>
                    <a:pt x="200048" y="162569"/>
                    <a:pt x="199704" y="162569"/>
                  </a:cubicBezTo>
                  <a:lnTo>
                    <a:pt x="185708" y="162569"/>
                  </a:lnTo>
                  <a:lnTo>
                    <a:pt x="178710" y="162569"/>
                  </a:lnTo>
                  <a:lnTo>
                    <a:pt x="165579" y="162569"/>
                  </a:lnTo>
                  <a:cubicBezTo>
                    <a:pt x="165375" y="162569"/>
                    <a:pt x="165178" y="162653"/>
                    <a:pt x="165045" y="162815"/>
                  </a:cubicBezTo>
                  <a:lnTo>
                    <a:pt x="155691" y="173731"/>
                  </a:lnTo>
                  <a:cubicBezTo>
                    <a:pt x="155606" y="173822"/>
                    <a:pt x="155508" y="173892"/>
                    <a:pt x="155395" y="173934"/>
                  </a:cubicBezTo>
                  <a:cubicBezTo>
                    <a:pt x="152800" y="174877"/>
                    <a:pt x="147329" y="177268"/>
                    <a:pt x="144804" y="179793"/>
                  </a:cubicBezTo>
                  <a:cubicBezTo>
                    <a:pt x="142047" y="182550"/>
                    <a:pt x="137721" y="184913"/>
                    <a:pt x="133494" y="187220"/>
                  </a:cubicBezTo>
                  <a:lnTo>
                    <a:pt x="133494" y="187220"/>
                  </a:lnTo>
                  <a:cubicBezTo>
                    <a:pt x="132777" y="187614"/>
                    <a:pt x="132053" y="188007"/>
                    <a:pt x="131342" y="188401"/>
                  </a:cubicBezTo>
                  <a:cubicBezTo>
                    <a:pt x="129493" y="189435"/>
                    <a:pt x="128227" y="189681"/>
                    <a:pt x="127383" y="189569"/>
                  </a:cubicBezTo>
                  <a:cubicBezTo>
                    <a:pt x="126729" y="189477"/>
                    <a:pt x="125343" y="189555"/>
                    <a:pt x="125034" y="190139"/>
                  </a:cubicBezTo>
                  <a:lnTo>
                    <a:pt x="121686" y="196412"/>
                  </a:lnTo>
                  <a:cubicBezTo>
                    <a:pt x="121665" y="196454"/>
                    <a:pt x="121637" y="196496"/>
                    <a:pt x="121609" y="196532"/>
                  </a:cubicBezTo>
                  <a:cubicBezTo>
                    <a:pt x="119611" y="198895"/>
                    <a:pt x="115180" y="204141"/>
                    <a:pt x="113042" y="206708"/>
                  </a:cubicBezTo>
                  <a:cubicBezTo>
                    <a:pt x="111495" y="208558"/>
                    <a:pt x="109948" y="212898"/>
                    <a:pt x="108612" y="216667"/>
                  </a:cubicBezTo>
                  <a:lnTo>
                    <a:pt x="108612" y="216667"/>
                  </a:lnTo>
                  <a:cubicBezTo>
                    <a:pt x="107613" y="219459"/>
                    <a:pt x="106734" y="221942"/>
                    <a:pt x="106044" y="222856"/>
                  </a:cubicBezTo>
                  <a:cubicBezTo>
                    <a:pt x="105060" y="224165"/>
                    <a:pt x="104476" y="227477"/>
                    <a:pt x="103927" y="230600"/>
                  </a:cubicBezTo>
                  <a:cubicBezTo>
                    <a:pt x="103576" y="232597"/>
                    <a:pt x="103231" y="234510"/>
                    <a:pt x="102816" y="235776"/>
                  </a:cubicBezTo>
                  <a:cubicBezTo>
                    <a:pt x="102078" y="237991"/>
                    <a:pt x="101283" y="237197"/>
                    <a:pt x="100847" y="236247"/>
                  </a:cubicBezTo>
                  <a:cubicBezTo>
                    <a:pt x="100721" y="235973"/>
                    <a:pt x="100453" y="235776"/>
                    <a:pt x="100151" y="235776"/>
                  </a:cubicBezTo>
                  <a:lnTo>
                    <a:pt x="92583" y="235776"/>
                  </a:lnTo>
                  <a:lnTo>
                    <a:pt x="85585" y="235776"/>
                  </a:lnTo>
                  <a:lnTo>
                    <a:pt x="76435" y="235776"/>
                  </a:lnTo>
                  <a:lnTo>
                    <a:pt x="63270" y="235776"/>
                  </a:lnTo>
                  <a:cubicBezTo>
                    <a:pt x="63087" y="235776"/>
                    <a:pt x="62904" y="235699"/>
                    <a:pt x="62777" y="235565"/>
                  </a:cubicBezTo>
                  <a:lnTo>
                    <a:pt x="56729" y="229524"/>
                  </a:lnTo>
                  <a:cubicBezTo>
                    <a:pt x="56595" y="229390"/>
                    <a:pt x="56518" y="229207"/>
                    <a:pt x="56518" y="229024"/>
                  </a:cubicBezTo>
                  <a:lnTo>
                    <a:pt x="56518" y="215697"/>
                  </a:lnTo>
                  <a:cubicBezTo>
                    <a:pt x="56518" y="215457"/>
                    <a:pt x="56405" y="215240"/>
                    <a:pt x="56208" y="215113"/>
                  </a:cubicBezTo>
                  <a:cubicBezTo>
                    <a:pt x="53388" y="213214"/>
                    <a:pt x="47705" y="209198"/>
                    <a:pt x="45216" y="206708"/>
                  </a:cubicBezTo>
                  <a:cubicBezTo>
                    <a:pt x="42923" y="204409"/>
                    <a:pt x="41305" y="205344"/>
                    <a:pt x="40595" y="206336"/>
                  </a:cubicBezTo>
                  <a:cubicBezTo>
                    <a:pt x="40440" y="206554"/>
                    <a:pt x="40201" y="206708"/>
                    <a:pt x="39934" y="206708"/>
                  </a:cubicBezTo>
                  <a:lnTo>
                    <a:pt x="31923" y="206708"/>
                  </a:lnTo>
                  <a:cubicBezTo>
                    <a:pt x="31818" y="206708"/>
                    <a:pt x="31712" y="206730"/>
                    <a:pt x="31614" y="206779"/>
                  </a:cubicBezTo>
                  <a:cubicBezTo>
                    <a:pt x="29398" y="207876"/>
                    <a:pt x="24834" y="209937"/>
                    <a:pt x="23146" y="209937"/>
                  </a:cubicBezTo>
                  <a:cubicBezTo>
                    <a:pt x="21992" y="209937"/>
                    <a:pt x="20839" y="209008"/>
                    <a:pt x="19770" y="208150"/>
                  </a:cubicBezTo>
                  <a:cubicBezTo>
                    <a:pt x="18842" y="207405"/>
                    <a:pt x="17977" y="206708"/>
                    <a:pt x="17224" y="206708"/>
                  </a:cubicBezTo>
                  <a:cubicBezTo>
                    <a:pt x="15986" y="206708"/>
                    <a:pt x="13665" y="204732"/>
                    <a:pt x="12526" y="203621"/>
                  </a:cubicBezTo>
                  <a:cubicBezTo>
                    <a:pt x="12428" y="203522"/>
                    <a:pt x="12364" y="203410"/>
                    <a:pt x="12336" y="203283"/>
                  </a:cubicBezTo>
                  <a:cubicBezTo>
                    <a:pt x="11773" y="200857"/>
                    <a:pt x="10529" y="195765"/>
                    <a:pt x="9692" y="193247"/>
                  </a:cubicBezTo>
                  <a:cubicBezTo>
                    <a:pt x="8841" y="190701"/>
                    <a:pt x="6175" y="187248"/>
                    <a:pt x="4895" y="185771"/>
                  </a:cubicBezTo>
                  <a:cubicBezTo>
                    <a:pt x="4860" y="185736"/>
                    <a:pt x="4832" y="185694"/>
                    <a:pt x="4811" y="185644"/>
                  </a:cubicBezTo>
                  <a:cubicBezTo>
                    <a:pt x="3179" y="182564"/>
                    <a:pt x="0" y="176009"/>
                    <a:pt x="0" y="173871"/>
                  </a:cubicBezTo>
                  <a:cubicBezTo>
                    <a:pt x="0" y="172943"/>
                    <a:pt x="267" y="170523"/>
                    <a:pt x="626" y="167675"/>
                  </a:cubicBezTo>
                  <a:cubicBezTo>
                    <a:pt x="682" y="167211"/>
                    <a:pt x="1182" y="166944"/>
                    <a:pt x="1646" y="167028"/>
                  </a:cubicBezTo>
                  <a:cubicBezTo>
                    <a:pt x="3798" y="167422"/>
                    <a:pt x="4656" y="165227"/>
                    <a:pt x="4832" y="163758"/>
                  </a:cubicBezTo>
                  <a:cubicBezTo>
                    <a:pt x="4839" y="163680"/>
                    <a:pt x="4860" y="163610"/>
                    <a:pt x="4888" y="163540"/>
                  </a:cubicBezTo>
                  <a:cubicBezTo>
                    <a:pt x="5641" y="161859"/>
                    <a:pt x="7462" y="157864"/>
                    <a:pt x="9150" y="154495"/>
                  </a:cubicBezTo>
                  <a:cubicBezTo>
                    <a:pt x="10817" y="151154"/>
                    <a:pt x="15311" y="155627"/>
                    <a:pt x="17548" y="158518"/>
                  </a:cubicBezTo>
                  <a:cubicBezTo>
                    <a:pt x="17688" y="158694"/>
                    <a:pt x="17892" y="158799"/>
                    <a:pt x="18110" y="158778"/>
                  </a:cubicBezTo>
                  <a:cubicBezTo>
                    <a:pt x="19566" y="158631"/>
                    <a:pt x="23519" y="157660"/>
                    <a:pt x="30453" y="154593"/>
                  </a:cubicBezTo>
                  <a:cubicBezTo>
                    <a:pt x="30601" y="154530"/>
                    <a:pt x="30721" y="154411"/>
                    <a:pt x="30805" y="154270"/>
                  </a:cubicBezTo>
                  <a:cubicBezTo>
                    <a:pt x="32373" y="151583"/>
                    <a:pt x="35095" y="155100"/>
                    <a:pt x="36649" y="157871"/>
                  </a:cubicBezTo>
                  <a:cubicBezTo>
                    <a:pt x="36896" y="158307"/>
                    <a:pt x="37500" y="158384"/>
                    <a:pt x="37831" y="158012"/>
                  </a:cubicBezTo>
                  <a:lnTo>
                    <a:pt x="40700" y="154734"/>
                  </a:lnTo>
                  <a:cubicBezTo>
                    <a:pt x="40834" y="154580"/>
                    <a:pt x="41024" y="154495"/>
                    <a:pt x="41228" y="154495"/>
                  </a:cubicBezTo>
                  <a:lnTo>
                    <a:pt x="99096" y="154495"/>
                  </a:lnTo>
                  <a:cubicBezTo>
                    <a:pt x="99391" y="154495"/>
                    <a:pt x="99651" y="154312"/>
                    <a:pt x="99757" y="154038"/>
                  </a:cubicBezTo>
                  <a:lnTo>
                    <a:pt x="102753" y="146034"/>
                  </a:lnTo>
                  <a:cubicBezTo>
                    <a:pt x="102795" y="145936"/>
                    <a:pt x="102809" y="145823"/>
                    <a:pt x="102795" y="145711"/>
                  </a:cubicBezTo>
                  <a:lnTo>
                    <a:pt x="86753" y="781"/>
                  </a:lnTo>
                  <a:cubicBezTo>
                    <a:pt x="86704" y="366"/>
                    <a:pt x="87034" y="0"/>
                    <a:pt x="87449" y="0"/>
                  </a:cubicBezTo>
                  <a:lnTo>
                    <a:pt x="111755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6" name="Freihandform: Form 121">
              <a:extLst>
                <a:ext uri="{FF2B5EF4-FFF2-40B4-BE49-F238E27FC236}">
                  <a16:creationId xmlns:a16="http://schemas.microsoft.com/office/drawing/2014/main" id="{5CE38B3F-AD62-5D44-87CD-8BE82F01E75D}"/>
                </a:ext>
              </a:extLst>
            </p:cNvPr>
            <p:cNvSpPr/>
            <p:nvPr/>
          </p:nvSpPr>
          <p:spPr>
            <a:xfrm>
              <a:off x="5905284" y="4308058"/>
              <a:ext cx="40703" cy="11843"/>
            </a:xfrm>
            <a:custGeom>
              <a:avLst/>
              <a:gdLst>
                <a:gd name="connsiteX0" fmla="*/ 17958 w 40703"/>
                <a:gd name="connsiteY0" fmla="*/ 1329 h 11843"/>
                <a:gd name="connsiteX1" fmla="*/ 2858 w 40703"/>
                <a:gd name="connsiteY1" fmla="*/ 2476 h 11843"/>
                <a:gd name="connsiteX2" fmla="*/ 1789 w 40703"/>
                <a:gd name="connsiteY2" fmla="*/ 3819 h 11843"/>
                <a:gd name="connsiteX3" fmla="*/ 1395 w 40703"/>
                <a:gd name="connsiteY3" fmla="*/ 6456 h 11843"/>
                <a:gd name="connsiteX4" fmla="*/ 122 w 40703"/>
                <a:gd name="connsiteY4" fmla="*/ 10205 h 11843"/>
                <a:gd name="connsiteX5" fmla="*/ 888 w 40703"/>
                <a:gd name="connsiteY5" fmla="*/ 11844 h 11843"/>
                <a:gd name="connsiteX6" fmla="*/ 3990 w 40703"/>
                <a:gd name="connsiteY6" fmla="*/ 11844 h 11843"/>
                <a:gd name="connsiteX7" fmla="*/ 4138 w 40703"/>
                <a:gd name="connsiteY7" fmla="*/ 11830 h 11843"/>
                <a:gd name="connsiteX8" fmla="*/ 12085 w 40703"/>
                <a:gd name="connsiteY8" fmla="*/ 10184 h 11843"/>
                <a:gd name="connsiteX9" fmla="*/ 19561 w 40703"/>
                <a:gd name="connsiteY9" fmla="*/ 7968 h 11843"/>
                <a:gd name="connsiteX10" fmla="*/ 25631 w 40703"/>
                <a:gd name="connsiteY10" fmla="*/ 7968 h 11843"/>
                <a:gd name="connsiteX11" fmla="*/ 30786 w 40703"/>
                <a:gd name="connsiteY11" fmla="*/ 7968 h 11843"/>
                <a:gd name="connsiteX12" fmla="*/ 38803 w 40703"/>
                <a:gd name="connsiteY12" fmla="*/ 7968 h 11843"/>
                <a:gd name="connsiteX13" fmla="*/ 40407 w 40703"/>
                <a:gd name="connsiteY13" fmla="*/ 4100 h 11843"/>
                <a:gd name="connsiteX14" fmla="*/ 38803 w 40703"/>
                <a:gd name="connsiteY14" fmla="*/ 225 h 11843"/>
                <a:gd name="connsiteX15" fmla="*/ 29182 w 40703"/>
                <a:gd name="connsiteY15" fmla="*/ 2440 h 11843"/>
                <a:gd name="connsiteX16" fmla="*/ 25089 w 40703"/>
                <a:gd name="connsiteY16" fmla="*/ 408 h 11843"/>
                <a:gd name="connsiteX17" fmla="*/ 24653 w 40703"/>
                <a:gd name="connsiteY17" fmla="*/ 204 h 11843"/>
                <a:gd name="connsiteX18" fmla="*/ 17958 w 40703"/>
                <a:gd name="connsiteY18" fmla="*/ 1329 h 1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0703" h="11843">
                  <a:moveTo>
                    <a:pt x="17958" y="1329"/>
                  </a:moveTo>
                  <a:cubicBezTo>
                    <a:pt x="16642" y="2694"/>
                    <a:pt x="6669" y="2567"/>
                    <a:pt x="2858" y="2476"/>
                  </a:cubicBezTo>
                  <a:cubicBezTo>
                    <a:pt x="2267" y="2461"/>
                    <a:pt x="1796" y="3228"/>
                    <a:pt x="1789" y="3819"/>
                  </a:cubicBezTo>
                  <a:cubicBezTo>
                    <a:pt x="1774" y="4803"/>
                    <a:pt x="1395" y="5880"/>
                    <a:pt x="1395" y="6456"/>
                  </a:cubicBezTo>
                  <a:cubicBezTo>
                    <a:pt x="1395" y="7068"/>
                    <a:pt x="966" y="8777"/>
                    <a:pt x="122" y="10205"/>
                  </a:cubicBezTo>
                  <a:cubicBezTo>
                    <a:pt x="-223" y="10796"/>
                    <a:pt x="206" y="11844"/>
                    <a:pt x="888" y="11844"/>
                  </a:cubicBezTo>
                  <a:lnTo>
                    <a:pt x="3990" y="11844"/>
                  </a:lnTo>
                  <a:cubicBezTo>
                    <a:pt x="4039" y="11844"/>
                    <a:pt x="4088" y="11837"/>
                    <a:pt x="4138" y="11830"/>
                  </a:cubicBezTo>
                  <a:lnTo>
                    <a:pt x="12085" y="10184"/>
                  </a:lnTo>
                  <a:lnTo>
                    <a:pt x="19561" y="7968"/>
                  </a:lnTo>
                  <a:cubicBezTo>
                    <a:pt x="21699" y="7420"/>
                    <a:pt x="25209" y="8411"/>
                    <a:pt x="25631" y="7968"/>
                  </a:cubicBezTo>
                  <a:cubicBezTo>
                    <a:pt x="26165" y="7420"/>
                    <a:pt x="29717" y="7968"/>
                    <a:pt x="30786" y="7968"/>
                  </a:cubicBezTo>
                  <a:cubicBezTo>
                    <a:pt x="31855" y="7968"/>
                    <a:pt x="36666" y="8524"/>
                    <a:pt x="38803" y="7968"/>
                  </a:cubicBezTo>
                  <a:cubicBezTo>
                    <a:pt x="40942" y="7420"/>
                    <a:pt x="40942" y="4649"/>
                    <a:pt x="40407" y="4100"/>
                  </a:cubicBezTo>
                  <a:cubicBezTo>
                    <a:pt x="39872" y="3545"/>
                    <a:pt x="40407" y="1329"/>
                    <a:pt x="38803" y="225"/>
                  </a:cubicBezTo>
                  <a:cubicBezTo>
                    <a:pt x="37200" y="-879"/>
                    <a:pt x="31320" y="2440"/>
                    <a:pt x="29182" y="2440"/>
                  </a:cubicBezTo>
                  <a:cubicBezTo>
                    <a:pt x="27607" y="2440"/>
                    <a:pt x="25905" y="1181"/>
                    <a:pt x="25089" y="408"/>
                  </a:cubicBezTo>
                  <a:cubicBezTo>
                    <a:pt x="24969" y="288"/>
                    <a:pt x="24822" y="218"/>
                    <a:pt x="24653" y="204"/>
                  </a:cubicBezTo>
                  <a:cubicBezTo>
                    <a:pt x="22782" y="42"/>
                    <a:pt x="19188" y="63"/>
                    <a:pt x="17958" y="1329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7" name="Freihandform: Form 122">
              <a:extLst>
                <a:ext uri="{FF2B5EF4-FFF2-40B4-BE49-F238E27FC236}">
                  <a16:creationId xmlns:a16="http://schemas.microsoft.com/office/drawing/2014/main" id="{314B9F62-2270-8542-B001-4F6649F18688}"/>
                </a:ext>
              </a:extLst>
            </p:cNvPr>
            <p:cNvSpPr/>
            <p:nvPr/>
          </p:nvSpPr>
          <p:spPr>
            <a:xfrm>
              <a:off x="5894231" y="4257467"/>
              <a:ext cx="102370" cy="73194"/>
            </a:xfrm>
            <a:custGeom>
              <a:avLst/>
              <a:gdLst>
                <a:gd name="connsiteX0" fmla="*/ 15338 w 102370"/>
                <a:gd name="connsiteY0" fmla="*/ 11634 h 73194"/>
                <a:gd name="connsiteX1" fmla="*/ 15134 w 102370"/>
                <a:gd name="connsiteY1" fmla="*/ 12092 h 73194"/>
                <a:gd name="connsiteX2" fmla="*/ 10309 w 102370"/>
                <a:gd name="connsiteY2" fmla="*/ 26369 h 73194"/>
                <a:gd name="connsiteX3" fmla="*/ 5288 w 102370"/>
                <a:gd name="connsiteY3" fmla="*/ 31489 h 73194"/>
                <a:gd name="connsiteX4" fmla="*/ 3311 w 102370"/>
                <a:gd name="connsiteY4" fmla="*/ 33367 h 73194"/>
                <a:gd name="connsiteX5" fmla="*/ 1406 w 102370"/>
                <a:gd name="connsiteY5" fmla="*/ 34689 h 73194"/>
                <a:gd name="connsiteX6" fmla="*/ 83 w 102370"/>
                <a:gd name="connsiteY6" fmla="*/ 36595 h 73194"/>
                <a:gd name="connsiteX7" fmla="*/ 8699 w 102370"/>
                <a:gd name="connsiteY7" fmla="*/ 46821 h 73194"/>
                <a:gd name="connsiteX8" fmla="*/ 12201 w 102370"/>
                <a:gd name="connsiteY8" fmla="*/ 49824 h 73194"/>
                <a:gd name="connsiteX9" fmla="*/ 12440 w 102370"/>
                <a:gd name="connsiteY9" fmla="*/ 50401 h 73194"/>
                <a:gd name="connsiteX10" fmla="*/ 12321 w 102370"/>
                <a:gd name="connsiteY10" fmla="*/ 52363 h 73194"/>
                <a:gd name="connsiteX11" fmla="*/ 13010 w 102370"/>
                <a:gd name="connsiteY11" fmla="*/ 53108 h 73194"/>
                <a:gd name="connsiteX12" fmla="*/ 25233 w 102370"/>
                <a:gd name="connsiteY12" fmla="*/ 51920 h 73194"/>
                <a:gd name="connsiteX13" fmla="*/ 30326 w 102370"/>
                <a:gd name="connsiteY13" fmla="*/ 50787 h 73194"/>
                <a:gd name="connsiteX14" fmla="*/ 30761 w 102370"/>
                <a:gd name="connsiteY14" fmla="*/ 50998 h 73194"/>
                <a:gd name="connsiteX15" fmla="*/ 34855 w 102370"/>
                <a:gd name="connsiteY15" fmla="*/ 53031 h 73194"/>
                <a:gd name="connsiteX16" fmla="*/ 38765 w 102370"/>
                <a:gd name="connsiteY16" fmla="*/ 51913 h 73194"/>
                <a:gd name="connsiteX17" fmla="*/ 44476 w 102370"/>
                <a:gd name="connsiteY17" fmla="*/ 50816 h 73194"/>
                <a:gd name="connsiteX18" fmla="*/ 45770 w 102370"/>
                <a:gd name="connsiteY18" fmla="*/ 53573 h 73194"/>
                <a:gd name="connsiteX19" fmla="*/ 46080 w 102370"/>
                <a:gd name="connsiteY19" fmla="*/ 54691 h 73194"/>
                <a:gd name="connsiteX20" fmla="*/ 44476 w 102370"/>
                <a:gd name="connsiteY20" fmla="*/ 58559 h 73194"/>
                <a:gd name="connsiteX21" fmla="*/ 37816 w 102370"/>
                <a:gd name="connsiteY21" fmla="*/ 58636 h 73194"/>
                <a:gd name="connsiteX22" fmla="*/ 36458 w 102370"/>
                <a:gd name="connsiteY22" fmla="*/ 58559 h 73194"/>
                <a:gd name="connsiteX23" fmla="*/ 35073 w 102370"/>
                <a:gd name="connsiteY23" fmla="*/ 58467 h 73194"/>
                <a:gd name="connsiteX24" fmla="*/ 31303 w 102370"/>
                <a:gd name="connsiteY24" fmla="*/ 58559 h 73194"/>
                <a:gd name="connsiteX25" fmla="*/ 29320 w 102370"/>
                <a:gd name="connsiteY25" fmla="*/ 58566 h 73194"/>
                <a:gd name="connsiteX26" fmla="*/ 25233 w 102370"/>
                <a:gd name="connsiteY26" fmla="*/ 58559 h 73194"/>
                <a:gd name="connsiteX27" fmla="*/ 17750 w 102370"/>
                <a:gd name="connsiteY27" fmla="*/ 60774 h 73194"/>
                <a:gd name="connsiteX28" fmla="*/ 12243 w 102370"/>
                <a:gd name="connsiteY28" fmla="*/ 61914 h 73194"/>
                <a:gd name="connsiteX29" fmla="*/ 11681 w 102370"/>
                <a:gd name="connsiteY29" fmla="*/ 62561 h 73194"/>
                <a:gd name="connsiteX30" fmla="*/ 11392 w 102370"/>
                <a:gd name="connsiteY30" fmla="*/ 67217 h 73194"/>
                <a:gd name="connsiteX31" fmla="*/ 11371 w 102370"/>
                <a:gd name="connsiteY31" fmla="*/ 67343 h 73194"/>
                <a:gd name="connsiteX32" fmla="*/ 10520 w 102370"/>
                <a:gd name="connsiteY32" fmla="*/ 70740 h 73194"/>
                <a:gd name="connsiteX33" fmla="*/ 11181 w 102370"/>
                <a:gd name="connsiteY33" fmla="*/ 71612 h 73194"/>
                <a:gd name="connsiteX34" fmla="*/ 25817 w 102370"/>
                <a:gd name="connsiteY34" fmla="*/ 72119 h 73194"/>
                <a:gd name="connsiteX35" fmla="*/ 26021 w 102370"/>
                <a:gd name="connsiteY35" fmla="*/ 72098 h 73194"/>
                <a:gd name="connsiteX36" fmla="*/ 33455 w 102370"/>
                <a:gd name="connsiteY36" fmla="*/ 70508 h 73194"/>
                <a:gd name="connsiteX37" fmla="*/ 57093 w 102370"/>
                <a:gd name="connsiteY37" fmla="*/ 70508 h 73194"/>
                <a:gd name="connsiteX38" fmla="*/ 57192 w 102370"/>
                <a:gd name="connsiteY38" fmla="*/ 70515 h 73194"/>
                <a:gd name="connsiteX39" fmla="*/ 68986 w 102370"/>
                <a:gd name="connsiteY39" fmla="*/ 72119 h 73194"/>
                <a:gd name="connsiteX40" fmla="*/ 81822 w 102370"/>
                <a:gd name="connsiteY40" fmla="*/ 73195 h 73194"/>
                <a:gd name="connsiteX41" fmla="*/ 81990 w 102370"/>
                <a:gd name="connsiteY41" fmla="*/ 73188 h 73194"/>
                <a:gd name="connsiteX42" fmla="*/ 88784 w 102370"/>
                <a:gd name="connsiteY42" fmla="*/ 72140 h 73194"/>
                <a:gd name="connsiteX43" fmla="*/ 89009 w 102370"/>
                <a:gd name="connsiteY43" fmla="*/ 72062 h 73194"/>
                <a:gd name="connsiteX44" fmla="*/ 102358 w 102370"/>
                <a:gd name="connsiteY44" fmla="*/ 64045 h 73194"/>
                <a:gd name="connsiteX45" fmla="*/ 85669 w 102370"/>
                <a:gd name="connsiteY45" fmla="*/ 13449 h 73194"/>
                <a:gd name="connsiteX46" fmla="*/ 47585 w 102370"/>
                <a:gd name="connsiteY46" fmla="*/ 37 h 73194"/>
                <a:gd name="connsiteX47" fmla="*/ 47310 w 102370"/>
                <a:gd name="connsiteY47" fmla="*/ 2 h 73194"/>
                <a:gd name="connsiteX48" fmla="*/ 24593 w 102370"/>
                <a:gd name="connsiteY48" fmla="*/ 1584 h 73194"/>
                <a:gd name="connsiteX49" fmla="*/ 24115 w 102370"/>
                <a:gd name="connsiteY49" fmla="*/ 1816 h 73194"/>
                <a:gd name="connsiteX50" fmla="*/ 15338 w 102370"/>
                <a:gd name="connsiteY50" fmla="*/ 11634 h 73194"/>
                <a:gd name="connsiteX51" fmla="*/ 12075 w 102370"/>
                <a:gd name="connsiteY51" fmla="*/ 56280 h 73194"/>
                <a:gd name="connsiteX52" fmla="*/ 12328 w 102370"/>
                <a:gd name="connsiteY52" fmla="*/ 56512 h 73194"/>
                <a:gd name="connsiteX53" fmla="*/ 12461 w 102370"/>
                <a:gd name="connsiteY53" fmla="*/ 56512 h 73194"/>
                <a:gd name="connsiteX54" fmla="*/ 12398 w 102370"/>
                <a:gd name="connsiteY54" fmla="*/ 56154 h 73194"/>
                <a:gd name="connsiteX55" fmla="*/ 12075 w 102370"/>
                <a:gd name="connsiteY55" fmla="*/ 56280 h 73194"/>
                <a:gd name="connsiteX56" fmla="*/ 12075 w 102370"/>
                <a:gd name="connsiteY56" fmla="*/ 56280 h 73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02370" h="73194">
                  <a:moveTo>
                    <a:pt x="15338" y="11634"/>
                  </a:moveTo>
                  <a:cubicBezTo>
                    <a:pt x="15218" y="11761"/>
                    <a:pt x="15155" y="11923"/>
                    <a:pt x="15134" y="12092"/>
                  </a:cubicBezTo>
                  <a:cubicBezTo>
                    <a:pt x="14839" y="14405"/>
                    <a:pt x="11343" y="24821"/>
                    <a:pt x="10309" y="26369"/>
                  </a:cubicBezTo>
                  <a:cubicBezTo>
                    <a:pt x="9550" y="27508"/>
                    <a:pt x="7187" y="29716"/>
                    <a:pt x="5288" y="31489"/>
                  </a:cubicBezTo>
                  <a:cubicBezTo>
                    <a:pt x="4500" y="32227"/>
                    <a:pt x="3790" y="32888"/>
                    <a:pt x="3311" y="33367"/>
                  </a:cubicBezTo>
                  <a:cubicBezTo>
                    <a:pt x="2700" y="33979"/>
                    <a:pt x="2003" y="34365"/>
                    <a:pt x="1406" y="34689"/>
                  </a:cubicBezTo>
                  <a:cubicBezTo>
                    <a:pt x="449" y="35216"/>
                    <a:pt x="-247" y="35596"/>
                    <a:pt x="83" y="36595"/>
                  </a:cubicBezTo>
                  <a:cubicBezTo>
                    <a:pt x="512" y="37889"/>
                    <a:pt x="6005" y="43951"/>
                    <a:pt x="8699" y="46821"/>
                  </a:cubicBezTo>
                  <a:lnTo>
                    <a:pt x="12201" y="49824"/>
                  </a:lnTo>
                  <a:cubicBezTo>
                    <a:pt x="12363" y="49965"/>
                    <a:pt x="12454" y="50183"/>
                    <a:pt x="12440" y="50401"/>
                  </a:cubicBezTo>
                  <a:lnTo>
                    <a:pt x="12321" y="52363"/>
                  </a:lnTo>
                  <a:cubicBezTo>
                    <a:pt x="12293" y="52764"/>
                    <a:pt x="12609" y="53108"/>
                    <a:pt x="13010" y="53108"/>
                  </a:cubicBezTo>
                  <a:cubicBezTo>
                    <a:pt x="17567" y="53150"/>
                    <a:pt x="24158" y="53031"/>
                    <a:pt x="25233" y="51920"/>
                  </a:cubicBezTo>
                  <a:cubicBezTo>
                    <a:pt x="26457" y="50654"/>
                    <a:pt x="28588" y="50633"/>
                    <a:pt x="30326" y="50787"/>
                  </a:cubicBezTo>
                  <a:cubicBezTo>
                    <a:pt x="30487" y="50809"/>
                    <a:pt x="30642" y="50879"/>
                    <a:pt x="30761" y="50998"/>
                  </a:cubicBezTo>
                  <a:cubicBezTo>
                    <a:pt x="31570" y="51772"/>
                    <a:pt x="33272" y="53031"/>
                    <a:pt x="34855" y="53031"/>
                  </a:cubicBezTo>
                  <a:cubicBezTo>
                    <a:pt x="35720" y="53031"/>
                    <a:pt x="37204" y="52482"/>
                    <a:pt x="38765" y="51913"/>
                  </a:cubicBezTo>
                  <a:cubicBezTo>
                    <a:pt x="41058" y="51069"/>
                    <a:pt x="43519" y="50155"/>
                    <a:pt x="44476" y="50816"/>
                  </a:cubicBezTo>
                  <a:cubicBezTo>
                    <a:pt x="45503" y="51526"/>
                    <a:pt x="45650" y="52686"/>
                    <a:pt x="45770" y="53573"/>
                  </a:cubicBezTo>
                  <a:cubicBezTo>
                    <a:pt x="45833" y="54072"/>
                    <a:pt x="45890" y="54487"/>
                    <a:pt x="46080" y="54691"/>
                  </a:cubicBezTo>
                  <a:cubicBezTo>
                    <a:pt x="46614" y="55239"/>
                    <a:pt x="46614" y="58010"/>
                    <a:pt x="44476" y="58559"/>
                  </a:cubicBezTo>
                  <a:cubicBezTo>
                    <a:pt x="42858" y="58981"/>
                    <a:pt x="39715" y="58763"/>
                    <a:pt x="37816" y="58636"/>
                  </a:cubicBezTo>
                  <a:cubicBezTo>
                    <a:pt x="37204" y="58594"/>
                    <a:pt x="36718" y="58559"/>
                    <a:pt x="36458" y="58559"/>
                  </a:cubicBezTo>
                  <a:cubicBezTo>
                    <a:pt x="36156" y="58559"/>
                    <a:pt x="35649" y="58517"/>
                    <a:pt x="35073" y="58467"/>
                  </a:cubicBezTo>
                  <a:cubicBezTo>
                    <a:pt x="33617" y="58334"/>
                    <a:pt x="31690" y="58165"/>
                    <a:pt x="31303" y="58559"/>
                  </a:cubicBezTo>
                  <a:cubicBezTo>
                    <a:pt x="31113" y="58756"/>
                    <a:pt x="30326" y="58671"/>
                    <a:pt x="29320" y="58566"/>
                  </a:cubicBezTo>
                  <a:cubicBezTo>
                    <a:pt x="28047" y="58425"/>
                    <a:pt x="26429" y="58249"/>
                    <a:pt x="25233" y="58559"/>
                  </a:cubicBezTo>
                  <a:lnTo>
                    <a:pt x="17750" y="60774"/>
                  </a:lnTo>
                  <a:lnTo>
                    <a:pt x="12243" y="61914"/>
                  </a:lnTo>
                  <a:cubicBezTo>
                    <a:pt x="11934" y="61977"/>
                    <a:pt x="11702" y="62244"/>
                    <a:pt x="11681" y="62561"/>
                  </a:cubicBezTo>
                  <a:lnTo>
                    <a:pt x="11392" y="67217"/>
                  </a:lnTo>
                  <a:cubicBezTo>
                    <a:pt x="11385" y="67259"/>
                    <a:pt x="11385" y="67301"/>
                    <a:pt x="11371" y="67343"/>
                  </a:cubicBezTo>
                  <a:lnTo>
                    <a:pt x="10520" y="70740"/>
                  </a:lnTo>
                  <a:cubicBezTo>
                    <a:pt x="10415" y="71176"/>
                    <a:pt x="10731" y="71598"/>
                    <a:pt x="11181" y="71612"/>
                  </a:cubicBezTo>
                  <a:lnTo>
                    <a:pt x="25817" y="72119"/>
                  </a:lnTo>
                  <a:cubicBezTo>
                    <a:pt x="25888" y="72119"/>
                    <a:pt x="25951" y="72112"/>
                    <a:pt x="26021" y="72098"/>
                  </a:cubicBezTo>
                  <a:cubicBezTo>
                    <a:pt x="28040" y="71549"/>
                    <a:pt x="32189" y="70508"/>
                    <a:pt x="33455" y="70508"/>
                  </a:cubicBezTo>
                  <a:lnTo>
                    <a:pt x="57093" y="70508"/>
                  </a:lnTo>
                  <a:cubicBezTo>
                    <a:pt x="57128" y="70508"/>
                    <a:pt x="57157" y="70508"/>
                    <a:pt x="57192" y="70515"/>
                  </a:cubicBezTo>
                  <a:cubicBezTo>
                    <a:pt x="60975" y="71057"/>
                    <a:pt x="68557" y="72119"/>
                    <a:pt x="68986" y="72119"/>
                  </a:cubicBezTo>
                  <a:cubicBezTo>
                    <a:pt x="69415" y="72119"/>
                    <a:pt x="77665" y="72829"/>
                    <a:pt x="81822" y="73195"/>
                  </a:cubicBezTo>
                  <a:cubicBezTo>
                    <a:pt x="81878" y="73195"/>
                    <a:pt x="81934" y="73195"/>
                    <a:pt x="81990" y="73188"/>
                  </a:cubicBezTo>
                  <a:lnTo>
                    <a:pt x="88784" y="72140"/>
                  </a:lnTo>
                  <a:cubicBezTo>
                    <a:pt x="88862" y="72126"/>
                    <a:pt x="88932" y="72105"/>
                    <a:pt x="89009" y="72062"/>
                  </a:cubicBezTo>
                  <a:cubicBezTo>
                    <a:pt x="93349" y="69713"/>
                    <a:pt x="101929" y="64903"/>
                    <a:pt x="102358" y="64045"/>
                  </a:cubicBezTo>
                  <a:cubicBezTo>
                    <a:pt x="102900" y="62969"/>
                    <a:pt x="86210" y="13983"/>
                    <a:pt x="85669" y="13449"/>
                  </a:cubicBezTo>
                  <a:cubicBezTo>
                    <a:pt x="85240" y="13020"/>
                    <a:pt x="60188" y="4355"/>
                    <a:pt x="47585" y="37"/>
                  </a:cubicBezTo>
                  <a:cubicBezTo>
                    <a:pt x="47493" y="9"/>
                    <a:pt x="47402" y="-5"/>
                    <a:pt x="47310" y="2"/>
                  </a:cubicBezTo>
                  <a:lnTo>
                    <a:pt x="24593" y="1584"/>
                  </a:lnTo>
                  <a:cubicBezTo>
                    <a:pt x="24411" y="1598"/>
                    <a:pt x="24235" y="1683"/>
                    <a:pt x="24115" y="1816"/>
                  </a:cubicBezTo>
                  <a:lnTo>
                    <a:pt x="15338" y="11634"/>
                  </a:lnTo>
                  <a:close/>
                  <a:moveTo>
                    <a:pt x="12075" y="56280"/>
                  </a:moveTo>
                  <a:cubicBezTo>
                    <a:pt x="12068" y="56421"/>
                    <a:pt x="12187" y="56526"/>
                    <a:pt x="12328" y="56512"/>
                  </a:cubicBezTo>
                  <a:cubicBezTo>
                    <a:pt x="12370" y="56512"/>
                    <a:pt x="12412" y="56512"/>
                    <a:pt x="12461" y="56512"/>
                  </a:cubicBezTo>
                  <a:cubicBezTo>
                    <a:pt x="12672" y="56512"/>
                    <a:pt x="12616" y="56372"/>
                    <a:pt x="12398" y="56154"/>
                  </a:cubicBezTo>
                  <a:cubicBezTo>
                    <a:pt x="12279" y="56034"/>
                    <a:pt x="12082" y="56119"/>
                    <a:pt x="12075" y="56280"/>
                  </a:cubicBezTo>
                  <a:lnTo>
                    <a:pt x="12075" y="5628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8" name="Freihandform: Form 123">
              <a:extLst>
                <a:ext uri="{FF2B5EF4-FFF2-40B4-BE49-F238E27FC236}">
                  <a16:creationId xmlns:a16="http://schemas.microsoft.com/office/drawing/2014/main" id="{8E58A3C9-1204-4944-A258-3E84CDF5E6CA}"/>
                </a:ext>
              </a:extLst>
            </p:cNvPr>
            <p:cNvSpPr/>
            <p:nvPr/>
          </p:nvSpPr>
          <p:spPr>
            <a:xfrm>
              <a:off x="5903471" y="4327439"/>
              <a:ext cx="48785" cy="24387"/>
            </a:xfrm>
            <a:custGeom>
              <a:avLst/>
              <a:gdLst>
                <a:gd name="connsiteX0" fmla="*/ 46721 w 48785"/>
                <a:gd name="connsiteY0" fmla="*/ 4306 h 24387"/>
                <a:gd name="connsiteX1" fmla="*/ 48430 w 48785"/>
                <a:gd name="connsiteY1" fmla="*/ 2527 h 24387"/>
                <a:gd name="connsiteX2" fmla="*/ 48254 w 48785"/>
                <a:gd name="connsiteY2" fmla="*/ 1113 h 24387"/>
                <a:gd name="connsiteX3" fmla="*/ 46250 w 48785"/>
                <a:gd name="connsiteY3" fmla="*/ 557 h 24387"/>
                <a:gd name="connsiteX4" fmla="*/ 46074 w 48785"/>
                <a:gd name="connsiteY4" fmla="*/ 536 h 24387"/>
                <a:gd name="connsiteX5" fmla="*/ 22366 w 48785"/>
                <a:gd name="connsiteY5" fmla="*/ 2 h 24387"/>
                <a:gd name="connsiteX6" fmla="*/ 22147 w 48785"/>
                <a:gd name="connsiteY6" fmla="*/ 30 h 24387"/>
                <a:gd name="connsiteX7" fmla="*/ 15101 w 48785"/>
                <a:gd name="connsiteY7" fmla="*/ 2126 h 24387"/>
                <a:gd name="connsiteX8" fmla="*/ 14946 w 48785"/>
                <a:gd name="connsiteY8" fmla="*/ 2154 h 24387"/>
                <a:gd name="connsiteX9" fmla="*/ 655 w 48785"/>
                <a:gd name="connsiteY9" fmla="*/ 3146 h 24387"/>
                <a:gd name="connsiteX10" fmla="*/ 120 w 48785"/>
                <a:gd name="connsiteY10" fmla="*/ 4229 h 24387"/>
                <a:gd name="connsiteX11" fmla="*/ 3904 w 48785"/>
                <a:gd name="connsiteY11" fmla="*/ 9686 h 24387"/>
                <a:gd name="connsiteX12" fmla="*/ 11689 w 48785"/>
                <a:gd name="connsiteY12" fmla="*/ 12380 h 24387"/>
                <a:gd name="connsiteX13" fmla="*/ 17245 w 48785"/>
                <a:gd name="connsiteY13" fmla="*/ 16143 h 24387"/>
                <a:gd name="connsiteX14" fmla="*/ 23449 w 48785"/>
                <a:gd name="connsiteY14" fmla="*/ 24090 h 24387"/>
                <a:gd name="connsiteX15" fmla="*/ 24511 w 48785"/>
                <a:gd name="connsiteY15" fmla="*/ 24188 h 24387"/>
                <a:gd name="connsiteX16" fmla="*/ 27261 w 48785"/>
                <a:gd name="connsiteY16" fmla="*/ 21530 h 24387"/>
                <a:gd name="connsiteX17" fmla="*/ 33372 w 48785"/>
                <a:gd name="connsiteY17" fmla="*/ 16143 h 24387"/>
                <a:gd name="connsiteX18" fmla="*/ 42825 w 48785"/>
                <a:gd name="connsiteY18" fmla="*/ 15608 h 24387"/>
                <a:gd name="connsiteX19" fmla="*/ 45610 w 48785"/>
                <a:gd name="connsiteY19" fmla="*/ 10762 h 24387"/>
                <a:gd name="connsiteX20" fmla="*/ 46721 w 48785"/>
                <a:gd name="connsiteY20" fmla="*/ 4306 h 24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8785" h="24387">
                  <a:moveTo>
                    <a:pt x="46721" y="4306"/>
                  </a:moveTo>
                  <a:cubicBezTo>
                    <a:pt x="46721" y="3778"/>
                    <a:pt x="47537" y="3103"/>
                    <a:pt x="48430" y="2527"/>
                  </a:cubicBezTo>
                  <a:cubicBezTo>
                    <a:pt x="48972" y="2175"/>
                    <a:pt x="48880" y="1289"/>
                    <a:pt x="48254" y="1113"/>
                  </a:cubicBezTo>
                  <a:lnTo>
                    <a:pt x="46250" y="557"/>
                  </a:lnTo>
                  <a:cubicBezTo>
                    <a:pt x="46194" y="543"/>
                    <a:pt x="46130" y="536"/>
                    <a:pt x="46074" y="536"/>
                  </a:cubicBezTo>
                  <a:lnTo>
                    <a:pt x="22366" y="2"/>
                  </a:lnTo>
                  <a:cubicBezTo>
                    <a:pt x="22288" y="-5"/>
                    <a:pt x="22218" y="9"/>
                    <a:pt x="22147" y="30"/>
                  </a:cubicBezTo>
                  <a:lnTo>
                    <a:pt x="15101" y="2126"/>
                  </a:lnTo>
                  <a:cubicBezTo>
                    <a:pt x="15051" y="2140"/>
                    <a:pt x="15002" y="2154"/>
                    <a:pt x="14946" y="2154"/>
                  </a:cubicBezTo>
                  <a:lnTo>
                    <a:pt x="655" y="3146"/>
                  </a:lnTo>
                  <a:cubicBezTo>
                    <a:pt x="120" y="3181"/>
                    <a:pt x="-182" y="3778"/>
                    <a:pt x="120" y="4229"/>
                  </a:cubicBezTo>
                  <a:cubicBezTo>
                    <a:pt x="1513" y="6332"/>
                    <a:pt x="3524" y="9321"/>
                    <a:pt x="3904" y="9686"/>
                  </a:cubicBezTo>
                  <a:cubicBezTo>
                    <a:pt x="4459" y="10228"/>
                    <a:pt x="9467" y="11838"/>
                    <a:pt x="11689" y="12380"/>
                  </a:cubicBezTo>
                  <a:cubicBezTo>
                    <a:pt x="13912" y="12914"/>
                    <a:pt x="16690" y="16143"/>
                    <a:pt x="17245" y="16143"/>
                  </a:cubicBezTo>
                  <a:cubicBezTo>
                    <a:pt x="17660" y="16143"/>
                    <a:pt x="21297" y="21087"/>
                    <a:pt x="23449" y="24090"/>
                  </a:cubicBezTo>
                  <a:cubicBezTo>
                    <a:pt x="23695" y="24442"/>
                    <a:pt x="24201" y="24491"/>
                    <a:pt x="24511" y="24188"/>
                  </a:cubicBezTo>
                  <a:lnTo>
                    <a:pt x="27261" y="21530"/>
                  </a:lnTo>
                  <a:cubicBezTo>
                    <a:pt x="28927" y="19912"/>
                    <a:pt x="32486" y="16579"/>
                    <a:pt x="33372" y="16143"/>
                  </a:cubicBezTo>
                  <a:cubicBezTo>
                    <a:pt x="34483" y="15608"/>
                    <a:pt x="40047" y="16143"/>
                    <a:pt x="42825" y="15608"/>
                  </a:cubicBezTo>
                  <a:cubicBezTo>
                    <a:pt x="45610" y="15067"/>
                    <a:pt x="45047" y="11304"/>
                    <a:pt x="45610" y="10762"/>
                  </a:cubicBezTo>
                  <a:cubicBezTo>
                    <a:pt x="46165" y="10228"/>
                    <a:pt x="46721" y="5382"/>
                    <a:pt x="46721" y="430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9" name="Freihandform: Form 124">
              <a:extLst>
                <a:ext uri="{FF2B5EF4-FFF2-40B4-BE49-F238E27FC236}">
                  <a16:creationId xmlns:a16="http://schemas.microsoft.com/office/drawing/2014/main" id="{4ADD2E06-B51B-8444-BD1B-A2B296C79C41}"/>
                </a:ext>
              </a:extLst>
            </p:cNvPr>
            <p:cNvSpPr/>
            <p:nvPr/>
          </p:nvSpPr>
          <p:spPr>
            <a:xfrm>
              <a:off x="5929402" y="4327975"/>
              <a:ext cx="110849" cy="82428"/>
            </a:xfrm>
            <a:custGeom>
              <a:avLst/>
              <a:gdLst>
                <a:gd name="connsiteX0" fmla="*/ 56103 w 110849"/>
                <a:gd name="connsiteY0" fmla="*/ 1329 h 82428"/>
                <a:gd name="connsiteX1" fmla="*/ 55076 w 110849"/>
                <a:gd name="connsiteY1" fmla="*/ 879 h 82428"/>
                <a:gd name="connsiteX2" fmla="*/ 53838 w 110849"/>
                <a:gd name="connsiteY2" fmla="*/ 1554 h 82428"/>
                <a:gd name="connsiteX3" fmla="*/ 53606 w 110849"/>
                <a:gd name="connsiteY3" fmla="*/ 1632 h 82428"/>
                <a:gd name="connsiteX4" fmla="*/ 46819 w 110849"/>
                <a:gd name="connsiteY4" fmla="*/ 2680 h 82428"/>
                <a:gd name="connsiteX5" fmla="*/ 46651 w 110849"/>
                <a:gd name="connsiteY5" fmla="*/ 2687 h 82428"/>
                <a:gd name="connsiteX6" fmla="*/ 33815 w 110849"/>
                <a:gd name="connsiteY6" fmla="*/ 1611 h 82428"/>
                <a:gd name="connsiteX7" fmla="*/ 22021 w 110849"/>
                <a:gd name="connsiteY7" fmla="*/ 7 h 82428"/>
                <a:gd name="connsiteX8" fmla="*/ 21922 w 110849"/>
                <a:gd name="connsiteY8" fmla="*/ 0 h 82428"/>
                <a:gd name="connsiteX9" fmla="*/ 12758 w 110849"/>
                <a:gd name="connsiteY9" fmla="*/ 0 h 82428"/>
                <a:gd name="connsiteX10" fmla="*/ 12336 w 110849"/>
                <a:gd name="connsiteY10" fmla="*/ 141 h 82428"/>
                <a:gd name="connsiteX11" fmla="*/ 7603 w 110849"/>
                <a:gd name="connsiteY11" fmla="*/ 3643 h 82428"/>
                <a:gd name="connsiteX12" fmla="*/ 7364 w 110849"/>
                <a:gd name="connsiteY12" fmla="*/ 3960 h 82428"/>
                <a:gd name="connsiteX13" fmla="*/ 43 w 110849"/>
                <a:gd name="connsiteY13" fmla="*/ 23300 h 82428"/>
                <a:gd name="connsiteX14" fmla="*/ 162 w 110849"/>
                <a:gd name="connsiteY14" fmla="*/ 23997 h 82428"/>
                <a:gd name="connsiteX15" fmla="*/ 8510 w 110849"/>
                <a:gd name="connsiteY15" fmla="*/ 33913 h 82428"/>
                <a:gd name="connsiteX16" fmla="*/ 11858 w 110849"/>
                <a:gd name="connsiteY16" fmla="*/ 36888 h 82428"/>
                <a:gd name="connsiteX17" fmla="*/ 20895 w 110849"/>
                <a:gd name="connsiteY17" fmla="*/ 45216 h 82428"/>
                <a:gd name="connsiteX18" fmla="*/ 27992 w 110849"/>
                <a:gd name="connsiteY18" fmla="*/ 55371 h 82428"/>
                <a:gd name="connsiteX19" fmla="*/ 29005 w 110849"/>
                <a:gd name="connsiteY19" fmla="*/ 55498 h 82428"/>
                <a:gd name="connsiteX20" fmla="*/ 38661 w 110849"/>
                <a:gd name="connsiteY20" fmla="*/ 47368 h 82428"/>
                <a:gd name="connsiteX21" fmla="*/ 46735 w 110849"/>
                <a:gd name="connsiteY21" fmla="*/ 40911 h 82428"/>
                <a:gd name="connsiteX22" fmla="*/ 48324 w 110849"/>
                <a:gd name="connsiteY22" fmla="*/ 40088 h 82428"/>
                <a:gd name="connsiteX23" fmla="*/ 52657 w 110849"/>
                <a:gd name="connsiteY23" fmla="*/ 39294 h 82428"/>
                <a:gd name="connsiteX24" fmla="*/ 57369 w 110849"/>
                <a:gd name="connsiteY24" fmla="*/ 39441 h 82428"/>
                <a:gd name="connsiteX25" fmla="*/ 61807 w 110849"/>
                <a:gd name="connsiteY25" fmla="*/ 40370 h 82428"/>
                <a:gd name="connsiteX26" fmla="*/ 62151 w 110849"/>
                <a:gd name="connsiteY26" fmla="*/ 41516 h 82428"/>
                <a:gd name="connsiteX27" fmla="*/ 62151 w 110849"/>
                <a:gd name="connsiteY27" fmla="*/ 41516 h 82428"/>
                <a:gd name="connsiteX28" fmla="*/ 63959 w 110849"/>
                <a:gd name="connsiteY28" fmla="*/ 45216 h 82428"/>
                <a:gd name="connsiteX29" fmla="*/ 68263 w 110849"/>
                <a:gd name="connsiteY29" fmla="*/ 56518 h 82428"/>
                <a:gd name="connsiteX30" fmla="*/ 70415 w 110849"/>
                <a:gd name="connsiteY30" fmla="*/ 64591 h 82428"/>
                <a:gd name="connsiteX31" fmla="*/ 73285 w 110849"/>
                <a:gd name="connsiteY31" fmla="*/ 66505 h 82428"/>
                <a:gd name="connsiteX32" fmla="*/ 74023 w 110849"/>
                <a:gd name="connsiteY32" fmla="*/ 66533 h 82428"/>
                <a:gd name="connsiteX33" fmla="*/ 78489 w 110849"/>
                <a:gd name="connsiteY33" fmla="*/ 64591 h 82428"/>
                <a:gd name="connsiteX34" fmla="*/ 84186 w 110849"/>
                <a:gd name="connsiteY34" fmla="*/ 66645 h 82428"/>
                <a:gd name="connsiteX35" fmla="*/ 84523 w 110849"/>
                <a:gd name="connsiteY35" fmla="*/ 66976 h 82428"/>
                <a:gd name="connsiteX36" fmla="*/ 86493 w 110849"/>
                <a:gd name="connsiteY36" fmla="*/ 70907 h 82428"/>
                <a:gd name="connsiteX37" fmla="*/ 86563 w 110849"/>
                <a:gd name="connsiteY37" fmla="*/ 71217 h 82428"/>
                <a:gd name="connsiteX38" fmla="*/ 86563 w 110849"/>
                <a:gd name="connsiteY38" fmla="*/ 79663 h 82428"/>
                <a:gd name="connsiteX39" fmla="*/ 91950 w 110849"/>
                <a:gd name="connsiteY39" fmla="*/ 82357 h 82428"/>
                <a:gd name="connsiteX40" fmla="*/ 94370 w 110849"/>
                <a:gd name="connsiteY40" fmla="*/ 79938 h 82428"/>
                <a:gd name="connsiteX41" fmla="*/ 96796 w 110849"/>
                <a:gd name="connsiteY41" fmla="*/ 77511 h 82428"/>
                <a:gd name="connsiteX42" fmla="*/ 97957 w 110849"/>
                <a:gd name="connsiteY42" fmla="*/ 77202 h 82428"/>
                <a:gd name="connsiteX43" fmla="*/ 102177 w 110849"/>
                <a:gd name="connsiteY43" fmla="*/ 74825 h 82428"/>
                <a:gd name="connsiteX44" fmla="*/ 104329 w 110849"/>
                <a:gd name="connsiteY44" fmla="*/ 69979 h 82428"/>
                <a:gd name="connsiteX45" fmla="*/ 103794 w 110849"/>
                <a:gd name="connsiteY45" fmla="*/ 66209 h 82428"/>
                <a:gd name="connsiteX46" fmla="*/ 107993 w 110849"/>
                <a:gd name="connsiteY46" fmla="*/ 63551 h 82428"/>
                <a:gd name="connsiteX47" fmla="*/ 108190 w 110849"/>
                <a:gd name="connsiteY47" fmla="*/ 63459 h 82428"/>
                <a:gd name="connsiteX48" fmla="*/ 110792 w 110849"/>
                <a:gd name="connsiteY48" fmla="*/ 60287 h 82428"/>
                <a:gd name="connsiteX49" fmla="*/ 109885 w 110849"/>
                <a:gd name="connsiteY49" fmla="*/ 57270 h 82428"/>
                <a:gd name="connsiteX50" fmla="*/ 108098 w 110849"/>
                <a:gd name="connsiteY50" fmla="*/ 51672 h 82428"/>
                <a:gd name="connsiteX51" fmla="*/ 106340 w 110849"/>
                <a:gd name="connsiteY51" fmla="*/ 49126 h 82428"/>
                <a:gd name="connsiteX52" fmla="*/ 104870 w 110849"/>
                <a:gd name="connsiteY52" fmla="*/ 46833 h 82428"/>
                <a:gd name="connsiteX53" fmla="*/ 104329 w 110849"/>
                <a:gd name="connsiteY53" fmla="*/ 40911 h 82428"/>
                <a:gd name="connsiteX54" fmla="*/ 106481 w 110849"/>
                <a:gd name="connsiteY54" fmla="*/ 37142 h 82428"/>
                <a:gd name="connsiteX55" fmla="*/ 107416 w 110849"/>
                <a:gd name="connsiteY55" fmla="*/ 35432 h 82428"/>
                <a:gd name="connsiteX56" fmla="*/ 107149 w 110849"/>
                <a:gd name="connsiteY56" fmla="*/ 34989 h 82428"/>
                <a:gd name="connsiteX57" fmla="*/ 107149 w 110849"/>
                <a:gd name="connsiteY57" fmla="*/ 34989 h 82428"/>
                <a:gd name="connsiteX58" fmla="*/ 106931 w 110849"/>
                <a:gd name="connsiteY58" fmla="*/ 34898 h 82428"/>
                <a:gd name="connsiteX59" fmla="*/ 100770 w 110849"/>
                <a:gd name="connsiteY59" fmla="*/ 28737 h 82428"/>
                <a:gd name="connsiteX60" fmla="*/ 100559 w 110849"/>
                <a:gd name="connsiteY60" fmla="*/ 28238 h 82428"/>
                <a:gd name="connsiteX61" fmla="*/ 100559 w 110849"/>
                <a:gd name="connsiteY61" fmla="*/ 14910 h 82428"/>
                <a:gd name="connsiteX62" fmla="*/ 100249 w 110849"/>
                <a:gd name="connsiteY62" fmla="*/ 14326 h 82428"/>
                <a:gd name="connsiteX63" fmla="*/ 89257 w 110849"/>
                <a:gd name="connsiteY63" fmla="*/ 5922 h 82428"/>
                <a:gd name="connsiteX64" fmla="*/ 84636 w 110849"/>
                <a:gd name="connsiteY64" fmla="*/ 5549 h 82428"/>
                <a:gd name="connsiteX65" fmla="*/ 83975 w 110849"/>
                <a:gd name="connsiteY65" fmla="*/ 5922 h 82428"/>
                <a:gd name="connsiteX66" fmla="*/ 75964 w 110849"/>
                <a:gd name="connsiteY66" fmla="*/ 5922 h 82428"/>
                <a:gd name="connsiteX67" fmla="*/ 75655 w 110849"/>
                <a:gd name="connsiteY67" fmla="*/ 5992 h 82428"/>
                <a:gd name="connsiteX68" fmla="*/ 67187 w 110849"/>
                <a:gd name="connsiteY68" fmla="*/ 9150 h 82428"/>
                <a:gd name="connsiteX69" fmla="*/ 63811 w 110849"/>
                <a:gd name="connsiteY69" fmla="*/ 7364 h 82428"/>
                <a:gd name="connsiteX70" fmla="*/ 61265 w 110849"/>
                <a:gd name="connsiteY70" fmla="*/ 5922 h 82428"/>
                <a:gd name="connsiteX71" fmla="*/ 56567 w 110849"/>
                <a:gd name="connsiteY71" fmla="*/ 2834 h 82428"/>
                <a:gd name="connsiteX72" fmla="*/ 56377 w 110849"/>
                <a:gd name="connsiteY72" fmla="*/ 2497 h 82428"/>
                <a:gd name="connsiteX73" fmla="*/ 56103 w 110849"/>
                <a:gd name="connsiteY73" fmla="*/ 1329 h 8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110849" h="82428">
                  <a:moveTo>
                    <a:pt x="56103" y="1329"/>
                  </a:moveTo>
                  <a:cubicBezTo>
                    <a:pt x="55997" y="879"/>
                    <a:pt x="55484" y="654"/>
                    <a:pt x="55076" y="879"/>
                  </a:cubicBezTo>
                  <a:cubicBezTo>
                    <a:pt x="54640" y="1118"/>
                    <a:pt x="54218" y="1350"/>
                    <a:pt x="53838" y="1554"/>
                  </a:cubicBezTo>
                  <a:cubicBezTo>
                    <a:pt x="53768" y="1597"/>
                    <a:pt x="53691" y="1618"/>
                    <a:pt x="53606" y="1632"/>
                  </a:cubicBezTo>
                  <a:lnTo>
                    <a:pt x="46819" y="2680"/>
                  </a:lnTo>
                  <a:cubicBezTo>
                    <a:pt x="46763" y="2687"/>
                    <a:pt x="46707" y="2687"/>
                    <a:pt x="46651" y="2687"/>
                  </a:cubicBezTo>
                  <a:cubicBezTo>
                    <a:pt x="42494" y="2321"/>
                    <a:pt x="34244" y="1611"/>
                    <a:pt x="33815" y="1611"/>
                  </a:cubicBezTo>
                  <a:cubicBezTo>
                    <a:pt x="33386" y="1611"/>
                    <a:pt x="25805" y="549"/>
                    <a:pt x="22021" y="7"/>
                  </a:cubicBezTo>
                  <a:cubicBezTo>
                    <a:pt x="21986" y="0"/>
                    <a:pt x="21957" y="0"/>
                    <a:pt x="21922" y="0"/>
                  </a:cubicBezTo>
                  <a:lnTo>
                    <a:pt x="12758" y="0"/>
                  </a:lnTo>
                  <a:cubicBezTo>
                    <a:pt x="12603" y="0"/>
                    <a:pt x="12456" y="49"/>
                    <a:pt x="12336" y="141"/>
                  </a:cubicBezTo>
                  <a:lnTo>
                    <a:pt x="7603" y="3643"/>
                  </a:lnTo>
                  <a:cubicBezTo>
                    <a:pt x="7497" y="3728"/>
                    <a:pt x="7413" y="3833"/>
                    <a:pt x="7364" y="3960"/>
                  </a:cubicBezTo>
                  <a:lnTo>
                    <a:pt x="43" y="23300"/>
                  </a:lnTo>
                  <a:cubicBezTo>
                    <a:pt x="-42" y="23540"/>
                    <a:pt x="0" y="23800"/>
                    <a:pt x="162" y="23997"/>
                  </a:cubicBezTo>
                  <a:cubicBezTo>
                    <a:pt x="2757" y="27147"/>
                    <a:pt x="7680" y="33076"/>
                    <a:pt x="8510" y="33913"/>
                  </a:cubicBezTo>
                  <a:cubicBezTo>
                    <a:pt x="8855" y="34258"/>
                    <a:pt x="10191" y="35425"/>
                    <a:pt x="11858" y="36888"/>
                  </a:cubicBezTo>
                  <a:cubicBezTo>
                    <a:pt x="15424" y="40011"/>
                    <a:pt x="20530" y="44484"/>
                    <a:pt x="20895" y="45216"/>
                  </a:cubicBezTo>
                  <a:cubicBezTo>
                    <a:pt x="21296" y="46024"/>
                    <a:pt x="25544" y="51981"/>
                    <a:pt x="27992" y="55371"/>
                  </a:cubicBezTo>
                  <a:cubicBezTo>
                    <a:pt x="28231" y="55702"/>
                    <a:pt x="28695" y="55758"/>
                    <a:pt x="29005" y="55498"/>
                  </a:cubicBezTo>
                  <a:cubicBezTo>
                    <a:pt x="32380" y="52685"/>
                    <a:pt x="38253" y="47775"/>
                    <a:pt x="38661" y="47368"/>
                  </a:cubicBezTo>
                  <a:cubicBezTo>
                    <a:pt x="39195" y="46833"/>
                    <a:pt x="44576" y="41446"/>
                    <a:pt x="46735" y="40911"/>
                  </a:cubicBezTo>
                  <a:cubicBezTo>
                    <a:pt x="47480" y="40721"/>
                    <a:pt x="47909" y="40405"/>
                    <a:pt x="48324" y="40088"/>
                  </a:cubicBezTo>
                  <a:cubicBezTo>
                    <a:pt x="49098" y="39505"/>
                    <a:pt x="49850" y="38942"/>
                    <a:pt x="52657" y="39294"/>
                  </a:cubicBezTo>
                  <a:cubicBezTo>
                    <a:pt x="54295" y="39498"/>
                    <a:pt x="55934" y="39469"/>
                    <a:pt x="57369" y="39441"/>
                  </a:cubicBezTo>
                  <a:cubicBezTo>
                    <a:pt x="59697" y="39406"/>
                    <a:pt x="61469" y="39371"/>
                    <a:pt x="61807" y="40370"/>
                  </a:cubicBezTo>
                  <a:cubicBezTo>
                    <a:pt x="61919" y="40714"/>
                    <a:pt x="62032" y="41101"/>
                    <a:pt x="62151" y="41516"/>
                  </a:cubicBezTo>
                  <a:lnTo>
                    <a:pt x="62151" y="41516"/>
                  </a:lnTo>
                  <a:cubicBezTo>
                    <a:pt x="62594" y="43028"/>
                    <a:pt x="63108" y="44793"/>
                    <a:pt x="63959" y="45216"/>
                  </a:cubicBezTo>
                  <a:cubicBezTo>
                    <a:pt x="65035" y="45757"/>
                    <a:pt x="68263" y="55441"/>
                    <a:pt x="68263" y="56518"/>
                  </a:cubicBezTo>
                  <a:cubicBezTo>
                    <a:pt x="68263" y="57594"/>
                    <a:pt x="68805" y="63516"/>
                    <a:pt x="70415" y="64591"/>
                  </a:cubicBezTo>
                  <a:lnTo>
                    <a:pt x="73285" y="66505"/>
                  </a:lnTo>
                  <a:cubicBezTo>
                    <a:pt x="73510" y="66652"/>
                    <a:pt x="73791" y="66666"/>
                    <a:pt x="74023" y="66533"/>
                  </a:cubicBezTo>
                  <a:cubicBezTo>
                    <a:pt x="75388" y="65780"/>
                    <a:pt x="77708" y="64591"/>
                    <a:pt x="78489" y="64591"/>
                  </a:cubicBezTo>
                  <a:cubicBezTo>
                    <a:pt x="79312" y="64591"/>
                    <a:pt x="82491" y="65900"/>
                    <a:pt x="84186" y="66645"/>
                  </a:cubicBezTo>
                  <a:cubicBezTo>
                    <a:pt x="84334" y="66708"/>
                    <a:pt x="84453" y="66828"/>
                    <a:pt x="84523" y="66976"/>
                  </a:cubicBezTo>
                  <a:lnTo>
                    <a:pt x="86493" y="70907"/>
                  </a:lnTo>
                  <a:cubicBezTo>
                    <a:pt x="86542" y="71006"/>
                    <a:pt x="86563" y="71111"/>
                    <a:pt x="86563" y="71217"/>
                  </a:cubicBezTo>
                  <a:lnTo>
                    <a:pt x="86563" y="79663"/>
                  </a:lnTo>
                  <a:cubicBezTo>
                    <a:pt x="86563" y="80205"/>
                    <a:pt x="90333" y="82899"/>
                    <a:pt x="91950" y="82357"/>
                  </a:cubicBezTo>
                  <a:cubicBezTo>
                    <a:pt x="92759" y="82090"/>
                    <a:pt x="93561" y="81014"/>
                    <a:pt x="94370" y="79938"/>
                  </a:cubicBezTo>
                  <a:cubicBezTo>
                    <a:pt x="95179" y="78862"/>
                    <a:pt x="95987" y="77785"/>
                    <a:pt x="96796" y="77511"/>
                  </a:cubicBezTo>
                  <a:cubicBezTo>
                    <a:pt x="97162" y="77392"/>
                    <a:pt x="97549" y="77300"/>
                    <a:pt x="97957" y="77202"/>
                  </a:cubicBezTo>
                  <a:cubicBezTo>
                    <a:pt x="99356" y="76864"/>
                    <a:pt x="100925" y="76484"/>
                    <a:pt x="102177" y="74825"/>
                  </a:cubicBezTo>
                  <a:cubicBezTo>
                    <a:pt x="103794" y="72665"/>
                    <a:pt x="104870" y="71055"/>
                    <a:pt x="104329" y="69979"/>
                  </a:cubicBezTo>
                  <a:cubicBezTo>
                    <a:pt x="103794" y="68903"/>
                    <a:pt x="103253" y="67827"/>
                    <a:pt x="103794" y="66209"/>
                  </a:cubicBezTo>
                  <a:cubicBezTo>
                    <a:pt x="104209" y="64950"/>
                    <a:pt x="106699" y="63930"/>
                    <a:pt x="107993" y="63551"/>
                  </a:cubicBezTo>
                  <a:cubicBezTo>
                    <a:pt x="108063" y="63529"/>
                    <a:pt x="108126" y="63494"/>
                    <a:pt x="108190" y="63459"/>
                  </a:cubicBezTo>
                  <a:cubicBezTo>
                    <a:pt x="109287" y="62707"/>
                    <a:pt x="111207" y="61124"/>
                    <a:pt x="110792" y="60287"/>
                  </a:cubicBezTo>
                  <a:cubicBezTo>
                    <a:pt x="110567" y="59844"/>
                    <a:pt x="110250" y="58656"/>
                    <a:pt x="109885" y="57270"/>
                  </a:cubicBezTo>
                  <a:cubicBezTo>
                    <a:pt x="109357" y="55308"/>
                    <a:pt x="108731" y="52938"/>
                    <a:pt x="108098" y="51672"/>
                  </a:cubicBezTo>
                  <a:cubicBezTo>
                    <a:pt x="107578" y="50631"/>
                    <a:pt x="106931" y="49843"/>
                    <a:pt x="106340" y="49126"/>
                  </a:cubicBezTo>
                  <a:cubicBezTo>
                    <a:pt x="105714" y="48352"/>
                    <a:pt x="105144" y="47663"/>
                    <a:pt x="104870" y="46833"/>
                  </a:cubicBezTo>
                  <a:cubicBezTo>
                    <a:pt x="104329" y="45216"/>
                    <a:pt x="103794" y="41446"/>
                    <a:pt x="104329" y="40911"/>
                  </a:cubicBezTo>
                  <a:cubicBezTo>
                    <a:pt x="104758" y="40475"/>
                    <a:pt x="105946" y="38218"/>
                    <a:pt x="106481" y="37142"/>
                  </a:cubicBezTo>
                  <a:lnTo>
                    <a:pt x="107416" y="35432"/>
                  </a:lnTo>
                  <a:cubicBezTo>
                    <a:pt x="107522" y="35235"/>
                    <a:pt x="107374" y="34989"/>
                    <a:pt x="107149" y="34989"/>
                  </a:cubicBezTo>
                  <a:lnTo>
                    <a:pt x="107149" y="34989"/>
                  </a:lnTo>
                  <a:cubicBezTo>
                    <a:pt x="107064" y="34989"/>
                    <a:pt x="106987" y="34954"/>
                    <a:pt x="106931" y="34898"/>
                  </a:cubicBezTo>
                  <a:lnTo>
                    <a:pt x="100770" y="28737"/>
                  </a:lnTo>
                  <a:cubicBezTo>
                    <a:pt x="100636" y="28603"/>
                    <a:pt x="100559" y="28421"/>
                    <a:pt x="100559" y="28238"/>
                  </a:cubicBezTo>
                  <a:lnTo>
                    <a:pt x="100559" y="14910"/>
                  </a:lnTo>
                  <a:cubicBezTo>
                    <a:pt x="100559" y="14671"/>
                    <a:pt x="100446" y="14453"/>
                    <a:pt x="100249" y="14326"/>
                  </a:cubicBezTo>
                  <a:cubicBezTo>
                    <a:pt x="97429" y="12427"/>
                    <a:pt x="91746" y="8412"/>
                    <a:pt x="89257" y="5922"/>
                  </a:cubicBezTo>
                  <a:cubicBezTo>
                    <a:pt x="86964" y="3622"/>
                    <a:pt x="85346" y="4557"/>
                    <a:pt x="84636" y="5549"/>
                  </a:cubicBezTo>
                  <a:cubicBezTo>
                    <a:pt x="84481" y="5767"/>
                    <a:pt x="84242" y="5922"/>
                    <a:pt x="83975" y="5922"/>
                  </a:cubicBezTo>
                  <a:lnTo>
                    <a:pt x="75964" y="5922"/>
                  </a:lnTo>
                  <a:cubicBezTo>
                    <a:pt x="75859" y="5922"/>
                    <a:pt x="75753" y="5943"/>
                    <a:pt x="75655" y="5992"/>
                  </a:cubicBezTo>
                  <a:cubicBezTo>
                    <a:pt x="73439" y="7089"/>
                    <a:pt x="68875" y="9150"/>
                    <a:pt x="67187" y="9150"/>
                  </a:cubicBezTo>
                  <a:cubicBezTo>
                    <a:pt x="66034" y="9150"/>
                    <a:pt x="64880" y="8222"/>
                    <a:pt x="63811" y="7364"/>
                  </a:cubicBezTo>
                  <a:cubicBezTo>
                    <a:pt x="62883" y="6618"/>
                    <a:pt x="62018" y="5922"/>
                    <a:pt x="61265" y="5922"/>
                  </a:cubicBezTo>
                  <a:cubicBezTo>
                    <a:pt x="60027" y="5922"/>
                    <a:pt x="57707" y="3945"/>
                    <a:pt x="56567" y="2834"/>
                  </a:cubicBezTo>
                  <a:cubicBezTo>
                    <a:pt x="56469" y="2736"/>
                    <a:pt x="56405" y="2623"/>
                    <a:pt x="56377" y="2497"/>
                  </a:cubicBezTo>
                  <a:cubicBezTo>
                    <a:pt x="56300" y="2152"/>
                    <a:pt x="56201" y="1758"/>
                    <a:pt x="56103" y="1329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0" name="Freihandform: Form 125">
              <a:extLst>
                <a:ext uri="{FF2B5EF4-FFF2-40B4-BE49-F238E27FC236}">
                  <a16:creationId xmlns:a16="http://schemas.microsoft.com/office/drawing/2014/main" id="{559B1EF2-488E-2F44-8E68-29C8DB02C200}"/>
                </a:ext>
              </a:extLst>
            </p:cNvPr>
            <p:cNvSpPr/>
            <p:nvPr/>
          </p:nvSpPr>
          <p:spPr>
            <a:xfrm>
              <a:off x="5957663" y="4367160"/>
              <a:ext cx="43898" cy="51242"/>
            </a:xfrm>
            <a:custGeom>
              <a:avLst/>
              <a:gdLst>
                <a:gd name="connsiteX0" fmla="*/ 145 w 43898"/>
                <a:gd name="connsiteY0" fmla="*/ 16763 h 51242"/>
                <a:gd name="connsiteX1" fmla="*/ 82 w 43898"/>
                <a:gd name="connsiteY1" fmla="*/ 16784 h 51242"/>
                <a:gd name="connsiteX2" fmla="*/ 166 w 43898"/>
                <a:gd name="connsiteY2" fmla="*/ 18950 h 51242"/>
                <a:gd name="connsiteX3" fmla="*/ 1601 w 43898"/>
                <a:gd name="connsiteY3" fmla="*/ 23712 h 51242"/>
                <a:gd name="connsiteX4" fmla="*/ 10399 w 43898"/>
                <a:gd name="connsiteY4" fmla="*/ 41020 h 51242"/>
                <a:gd name="connsiteX5" fmla="*/ 27258 w 43898"/>
                <a:gd name="connsiteY5" fmla="*/ 51099 h 51242"/>
                <a:gd name="connsiteX6" fmla="*/ 28383 w 43898"/>
                <a:gd name="connsiteY6" fmla="*/ 50670 h 51242"/>
                <a:gd name="connsiteX7" fmla="*/ 28671 w 43898"/>
                <a:gd name="connsiteY7" fmla="*/ 49221 h 51242"/>
                <a:gd name="connsiteX8" fmla="*/ 28770 w 43898"/>
                <a:gd name="connsiteY8" fmla="*/ 48989 h 51242"/>
                <a:gd name="connsiteX9" fmla="*/ 43771 w 43898"/>
                <a:gd name="connsiteY9" fmla="*/ 27024 h 51242"/>
                <a:gd name="connsiteX10" fmla="*/ 43771 w 43898"/>
                <a:gd name="connsiteY10" fmla="*/ 27024 h 51242"/>
                <a:gd name="connsiteX11" fmla="*/ 43722 w 43898"/>
                <a:gd name="connsiteY11" fmla="*/ 26455 h 51242"/>
                <a:gd name="connsiteX12" fmla="*/ 42154 w 43898"/>
                <a:gd name="connsiteY12" fmla="*/ 25407 h 51242"/>
                <a:gd name="connsiteX13" fmla="*/ 40002 w 43898"/>
                <a:gd name="connsiteY13" fmla="*/ 17333 h 51242"/>
                <a:gd name="connsiteX14" fmla="*/ 35697 w 43898"/>
                <a:gd name="connsiteY14" fmla="*/ 6031 h 51242"/>
                <a:gd name="connsiteX15" fmla="*/ 33890 w 43898"/>
                <a:gd name="connsiteY15" fmla="*/ 2331 h 51242"/>
                <a:gd name="connsiteX16" fmla="*/ 33890 w 43898"/>
                <a:gd name="connsiteY16" fmla="*/ 2331 h 51242"/>
                <a:gd name="connsiteX17" fmla="*/ 33890 w 43898"/>
                <a:gd name="connsiteY17" fmla="*/ 2331 h 51242"/>
                <a:gd name="connsiteX18" fmla="*/ 33890 w 43898"/>
                <a:gd name="connsiteY18" fmla="*/ 2324 h 51242"/>
                <a:gd name="connsiteX19" fmla="*/ 33545 w 43898"/>
                <a:gd name="connsiteY19" fmla="*/ 1185 h 51242"/>
                <a:gd name="connsiteX20" fmla="*/ 29107 w 43898"/>
                <a:gd name="connsiteY20" fmla="*/ 257 h 51242"/>
                <a:gd name="connsiteX21" fmla="*/ 24395 w 43898"/>
                <a:gd name="connsiteY21" fmla="*/ 109 h 51242"/>
                <a:gd name="connsiteX22" fmla="*/ 20063 w 43898"/>
                <a:gd name="connsiteY22" fmla="*/ 904 h 51242"/>
                <a:gd name="connsiteX23" fmla="*/ 18473 w 43898"/>
                <a:gd name="connsiteY23" fmla="*/ 1727 h 51242"/>
                <a:gd name="connsiteX24" fmla="*/ 10399 w 43898"/>
                <a:gd name="connsiteY24" fmla="*/ 8183 h 51242"/>
                <a:gd name="connsiteX25" fmla="*/ 10399 w 43898"/>
                <a:gd name="connsiteY25" fmla="*/ 8183 h 51242"/>
                <a:gd name="connsiteX26" fmla="*/ 195 w 43898"/>
                <a:gd name="connsiteY26" fmla="*/ 16770 h 51242"/>
                <a:gd name="connsiteX27" fmla="*/ 145 w 43898"/>
                <a:gd name="connsiteY27" fmla="*/ 16763 h 51242"/>
                <a:gd name="connsiteX28" fmla="*/ 145 w 43898"/>
                <a:gd name="connsiteY28" fmla="*/ 16763 h 51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3898" h="51242">
                  <a:moveTo>
                    <a:pt x="145" y="16763"/>
                  </a:moveTo>
                  <a:cubicBezTo>
                    <a:pt x="131" y="16742"/>
                    <a:pt x="89" y="16749"/>
                    <a:pt x="82" y="16784"/>
                  </a:cubicBezTo>
                  <a:cubicBezTo>
                    <a:pt x="-45" y="17741"/>
                    <a:pt x="-31" y="18486"/>
                    <a:pt x="166" y="18950"/>
                  </a:cubicBezTo>
                  <a:cubicBezTo>
                    <a:pt x="567" y="19886"/>
                    <a:pt x="1038" y="21616"/>
                    <a:pt x="1601" y="23712"/>
                  </a:cubicBezTo>
                  <a:cubicBezTo>
                    <a:pt x="3317" y="30070"/>
                    <a:pt x="5948" y="39804"/>
                    <a:pt x="10399" y="41020"/>
                  </a:cubicBezTo>
                  <a:cubicBezTo>
                    <a:pt x="14802" y="42223"/>
                    <a:pt x="22968" y="47863"/>
                    <a:pt x="27258" y="51099"/>
                  </a:cubicBezTo>
                  <a:cubicBezTo>
                    <a:pt x="27680" y="51415"/>
                    <a:pt x="28277" y="51183"/>
                    <a:pt x="28383" y="50670"/>
                  </a:cubicBezTo>
                  <a:lnTo>
                    <a:pt x="28671" y="49221"/>
                  </a:lnTo>
                  <a:cubicBezTo>
                    <a:pt x="28692" y="49136"/>
                    <a:pt x="28721" y="49059"/>
                    <a:pt x="28770" y="48989"/>
                  </a:cubicBezTo>
                  <a:cubicBezTo>
                    <a:pt x="33102" y="42131"/>
                    <a:pt x="42055" y="28312"/>
                    <a:pt x="43771" y="27024"/>
                  </a:cubicBezTo>
                  <a:lnTo>
                    <a:pt x="43771" y="27024"/>
                  </a:lnTo>
                  <a:cubicBezTo>
                    <a:pt x="43968" y="26877"/>
                    <a:pt x="43926" y="26588"/>
                    <a:pt x="43722" y="26455"/>
                  </a:cubicBezTo>
                  <a:lnTo>
                    <a:pt x="42154" y="25407"/>
                  </a:lnTo>
                  <a:cubicBezTo>
                    <a:pt x="40543" y="24331"/>
                    <a:pt x="40002" y="18409"/>
                    <a:pt x="40002" y="17333"/>
                  </a:cubicBezTo>
                  <a:cubicBezTo>
                    <a:pt x="40002" y="16257"/>
                    <a:pt x="36773" y="6565"/>
                    <a:pt x="35697" y="6031"/>
                  </a:cubicBezTo>
                  <a:cubicBezTo>
                    <a:pt x="34846" y="5609"/>
                    <a:pt x="34333" y="3843"/>
                    <a:pt x="33890" y="2331"/>
                  </a:cubicBezTo>
                  <a:lnTo>
                    <a:pt x="33890" y="2331"/>
                  </a:lnTo>
                  <a:lnTo>
                    <a:pt x="33890" y="2331"/>
                  </a:lnTo>
                  <a:lnTo>
                    <a:pt x="33890" y="2324"/>
                  </a:lnTo>
                  <a:cubicBezTo>
                    <a:pt x="33770" y="1916"/>
                    <a:pt x="33658" y="1530"/>
                    <a:pt x="33545" y="1185"/>
                  </a:cubicBezTo>
                  <a:cubicBezTo>
                    <a:pt x="33208" y="186"/>
                    <a:pt x="31435" y="214"/>
                    <a:pt x="29107" y="257"/>
                  </a:cubicBezTo>
                  <a:cubicBezTo>
                    <a:pt x="27673" y="285"/>
                    <a:pt x="26034" y="313"/>
                    <a:pt x="24395" y="109"/>
                  </a:cubicBezTo>
                  <a:cubicBezTo>
                    <a:pt x="21589" y="-243"/>
                    <a:pt x="20837" y="320"/>
                    <a:pt x="20063" y="904"/>
                  </a:cubicBezTo>
                  <a:cubicBezTo>
                    <a:pt x="19648" y="1220"/>
                    <a:pt x="19219" y="1537"/>
                    <a:pt x="18473" y="1727"/>
                  </a:cubicBezTo>
                  <a:cubicBezTo>
                    <a:pt x="16321" y="2261"/>
                    <a:pt x="10934" y="7641"/>
                    <a:pt x="10399" y="8183"/>
                  </a:cubicBezTo>
                  <a:lnTo>
                    <a:pt x="10399" y="8183"/>
                  </a:lnTo>
                  <a:cubicBezTo>
                    <a:pt x="9971" y="8612"/>
                    <a:pt x="3437" y="14070"/>
                    <a:pt x="195" y="16770"/>
                  </a:cubicBezTo>
                  <a:cubicBezTo>
                    <a:pt x="180" y="16784"/>
                    <a:pt x="159" y="16784"/>
                    <a:pt x="145" y="16763"/>
                  </a:cubicBezTo>
                  <a:lnTo>
                    <a:pt x="145" y="1676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1" name="Freihandform: Form 126">
              <a:extLst>
                <a:ext uri="{FF2B5EF4-FFF2-40B4-BE49-F238E27FC236}">
                  <a16:creationId xmlns:a16="http://schemas.microsoft.com/office/drawing/2014/main" id="{20C306E5-9B66-2F4C-B53E-29A7A9F5E0EF}"/>
                </a:ext>
              </a:extLst>
            </p:cNvPr>
            <p:cNvSpPr/>
            <p:nvPr/>
          </p:nvSpPr>
          <p:spPr>
            <a:xfrm>
              <a:off x="5986293" y="4392567"/>
              <a:ext cx="56587" cy="61685"/>
            </a:xfrm>
            <a:custGeom>
              <a:avLst/>
              <a:gdLst>
                <a:gd name="connsiteX0" fmla="*/ 14 w 56587"/>
                <a:gd name="connsiteY0" fmla="*/ 23955 h 61685"/>
                <a:gd name="connsiteX1" fmla="*/ 309 w 56587"/>
                <a:gd name="connsiteY1" fmla="*/ 24672 h 61685"/>
                <a:gd name="connsiteX2" fmla="*/ 15676 w 56587"/>
                <a:gd name="connsiteY2" fmla="*/ 35531 h 61685"/>
                <a:gd name="connsiteX3" fmla="*/ 36136 w 56587"/>
                <a:gd name="connsiteY3" fmla="*/ 54373 h 61685"/>
                <a:gd name="connsiteX4" fmla="*/ 55709 w 56587"/>
                <a:gd name="connsiteY4" fmla="*/ 61659 h 61685"/>
                <a:gd name="connsiteX5" fmla="*/ 56588 w 56587"/>
                <a:gd name="connsiteY5" fmla="*/ 60984 h 61685"/>
                <a:gd name="connsiteX6" fmla="*/ 56588 w 56587"/>
                <a:gd name="connsiteY6" fmla="*/ 54373 h 61685"/>
                <a:gd name="connsiteX7" fmla="*/ 56588 w 56587"/>
                <a:gd name="connsiteY7" fmla="*/ 40377 h 61685"/>
                <a:gd name="connsiteX8" fmla="*/ 44210 w 56587"/>
                <a:gd name="connsiteY8" fmla="*/ 32837 h 61685"/>
                <a:gd name="connsiteX9" fmla="*/ 45286 w 56587"/>
                <a:gd name="connsiteY9" fmla="*/ 26381 h 61685"/>
                <a:gd name="connsiteX10" fmla="*/ 43133 w 56587"/>
                <a:gd name="connsiteY10" fmla="*/ 17766 h 61685"/>
                <a:gd name="connsiteX11" fmla="*/ 41720 w 56587"/>
                <a:gd name="connsiteY11" fmla="*/ 13018 h 61685"/>
                <a:gd name="connsiteX12" fmla="*/ 41066 w 56587"/>
                <a:gd name="connsiteY12" fmla="*/ 12610 h 61685"/>
                <a:gd name="connsiteX13" fmla="*/ 41066 w 56587"/>
                <a:gd name="connsiteY13" fmla="*/ 12610 h 61685"/>
                <a:gd name="connsiteX14" fmla="*/ 39905 w 56587"/>
                <a:gd name="connsiteY14" fmla="*/ 12920 h 61685"/>
                <a:gd name="connsiteX15" fmla="*/ 37479 w 56587"/>
                <a:gd name="connsiteY15" fmla="*/ 15346 h 61685"/>
                <a:gd name="connsiteX16" fmla="*/ 37479 w 56587"/>
                <a:gd name="connsiteY16" fmla="*/ 15346 h 61685"/>
                <a:gd name="connsiteX17" fmla="*/ 37479 w 56587"/>
                <a:gd name="connsiteY17" fmla="*/ 15346 h 61685"/>
                <a:gd name="connsiteX18" fmla="*/ 35059 w 56587"/>
                <a:gd name="connsiteY18" fmla="*/ 17766 h 61685"/>
                <a:gd name="connsiteX19" fmla="*/ 29672 w 56587"/>
                <a:gd name="connsiteY19" fmla="*/ 15072 h 61685"/>
                <a:gd name="connsiteX20" fmla="*/ 29672 w 56587"/>
                <a:gd name="connsiteY20" fmla="*/ 6625 h 61685"/>
                <a:gd name="connsiteX21" fmla="*/ 29602 w 56587"/>
                <a:gd name="connsiteY21" fmla="*/ 6316 h 61685"/>
                <a:gd name="connsiteX22" fmla="*/ 27633 w 56587"/>
                <a:gd name="connsiteY22" fmla="*/ 2384 h 61685"/>
                <a:gd name="connsiteX23" fmla="*/ 27295 w 56587"/>
                <a:gd name="connsiteY23" fmla="*/ 2054 h 61685"/>
                <a:gd name="connsiteX24" fmla="*/ 21598 w 56587"/>
                <a:gd name="connsiteY24" fmla="*/ 0 h 61685"/>
                <a:gd name="connsiteX25" fmla="*/ 17132 w 56587"/>
                <a:gd name="connsiteY25" fmla="*/ 1941 h 61685"/>
                <a:gd name="connsiteX26" fmla="*/ 16394 w 56587"/>
                <a:gd name="connsiteY26" fmla="*/ 1913 h 61685"/>
                <a:gd name="connsiteX27" fmla="*/ 15859 w 56587"/>
                <a:gd name="connsiteY27" fmla="*/ 1554 h 61685"/>
                <a:gd name="connsiteX28" fmla="*/ 15142 w 56587"/>
                <a:gd name="connsiteY28" fmla="*/ 1618 h 61685"/>
                <a:gd name="connsiteX29" fmla="*/ 15142 w 56587"/>
                <a:gd name="connsiteY29" fmla="*/ 1618 h 61685"/>
                <a:gd name="connsiteX30" fmla="*/ 133 w 56587"/>
                <a:gd name="connsiteY30" fmla="*/ 23582 h 61685"/>
                <a:gd name="connsiteX31" fmla="*/ 42 w 56587"/>
                <a:gd name="connsiteY31" fmla="*/ 23814 h 61685"/>
                <a:gd name="connsiteX32" fmla="*/ 14 w 56587"/>
                <a:gd name="connsiteY32" fmla="*/ 23955 h 61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6587" h="61685">
                  <a:moveTo>
                    <a:pt x="14" y="23955"/>
                  </a:moveTo>
                  <a:cubicBezTo>
                    <a:pt x="-42" y="24229"/>
                    <a:pt x="77" y="24510"/>
                    <a:pt x="309" y="24672"/>
                  </a:cubicBezTo>
                  <a:cubicBezTo>
                    <a:pt x="6758" y="29082"/>
                    <a:pt x="13904" y="34047"/>
                    <a:pt x="15676" y="35531"/>
                  </a:cubicBezTo>
                  <a:cubicBezTo>
                    <a:pt x="18912" y="38218"/>
                    <a:pt x="33442" y="51679"/>
                    <a:pt x="36136" y="54373"/>
                  </a:cubicBezTo>
                  <a:cubicBezTo>
                    <a:pt x="38182" y="56419"/>
                    <a:pt x="49519" y="59936"/>
                    <a:pt x="55709" y="61659"/>
                  </a:cubicBezTo>
                  <a:cubicBezTo>
                    <a:pt x="56152" y="61785"/>
                    <a:pt x="56588" y="61448"/>
                    <a:pt x="56588" y="60984"/>
                  </a:cubicBezTo>
                  <a:lnTo>
                    <a:pt x="56588" y="54373"/>
                  </a:lnTo>
                  <a:lnTo>
                    <a:pt x="56588" y="40377"/>
                  </a:lnTo>
                  <a:cubicBezTo>
                    <a:pt x="56588" y="38759"/>
                    <a:pt x="46903" y="33914"/>
                    <a:pt x="44210" y="32837"/>
                  </a:cubicBezTo>
                  <a:cubicBezTo>
                    <a:pt x="41516" y="31761"/>
                    <a:pt x="44210" y="27457"/>
                    <a:pt x="45286" y="26381"/>
                  </a:cubicBezTo>
                  <a:cubicBezTo>
                    <a:pt x="46362" y="25305"/>
                    <a:pt x="44210" y="18842"/>
                    <a:pt x="43133" y="17766"/>
                  </a:cubicBezTo>
                  <a:cubicBezTo>
                    <a:pt x="42796" y="17428"/>
                    <a:pt x="42275" y="15529"/>
                    <a:pt x="41720" y="13018"/>
                  </a:cubicBezTo>
                  <a:cubicBezTo>
                    <a:pt x="41656" y="12723"/>
                    <a:pt x="41361" y="12540"/>
                    <a:pt x="41066" y="12610"/>
                  </a:cubicBezTo>
                  <a:lnTo>
                    <a:pt x="41066" y="12610"/>
                  </a:lnTo>
                  <a:cubicBezTo>
                    <a:pt x="40658" y="12709"/>
                    <a:pt x="40271" y="12800"/>
                    <a:pt x="39905" y="12920"/>
                  </a:cubicBezTo>
                  <a:cubicBezTo>
                    <a:pt x="39096" y="13187"/>
                    <a:pt x="38288" y="14270"/>
                    <a:pt x="37479" y="15346"/>
                  </a:cubicBezTo>
                  <a:lnTo>
                    <a:pt x="37479" y="15346"/>
                  </a:lnTo>
                  <a:lnTo>
                    <a:pt x="37479" y="15346"/>
                  </a:lnTo>
                  <a:cubicBezTo>
                    <a:pt x="36670" y="16422"/>
                    <a:pt x="35868" y="17498"/>
                    <a:pt x="35059" y="17766"/>
                  </a:cubicBezTo>
                  <a:cubicBezTo>
                    <a:pt x="33442" y="18307"/>
                    <a:pt x="29672" y="15614"/>
                    <a:pt x="29672" y="15072"/>
                  </a:cubicBezTo>
                  <a:lnTo>
                    <a:pt x="29672" y="6625"/>
                  </a:lnTo>
                  <a:cubicBezTo>
                    <a:pt x="29672" y="6520"/>
                    <a:pt x="29651" y="6414"/>
                    <a:pt x="29602" y="6316"/>
                  </a:cubicBezTo>
                  <a:lnTo>
                    <a:pt x="27633" y="2384"/>
                  </a:lnTo>
                  <a:cubicBezTo>
                    <a:pt x="27562" y="2237"/>
                    <a:pt x="27443" y="2117"/>
                    <a:pt x="27295" y="2054"/>
                  </a:cubicBezTo>
                  <a:cubicBezTo>
                    <a:pt x="25600" y="1308"/>
                    <a:pt x="22421" y="0"/>
                    <a:pt x="21598" y="0"/>
                  </a:cubicBezTo>
                  <a:cubicBezTo>
                    <a:pt x="20818" y="0"/>
                    <a:pt x="18497" y="1189"/>
                    <a:pt x="17132" y="1941"/>
                  </a:cubicBezTo>
                  <a:cubicBezTo>
                    <a:pt x="16900" y="2075"/>
                    <a:pt x="16619" y="2061"/>
                    <a:pt x="16394" y="1913"/>
                  </a:cubicBezTo>
                  <a:lnTo>
                    <a:pt x="15859" y="1554"/>
                  </a:lnTo>
                  <a:cubicBezTo>
                    <a:pt x="15634" y="1407"/>
                    <a:pt x="15353" y="1456"/>
                    <a:pt x="15142" y="1618"/>
                  </a:cubicBezTo>
                  <a:lnTo>
                    <a:pt x="15142" y="1618"/>
                  </a:lnTo>
                  <a:cubicBezTo>
                    <a:pt x="13426" y="2905"/>
                    <a:pt x="4473" y="16725"/>
                    <a:pt x="133" y="23582"/>
                  </a:cubicBezTo>
                  <a:cubicBezTo>
                    <a:pt x="91" y="23652"/>
                    <a:pt x="63" y="23730"/>
                    <a:pt x="42" y="23814"/>
                  </a:cubicBezTo>
                  <a:lnTo>
                    <a:pt x="14" y="2395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2" name="Freihandform: Form 127">
              <a:extLst>
                <a:ext uri="{FF2B5EF4-FFF2-40B4-BE49-F238E27FC236}">
                  <a16:creationId xmlns:a16="http://schemas.microsoft.com/office/drawing/2014/main" id="{948611B8-0D99-B849-949C-184364FD1BE4}"/>
                </a:ext>
              </a:extLst>
            </p:cNvPr>
            <p:cNvSpPr/>
            <p:nvPr/>
          </p:nvSpPr>
          <p:spPr>
            <a:xfrm>
              <a:off x="6028026" y="4358415"/>
              <a:ext cx="93449" cy="96241"/>
            </a:xfrm>
            <a:custGeom>
              <a:avLst/>
              <a:gdLst>
                <a:gd name="connsiteX0" fmla="*/ 522 w 93449"/>
                <a:gd name="connsiteY0" fmla="*/ 46446 h 96241"/>
                <a:gd name="connsiteX1" fmla="*/ 15 w 93449"/>
                <a:gd name="connsiteY1" fmla="*/ 47290 h 96241"/>
                <a:gd name="connsiteX2" fmla="*/ 1401 w 93449"/>
                <a:gd name="connsiteY2" fmla="*/ 51918 h 96241"/>
                <a:gd name="connsiteX3" fmla="*/ 3553 w 93449"/>
                <a:gd name="connsiteY3" fmla="*/ 60533 h 96241"/>
                <a:gd name="connsiteX4" fmla="*/ 2477 w 93449"/>
                <a:gd name="connsiteY4" fmla="*/ 66990 h 96241"/>
                <a:gd name="connsiteX5" fmla="*/ 14855 w 93449"/>
                <a:gd name="connsiteY5" fmla="*/ 74529 h 96241"/>
                <a:gd name="connsiteX6" fmla="*/ 14855 w 93449"/>
                <a:gd name="connsiteY6" fmla="*/ 88525 h 96241"/>
                <a:gd name="connsiteX7" fmla="*/ 14855 w 93449"/>
                <a:gd name="connsiteY7" fmla="*/ 95136 h 96241"/>
                <a:gd name="connsiteX8" fmla="*/ 13969 w 93449"/>
                <a:gd name="connsiteY8" fmla="*/ 95811 h 96241"/>
                <a:gd name="connsiteX9" fmla="*/ 12182 w 93449"/>
                <a:gd name="connsiteY9" fmla="*/ 95305 h 96241"/>
                <a:gd name="connsiteX10" fmla="*/ 12049 w 93449"/>
                <a:gd name="connsiteY10" fmla="*/ 95621 h 96241"/>
                <a:gd name="connsiteX11" fmla="*/ 25623 w 93449"/>
                <a:gd name="connsiteY11" fmla="*/ 93905 h 96241"/>
                <a:gd name="connsiteX12" fmla="*/ 53614 w 93449"/>
                <a:gd name="connsiteY12" fmla="*/ 84755 h 96241"/>
                <a:gd name="connsiteX13" fmla="*/ 78912 w 93449"/>
                <a:gd name="connsiteY13" fmla="*/ 85831 h 96241"/>
                <a:gd name="connsiteX14" fmla="*/ 87781 w 93449"/>
                <a:gd name="connsiteY14" fmla="*/ 85831 h 96241"/>
                <a:gd name="connsiteX15" fmla="*/ 88470 w 93449"/>
                <a:gd name="connsiteY15" fmla="*/ 85023 h 96241"/>
                <a:gd name="connsiteX16" fmla="*/ 85910 w 93449"/>
                <a:gd name="connsiteY16" fmla="*/ 77216 h 96241"/>
                <a:gd name="connsiteX17" fmla="*/ 81606 w 93449"/>
                <a:gd name="connsiteY17" fmla="*/ 69142 h 96241"/>
                <a:gd name="connsiteX18" fmla="*/ 81578 w 93449"/>
                <a:gd name="connsiteY18" fmla="*/ 68094 h 96241"/>
                <a:gd name="connsiteX19" fmla="*/ 82682 w 93449"/>
                <a:gd name="connsiteY19" fmla="*/ 58916 h 96241"/>
                <a:gd name="connsiteX20" fmla="*/ 88604 w 93449"/>
                <a:gd name="connsiteY20" fmla="*/ 45996 h 96241"/>
                <a:gd name="connsiteX21" fmla="*/ 90763 w 93449"/>
                <a:gd name="connsiteY21" fmla="*/ 42494 h 96241"/>
                <a:gd name="connsiteX22" fmla="*/ 93449 w 93449"/>
                <a:gd name="connsiteY22" fmla="*/ 37922 h 96241"/>
                <a:gd name="connsiteX23" fmla="*/ 90763 w 93449"/>
                <a:gd name="connsiteY23" fmla="*/ 26796 h 96241"/>
                <a:gd name="connsiteX24" fmla="*/ 90763 w 93449"/>
                <a:gd name="connsiteY24" fmla="*/ 26796 h 96241"/>
                <a:gd name="connsiteX25" fmla="*/ 90763 w 93449"/>
                <a:gd name="connsiteY25" fmla="*/ 26796 h 96241"/>
                <a:gd name="connsiteX26" fmla="*/ 90763 w 93449"/>
                <a:gd name="connsiteY26" fmla="*/ 26796 h 96241"/>
                <a:gd name="connsiteX27" fmla="*/ 88604 w 93449"/>
                <a:gd name="connsiteY27" fmla="*/ 18005 h 96241"/>
                <a:gd name="connsiteX28" fmla="*/ 81690 w 93449"/>
                <a:gd name="connsiteY28" fmla="*/ 13201 h 96241"/>
                <a:gd name="connsiteX29" fmla="*/ 81514 w 93449"/>
                <a:gd name="connsiteY29" fmla="*/ 13145 h 96241"/>
                <a:gd name="connsiteX30" fmla="*/ 69762 w 93449"/>
                <a:gd name="connsiteY30" fmla="*/ 13159 h 96241"/>
                <a:gd name="connsiteX31" fmla="*/ 68939 w 93449"/>
                <a:gd name="connsiteY31" fmla="*/ 13834 h 96241"/>
                <a:gd name="connsiteX32" fmla="*/ 60612 w 93449"/>
                <a:gd name="connsiteY32" fmla="*/ 13159 h 96241"/>
                <a:gd name="connsiteX33" fmla="*/ 49331 w 93449"/>
                <a:gd name="connsiteY33" fmla="*/ 4192 h 96241"/>
                <a:gd name="connsiteX34" fmla="*/ 48234 w 93449"/>
                <a:gd name="connsiteY34" fmla="*/ 4550 h 96241"/>
                <a:gd name="connsiteX35" fmla="*/ 48234 w 93449"/>
                <a:gd name="connsiteY35" fmla="*/ 4550 h 96241"/>
                <a:gd name="connsiteX36" fmla="*/ 46265 w 93449"/>
                <a:gd name="connsiteY36" fmla="*/ 5022 h 96241"/>
                <a:gd name="connsiteX37" fmla="*/ 45568 w 93449"/>
                <a:gd name="connsiteY37" fmla="*/ 4550 h 96241"/>
                <a:gd name="connsiteX38" fmla="*/ 38001 w 93449"/>
                <a:gd name="connsiteY38" fmla="*/ 4550 h 96241"/>
                <a:gd name="connsiteX39" fmla="*/ 31003 w 93449"/>
                <a:gd name="connsiteY39" fmla="*/ 4550 h 96241"/>
                <a:gd name="connsiteX40" fmla="*/ 21853 w 93449"/>
                <a:gd name="connsiteY40" fmla="*/ 4550 h 96241"/>
                <a:gd name="connsiteX41" fmla="*/ 8687 w 93449"/>
                <a:gd name="connsiteY41" fmla="*/ 4550 h 96241"/>
                <a:gd name="connsiteX42" fmla="*/ 8188 w 93449"/>
                <a:gd name="connsiteY42" fmla="*/ 4339 h 96241"/>
                <a:gd name="connsiteX43" fmla="*/ 3848 w 93449"/>
                <a:gd name="connsiteY43" fmla="*/ 0 h 96241"/>
                <a:gd name="connsiteX44" fmla="*/ 3848 w 93449"/>
                <a:gd name="connsiteY44" fmla="*/ 0 h 96241"/>
                <a:gd name="connsiteX45" fmla="*/ 3848 w 93449"/>
                <a:gd name="connsiteY45" fmla="*/ 0 h 96241"/>
                <a:gd name="connsiteX46" fmla="*/ 3848 w 93449"/>
                <a:gd name="connsiteY46" fmla="*/ 0 h 96241"/>
                <a:gd name="connsiteX47" fmla="*/ 8307 w 93449"/>
                <a:gd name="connsiteY47" fmla="*/ 4459 h 96241"/>
                <a:gd name="connsiteX48" fmla="*/ 8525 w 93449"/>
                <a:gd name="connsiteY48" fmla="*/ 4550 h 96241"/>
                <a:gd name="connsiteX49" fmla="*/ 8525 w 93449"/>
                <a:gd name="connsiteY49" fmla="*/ 4550 h 96241"/>
                <a:gd name="connsiteX50" fmla="*/ 8792 w 93449"/>
                <a:gd name="connsiteY50" fmla="*/ 5000 h 96241"/>
                <a:gd name="connsiteX51" fmla="*/ 7857 w 93449"/>
                <a:gd name="connsiteY51" fmla="*/ 6703 h 96241"/>
                <a:gd name="connsiteX52" fmla="*/ 5705 w 93449"/>
                <a:gd name="connsiteY52" fmla="*/ 10472 h 96241"/>
                <a:gd name="connsiteX53" fmla="*/ 6247 w 93449"/>
                <a:gd name="connsiteY53" fmla="*/ 16394 h 96241"/>
                <a:gd name="connsiteX54" fmla="*/ 7716 w 93449"/>
                <a:gd name="connsiteY54" fmla="*/ 18687 h 96241"/>
                <a:gd name="connsiteX55" fmla="*/ 7716 w 93449"/>
                <a:gd name="connsiteY55" fmla="*/ 18687 h 96241"/>
                <a:gd name="connsiteX56" fmla="*/ 7716 w 93449"/>
                <a:gd name="connsiteY56" fmla="*/ 18687 h 96241"/>
                <a:gd name="connsiteX57" fmla="*/ 9475 w 93449"/>
                <a:gd name="connsiteY57" fmla="*/ 21240 h 96241"/>
                <a:gd name="connsiteX58" fmla="*/ 11261 w 93449"/>
                <a:gd name="connsiteY58" fmla="*/ 26831 h 96241"/>
                <a:gd name="connsiteX59" fmla="*/ 12168 w 93449"/>
                <a:gd name="connsiteY59" fmla="*/ 29848 h 96241"/>
                <a:gd name="connsiteX60" fmla="*/ 9566 w 93449"/>
                <a:gd name="connsiteY60" fmla="*/ 33020 h 96241"/>
                <a:gd name="connsiteX61" fmla="*/ 9369 w 93449"/>
                <a:gd name="connsiteY61" fmla="*/ 33112 h 96241"/>
                <a:gd name="connsiteX62" fmla="*/ 5171 w 93449"/>
                <a:gd name="connsiteY62" fmla="*/ 35770 h 96241"/>
                <a:gd name="connsiteX63" fmla="*/ 5705 w 93449"/>
                <a:gd name="connsiteY63" fmla="*/ 39540 h 96241"/>
                <a:gd name="connsiteX64" fmla="*/ 3553 w 93449"/>
                <a:gd name="connsiteY64" fmla="*/ 44386 h 96241"/>
                <a:gd name="connsiteX65" fmla="*/ 522 w 93449"/>
                <a:gd name="connsiteY65" fmla="*/ 46446 h 96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93449" h="96241">
                  <a:moveTo>
                    <a:pt x="522" y="46446"/>
                  </a:moveTo>
                  <a:cubicBezTo>
                    <a:pt x="163" y="46559"/>
                    <a:pt x="-62" y="46925"/>
                    <a:pt x="15" y="47290"/>
                  </a:cubicBezTo>
                  <a:cubicBezTo>
                    <a:pt x="564" y="49738"/>
                    <a:pt x="1070" y="51587"/>
                    <a:pt x="1401" y="51918"/>
                  </a:cubicBezTo>
                  <a:cubicBezTo>
                    <a:pt x="2477" y="52994"/>
                    <a:pt x="4629" y="59457"/>
                    <a:pt x="3553" y="60533"/>
                  </a:cubicBezTo>
                  <a:cubicBezTo>
                    <a:pt x="2477" y="61609"/>
                    <a:pt x="-217" y="65914"/>
                    <a:pt x="2477" y="66990"/>
                  </a:cubicBezTo>
                  <a:cubicBezTo>
                    <a:pt x="5171" y="68066"/>
                    <a:pt x="14855" y="72912"/>
                    <a:pt x="14855" y="74529"/>
                  </a:cubicBezTo>
                  <a:lnTo>
                    <a:pt x="14855" y="88525"/>
                  </a:lnTo>
                  <a:lnTo>
                    <a:pt x="14855" y="95136"/>
                  </a:lnTo>
                  <a:cubicBezTo>
                    <a:pt x="14855" y="95600"/>
                    <a:pt x="14419" y="95938"/>
                    <a:pt x="13969" y="95811"/>
                  </a:cubicBezTo>
                  <a:cubicBezTo>
                    <a:pt x="13413" y="95657"/>
                    <a:pt x="12815" y="95488"/>
                    <a:pt x="12182" y="95305"/>
                  </a:cubicBezTo>
                  <a:cubicBezTo>
                    <a:pt x="11381" y="95073"/>
                    <a:pt x="11240" y="95439"/>
                    <a:pt x="12049" y="95621"/>
                  </a:cubicBezTo>
                  <a:cubicBezTo>
                    <a:pt x="16592" y="96627"/>
                    <a:pt x="22282" y="96641"/>
                    <a:pt x="25623" y="93905"/>
                  </a:cubicBezTo>
                  <a:cubicBezTo>
                    <a:pt x="36503" y="85001"/>
                    <a:pt x="49127" y="84572"/>
                    <a:pt x="53614" y="84755"/>
                  </a:cubicBezTo>
                  <a:lnTo>
                    <a:pt x="78912" y="85831"/>
                  </a:lnTo>
                  <a:lnTo>
                    <a:pt x="87781" y="85831"/>
                  </a:lnTo>
                  <a:cubicBezTo>
                    <a:pt x="88217" y="85831"/>
                    <a:pt x="88547" y="85445"/>
                    <a:pt x="88470" y="85023"/>
                  </a:cubicBezTo>
                  <a:cubicBezTo>
                    <a:pt x="88027" y="82498"/>
                    <a:pt x="87070" y="78376"/>
                    <a:pt x="85910" y="77216"/>
                  </a:cubicBezTo>
                  <a:cubicBezTo>
                    <a:pt x="84299" y="75605"/>
                    <a:pt x="81606" y="70759"/>
                    <a:pt x="81606" y="69142"/>
                  </a:cubicBezTo>
                  <a:cubicBezTo>
                    <a:pt x="81606" y="68889"/>
                    <a:pt x="81592" y="68530"/>
                    <a:pt x="81578" y="68094"/>
                  </a:cubicBezTo>
                  <a:cubicBezTo>
                    <a:pt x="81486" y="65745"/>
                    <a:pt x="81317" y="61188"/>
                    <a:pt x="82682" y="58916"/>
                  </a:cubicBezTo>
                  <a:cubicBezTo>
                    <a:pt x="84299" y="56222"/>
                    <a:pt x="88604" y="47614"/>
                    <a:pt x="88604" y="45996"/>
                  </a:cubicBezTo>
                  <a:cubicBezTo>
                    <a:pt x="88604" y="45251"/>
                    <a:pt x="89644" y="43921"/>
                    <a:pt x="90763" y="42494"/>
                  </a:cubicBezTo>
                  <a:cubicBezTo>
                    <a:pt x="92057" y="40848"/>
                    <a:pt x="93449" y="39076"/>
                    <a:pt x="93449" y="37922"/>
                  </a:cubicBezTo>
                  <a:cubicBezTo>
                    <a:pt x="93449" y="36769"/>
                    <a:pt x="92057" y="31599"/>
                    <a:pt x="90763" y="26796"/>
                  </a:cubicBezTo>
                  <a:lnTo>
                    <a:pt x="90763" y="26796"/>
                  </a:lnTo>
                  <a:lnTo>
                    <a:pt x="90763" y="26796"/>
                  </a:lnTo>
                  <a:lnTo>
                    <a:pt x="90763" y="26796"/>
                  </a:lnTo>
                  <a:cubicBezTo>
                    <a:pt x="89644" y="22632"/>
                    <a:pt x="88604" y="18757"/>
                    <a:pt x="88604" y="18005"/>
                  </a:cubicBezTo>
                  <a:cubicBezTo>
                    <a:pt x="88604" y="16731"/>
                    <a:pt x="84046" y="14298"/>
                    <a:pt x="81690" y="13201"/>
                  </a:cubicBezTo>
                  <a:cubicBezTo>
                    <a:pt x="81634" y="13173"/>
                    <a:pt x="81578" y="13159"/>
                    <a:pt x="81514" y="13145"/>
                  </a:cubicBezTo>
                  <a:cubicBezTo>
                    <a:pt x="78244" y="12610"/>
                    <a:pt x="71471" y="11879"/>
                    <a:pt x="69762" y="13159"/>
                  </a:cubicBezTo>
                  <a:cubicBezTo>
                    <a:pt x="69481" y="13370"/>
                    <a:pt x="69206" y="13602"/>
                    <a:pt x="68939" y="13834"/>
                  </a:cubicBezTo>
                  <a:cubicBezTo>
                    <a:pt x="67125" y="15360"/>
                    <a:pt x="65289" y="16907"/>
                    <a:pt x="60612" y="13159"/>
                  </a:cubicBezTo>
                  <a:cubicBezTo>
                    <a:pt x="58017" y="11091"/>
                    <a:pt x="53481" y="7483"/>
                    <a:pt x="49331" y="4192"/>
                  </a:cubicBezTo>
                  <a:cubicBezTo>
                    <a:pt x="48951" y="3889"/>
                    <a:pt x="48389" y="4086"/>
                    <a:pt x="48234" y="4550"/>
                  </a:cubicBezTo>
                  <a:lnTo>
                    <a:pt x="48234" y="4550"/>
                  </a:lnTo>
                  <a:cubicBezTo>
                    <a:pt x="47488" y="6766"/>
                    <a:pt x="46701" y="5971"/>
                    <a:pt x="46265" y="5022"/>
                  </a:cubicBezTo>
                  <a:cubicBezTo>
                    <a:pt x="46138" y="4747"/>
                    <a:pt x="45871" y="4550"/>
                    <a:pt x="45568" y="4550"/>
                  </a:cubicBezTo>
                  <a:lnTo>
                    <a:pt x="38001" y="4550"/>
                  </a:lnTo>
                  <a:lnTo>
                    <a:pt x="31003" y="4550"/>
                  </a:lnTo>
                  <a:lnTo>
                    <a:pt x="21853" y="4550"/>
                  </a:lnTo>
                  <a:lnTo>
                    <a:pt x="8687" y="4550"/>
                  </a:lnTo>
                  <a:cubicBezTo>
                    <a:pt x="8504" y="4550"/>
                    <a:pt x="8321" y="4473"/>
                    <a:pt x="8188" y="4339"/>
                  </a:cubicBezTo>
                  <a:lnTo>
                    <a:pt x="3848" y="0"/>
                  </a:lnTo>
                  <a:cubicBezTo>
                    <a:pt x="3848" y="0"/>
                    <a:pt x="3848" y="0"/>
                    <a:pt x="3848" y="0"/>
                  </a:cubicBezTo>
                  <a:lnTo>
                    <a:pt x="3848" y="0"/>
                  </a:lnTo>
                  <a:cubicBezTo>
                    <a:pt x="3848" y="0"/>
                    <a:pt x="3848" y="0"/>
                    <a:pt x="3848" y="0"/>
                  </a:cubicBezTo>
                  <a:lnTo>
                    <a:pt x="8307" y="4459"/>
                  </a:lnTo>
                  <a:cubicBezTo>
                    <a:pt x="8363" y="4515"/>
                    <a:pt x="8441" y="4550"/>
                    <a:pt x="8525" y="4550"/>
                  </a:cubicBezTo>
                  <a:lnTo>
                    <a:pt x="8525" y="4550"/>
                  </a:lnTo>
                  <a:cubicBezTo>
                    <a:pt x="8750" y="4550"/>
                    <a:pt x="8898" y="4796"/>
                    <a:pt x="8792" y="5000"/>
                  </a:cubicBezTo>
                  <a:lnTo>
                    <a:pt x="7857" y="6703"/>
                  </a:lnTo>
                  <a:cubicBezTo>
                    <a:pt x="7323" y="7778"/>
                    <a:pt x="6134" y="10043"/>
                    <a:pt x="5705" y="10472"/>
                  </a:cubicBezTo>
                  <a:cubicBezTo>
                    <a:pt x="5171" y="11007"/>
                    <a:pt x="5705" y="14776"/>
                    <a:pt x="6247" y="16394"/>
                  </a:cubicBezTo>
                  <a:cubicBezTo>
                    <a:pt x="6521" y="17224"/>
                    <a:pt x="7091" y="17913"/>
                    <a:pt x="7716" y="18687"/>
                  </a:cubicBezTo>
                  <a:lnTo>
                    <a:pt x="7716" y="18687"/>
                  </a:lnTo>
                  <a:lnTo>
                    <a:pt x="7716" y="18687"/>
                  </a:lnTo>
                  <a:cubicBezTo>
                    <a:pt x="8307" y="19404"/>
                    <a:pt x="8954" y="20199"/>
                    <a:pt x="9475" y="21240"/>
                  </a:cubicBezTo>
                  <a:cubicBezTo>
                    <a:pt x="10108" y="22499"/>
                    <a:pt x="10734" y="24869"/>
                    <a:pt x="11261" y="26831"/>
                  </a:cubicBezTo>
                  <a:cubicBezTo>
                    <a:pt x="11627" y="28217"/>
                    <a:pt x="11943" y="29405"/>
                    <a:pt x="12168" y="29848"/>
                  </a:cubicBezTo>
                  <a:cubicBezTo>
                    <a:pt x="12583" y="30685"/>
                    <a:pt x="10663" y="32268"/>
                    <a:pt x="9566" y="33020"/>
                  </a:cubicBezTo>
                  <a:cubicBezTo>
                    <a:pt x="9503" y="33055"/>
                    <a:pt x="9439" y="33090"/>
                    <a:pt x="9369" y="33112"/>
                  </a:cubicBezTo>
                  <a:cubicBezTo>
                    <a:pt x="8075" y="33491"/>
                    <a:pt x="5585" y="34511"/>
                    <a:pt x="5171" y="35770"/>
                  </a:cubicBezTo>
                  <a:cubicBezTo>
                    <a:pt x="4629" y="37388"/>
                    <a:pt x="5171" y="38464"/>
                    <a:pt x="5705" y="39540"/>
                  </a:cubicBezTo>
                  <a:cubicBezTo>
                    <a:pt x="6247" y="40616"/>
                    <a:pt x="5171" y="42226"/>
                    <a:pt x="3553" y="44386"/>
                  </a:cubicBezTo>
                  <a:cubicBezTo>
                    <a:pt x="2646" y="45588"/>
                    <a:pt x="1577" y="46116"/>
                    <a:pt x="522" y="4644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3" name="Freihandform: Form 128">
              <a:extLst>
                <a:ext uri="{FF2B5EF4-FFF2-40B4-BE49-F238E27FC236}">
                  <a16:creationId xmlns:a16="http://schemas.microsoft.com/office/drawing/2014/main" id="{342D11F5-6456-0845-94A7-A000BAFB8D6B}"/>
                </a:ext>
              </a:extLst>
            </p:cNvPr>
            <p:cNvSpPr/>
            <p:nvPr/>
          </p:nvSpPr>
          <p:spPr>
            <a:xfrm>
              <a:off x="6076634" y="4289758"/>
              <a:ext cx="118317" cy="84144"/>
            </a:xfrm>
            <a:custGeom>
              <a:avLst/>
              <a:gdLst>
                <a:gd name="connsiteX0" fmla="*/ 36971 w 118317"/>
                <a:gd name="connsiteY0" fmla="*/ 83911 h 84144"/>
                <a:gd name="connsiteX1" fmla="*/ 38019 w 118317"/>
                <a:gd name="connsiteY1" fmla="*/ 83546 h 84144"/>
                <a:gd name="connsiteX2" fmla="*/ 38891 w 118317"/>
                <a:gd name="connsiteY2" fmla="*/ 80838 h 84144"/>
                <a:gd name="connsiteX3" fmla="*/ 38919 w 118317"/>
                <a:gd name="connsiteY3" fmla="*/ 80641 h 84144"/>
                <a:gd name="connsiteX4" fmla="*/ 38919 w 118317"/>
                <a:gd name="connsiteY4" fmla="*/ 64760 h 84144"/>
                <a:gd name="connsiteX5" fmla="*/ 39623 w 118317"/>
                <a:gd name="connsiteY5" fmla="*/ 64057 h 84144"/>
                <a:gd name="connsiteX6" fmla="*/ 49687 w 118317"/>
                <a:gd name="connsiteY6" fmla="*/ 64057 h 84144"/>
                <a:gd name="connsiteX7" fmla="*/ 67446 w 118317"/>
                <a:gd name="connsiteY7" fmla="*/ 64057 h 84144"/>
                <a:gd name="connsiteX8" fmla="*/ 75738 w 118317"/>
                <a:gd name="connsiteY8" fmla="*/ 63065 h 84144"/>
                <a:gd name="connsiteX9" fmla="*/ 85753 w 118317"/>
                <a:gd name="connsiteY9" fmla="*/ 61898 h 84144"/>
                <a:gd name="connsiteX10" fmla="*/ 95282 w 118317"/>
                <a:gd name="connsiteY10" fmla="*/ 61898 h 84144"/>
                <a:gd name="connsiteX11" fmla="*/ 95578 w 118317"/>
                <a:gd name="connsiteY11" fmla="*/ 61835 h 84144"/>
                <a:gd name="connsiteX12" fmla="*/ 105129 w 118317"/>
                <a:gd name="connsiteY12" fmla="*/ 57059 h 84144"/>
                <a:gd name="connsiteX13" fmla="*/ 106746 w 118317"/>
                <a:gd name="connsiteY13" fmla="*/ 55856 h 84144"/>
                <a:gd name="connsiteX14" fmla="*/ 109974 w 118317"/>
                <a:gd name="connsiteY14" fmla="*/ 53824 h 84144"/>
                <a:gd name="connsiteX15" fmla="*/ 115946 w 118317"/>
                <a:gd name="connsiteY15" fmla="*/ 47663 h 84144"/>
                <a:gd name="connsiteX16" fmla="*/ 117507 w 118317"/>
                <a:gd name="connsiteY16" fmla="*/ 45750 h 84144"/>
                <a:gd name="connsiteX17" fmla="*/ 116494 w 118317"/>
                <a:gd name="connsiteY17" fmla="*/ 39125 h 84144"/>
                <a:gd name="connsiteX18" fmla="*/ 114820 w 118317"/>
                <a:gd name="connsiteY18" fmla="*/ 35524 h 84144"/>
                <a:gd name="connsiteX19" fmla="*/ 110664 w 118317"/>
                <a:gd name="connsiteY19" fmla="*/ 34610 h 84144"/>
                <a:gd name="connsiteX20" fmla="*/ 105129 w 118317"/>
                <a:gd name="connsiteY20" fmla="*/ 35524 h 84144"/>
                <a:gd name="connsiteX21" fmla="*/ 98131 w 118317"/>
                <a:gd name="connsiteY21" fmla="*/ 29068 h 84144"/>
                <a:gd name="connsiteX22" fmla="*/ 87363 w 118317"/>
                <a:gd name="connsiteY22" fmla="*/ 8074 h 84144"/>
                <a:gd name="connsiteX23" fmla="*/ 87117 w 118317"/>
                <a:gd name="connsiteY23" fmla="*/ 830 h 84144"/>
                <a:gd name="connsiteX24" fmla="*/ 86421 w 118317"/>
                <a:gd name="connsiteY24" fmla="*/ 0 h 84144"/>
                <a:gd name="connsiteX25" fmla="*/ 82517 w 118317"/>
                <a:gd name="connsiteY25" fmla="*/ 0 h 84144"/>
                <a:gd name="connsiteX26" fmla="*/ 75520 w 118317"/>
                <a:gd name="connsiteY26" fmla="*/ 0 h 84144"/>
                <a:gd name="connsiteX27" fmla="*/ 62389 w 118317"/>
                <a:gd name="connsiteY27" fmla="*/ 0 h 84144"/>
                <a:gd name="connsiteX28" fmla="*/ 61854 w 118317"/>
                <a:gd name="connsiteY28" fmla="*/ 246 h 84144"/>
                <a:gd name="connsiteX29" fmla="*/ 52500 w 118317"/>
                <a:gd name="connsiteY29" fmla="*/ 11162 h 84144"/>
                <a:gd name="connsiteX30" fmla="*/ 52205 w 118317"/>
                <a:gd name="connsiteY30" fmla="*/ 11365 h 84144"/>
                <a:gd name="connsiteX31" fmla="*/ 41613 w 118317"/>
                <a:gd name="connsiteY31" fmla="*/ 17224 h 84144"/>
                <a:gd name="connsiteX32" fmla="*/ 30304 w 118317"/>
                <a:gd name="connsiteY32" fmla="*/ 24651 h 84144"/>
                <a:gd name="connsiteX33" fmla="*/ 30304 w 118317"/>
                <a:gd name="connsiteY33" fmla="*/ 24651 h 84144"/>
                <a:gd name="connsiteX34" fmla="*/ 28152 w 118317"/>
                <a:gd name="connsiteY34" fmla="*/ 25832 h 84144"/>
                <a:gd name="connsiteX35" fmla="*/ 24192 w 118317"/>
                <a:gd name="connsiteY35" fmla="*/ 27000 h 84144"/>
                <a:gd name="connsiteX36" fmla="*/ 21843 w 118317"/>
                <a:gd name="connsiteY36" fmla="*/ 27570 h 84144"/>
                <a:gd name="connsiteX37" fmla="*/ 18503 w 118317"/>
                <a:gd name="connsiteY37" fmla="*/ 33843 h 84144"/>
                <a:gd name="connsiteX38" fmla="*/ 18418 w 118317"/>
                <a:gd name="connsiteY38" fmla="*/ 33963 h 84144"/>
                <a:gd name="connsiteX39" fmla="*/ 9852 w 118317"/>
                <a:gd name="connsiteY39" fmla="*/ 44139 h 84144"/>
                <a:gd name="connsiteX40" fmla="*/ 5421 w 118317"/>
                <a:gd name="connsiteY40" fmla="*/ 54098 h 84144"/>
                <a:gd name="connsiteX41" fmla="*/ 5421 w 118317"/>
                <a:gd name="connsiteY41" fmla="*/ 54098 h 84144"/>
                <a:gd name="connsiteX42" fmla="*/ 5421 w 118317"/>
                <a:gd name="connsiteY42" fmla="*/ 54098 h 84144"/>
                <a:gd name="connsiteX43" fmla="*/ 5421 w 118317"/>
                <a:gd name="connsiteY43" fmla="*/ 54098 h 84144"/>
                <a:gd name="connsiteX44" fmla="*/ 2854 w 118317"/>
                <a:gd name="connsiteY44" fmla="*/ 60287 h 84144"/>
                <a:gd name="connsiteX45" fmla="*/ 737 w 118317"/>
                <a:gd name="connsiteY45" fmla="*/ 68031 h 84144"/>
                <a:gd name="connsiteX46" fmla="*/ 20 w 118317"/>
                <a:gd name="connsiteY46" fmla="*/ 71765 h 84144"/>
                <a:gd name="connsiteX47" fmla="*/ 266 w 118317"/>
                <a:gd name="connsiteY47" fmla="*/ 72483 h 84144"/>
                <a:gd name="connsiteX48" fmla="*/ 12004 w 118317"/>
                <a:gd name="connsiteY48" fmla="*/ 81816 h 84144"/>
                <a:gd name="connsiteX49" fmla="*/ 20331 w 118317"/>
                <a:gd name="connsiteY49" fmla="*/ 82491 h 84144"/>
                <a:gd name="connsiteX50" fmla="*/ 20331 w 118317"/>
                <a:gd name="connsiteY50" fmla="*/ 82491 h 84144"/>
                <a:gd name="connsiteX51" fmla="*/ 21154 w 118317"/>
                <a:gd name="connsiteY51" fmla="*/ 81816 h 84144"/>
                <a:gd name="connsiteX52" fmla="*/ 32906 w 118317"/>
                <a:gd name="connsiteY52" fmla="*/ 81801 h 84144"/>
                <a:gd name="connsiteX53" fmla="*/ 33082 w 118317"/>
                <a:gd name="connsiteY53" fmla="*/ 81858 h 84144"/>
                <a:gd name="connsiteX54" fmla="*/ 36971 w 118317"/>
                <a:gd name="connsiteY54" fmla="*/ 83911 h 84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118317" h="84144">
                  <a:moveTo>
                    <a:pt x="36971" y="83911"/>
                  </a:moveTo>
                  <a:cubicBezTo>
                    <a:pt x="37358" y="84151"/>
                    <a:pt x="37872" y="83975"/>
                    <a:pt x="38019" y="83546"/>
                  </a:cubicBezTo>
                  <a:cubicBezTo>
                    <a:pt x="38371" y="82533"/>
                    <a:pt x="38666" y="81590"/>
                    <a:pt x="38891" y="80838"/>
                  </a:cubicBezTo>
                  <a:cubicBezTo>
                    <a:pt x="38912" y="80775"/>
                    <a:pt x="38919" y="80704"/>
                    <a:pt x="38919" y="80641"/>
                  </a:cubicBezTo>
                  <a:lnTo>
                    <a:pt x="38919" y="64760"/>
                  </a:lnTo>
                  <a:cubicBezTo>
                    <a:pt x="38919" y="64367"/>
                    <a:pt x="39236" y="64057"/>
                    <a:pt x="39623" y="64057"/>
                  </a:cubicBezTo>
                  <a:lnTo>
                    <a:pt x="49687" y="64057"/>
                  </a:lnTo>
                  <a:lnTo>
                    <a:pt x="67446" y="64057"/>
                  </a:lnTo>
                  <a:cubicBezTo>
                    <a:pt x="68465" y="64057"/>
                    <a:pt x="72003" y="63572"/>
                    <a:pt x="75738" y="63065"/>
                  </a:cubicBezTo>
                  <a:cubicBezTo>
                    <a:pt x="79908" y="62503"/>
                    <a:pt x="84332" y="61898"/>
                    <a:pt x="85753" y="61898"/>
                  </a:cubicBezTo>
                  <a:lnTo>
                    <a:pt x="95282" y="61898"/>
                  </a:lnTo>
                  <a:cubicBezTo>
                    <a:pt x="95388" y="61898"/>
                    <a:pt x="95486" y="61877"/>
                    <a:pt x="95578" y="61835"/>
                  </a:cubicBezTo>
                  <a:cubicBezTo>
                    <a:pt x="98321" y="60555"/>
                    <a:pt x="103856" y="57903"/>
                    <a:pt x="105129" y="57059"/>
                  </a:cubicBezTo>
                  <a:cubicBezTo>
                    <a:pt x="105670" y="56701"/>
                    <a:pt x="106205" y="56279"/>
                    <a:pt x="106746" y="55856"/>
                  </a:cubicBezTo>
                  <a:cubicBezTo>
                    <a:pt x="107822" y="55020"/>
                    <a:pt x="108898" y="54183"/>
                    <a:pt x="109974" y="53824"/>
                  </a:cubicBezTo>
                  <a:cubicBezTo>
                    <a:pt x="111283" y="53388"/>
                    <a:pt x="113653" y="50476"/>
                    <a:pt x="115946" y="47663"/>
                  </a:cubicBezTo>
                  <a:cubicBezTo>
                    <a:pt x="116473" y="47009"/>
                    <a:pt x="117000" y="46362"/>
                    <a:pt x="117507" y="45750"/>
                  </a:cubicBezTo>
                  <a:cubicBezTo>
                    <a:pt x="119244" y="43668"/>
                    <a:pt x="117851" y="41368"/>
                    <a:pt x="116494" y="39125"/>
                  </a:cubicBezTo>
                  <a:cubicBezTo>
                    <a:pt x="115749" y="37887"/>
                    <a:pt x="115010" y="36670"/>
                    <a:pt x="114820" y="35524"/>
                  </a:cubicBezTo>
                  <a:cubicBezTo>
                    <a:pt x="114490" y="33576"/>
                    <a:pt x="112992" y="33977"/>
                    <a:pt x="110664" y="34610"/>
                  </a:cubicBezTo>
                  <a:cubicBezTo>
                    <a:pt x="109138" y="35018"/>
                    <a:pt x="107260" y="35524"/>
                    <a:pt x="105129" y="35524"/>
                  </a:cubicBezTo>
                  <a:cubicBezTo>
                    <a:pt x="99748" y="35524"/>
                    <a:pt x="98131" y="31220"/>
                    <a:pt x="98131" y="29068"/>
                  </a:cubicBezTo>
                  <a:cubicBezTo>
                    <a:pt x="98131" y="26908"/>
                    <a:pt x="90598" y="12920"/>
                    <a:pt x="87363" y="8074"/>
                  </a:cubicBezTo>
                  <a:cubicBezTo>
                    <a:pt x="86533" y="6822"/>
                    <a:pt x="86575" y="4150"/>
                    <a:pt x="87117" y="830"/>
                  </a:cubicBezTo>
                  <a:cubicBezTo>
                    <a:pt x="87194" y="394"/>
                    <a:pt x="86857" y="0"/>
                    <a:pt x="86421" y="0"/>
                  </a:cubicBezTo>
                  <a:lnTo>
                    <a:pt x="82517" y="0"/>
                  </a:lnTo>
                  <a:lnTo>
                    <a:pt x="75520" y="0"/>
                  </a:lnTo>
                  <a:lnTo>
                    <a:pt x="62389" y="0"/>
                  </a:lnTo>
                  <a:cubicBezTo>
                    <a:pt x="62185" y="0"/>
                    <a:pt x="61988" y="84"/>
                    <a:pt x="61854" y="246"/>
                  </a:cubicBezTo>
                  <a:lnTo>
                    <a:pt x="52500" y="11162"/>
                  </a:lnTo>
                  <a:cubicBezTo>
                    <a:pt x="52416" y="11253"/>
                    <a:pt x="52317" y="11323"/>
                    <a:pt x="52205" y="11365"/>
                  </a:cubicBezTo>
                  <a:cubicBezTo>
                    <a:pt x="49610" y="12308"/>
                    <a:pt x="44138" y="14699"/>
                    <a:pt x="41613" y="17224"/>
                  </a:cubicBezTo>
                  <a:cubicBezTo>
                    <a:pt x="38856" y="19981"/>
                    <a:pt x="34531" y="22344"/>
                    <a:pt x="30304" y="24651"/>
                  </a:cubicBezTo>
                  <a:lnTo>
                    <a:pt x="30304" y="24651"/>
                  </a:lnTo>
                  <a:cubicBezTo>
                    <a:pt x="29580" y="25045"/>
                    <a:pt x="28862" y="25438"/>
                    <a:pt x="28152" y="25832"/>
                  </a:cubicBezTo>
                  <a:cubicBezTo>
                    <a:pt x="26302" y="26866"/>
                    <a:pt x="25036" y="27112"/>
                    <a:pt x="24192" y="27000"/>
                  </a:cubicBezTo>
                  <a:cubicBezTo>
                    <a:pt x="23538" y="26908"/>
                    <a:pt x="22153" y="26986"/>
                    <a:pt x="21843" y="27570"/>
                  </a:cubicBezTo>
                  <a:lnTo>
                    <a:pt x="18503" y="33843"/>
                  </a:lnTo>
                  <a:cubicBezTo>
                    <a:pt x="18475" y="33885"/>
                    <a:pt x="18446" y="33927"/>
                    <a:pt x="18418" y="33963"/>
                  </a:cubicBezTo>
                  <a:cubicBezTo>
                    <a:pt x="16421" y="36326"/>
                    <a:pt x="11990" y="41572"/>
                    <a:pt x="9852" y="44139"/>
                  </a:cubicBezTo>
                  <a:cubicBezTo>
                    <a:pt x="8305" y="45989"/>
                    <a:pt x="6757" y="50329"/>
                    <a:pt x="5421" y="54098"/>
                  </a:cubicBezTo>
                  <a:lnTo>
                    <a:pt x="5421" y="54098"/>
                  </a:lnTo>
                  <a:lnTo>
                    <a:pt x="5421" y="54098"/>
                  </a:lnTo>
                  <a:lnTo>
                    <a:pt x="5421" y="54098"/>
                  </a:lnTo>
                  <a:cubicBezTo>
                    <a:pt x="4422" y="56890"/>
                    <a:pt x="3543" y="59366"/>
                    <a:pt x="2854" y="60287"/>
                  </a:cubicBezTo>
                  <a:cubicBezTo>
                    <a:pt x="1869" y="61596"/>
                    <a:pt x="1286" y="64908"/>
                    <a:pt x="737" y="68031"/>
                  </a:cubicBezTo>
                  <a:cubicBezTo>
                    <a:pt x="498" y="69367"/>
                    <a:pt x="266" y="70668"/>
                    <a:pt x="20" y="71765"/>
                  </a:cubicBezTo>
                  <a:cubicBezTo>
                    <a:pt x="-44" y="72032"/>
                    <a:pt x="48" y="72314"/>
                    <a:pt x="266" y="72483"/>
                  </a:cubicBezTo>
                  <a:cubicBezTo>
                    <a:pt x="4528" y="75866"/>
                    <a:pt x="9317" y="79670"/>
                    <a:pt x="12004" y="81816"/>
                  </a:cubicBezTo>
                  <a:cubicBezTo>
                    <a:pt x="16681" y="85564"/>
                    <a:pt x="18517" y="84017"/>
                    <a:pt x="20331" y="82491"/>
                  </a:cubicBezTo>
                  <a:lnTo>
                    <a:pt x="20331" y="82491"/>
                  </a:lnTo>
                  <a:cubicBezTo>
                    <a:pt x="20598" y="82259"/>
                    <a:pt x="20873" y="82027"/>
                    <a:pt x="21154" y="81816"/>
                  </a:cubicBezTo>
                  <a:cubicBezTo>
                    <a:pt x="22863" y="80536"/>
                    <a:pt x="29643" y="81267"/>
                    <a:pt x="32906" y="81801"/>
                  </a:cubicBezTo>
                  <a:cubicBezTo>
                    <a:pt x="32970" y="81816"/>
                    <a:pt x="33026" y="81830"/>
                    <a:pt x="33082" y="81858"/>
                  </a:cubicBezTo>
                  <a:cubicBezTo>
                    <a:pt x="34137" y="82350"/>
                    <a:pt x="35635" y="83110"/>
                    <a:pt x="36971" y="8391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4" name="Freihandform: Form 129">
              <a:extLst>
                <a:ext uri="{FF2B5EF4-FFF2-40B4-BE49-F238E27FC236}">
                  <a16:creationId xmlns:a16="http://schemas.microsoft.com/office/drawing/2014/main" id="{C4429839-2C97-CE44-95A0-AF046CC7FE9A}"/>
                </a:ext>
              </a:extLst>
            </p:cNvPr>
            <p:cNvSpPr/>
            <p:nvPr/>
          </p:nvSpPr>
          <p:spPr>
            <a:xfrm>
              <a:off x="6163355" y="4150116"/>
              <a:ext cx="236974" cy="192182"/>
            </a:xfrm>
            <a:custGeom>
              <a:avLst/>
              <a:gdLst>
                <a:gd name="connsiteX0" fmla="*/ 1127 w 236974"/>
                <a:gd name="connsiteY0" fmla="*/ 139641 h 192182"/>
                <a:gd name="connsiteX1" fmla="*/ 437 w 236974"/>
                <a:gd name="connsiteY1" fmla="*/ 140218 h 192182"/>
                <a:gd name="connsiteX2" fmla="*/ 641 w 236974"/>
                <a:gd name="connsiteY2" fmla="*/ 147715 h 192182"/>
                <a:gd name="connsiteX3" fmla="*/ 11409 w 236974"/>
                <a:gd name="connsiteY3" fmla="*/ 168709 h 192182"/>
                <a:gd name="connsiteX4" fmla="*/ 18407 w 236974"/>
                <a:gd name="connsiteY4" fmla="*/ 175165 h 192182"/>
                <a:gd name="connsiteX5" fmla="*/ 23942 w 236974"/>
                <a:gd name="connsiteY5" fmla="*/ 174251 h 192182"/>
                <a:gd name="connsiteX6" fmla="*/ 23942 w 236974"/>
                <a:gd name="connsiteY6" fmla="*/ 174251 h 192182"/>
                <a:gd name="connsiteX7" fmla="*/ 28098 w 236974"/>
                <a:gd name="connsiteY7" fmla="*/ 175165 h 192182"/>
                <a:gd name="connsiteX8" fmla="*/ 29772 w 236974"/>
                <a:gd name="connsiteY8" fmla="*/ 178766 h 192182"/>
                <a:gd name="connsiteX9" fmla="*/ 31144 w 236974"/>
                <a:gd name="connsiteY9" fmla="*/ 181298 h 192182"/>
                <a:gd name="connsiteX10" fmla="*/ 31749 w 236974"/>
                <a:gd name="connsiteY10" fmla="*/ 181762 h 192182"/>
                <a:gd name="connsiteX11" fmla="*/ 48178 w 236974"/>
                <a:gd name="connsiteY11" fmla="*/ 191813 h 192182"/>
                <a:gd name="connsiteX12" fmla="*/ 49612 w 236974"/>
                <a:gd name="connsiteY12" fmla="*/ 191658 h 192182"/>
                <a:gd name="connsiteX13" fmla="*/ 53396 w 236974"/>
                <a:gd name="connsiteY13" fmla="*/ 179470 h 192182"/>
                <a:gd name="connsiteX14" fmla="*/ 64164 w 236974"/>
                <a:gd name="connsiteY14" fmla="*/ 158476 h 192182"/>
                <a:gd name="connsiteX15" fmla="*/ 70508 w 236974"/>
                <a:gd name="connsiteY15" fmla="*/ 156661 h 192182"/>
                <a:gd name="connsiteX16" fmla="*/ 76001 w 236974"/>
                <a:gd name="connsiteY16" fmla="*/ 158476 h 192182"/>
                <a:gd name="connsiteX17" fmla="*/ 89349 w 236974"/>
                <a:gd name="connsiteY17" fmla="*/ 164841 h 192182"/>
                <a:gd name="connsiteX18" fmla="*/ 89602 w 236974"/>
                <a:gd name="connsiteY18" fmla="*/ 164989 h 192182"/>
                <a:gd name="connsiteX19" fmla="*/ 97374 w 236974"/>
                <a:gd name="connsiteY19" fmla="*/ 167577 h 192182"/>
                <a:gd name="connsiteX20" fmla="*/ 97705 w 236974"/>
                <a:gd name="connsiteY20" fmla="*/ 167605 h 192182"/>
                <a:gd name="connsiteX21" fmla="*/ 114070 w 236974"/>
                <a:gd name="connsiteY21" fmla="*/ 164960 h 192182"/>
                <a:gd name="connsiteX22" fmla="*/ 114366 w 236974"/>
                <a:gd name="connsiteY22" fmla="*/ 164982 h 192182"/>
                <a:gd name="connsiteX23" fmla="*/ 138447 w 236974"/>
                <a:gd name="connsiteY23" fmla="*/ 170320 h 192182"/>
                <a:gd name="connsiteX24" fmla="*/ 152443 w 236974"/>
                <a:gd name="connsiteY24" fmla="*/ 167633 h 192182"/>
                <a:gd name="connsiteX25" fmla="*/ 155804 w 236974"/>
                <a:gd name="connsiteY25" fmla="*/ 166283 h 192182"/>
                <a:gd name="connsiteX26" fmla="*/ 158365 w 236974"/>
                <a:gd name="connsiteY26" fmla="*/ 164939 h 192182"/>
                <a:gd name="connsiteX27" fmla="*/ 165025 w 236974"/>
                <a:gd name="connsiteY27" fmla="*/ 164440 h 192182"/>
                <a:gd name="connsiteX28" fmla="*/ 167514 w 236974"/>
                <a:gd name="connsiteY28" fmla="*/ 164939 h 192182"/>
                <a:gd name="connsiteX29" fmla="*/ 177023 w 236974"/>
                <a:gd name="connsiteY29" fmla="*/ 170193 h 192182"/>
                <a:gd name="connsiteX30" fmla="*/ 177424 w 236974"/>
                <a:gd name="connsiteY30" fmla="*/ 170320 h 192182"/>
                <a:gd name="connsiteX31" fmla="*/ 193354 w 236974"/>
                <a:gd name="connsiteY31" fmla="*/ 170320 h 192182"/>
                <a:gd name="connsiteX32" fmla="*/ 198495 w 236974"/>
                <a:gd name="connsiteY32" fmla="*/ 166121 h 192182"/>
                <a:gd name="connsiteX33" fmla="*/ 199874 w 236974"/>
                <a:gd name="connsiteY33" fmla="*/ 166219 h 192182"/>
                <a:gd name="connsiteX34" fmla="*/ 204656 w 236974"/>
                <a:gd name="connsiteY34" fmla="*/ 170320 h 192182"/>
                <a:gd name="connsiteX35" fmla="*/ 206330 w 236974"/>
                <a:gd name="connsiteY35" fmla="*/ 172858 h 192182"/>
                <a:gd name="connsiteX36" fmla="*/ 208426 w 236974"/>
                <a:gd name="connsiteY36" fmla="*/ 175707 h 192182"/>
                <a:gd name="connsiteX37" fmla="*/ 210466 w 236974"/>
                <a:gd name="connsiteY37" fmla="*/ 176783 h 192182"/>
                <a:gd name="connsiteX38" fmla="*/ 214263 w 236974"/>
                <a:gd name="connsiteY38" fmla="*/ 177655 h 192182"/>
                <a:gd name="connsiteX39" fmla="*/ 217034 w 236974"/>
                <a:gd name="connsiteY39" fmla="*/ 175707 h 192182"/>
                <a:gd name="connsiteX40" fmla="*/ 217077 w 236974"/>
                <a:gd name="connsiteY40" fmla="*/ 170362 h 192182"/>
                <a:gd name="connsiteX41" fmla="*/ 216999 w 236974"/>
                <a:gd name="connsiteY41" fmla="*/ 170270 h 192182"/>
                <a:gd name="connsiteX42" fmla="*/ 213328 w 236974"/>
                <a:gd name="connsiteY42" fmla="*/ 165024 h 192182"/>
                <a:gd name="connsiteX43" fmla="*/ 213187 w 236974"/>
                <a:gd name="connsiteY43" fmla="*/ 164876 h 192182"/>
                <a:gd name="connsiteX44" fmla="*/ 208426 w 236974"/>
                <a:gd name="connsiteY44" fmla="*/ 158476 h 192182"/>
                <a:gd name="connsiteX45" fmla="*/ 206365 w 236974"/>
                <a:gd name="connsiteY45" fmla="*/ 152660 h 192182"/>
                <a:gd name="connsiteX46" fmla="*/ 204656 w 236974"/>
                <a:gd name="connsiteY46" fmla="*/ 148791 h 192182"/>
                <a:gd name="connsiteX47" fmla="*/ 208271 w 236974"/>
                <a:gd name="connsiteY47" fmla="*/ 139311 h 192182"/>
                <a:gd name="connsiteX48" fmla="*/ 208405 w 236974"/>
                <a:gd name="connsiteY48" fmla="*/ 138840 h 192182"/>
                <a:gd name="connsiteX49" fmla="*/ 208426 w 236974"/>
                <a:gd name="connsiteY49" fmla="*/ 128332 h 192182"/>
                <a:gd name="connsiteX50" fmla="*/ 212906 w 236974"/>
                <a:gd name="connsiteY50" fmla="*/ 123311 h 192182"/>
                <a:gd name="connsiteX51" fmla="*/ 217034 w 236974"/>
                <a:gd name="connsiteY51" fmla="*/ 119724 h 192182"/>
                <a:gd name="connsiteX52" fmla="*/ 224574 w 236974"/>
                <a:gd name="connsiteY52" fmla="*/ 106263 h 192182"/>
                <a:gd name="connsiteX53" fmla="*/ 229419 w 236974"/>
                <a:gd name="connsiteY53" fmla="*/ 90656 h 192182"/>
                <a:gd name="connsiteX54" fmla="*/ 229286 w 236974"/>
                <a:gd name="connsiteY54" fmla="*/ 87147 h 192182"/>
                <a:gd name="connsiteX55" fmla="*/ 229419 w 236974"/>
                <a:gd name="connsiteY55" fmla="*/ 80965 h 192182"/>
                <a:gd name="connsiteX56" fmla="*/ 234258 w 236974"/>
                <a:gd name="connsiteY56" fmla="*/ 63199 h 192182"/>
                <a:gd name="connsiteX57" fmla="*/ 236952 w 236974"/>
                <a:gd name="connsiteY57" fmla="*/ 50279 h 192182"/>
                <a:gd name="connsiteX58" fmla="*/ 224869 w 236974"/>
                <a:gd name="connsiteY58" fmla="*/ 39645 h 192182"/>
                <a:gd name="connsiteX59" fmla="*/ 224574 w 236974"/>
                <a:gd name="connsiteY59" fmla="*/ 39519 h 192182"/>
                <a:gd name="connsiteX60" fmla="*/ 224039 w 236974"/>
                <a:gd name="connsiteY60" fmla="*/ 24531 h 192182"/>
                <a:gd name="connsiteX61" fmla="*/ 224039 w 236974"/>
                <a:gd name="connsiteY61" fmla="*/ 24531 h 192182"/>
                <a:gd name="connsiteX62" fmla="*/ 224039 w 236974"/>
                <a:gd name="connsiteY62" fmla="*/ 24531 h 192182"/>
                <a:gd name="connsiteX63" fmla="*/ 224039 w 236974"/>
                <a:gd name="connsiteY63" fmla="*/ 24531 h 192182"/>
                <a:gd name="connsiteX64" fmla="*/ 224039 w 236974"/>
                <a:gd name="connsiteY64" fmla="*/ 24531 h 192182"/>
                <a:gd name="connsiteX65" fmla="*/ 224039 w 236974"/>
                <a:gd name="connsiteY65" fmla="*/ 24524 h 192182"/>
                <a:gd name="connsiteX66" fmla="*/ 224574 w 236974"/>
                <a:gd name="connsiteY66" fmla="*/ 20677 h 192182"/>
                <a:gd name="connsiteX67" fmla="*/ 222267 w 236974"/>
                <a:gd name="connsiteY67" fmla="*/ 14966 h 192182"/>
                <a:gd name="connsiteX68" fmla="*/ 221296 w 236974"/>
                <a:gd name="connsiteY68" fmla="*/ 14664 h 192182"/>
                <a:gd name="connsiteX69" fmla="*/ 214777 w 236974"/>
                <a:gd name="connsiteY69" fmla="*/ 18286 h 192182"/>
                <a:gd name="connsiteX70" fmla="*/ 213975 w 236974"/>
                <a:gd name="connsiteY70" fmla="*/ 18209 h 192182"/>
                <a:gd name="connsiteX71" fmla="*/ 199269 w 236974"/>
                <a:gd name="connsiteY71" fmla="*/ 7096 h 192182"/>
                <a:gd name="connsiteX72" fmla="*/ 190843 w 236974"/>
                <a:gd name="connsiteY72" fmla="*/ 5303 h 192182"/>
                <a:gd name="connsiteX73" fmla="*/ 182586 w 236974"/>
                <a:gd name="connsiteY73" fmla="*/ 3285 h 192182"/>
                <a:gd name="connsiteX74" fmla="*/ 181285 w 236974"/>
                <a:gd name="connsiteY74" fmla="*/ 2033 h 192182"/>
                <a:gd name="connsiteX75" fmla="*/ 181285 w 236974"/>
                <a:gd name="connsiteY75" fmla="*/ 2033 h 192182"/>
                <a:gd name="connsiteX76" fmla="*/ 181285 w 236974"/>
                <a:gd name="connsiteY76" fmla="*/ 2033 h 192182"/>
                <a:gd name="connsiteX77" fmla="*/ 179414 w 236974"/>
                <a:gd name="connsiteY77" fmla="*/ 211 h 192182"/>
                <a:gd name="connsiteX78" fmla="*/ 178486 w 236974"/>
                <a:gd name="connsiteY78" fmla="*/ 141 h 192182"/>
                <a:gd name="connsiteX79" fmla="*/ 157823 w 236974"/>
                <a:gd name="connsiteY79" fmla="*/ 15297 h 192182"/>
                <a:gd name="connsiteX80" fmla="*/ 108838 w 236974"/>
                <a:gd name="connsiteY80" fmla="*/ 47051 h 192182"/>
                <a:gd name="connsiteX81" fmla="*/ 83090 w 236974"/>
                <a:gd name="connsiteY81" fmla="*/ 66364 h 192182"/>
                <a:gd name="connsiteX82" fmla="*/ 82900 w 236974"/>
                <a:gd name="connsiteY82" fmla="*/ 66469 h 192182"/>
                <a:gd name="connsiteX83" fmla="*/ 63397 w 236974"/>
                <a:gd name="connsiteY83" fmla="*/ 72574 h 192182"/>
                <a:gd name="connsiteX84" fmla="*/ 62870 w 236974"/>
                <a:gd name="connsiteY84" fmla="*/ 73207 h 192182"/>
                <a:gd name="connsiteX85" fmla="*/ 59852 w 236974"/>
                <a:gd name="connsiteY85" fmla="*/ 106804 h 192182"/>
                <a:gd name="connsiteX86" fmla="*/ 56737 w 236974"/>
                <a:gd name="connsiteY86" fmla="*/ 116200 h 192182"/>
                <a:gd name="connsiteX87" fmla="*/ 55548 w 236974"/>
                <a:gd name="connsiteY87" fmla="*/ 120258 h 192182"/>
                <a:gd name="connsiteX88" fmla="*/ 53347 w 236974"/>
                <a:gd name="connsiteY88" fmla="*/ 125195 h 192182"/>
                <a:gd name="connsiteX89" fmla="*/ 53347 w 236974"/>
                <a:gd name="connsiteY89" fmla="*/ 125195 h 192182"/>
                <a:gd name="connsiteX90" fmla="*/ 51779 w 236974"/>
                <a:gd name="connsiteY90" fmla="*/ 127798 h 192182"/>
                <a:gd name="connsiteX91" fmla="*/ 42017 w 236974"/>
                <a:gd name="connsiteY91" fmla="*/ 132454 h 192182"/>
                <a:gd name="connsiteX92" fmla="*/ 42017 w 236974"/>
                <a:gd name="connsiteY92" fmla="*/ 132454 h 192182"/>
                <a:gd name="connsiteX93" fmla="*/ 42017 w 236974"/>
                <a:gd name="connsiteY93" fmla="*/ 132454 h 192182"/>
                <a:gd name="connsiteX94" fmla="*/ 42017 w 236974"/>
                <a:gd name="connsiteY94" fmla="*/ 132454 h 192182"/>
                <a:gd name="connsiteX95" fmla="*/ 37248 w 236974"/>
                <a:gd name="connsiteY95" fmla="*/ 133720 h 192182"/>
                <a:gd name="connsiteX96" fmla="*/ 26861 w 236974"/>
                <a:gd name="connsiteY96" fmla="*/ 134880 h 192182"/>
                <a:gd name="connsiteX97" fmla="*/ 17331 w 236974"/>
                <a:gd name="connsiteY97" fmla="*/ 136948 h 192182"/>
                <a:gd name="connsiteX98" fmla="*/ 10797 w 236974"/>
                <a:gd name="connsiteY98" fmla="*/ 139655 h 192182"/>
                <a:gd name="connsiteX99" fmla="*/ 10797 w 236974"/>
                <a:gd name="connsiteY99" fmla="*/ 139655 h 192182"/>
                <a:gd name="connsiteX100" fmla="*/ 9791 w 236974"/>
                <a:gd name="connsiteY100" fmla="*/ 139641 h 192182"/>
                <a:gd name="connsiteX101" fmla="*/ 1127 w 236974"/>
                <a:gd name="connsiteY101" fmla="*/ 139641 h 192182"/>
                <a:gd name="connsiteX102" fmla="*/ 45322 w 236974"/>
                <a:gd name="connsiteY102" fmla="*/ 73967 h 192182"/>
                <a:gd name="connsiteX103" fmla="*/ 45414 w 236974"/>
                <a:gd name="connsiteY103" fmla="*/ 74129 h 192182"/>
                <a:gd name="connsiteX104" fmla="*/ 45322 w 236974"/>
                <a:gd name="connsiteY104" fmla="*/ 73967 h 192182"/>
                <a:gd name="connsiteX105" fmla="*/ 45055 w 236974"/>
                <a:gd name="connsiteY105" fmla="*/ 71998 h 192182"/>
                <a:gd name="connsiteX106" fmla="*/ 44753 w 236974"/>
                <a:gd name="connsiteY106" fmla="*/ 69733 h 192182"/>
                <a:gd name="connsiteX107" fmla="*/ 45055 w 236974"/>
                <a:gd name="connsiteY107" fmla="*/ 71998 h 192182"/>
                <a:gd name="connsiteX108" fmla="*/ 45322 w 236974"/>
                <a:gd name="connsiteY108" fmla="*/ 73967 h 192182"/>
                <a:gd name="connsiteX109" fmla="*/ 31896 w 236974"/>
                <a:gd name="connsiteY109" fmla="*/ 56630 h 192182"/>
                <a:gd name="connsiteX110" fmla="*/ 31889 w 236974"/>
                <a:gd name="connsiteY110" fmla="*/ 56623 h 192182"/>
                <a:gd name="connsiteX111" fmla="*/ 27093 w 236974"/>
                <a:gd name="connsiteY111" fmla="*/ 51313 h 192182"/>
                <a:gd name="connsiteX112" fmla="*/ 31889 w 236974"/>
                <a:gd name="connsiteY112" fmla="*/ 56623 h 192182"/>
                <a:gd name="connsiteX113" fmla="*/ 31889 w 236974"/>
                <a:gd name="connsiteY113" fmla="*/ 56623 h 192182"/>
                <a:gd name="connsiteX114" fmla="*/ 32909 w 236974"/>
                <a:gd name="connsiteY114" fmla="*/ 57770 h 192182"/>
                <a:gd name="connsiteX115" fmla="*/ 31896 w 236974"/>
                <a:gd name="connsiteY115" fmla="*/ 56630 h 19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36974" h="192182">
                  <a:moveTo>
                    <a:pt x="1127" y="139641"/>
                  </a:moveTo>
                  <a:cubicBezTo>
                    <a:pt x="789" y="139641"/>
                    <a:pt x="494" y="139881"/>
                    <a:pt x="437" y="140218"/>
                  </a:cubicBezTo>
                  <a:cubicBezTo>
                    <a:pt x="-146" y="143657"/>
                    <a:pt x="-210" y="146428"/>
                    <a:pt x="641" y="147715"/>
                  </a:cubicBezTo>
                  <a:cubicBezTo>
                    <a:pt x="3869" y="152561"/>
                    <a:pt x="11409" y="166550"/>
                    <a:pt x="11409" y="168709"/>
                  </a:cubicBezTo>
                  <a:cubicBezTo>
                    <a:pt x="11409" y="170861"/>
                    <a:pt x="13026" y="175165"/>
                    <a:pt x="18407" y="175165"/>
                  </a:cubicBezTo>
                  <a:cubicBezTo>
                    <a:pt x="20538" y="175165"/>
                    <a:pt x="22416" y="174659"/>
                    <a:pt x="23942" y="174251"/>
                  </a:cubicBezTo>
                  <a:lnTo>
                    <a:pt x="23942" y="174251"/>
                  </a:lnTo>
                  <a:cubicBezTo>
                    <a:pt x="26270" y="173618"/>
                    <a:pt x="27768" y="173217"/>
                    <a:pt x="28098" y="175165"/>
                  </a:cubicBezTo>
                  <a:cubicBezTo>
                    <a:pt x="28288" y="176312"/>
                    <a:pt x="29020" y="177529"/>
                    <a:pt x="29772" y="178766"/>
                  </a:cubicBezTo>
                  <a:cubicBezTo>
                    <a:pt x="30279" y="179610"/>
                    <a:pt x="30792" y="180454"/>
                    <a:pt x="31144" y="181298"/>
                  </a:cubicBezTo>
                  <a:cubicBezTo>
                    <a:pt x="31249" y="181544"/>
                    <a:pt x="31481" y="181727"/>
                    <a:pt x="31749" y="181762"/>
                  </a:cubicBezTo>
                  <a:cubicBezTo>
                    <a:pt x="40322" y="182796"/>
                    <a:pt x="45716" y="187909"/>
                    <a:pt x="48178" y="191813"/>
                  </a:cubicBezTo>
                  <a:cubicBezTo>
                    <a:pt x="48529" y="192368"/>
                    <a:pt x="49430" y="192284"/>
                    <a:pt x="49612" y="191658"/>
                  </a:cubicBezTo>
                  <a:cubicBezTo>
                    <a:pt x="50801" y="187551"/>
                    <a:pt x="52658" y="181326"/>
                    <a:pt x="53396" y="179470"/>
                  </a:cubicBezTo>
                  <a:cubicBezTo>
                    <a:pt x="54472" y="176783"/>
                    <a:pt x="59318" y="164939"/>
                    <a:pt x="64164" y="158476"/>
                  </a:cubicBezTo>
                  <a:cubicBezTo>
                    <a:pt x="67097" y="154566"/>
                    <a:pt x="68454" y="155396"/>
                    <a:pt x="70508" y="156661"/>
                  </a:cubicBezTo>
                  <a:cubicBezTo>
                    <a:pt x="71837" y="157477"/>
                    <a:pt x="73461" y="158476"/>
                    <a:pt x="76001" y="158476"/>
                  </a:cubicBezTo>
                  <a:cubicBezTo>
                    <a:pt x="81092" y="158476"/>
                    <a:pt x="86944" y="162654"/>
                    <a:pt x="89349" y="164841"/>
                  </a:cubicBezTo>
                  <a:cubicBezTo>
                    <a:pt x="89427" y="164904"/>
                    <a:pt x="89511" y="164953"/>
                    <a:pt x="89602" y="164989"/>
                  </a:cubicBezTo>
                  <a:lnTo>
                    <a:pt x="97374" y="167577"/>
                  </a:lnTo>
                  <a:cubicBezTo>
                    <a:pt x="97479" y="167612"/>
                    <a:pt x="97592" y="167619"/>
                    <a:pt x="97705" y="167605"/>
                  </a:cubicBezTo>
                  <a:lnTo>
                    <a:pt x="114070" y="164960"/>
                  </a:lnTo>
                  <a:cubicBezTo>
                    <a:pt x="114169" y="164946"/>
                    <a:pt x="114267" y="164953"/>
                    <a:pt x="114366" y="164982"/>
                  </a:cubicBezTo>
                  <a:cubicBezTo>
                    <a:pt x="120710" y="166789"/>
                    <a:pt x="134171" y="170320"/>
                    <a:pt x="138447" y="170320"/>
                  </a:cubicBezTo>
                  <a:cubicBezTo>
                    <a:pt x="143827" y="170320"/>
                    <a:pt x="149208" y="170320"/>
                    <a:pt x="152443" y="167633"/>
                  </a:cubicBezTo>
                  <a:cubicBezTo>
                    <a:pt x="154053" y="166283"/>
                    <a:pt x="154996" y="166283"/>
                    <a:pt x="155804" y="166283"/>
                  </a:cubicBezTo>
                  <a:cubicBezTo>
                    <a:pt x="156613" y="166283"/>
                    <a:pt x="157288" y="166283"/>
                    <a:pt x="158365" y="164939"/>
                  </a:cubicBezTo>
                  <a:cubicBezTo>
                    <a:pt x="159877" y="163047"/>
                    <a:pt x="162725" y="163814"/>
                    <a:pt x="165025" y="164440"/>
                  </a:cubicBezTo>
                  <a:cubicBezTo>
                    <a:pt x="165996" y="164700"/>
                    <a:pt x="166875" y="164939"/>
                    <a:pt x="167514" y="164939"/>
                  </a:cubicBezTo>
                  <a:cubicBezTo>
                    <a:pt x="169195" y="164939"/>
                    <a:pt x="174435" y="168357"/>
                    <a:pt x="177023" y="170193"/>
                  </a:cubicBezTo>
                  <a:cubicBezTo>
                    <a:pt x="177143" y="170277"/>
                    <a:pt x="177283" y="170320"/>
                    <a:pt x="177424" y="170320"/>
                  </a:cubicBezTo>
                  <a:lnTo>
                    <a:pt x="193354" y="170320"/>
                  </a:lnTo>
                  <a:cubicBezTo>
                    <a:pt x="195091" y="170320"/>
                    <a:pt x="197187" y="167971"/>
                    <a:pt x="198495" y="166121"/>
                  </a:cubicBezTo>
                  <a:cubicBezTo>
                    <a:pt x="198833" y="165650"/>
                    <a:pt x="199599" y="165706"/>
                    <a:pt x="199874" y="166219"/>
                  </a:cubicBezTo>
                  <a:cubicBezTo>
                    <a:pt x="200865" y="168055"/>
                    <a:pt x="202602" y="170320"/>
                    <a:pt x="204656" y="170320"/>
                  </a:cubicBezTo>
                  <a:cubicBezTo>
                    <a:pt x="206210" y="170320"/>
                    <a:pt x="206267" y="171565"/>
                    <a:pt x="206330" y="172858"/>
                  </a:cubicBezTo>
                  <a:cubicBezTo>
                    <a:pt x="206400" y="174251"/>
                    <a:pt x="206464" y="175707"/>
                    <a:pt x="208426" y="175707"/>
                  </a:cubicBezTo>
                  <a:cubicBezTo>
                    <a:pt x="209375" y="175707"/>
                    <a:pt x="210029" y="176129"/>
                    <a:pt x="210466" y="176783"/>
                  </a:cubicBezTo>
                  <a:cubicBezTo>
                    <a:pt x="210929" y="177472"/>
                    <a:pt x="213673" y="178232"/>
                    <a:pt x="214263" y="177655"/>
                  </a:cubicBezTo>
                  <a:cubicBezTo>
                    <a:pt x="215072" y="176853"/>
                    <a:pt x="216008" y="176143"/>
                    <a:pt x="217034" y="175707"/>
                  </a:cubicBezTo>
                  <a:cubicBezTo>
                    <a:pt x="220016" y="174427"/>
                    <a:pt x="218328" y="171642"/>
                    <a:pt x="217077" y="170362"/>
                  </a:cubicBezTo>
                  <a:cubicBezTo>
                    <a:pt x="217048" y="170334"/>
                    <a:pt x="217027" y="170306"/>
                    <a:pt x="216999" y="170270"/>
                  </a:cubicBezTo>
                  <a:lnTo>
                    <a:pt x="213328" y="165024"/>
                  </a:lnTo>
                  <a:cubicBezTo>
                    <a:pt x="213286" y="164967"/>
                    <a:pt x="213243" y="164918"/>
                    <a:pt x="213187" y="164876"/>
                  </a:cubicBezTo>
                  <a:cubicBezTo>
                    <a:pt x="211549" y="163582"/>
                    <a:pt x="208426" y="160600"/>
                    <a:pt x="208426" y="158476"/>
                  </a:cubicBezTo>
                  <a:cubicBezTo>
                    <a:pt x="208426" y="156823"/>
                    <a:pt x="207406" y="154755"/>
                    <a:pt x="206365" y="152660"/>
                  </a:cubicBezTo>
                  <a:cubicBezTo>
                    <a:pt x="205725" y="151352"/>
                    <a:pt x="205071" y="150029"/>
                    <a:pt x="204656" y="148791"/>
                  </a:cubicBezTo>
                  <a:cubicBezTo>
                    <a:pt x="203819" y="146288"/>
                    <a:pt x="206626" y="141561"/>
                    <a:pt x="208271" y="139311"/>
                  </a:cubicBezTo>
                  <a:cubicBezTo>
                    <a:pt x="208370" y="139177"/>
                    <a:pt x="208419" y="139008"/>
                    <a:pt x="208405" y="138840"/>
                  </a:cubicBezTo>
                  <a:cubicBezTo>
                    <a:pt x="208229" y="136048"/>
                    <a:pt x="208004" y="130421"/>
                    <a:pt x="208426" y="128332"/>
                  </a:cubicBezTo>
                  <a:cubicBezTo>
                    <a:pt x="208764" y="126623"/>
                    <a:pt x="210627" y="125132"/>
                    <a:pt x="212906" y="123311"/>
                  </a:cubicBezTo>
                  <a:cubicBezTo>
                    <a:pt x="214214" y="122256"/>
                    <a:pt x="215663" y="121095"/>
                    <a:pt x="217034" y="119724"/>
                  </a:cubicBezTo>
                  <a:cubicBezTo>
                    <a:pt x="220052" y="116707"/>
                    <a:pt x="223315" y="109498"/>
                    <a:pt x="224574" y="106263"/>
                  </a:cubicBezTo>
                  <a:cubicBezTo>
                    <a:pt x="226184" y="102317"/>
                    <a:pt x="229419" y="93666"/>
                    <a:pt x="229419" y="90656"/>
                  </a:cubicBezTo>
                  <a:cubicBezTo>
                    <a:pt x="229419" y="89334"/>
                    <a:pt x="229349" y="88209"/>
                    <a:pt x="229286" y="87147"/>
                  </a:cubicBezTo>
                  <a:cubicBezTo>
                    <a:pt x="229173" y="85177"/>
                    <a:pt x="229068" y="83412"/>
                    <a:pt x="229419" y="80965"/>
                  </a:cubicBezTo>
                  <a:cubicBezTo>
                    <a:pt x="229954" y="77195"/>
                    <a:pt x="232648" y="66434"/>
                    <a:pt x="234258" y="63199"/>
                  </a:cubicBezTo>
                  <a:cubicBezTo>
                    <a:pt x="235876" y="59971"/>
                    <a:pt x="236417" y="55667"/>
                    <a:pt x="236952" y="50279"/>
                  </a:cubicBezTo>
                  <a:cubicBezTo>
                    <a:pt x="237479" y="45033"/>
                    <a:pt x="228794" y="41319"/>
                    <a:pt x="224869" y="39645"/>
                  </a:cubicBezTo>
                  <a:lnTo>
                    <a:pt x="224574" y="39519"/>
                  </a:lnTo>
                  <a:cubicBezTo>
                    <a:pt x="221747" y="38309"/>
                    <a:pt x="223160" y="29827"/>
                    <a:pt x="224039" y="24531"/>
                  </a:cubicBezTo>
                  <a:cubicBezTo>
                    <a:pt x="224039" y="24531"/>
                    <a:pt x="224039" y="24531"/>
                    <a:pt x="224039" y="24531"/>
                  </a:cubicBezTo>
                  <a:lnTo>
                    <a:pt x="224039" y="24531"/>
                  </a:lnTo>
                  <a:cubicBezTo>
                    <a:pt x="224039" y="24531"/>
                    <a:pt x="224039" y="24531"/>
                    <a:pt x="224039" y="24531"/>
                  </a:cubicBezTo>
                  <a:lnTo>
                    <a:pt x="224039" y="24531"/>
                  </a:lnTo>
                  <a:lnTo>
                    <a:pt x="224039" y="24524"/>
                  </a:lnTo>
                  <a:cubicBezTo>
                    <a:pt x="224335" y="22759"/>
                    <a:pt x="224574" y="21353"/>
                    <a:pt x="224574" y="20677"/>
                  </a:cubicBezTo>
                  <a:cubicBezTo>
                    <a:pt x="224574" y="19854"/>
                    <a:pt x="223617" y="17681"/>
                    <a:pt x="222267" y="14966"/>
                  </a:cubicBezTo>
                  <a:cubicBezTo>
                    <a:pt x="222091" y="14608"/>
                    <a:pt x="221648" y="14474"/>
                    <a:pt x="221296" y="14664"/>
                  </a:cubicBezTo>
                  <a:lnTo>
                    <a:pt x="214777" y="18286"/>
                  </a:lnTo>
                  <a:cubicBezTo>
                    <a:pt x="214516" y="18434"/>
                    <a:pt x="214193" y="18399"/>
                    <a:pt x="213975" y="18209"/>
                  </a:cubicBezTo>
                  <a:cubicBezTo>
                    <a:pt x="210058" y="14833"/>
                    <a:pt x="202188" y="8362"/>
                    <a:pt x="199269" y="7096"/>
                  </a:cubicBezTo>
                  <a:cubicBezTo>
                    <a:pt x="197518" y="6337"/>
                    <a:pt x="194128" y="5809"/>
                    <a:pt x="190843" y="5303"/>
                  </a:cubicBezTo>
                  <a:cubicBezTo>
                    <a:pt x="187081" y="4719"/>
                    <a:pt x="183451" y="4157"/>
                    <a:pt x="182586" y="3285"/>
                  </a:cubicBezTo>
                  <a:cubicBezTo>
                    <a:pt x="182221" y="2919"/>
                    <a:pt x="181778" y="2497"/>
                    <a:pt x="181285" y="2033"/>
                  </a:cubicBezTo>
                  <a:lnTo>
                    <a:pt x="181285" y="2033"/>
                  </a:lnTo>
                  <a:lnTo>
                    <a:pt x="181285" y="2033"/>
                  </a:lnTo>
                  <a:cubicBezTo>
                    <a:pt x="180701" y="1477"/>
                    <a:pt x="180062" y="865"/>
                    <a:pt x="179414" y="211"/>
                  </a:cubicBezTo>
                  <a:cubicBezTo>
                    <a:pt x="179161" y="-42"/>
                    <a:pt x="178767" y="-70"/>
                    <a:pt x="178486" y="141"/>
                  </a:cubicBezTo>
                  <a:cubicBezTo>
                    <a:pt x="169568" y="6752"/>
                    <a:pt x="159645" y="14080"/>
                    <a:pt x="157823" y="15297"/>
                  </a:cubicBezTo>
                  <a:cubicBezTo>
                    <a:pt x="154595" y="17449"/>
                    <a:pt x="111532" y="45441"/>
                    <a:pt x="108838" y="47051"/>
                  </a:cubicBezTo>
                  <a:cubicBezTo>
                    <a:pt x="106693" y="48338"/>
                    <a:pt x="90833" y="60421"/>
                    <a:pt x="83090" y="66364"/>
                  </a:cubicBezTo>
                  <a:cubicBezTo>
                    <a:pt x="83026" y="66413"/>
                    <a:pt x="82970" y="66441"/>
                    <a:pt x="82900" y="66469"/>
                  </a:cubicBezTo>
                  <a:cubicBezTo>
                    <a:pt x="78237" y="68101"/>
                    <a:pt x="69819" y="70893"/>
                    <a:pt x="63397" y="72574"/>
                  </a:cubicBezTo>
                  <a:cubicBezTo>
                    <a:pt x="63102" y="72652"/>
                    <a:pt x="62891" y="72905"/>
                    <a:pt x="62870" y="73207"/>
                  </a:cubicBezTo>
                  <a:cubicBezTo>
                    <a:pt x="61766" y="88961"/>
                    <a:pt x="60450" y="105616"/>
                    <a:pt x="59852" y="106804"/>
                  </a:cubicBezTo>
                  <a:cubicBezTo>
                    <a:pt x="58959" y="108591"/>
                    <a:pt x="58439" y="110384"/>
                    <a:pt x="56737" y="116200"/>
                  </a:cubicBezTo>
                  <a:cubicBezTo>
                    <a:pt x="56392" y="117375"/>
                    <a:pt x="55998" y="118718"/>
                    <a:pt x="55548" y="120258"/>
                  </a:cubicBezTo>
                  <a:cubicBezTo>
                    <a:pt x="54859" y="123008"/>
                    <a:pt x="54177" y="124000"/>
                    <a:pt x="53347" y="125195"/>
                  </a:cubicBezTo>
                  <a:lnTo>
                    <a:pt x="53347" y="125195"/>
                  </a:lnTo>
                  <a:cubicBezTo>
                    <a:pt x="52883" y="125878"/>
                    <a:pt x="52362" y="126623"/>
                    <a:pt x="51779" y="127798"/>
                  </a:cubicBezTo>
                  <a:cubicBezTo>
                    <a:pt x="50534" y="130294"/>
                    <a:pt x="47031" y="131181"/>
                    <a:pt x="42017" y="132454"/>
                  </a:cubicBezTo>
                  <a:lnTo>
                    <a:pt x="42017" y="132454"/>
                  </a:lnTo>
                  <a:lnTo>
                    <a:pt x="42017" y="132454"/>
                  </a:lnTo>
                  <a:lnTo>
                    <a:pt x="42017" y="132454"/>
                  </a:lnTo>
                  <a:cubicBezTo>
                    <a:pt x="40547" y="132826"/>
                    <a:pt x="38950" y="133227"/>
                    <a:pt x="37248" y="133720"/>
                  </a:cubicBezTo>
                  <a:cubicBezTo>
                    <a:pt x="33943" y="134662"/>
                    <a:pt x="30222" y="134782"/>
                    <a:pt x="26861" y="134880"/>
                  </a:cubicBezTo>
                  <a:cubicBezTo>
                    <a:pt x="22556" y="135021"/>
                    <a:pt x="18843" y="135133"/>
                    <a:pt x="17331" y="136948"/>
                  </a:cubicBezTo>
                  <a:cubicBezTo>
                    <a:pt x="14982" y="139768"/>
                    <a:pt x="13041" y="139712"/>
                    <a:pt x="10797" y="139655"/>
                  </a:cubicBezTo>
                  <a:lnTo>
                    <a:pt x="10797" y="139655"/>
                  </a:lnTo>
                  <a:cubicBezTo>
                    <a:pt x="10474" y="139648"/>
                    <a:pt x="10136" y="139641"/>
                    <a:pt x="9791" y="139641"/>
                  </a:cubicBezTo>
                  <a:lnTo>
                    <a:pt x="1127" y="139641"/>
                  </a:lnTo>
                  <a:close/>
                  <a:moveTo>
                    <a:pt x="45322" y="73967"/>
                  </a:moveTo>
                  <a:cubicBezTo>
                    <a:pt x="45350" y="74023"/>
                    <a:pt x="45378" y="74079"/>
                    <a:pt x="45414" y="74129"/>
                  </a:cubicBezTo>
                  <a:cubicBezTo>
                    <a:pt x="45378" y="74079"/>
                    <a:pt x="45350" y="74023"/>
                    <a:pt x="45322" y="73967"/>
                  </a:cubicBezTo>
                  <a:cubicBezTo>
                    <a:pt x="44978" y="73285"/>
                    <a:pt x="45020" y="72659"/>
                    <a:pt x="45055" y="71998"/>
                  </a:cubicBezTo>
                  <a:cubicBezTo>
                    <a:pt x="45097" y="71308"/>
                    <a:pt x="45139" y="70584"/>
                    <a:pt x="44753" y="69733"/>
                  </a:cubicBezTo>
                  <a:cubicBezTo>
                    <a:pt x="45139" y="70584"/>
                    <a:pt x="45097" y="71308"/>
                    <a:pt x="45055" y="71998"/>
                  </a:cubicBezTo>
                  <a:cubicBezTo>
                    <a:pt x="45020" y="72659"/>
                    <a:pt x="44978" y="73285"/>
                    <a:pt x="45322" y="73967"/>
                  </a:cubicBezTo>
                  <a:close/>
                  <a:moveTo>
                    <a:pt x="31896" y="56630"/>
                  </a:moveTo>
                  <a:lnTo>
                    <a:pt x="31889" y="56623"/>
                  </a:lnTo>
                  <a:cubicBezTo>
                    <a:pt x="30236" y="54752"/>
                    <a:pt x="28598" y="52903"/>
                    <a:pt x="27093" y="51313"/>
                  </a:cubicBezTo>
                  <a:cubicBezTo>
                    <a:pt x="28598" y="52903"/>
                    <a:pt x="30236" y="54752"/>
                    <a:pt x="31889" y="56623"/>
                  </a:cubicBezTo>
                  <a:lnTo>
                    <a:pt x="31889" y="56623"/>
                  </a:lnTo>
                  <a:cubicBezTo>
                    <a:pt x="32234" y="57010"/>
                    <a:pt x="32571" y="57390"/>
                    <a:pt x="32909" y="57770"/>
                  </a:cubicBezTo>
                  <a:cubicBezTo>
                    <a:pt x="32571" y="57390"/>
                    <a:pt x="32234" y="57010"/>
                    <a:pt x="31896" y="5663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5" name="Freihandform: Form 130">
              <a:extLst>
                <a:ext uri="{FF2B5EF4-FFF2-40B4-BE49-F238E27FC236}">
                  <a16:creationId xmlns:a16="http://schemas.microsoft.com/office/drawing/2014/main" id="{D876D976-E8F5-1242-9867-545601A3116F}"/>
                </a:ext>
              </a:extLst>
            </p:cNvPr>
            <p:cNvSpPr/>
            <p:nvPr/>
          </p:nvSpPr>
          <p:spPr>
            <a:xfrm>
              <a:off x="6098568" y="4352234"/>
              <a:ext cx="75756" cy="92546"/>
            </a:xfrm>
            <a:custGeom>
              <a:avLst/>
              <a:gdLst>
                <a:gd name="connsiteX0" fmla="*/ 15037 w 75756"/>
                <a:gd name="connsiteY0" fmla="*/ 21435 h 92546"/>
                <a:gd name="connsiteX1" fmla="*/ 16085 w 75756"/>
                <a:gd name="connsiteY1" fmla="*/ 21069 h 92546"/>
                <a:gd name="connsiteX2" fmla="*/ 16957 w 75756"/>
                <a:gd name="connsiteY2" fmla="*/ 18362 h 92546"/>
                <a:gd name="connsiteX3" fmla="*/ 16985 w 75756"/>
                <a:gd name="connsiteY3" fmla="*/ 18165 h 92546"/>
                <a:gd name="connsiteX4" fmla="*/ 16985 w 75756"/>
                <a:gd name="connsiteY4" fmla="*/ 2284 h 92546"/>
                <a:gd name="connsiteX5" fmla="*/ 17688 w 75756"/>
                <a:gd name="connsiteY5" fmla="*/ 1581 h 92546"/>
                <a:gd name="connsiteX6" fmla="*/ 27752 w 75756"/>
                <a:gd name="connsiteY6" fmla="*/ 1581 h 92546"/>
                <a:gd name="connsiteX7" fmla="*/ 45511 w 75756"/>
                <a:gd name="connsiteY7" fmla="*/ 1581 h 92546"/>
                <a:gd name="connsiteX8" fmla="*/ 53803 w 75756"/>
                <a:gd name="connsiteY8" fmla="*/ 589 h 92546"/>
                <a:gd name="connsiteX9" fmla="*/ 53803 w 75756"/>
                <a:gd name="connsiteY9" fmla="*/ 589 h 92546"/>
                <a:gd name="connsiteX10" fmla="*/ 58156 w 75756"/>
                <a:gd name="connsiteY10" fmla="*/ 5 h 92546"/>
                <a:gd name="connsiteX11" fmla="*/ 58867 w 75756"/>
                <a:gd name="connsiteY11" fmla="*/ 371 h 92546"/>
                <a:gd name="connsiteX12" fmla="*/ 63818 w 75756"/>
                <a:gd name="connsiteY12" fmla="*/ 8579 h 92546"/>
                <a:gd name="connsiteX13" fmla="*/ 66948 w 75756"/>
                <a:gd name="connsiteY13" fmla="*/ 19846 h 92546"/>
                <a:gd name="connsiteX14" fmla="*/ 66948 w 75756"/>
                <a:gd name="connsiteY14" fmla="*/ 19853 h 92546"/>
                <a:gd name="connsiteX15" fmla="*/ 67046 w 75756"/>
                <a:gd name="connsiteY15" fmla="*/ 20415 h 92546"/>
                <a:gd name="connsiteX16" fmla="*/ 67095 w 75756"/>
                <a:gd name="connsiteY16" fmla="*/ 34404 h 92546"/>
                <a:gd name="connsiteX17" fmla="*/ 67095 w 75756"/>
                <a:gd name="connsiteY17" fmla="*/ 34404 h 92546"/>
                <a:gd name="connsiteX18" fmla="*/ 67046 w 75756"/>
                <a:gd name="connsiteY18" fmla="*/ 36029 h 92546"/>
                <a:gd name="connsiteX19" fmla="*/ 68643 w 75756"/>
                <a:gd name="connsiteY19" fmla="*/ 39130 h 92546"/>
                <a:gd name="connsiteX20" fmla="*/ 68643 w 75756"/>
                <a:gd name="connsiteY20" fmla="*/ 39130 h 92546"/>
                <a:gd name="connsiteX21" fmla="*/ 70816 w 75756"/>
                <a:gd name="connsiteY21" fmla="*/ 43568 h 92546"/>
                <a:gd name="connsiteX22" fmla="*/ 71055 w 75756"/>
                <a:gd name="connsiteY22" fmla="*/ 45713 h 92546"/>
                <a:gd name="connsiteX23" fmla="*/ 70816 w 75756"/>
                <a:gd name="connsiteY23" fmla="*/ 53794 h 92546"/>
                <a:gd name="connsiteX24" fmla="*/ 67208 w 75756"/>
                <a:gd name="connsiteY24" fmla="*/ 59392 h 92546"/>
                <a:gd name="connsiteX25" fmla="*/ 67208 w 75756"/>
                <a:gd name="connsiteY25" fmla="*/ 60032 h 92546"/>
                <a:gd name="connsiteX26" fmla="*/ 73502 w 75756"/>
                <a:gd name="connsiteY26" fmla="*/ 72094 h 92546"/>
                <a:gd name="connsiteX27" fmla="*/ 75704 w 75756"/>
                <a:gd name="connsiteY27" fmla="*/ 77327 h 92546"/>
                <a:gd name="connsiteX28" fmla="*/ 74902 w 75756"/>
                <a:gd name="connsiteY28" fmla="*/ 78304 h 92546"/>
                <a:gd name="connsiteX29" fmla="*/ 67046 w 75756"/>
                <a:gd name="connsiteY29" fmla="*/ 78550 h 92546"/>
                <a:gd name="connsiteX30" fmla="*/ 59457 w 75756"/>
                <a:gd name="connsiteY30" fmla="*/ 82383 h 92546"/>
                <a:gd name="connsiteX31" fmla="*/ 59457 w 75756"/>
                <a:gd name="connsiteY31" fmla="*/ 82383 h 92546"/>
                <a:gd name="connsiteX32" fmla="*/ 55202 w 75756"/>
                <a:gd name="connsiteY32" fmla="*/ 84472 h 92546"/>
                <a:gd name="connsiteX33" fmla="*/ 32697 w 75756"/>
                <a:gd name="connsiteY33" fmla="*/ 92511 h 92546"/>
                <a:gd name="connsiteX34" fmla="*/ 32479 w 75756"/>
                <a:gd name="connsiteY34" fmla="*/ 92546 h 92546"/>
                <a:gd name="connsiteX35" fmla="*/ 13328 w 75756"/>
                <a:gd name="connsiteY35" fmla="*/ 92546 h 92546"/>
                <a:gd name="connsiteX36" fmla="*/ 13138 w 75756"/>
                <a:gd name="connsiteY36" fmla="*/ 92469 h 92546"/>
                <a:gd name="connsiteX37" fmla="*/ 13138 w 75756"/>
                <a:gd name="connsiteY37" fmla="*/ 92469 h 92546"/>
                <a:gd name="connsiteX38" fmla="*/ 13328 w 75756"/>
                <a:gd name="connsiteY38" fmla="*/ 92012 h 92546"/>
                <a:gd name="connsiteX39" fmla="*/ 17238 w 75756"/>
                <a:gd name="connsiteY39" fmla="*/ 92012 h 92546"/>
                <a:gd name="connsiteX40" fmla="*/ 17927 w 75756"/>
                <a:gd name="connsiteY40" fmla="*/ 91203 h 92546"/>
                <a:gd name="connsiteX41" fmla="*/ 15367 w 75756"/>
                <a:gd name="connsiteY41" fmla="*/ 83396 h 92546"/>
                <a:gd name="connsiteX42" fmla="*/ 11063 w 75756"/>
                <a:gd name="connsiteY42" fmla="*/ 75322 h 92546"/>
                <a:gd name="connsiteX43" fmla="*/ 11035 w 75756"/>
                <a:gd name="connsiteY43" fmla="*/ 74274 h 92546"/>
                <a:gd name="connsiteX44" fmla="*/ 11035 w 75756"/>
                <a:gd name="connsiteY44" fmla="*/ 74274 h 92546"/>
                <a:gd name="connsiteX45" fmla="*/ 12139 w 75756"/>
                <a:gd name="connsiteY45" fmla="*/ 65096 h 92546"/>
                <a:gd name="connsiteX46" fmla="*/ 18061 w 75756"/>
                <a:gd name="connsiteY46" fmla="*/ 52176 h 92546"/>
                <a:gd name="connsiteX47" fmla="*/ 20220 w 75756"/>
                <a:gd name="connsiteY47" fmla="*/ 48674 h 92546"/>
                <a:gd name="connsiteX48" fmla="*/ 20220 w 75756"/>
                <a:gd name="connsiteY48" fmla="*/ 48674 h 92546"/>
                <a:gd name="connsiteX49" fmla="*/ 22907 w 75756"/>
                <a:gd name="connsiteY49" fmla="*/ 44103 h 92546"/>
                <a:gd name="connsiteX50" fmla="*/ 20220 w 75756"/>
                <a:gd name="connsiteY50" fmla="*/ 32976 h 92546"/>
                <a:gd name="connsiteX51" fmla="*/ 20220 w 75756"/>
                <a:gd name="connsiteY51" fmla="*/ 32976 h 92546"/>
                <a:gd name="connsiteX52" fmla="*/ 20220 w 75756"/>
                <a:gd name="connsiteY52" fmla="*/ 32976 h 92546"/>
                <a:gd name="connsiteX53" fmla="*/ 20220 w 75756"/>
                <a:gd name="connsiteY53" fmla="*/ 32976 h 92546"/>
                <a:gd name="connsiteX54" fmla="*/ 20220 w 75756"/>
                <a:gd name="connsiteY54" fmla="*/ 32976 h 92546"/>
                <a:gd name="connsiteX55" fmla="*/ 18061 w 75756"/>
                <a:gd name="connsiteY55" fmla="*/ 24185 h 92546"/>
                <a:gd name="connsiteX56" fmla="*/ 11147 w 75756"/>
                <a:gd name="connsiteY56" fmla="*/ 19381 h 92546"/>
                <a:gd name="connsiteX57" fmla="*/ 10971 w 75756"/>
                <a:gd name="connsiteY57" fmla="*/ 19325 h 92546"/>
                <a:gd name="connsiteX58" fmla="*/ 0 w 75756"/>
                <a:gd name="connsiteY58" fmla="*/ 18973 h 92546"/>
                <a:gd name="connsiteX59" fmla="*/ 0 w 75756"/>
                <a:gd name="connsiteY59" fmla="*/ 18973 h 92546"/>
                <a:gd name="connsiteX60" fmla="*/ 0 w 75756"/>
                <a:gd name="connsiteY60" fmla="*/ 18973 h 92546"/>
                <a:gd name="connsiteX61" fmla="*/ 0 w 75756"/>
                <a:gd name="connsiteY61" fmla="*/ 18973 h 92546"/>
                <a:gd name="connsiteX62" fmla="*/ 10971 w 75756"/>
                <a:gd name="connsiteY62" fmla="*/ 19325 h 92546"/>
                <a:gd name="connsiteX63" fmla="*/ 11147 w 75756"/>
                <a:gd name="connsiteY63" fmla="*/ 19381 h 92546"/>
                <a:gd name="connsiteX64" fmla="*/ 15037 w 75756"/>
                <a:gd name="connsiteY64" fmla="*/ 21435 h 92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75756" h="92546">
                  <a:moveTo>
                    <a:pt x="15037" y="21435"/>
                  </a:moveTo>
                  <a:cubicBezTo>
                    <a:pt x="15423" y="21674"/>
                    <a:pt x="15937" y="21498"/>
                    <a:pt x="16085" y="21069"/>
                  </a:cubicBezTo>
                  <a:cubicBezTo>
                    <a:pt x="16436" y="20057"/>
                    <a:pt x="16732" y="19114"/>
                    <a:pt x="16957" y="18362"/>
                  </a:cubicBezTo>
                  <a:cubicBezTo>
                    <a:pt x="16971" y="18298"/>
                    <a:pt x="16985" y="18228"/>
                    <a:pt x="16985" y="18165"/>
                  </a:cubicBezTo>
                  <a:lnTo>
                    <a:pt x="16985" y="2284"/>
                  </a:lnTo>
                  <a:cubicBezTo>
                    <a:pt x="16985" y="1890"/>
                    <a:pt x="17301" y="1581"/>
                    <a:pt x="17688" y="1581"/>
                  </a:cubicBezTo>
                  <a:lnTo>
                    <a:pt x="27752" y="1581"/>
                  </a:lnTo>
                  <a:lnTo>
                    <a:pt x="45511" y="1581"/>
                  </a:lnTo>
                  <a:cubicBezTo>
                    <a:pt x="46531" y="1581"/>
                    <a:pt x="50068" y="1096"/>
                    <a:pt x="53803" y="589"/>
                  </a:cubicBezTo>
                  <a:lnTo>
                    <a:pt x="53803" y="589"/>
                  </a:lnTo>
                  <a:cubicBezTo>
                    <a:pt x="55273" y="392"/>
                    <a:pt x="56771" y="188"/>
                    <a:pt x="58156" y="5"/>
                  </a:cubicBezTo>
                  <a:cubicBezTo>
                    <a:pt x="58445" y="-30"/>
                    <a:pt x="58726" y="111"/>
                    <a:pt x="58867" y="371"/>
                  </a:cubicBezTo>
                  <a:cubicBezTo>
                    <a:pt x="60934" y="4141"/>
                    <a:pt x="63037" y="7798"/>
                    <a:pt x="63818" y="8579"/>
                  </a:cubicBezTo>
                  <a:cubicBezTo>
                    <a:pt x="65337" y="10098"/>
                    <a:pt x="66385" y="16427"/>
                    <a:pt x="66948" y="19846"/>
                  </a:cubicBezTo>
                  <a:lnTo>
                    <a:pt x="66948" y="19853"/>
                  </a:lnTo>
                  <a:cubicBezTo>
                    <a:pt x="66983" y="20050"/>
                    <a:pt x="67018" y="20239"/>
                    <a:pt x="67046" y="20415"/>
                  </a:cubicBezTo>
                  <a:cubicBezTo>
                    <a:pt x="67482" y="23025"/>
                    <a:pt x="67215" y="30909"/>
                    <a:pt x="67095" y="34404"/>
                  </a:cubicBezTo>
                  <a:lnTo>
                    <a:pt x="67095" y="34404"/>
                  </a:lnTo>
                  <a:cubicBezTo>
                    <a:pt x="67067" y="35241"/>
                    <a:pt x="67046" y="35825"/>
                    <a:pt x="67046" y="36029"/>
                  </a:cubicBezTo>
                  <a:cubicBezTo>
                    <a:pt x="67046" y="36514"/>
                    <a:pt x="67806" y="37759"/>
                    <a:pt x="68643" y="39130"/>
                  </a:cubicBezTo>
                  <a:lnTo>
                    <a:pt x="68643" y="39130"/>
                  </a:lnTo>
                  <a:cubicBezTo>
                    <a:pt x="69669" y="40811"/>
                    <a:pt x="70816" y="42675"/>
                    <a:pt x="70816" y="43568"/>
                  </a:cubicBezTo>
                  <a:cubicBezTo>
                    <a:pt x="70816" y="43983"/>
                    <a:pt x="70921" y="44764"/>
                    <a:pt x="71055" y="45713"/>
                  </a:cubicBezTo>
                  <a:cubicBezTo>
                    <a:pt x="71435" y="48442"/>
                    <a:pt x="72011" y="52599"/>
                    <a:pt x="70816" y="53794"/>
                  </a:cubicBezTo>
                  <a:cubicBezTo>
                    <a:pt x="69613" y="54997"/>
                    <a:pt x="68003" y="57845"/>
                    <a:pt x="67208" y="59392"/>
                  </a:cubicBezTo>
                  <a:cubicBezTo>
                    <a:pt x="67102" y="59596"/>
                    <a:pt x="67109" y="59829"/>
                    <a:pt x="67208" y="60032"/>
                  </a:cubicBezTo>
                  <a:cubicBezTo>
                    <a:pt x="69240" y="63901"/>
                    <a:pt x="73087" y="71257"/>
                    <a:pt x="73502" y="72094"/>
                  </a:cubicBezTo>
                  <a:cubicBezTo>
                    <a:pt x="73854" y="72790"/>
                    <a:pt x="74923" y="75407"/>
                    <a:pt x="75704" y="77327"/>
                  </a:cubicBezTo>
                  <a:cubicBezTo>
                    <a:pt x="75915" y="77854"/>
                    <a:pt x="75458" y="78403"/>
                    <a:pt x="74902" y="78304"/>
                  </a:cubicBezTo>
                  <a:cubicBezTo>
                    <a:pt x="72173" y="77833"/>
                    <a:pt x="68143" y="77453"/>
                    <a:pt x="67046" y="78550"/>
                  </a:cubicBezTo>
                  <a:cubicBezTo>
                    <a:pt x="66132" y="79465"/>
                    <a:pt x="62468" y="81068"/>
                    <a:pt x="59457" y="82383"/>
                  </a:cubicBezTo>
                  <a:lnTo>
                    <a:pt x="59457" y="82383"/>
                  </a:lnTo>
                  <a:cubicBezTo>
                    <a:pt x="57137" y="83396"/>
                    <a:pt x="55202" y="84240"/>
                    <a:pt x="55202" y="84472"/>
                  </a:cubicBezTo>
                  <a:cubicBezTo>
                    <a:pt x="55202" y="84901"/>
                    <a:pt x="40271" y="89986"/>
                    <a:pt x="32697" y="92511"/>
                  </a:cubicBezTo>
                  <a:cubicBezTo>
                    <a:pt x="32626" y="92539"/>
                    <a:pt x="32556" y="92546"/>
                    <a:pt x="32479" y="92546"/>
                  </a:cubicBezTo>
                  <a:lnTo>
                    <a:pt x="13328" y="92546"/>
                  </a:lnTo>
                  <a:cubicBezTo>
                    <a:pt x="13257" y="92546"/>
                    <a:pt x="13187" y="92518"/>
                    <a:pt x="13138" y="92469"/>
                  </a:cubicBezTo>
                  <a:lnTo>
                    <a:pt x="13138" y="92469"/>
                  </a:lnTo>
                  <a:cubicBezTo>
                    <a:pt x="12969" y="92300"/>
                    <a:pt x="13088" y="92012"/>
                    <a:pt x="13328" y="92012"/>
                  </a:cubicBezTo>
                  <a:lnTo>
                    <a:pt x="17238" y="92012"/>
                  </a:lnTo>
                  <a:cubicBezTo>
                    <a:pt x="17674" y="92012"/>
                    <a:pt x="18005" y="91632"/>
                    <a:pt x="17927" y="91203"/>
                  </a:cubicBezTo>
                  <a:cubicBezTo>
                    <a:pt x="17484" y="88678"/>
                    <a:pt x="16528" y="84557"/>
                    <a:pt x="15367" y="83396"/>
                  </a:cubicBezTo>
                  <a:cubicBezTo>
                    <a:pt x="13757" y="81786"/>
                    <a:pt x="11063" y="76940"/>
                    <a:pt x="11063" y="75322"/>
                  </a:cubicBezTo>
                  <a:cubicBezTo>
                    <a:pt x="11063" y="75069"/>
                    <a:pt x="11049" y="74710"/>
                    <a:pt x="11035" y="74274"/>
                  </a:cubicBezTo>
                  <a:lnTo>
                    <a:pt x="11035" y="74274"/>
                  </a:lnTo>
                  <a:cubicBezTo>
                    <a:pt x="10943" y="71925"/>
                    <a:pt x="10775" y="67368"/>
                    <a:pt x="12139" y="65096"/>
                  </a:cubicBezTo>
                  <a:cubicBezTo>
                    <a:pt x="13757" y="62403"/>
                    <a:pt x="18061" y="53794"/>
                    <a:pt x="18061" y="52176"/>
                  </a:cubicBezTo>
                  <a:cubicBezTo>
                    <a:pt x="18061" y="51431"/>
                    <a:pt x="19102" y="50102"/>
                    <a:pt x="20220" y="48674"/>
                  </a:cubicBezTo>
                  <a:lnTo>
                    <a:pt x="20220" y="48674"/>
                  </a:lnTo>
                  <a:cubicBezTo>
                    <a:pt x="21514" y="47028"/>
                    <a:pt x="22907" y="45256"/>
                    <a:pt x="22907" y="44103"/>
                  </a:cubicBezTo>
                  <a:cubicBezTo>
                    <a:pt x="22907" y="42949"/>
                    <a:pt x="21514" y="37780"/>
                    <a:pt x="20220" y="32976"/>
                  </a:cubicBezTo>
                  <a:lnTo>
                    <a:pt x="20220" y="32976"/>
                  </a:lnTo>
                  <a:lnTo>
                    <a:pt x="20220" y="32976"/>
                  </a:lnTo>
                  <a:lnTo>
                    <a:pt x="20220" y="32976"/>
                  </a:lnTo>
                  <a:lnTo>
                    <a:pt x="20220" y="32976"/>
                  </a:lnTo>
                  <a:cubicBezTo>
                    <a:pt x="19102" y="28813"/>
                    <a:pt x="18061" y="24937"/>
                    <a:pt x="18061" y="24185"/>
                  </a:cubicBezTo>
                  <a:cubicBezTo>
                    <a:pt x="18061" y="22912"/>
                    <a:pt x="13503" y="20478"/>
                    <a:pt x="11147" y="19381"/>
                  </a:cubicBezTo>
                  <a:cubicBezTo>
                    <a:pt x="11091" y="19353"/>
                    <a:pt x="11035" y="19339"/>
                    <a:pt x="10971" y="19325"/>
                  </a:cubicBezTo>
                  <a:cubicBezTo>
                    <a:pt x="8081" y="18854"/>
                    <a:pt x="2447" y="18228"/>
                    <a:pt x="0" y="18973"/>
                  </a:cubicBezTo>
                  <a:cubicBezTo>
                    <a:pt x="0" y="18973"/>
                    <a:pt x="0" y="18973"/>
                    <a:pt x="0" y="18973"/>
                  </a:cubicBezTo>
                  <a:lnTo>
                    <a:pt x="0" y="18973"/>
                  </a:lnTo>
                  <a:cubicBezTo>
                    <a:pt x="0" y="18973"/>
                    <a:pt x="0" y="18973"/>
                    <a:pt x="0" y="18973"/>
                  </a:cubicBezTo>
                  <a:cubicBezTo>
                    <a:pt x="2447" y="18228"/>
                    <a:pt x="8081" y="18854"/>
                    <a:pt x="10971" y="19325"/>
                  </a:cubicBezTo>
                  <a:cubicBezTo>
                    <a:pt x="11035" y="19339"/>
                    <a:pt x="11091" y="19353"/>
                    <a:pt x="11147" y="19381"/>
                  </a:cubicBezTo>
                  <a:cubicBezTo>
                    <a:pt x="12202" y="19874"/>
                    <a:pt x="13700" y="20633"/>
                    <a:pt x="15037" y="2143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6" name="Freihandform: Form 131">
              <a:extLst>
                <a:ext uri="{FF2B5EF4-FFF2-40B4-BE49-F238E27FC236}">
                  <a16:creationId xmlns:a16="http://schemas.microsoft.com/office/drawing/2014/main" id="{6D95D43C-6497-9B42-BBBB-57A8EF31F108}"/>
                </a:ext>
              </a:extLst>
            </p:cNvPr>
            <p:cNvSpPr/>
            <p:nvPr/>
          </p:nvSpPr>
          <p:spPr>
            <a:xfrm>
              <a:off x="6146231" y="4351349"/>
              <a:ext cx="41987" cy="76749"/>
            </a:xfrm>
            <a:custGeom>
              <a:avLst/>
              <a:gdLst>
                <a:gd name="connsiteX0" fmla="*/ 0 w 41987"/>
                <a:gd name="connsiteY0" fmla="*/ 2276 h 76749"/>
                <a:gd name="connsiteX1" fmla="*/ 0 w 41987"/>
                <a:gd name="connsiteY1" fmla="*/ 2276 h 76749"/>
                <a:gd name="connsiteX2" fmla="*/ 6133 w 41987"/>
                <a:gd name="connsiteY2" fmla="*/ 1475 h 76749"/>
                <a:gd name="connsiteX3" fmla="*/ 6140 w 41987"/>
                <a:gd name="connsiteY3" fmla="*/ 1475 h 76749"/>
                <a:gd name="connsiteX4" fmla="*/ 16155 w 41987"/>
                <a:gd name="connsiteY4" fmla="*/ 307 h 76749"/>
                <a:gd name="connsiteX5" fmla="*/ 25685 w 41987"/>
                <a:gd name="connsiteY5" fmla="*/ 307 h 76749"/>
                <a:gd name="connsiteX6" fmla="*/ 25980 w 41987"/>
                <a:gd name="connsiteY6" fmla="*/ 244 h 76749"/>
                <a:gd name="connsiteX7" fmla="*/ 26437 w 41987"/>
                <a:gd name="connsiteY7" fmla="*/ 33 h 76749"/>
                <a:gd name="connsiteX8" fmla="*/ 26880 w 41987"/>
                <a:gd name="connsiteY8" fmla="*/ 216 h 76749"/>
                <a:gd name="connsiteX9" fmla="*/ 26880 w 41987"/>
                <a:gd name="connsiteY9" fmla="*/ 216 h 76749"/>
                <a:gd name="connsiteX10" fmla="*/ 26894 w 41987"/>
                <a:gd name="connsiteY10" fmla="*/ 406 h 76749"/>
                <a:gd name="connsiteX11" fmla="*/ 26747 w 41987"/>
                <a:gd name="connsiteY11" fmla="*/ 968 h 76749"/>
                <a:gd name="connsiteX12" fmla="*/ 26747 w 41987"/>
                <a:gd name="connsiteY12" fmla="*/ 968 h 76749"/>
                <a:gd name="connsiteX13" fmla="*/ 26916 w 41987"/>
                <a:gd name="connsiteY13" fmla="*/ 11616 h 76749"/>
                <a:gd name="connsiteX14" fmla="*/ 34455 w 41987"/>
                <a:gd name="connsiteY14" fmla="*/ 19149 h 76749"/>
                <a:gd name="connsiteX15" fmla="*/ 37170 w 41987"/>
                <a:gd name="connsiteY15" fmla="*/ 26639 h 76749"/>
                <a:gd name="connsiteX16" fmla="*/ 37170 w 41987"/>
                <a:gd name="connsiteY16" fmla="*/ 26639 h 76749"/>
                <a:gd name="connsiteX17" fmla="*/ 37683 w 41987"/>
                <a:gd name="connsiteY17" fmla="*/ 28299 h 76749"/>
                <a:gd name="connsiteX18" fmla="*/ 38759 w 41987"/>
                <a:gd name="connsiteY18" fmla="*/ 36914 h 76749"/>
                <a:gd name="connsiteX19" fmla="*/ 38759 w 41987"/>
                <a:gd name="connsiteY19" fmla="*/ 47140 h 76749"/>
                <a:gd name="connsiteX20" fmla="*/ 38759 w 41987"/>
                <a:gd name="connsiteY20" fmla="*/ 58442 h 76749"/>
                <a:gd name="connsiteX21" fmla="*/ 38759 w 41987"/>
                <a:gd name="connsiteY21" fmla="*/ 66889 h 76749"/>
                <a:gd name="connsiteX22" fmla="*/ 38837 w 41987"/>
                <a:gd name="connsiteY22" fmla="*/ 67206 h 76749"/>
                <a:gd name="connsiteX23" fmla="*/ 41917 w 41987"/>
                <a:gd name="connsiteY23" fmla="*/ 73367 h 76749"/>
                <a:gd name="connsiteX24" fmla="*/ 41987 w 41987"/>
                <a:gd name="connsiteY24" fmla="*/ 73683 h 76749"/>
                <a:gd name="connsiteX25" fmla="*/ 41987 w 41987"/>
                <a:gd name="connsiteY25" fmla="*/ 76046 h 76749"/>
                <a:gd name="connsiteX26" fmla="*/ 41284 w 41987"/>
                <a:gd name="connsiteY26" fmla="*/ 76749 h 76749"/>
                <a:gd name="connsiteX27" fmla="*/ 27914 w 41987"/>
                <a:gd name="connsiteY27" fmla="*/ 76749 h 76749"/>
                <a:gd name="connsiteX28" fmla="*/ 27267 w 41987"/>
                <a:gd name="connsiteY28" fmla="*/ 76313 h 76749"/>
                <a:gd name="connsiteX29" fmla="*/ 25839 w 41987"/>
                <a:gd name="connsiteY29" fmla="*/ 72980 h 76749"/>
                <a:gd name="connsiteX30" fmla="*/ 19545 w 41987"/>
                <a:gd name="connsiteY30" fmla="*/ 60918 h 76749"/>
                <a:gd name="connsiteX31" fmla="*/ 19545 w 41987"/>
                <a:gd name="connsiteY31" fmla="*/ 60278 h 76749"/>
                <a:gd name="connsiteX32" fmla="*/ 23146 w 41987"/>
                <a:gd name="connsiteY32" fmla="*/ 54680 h 76749"/>
                <a:gd name="connsiteX33" fmla="*/ 23392 w 41987"/>
                <a:gd name="connsiteY33" fmla="*/ 46599 h 76749"/>
                <a:gd name="connsiteX34" fmla="*/ 23146 w 41987"/>
                <a:gd name="connsiteY34" fmla="*/ 44454 h 76749"/>
                <a:gd name="connsiteX35" fmla="*/ 20979 w 41987"/>
                <a:gd name="connsiteY35" fmla="*/ 40016 h 76749"/>
                <a:gd name="connsiteX36" fmla="*/ 20979 w 41987"/>
                <a:gd name="connsiteY36" fmla="*/ 40016 h 76749"/>
                <a:gd name="connsiteX37" fmla="*/ 20979 w 41987"/>
                <a:gd name="connsiteY37" fmla="*/ 40016 h 76749"/>
                <a:gd name="connsiteX38" fmla="*/ 19383 w 41987"/>
                <a:gd name="connsiteY38" fmla="*/ 36914 h 76749"/>
                <a:gd name="connsiteX39" fmla="*/ 19432 w 41987"/>
                <a:gd name="connsiteY39" fmla="*/ 35289 h 76749"/>
                <a:gd name="connsiteX40" fmla="*/ 19432 w 41987"/>
                <a:gd name="connsiteY40" fmla="*/ 35289 h 76749"/>
                <a:gd name="connsiteX41" fmla="*/ 19383 w 41987"/>
                <a:gd name="connsiteY41" fmla="*/ 21301 h 76749"/>
                <a:gd name="connsiteX42" fmla="*/ 19285 w 41987"/>
                <a:gd name="connsiteY42" fmla="*/ 20738 h 76749"/>
                <a:gd name="connsiteX43" fmla="*/ 19285 w 41987"/>
                <a:gd name="connsiteY43" fmla="*/ 20731 h 76749"/>
                <a:gd name="connsiteX44" fmla="*/ 16148 w 41987"/>
                <a:gd name="connsiteY44" fmla="*/ 9464 h 76749"/>
                <a:gd name="connsiteX45" fmla="*/ 11204 w 41987"/>
                <a:gd name="connsiteY45" fmla="*/ 1257 h 76749"/>
                <a:gd name="connsiteX46" fmla="*/ 10493 w 41987"/>
                <a:gd name="connsiteY46" fmla="*/ 891 h 76749"/>
                <a:gd name="connsiteX47" fmla="*/ 6140 w 41987"/>
                <a:gd name="connsiteY47" fmla="*/ 1475 h 76749"/>
                <a:gd name="connsiteX48" fmla="*/ 6140 w 41987"/>
                <a:gd name="connsiteY48" fmla="*/ 1475 h 76749"/>
                <a:gd name="connsiteX49" fmla="*/ 6133 w 41987"/>
                <a:gd name="connsiteY49" fmla="*/ 1475 h 76749"/>
                <a:gd name="connsiteX50" fmla="*/ 0 w 41987"/>
                <a:gd name="connsiteY50" fmla="*/ 2276 h 76749"/>
                <a:gd name="connsiteX51" fmla="*/ 0 w 41987"/>
                <a:gd name="connsiteY51" fmla="*/ 2276 h 76749"/>
                <a:gd name="connsiteX52" fmla="*/ 0 w 41987"/>
                <a:gd name="connsiteY52" fmla="*/ 2276 h 76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1987" h="76749">
                  <a:moveTo>
                    <a:pt x="0" y="2276"/>
                  </a:moveTo>
                  <a:cubicBezTo>
                    <a:pt x="0" y="2276"/>
                    <a:pt x="0" y="2276"/>
                    <a:pt x="0" y="2276"/>
                  </a:cubicBezTo>
                  <a:cubicBezTo>
                    <a:pt x="1611" y="2094"/>
                    <a:pt x="3833" y="1791"/>
                    <a:pt x="6133" y="1475"/>
                  </a:cubicBezTo>
                  <a:lnTo>
                    <a:pt x="6140" y="1475"/>
                  </a:lnTo>
                  <a:cubicBezTo>
                    <a:pt x="10310" y="912"/>
                    <a:pt x="14734" y="307"/>
                    <a:pt x="16155" y="307"/>
                  </a:cubicBezTo>
                  <a:lnTo>
                    <a:pt x="25685" y="307"/>
                  </a:lnTo>
                  <a:cubicBezTo>
                    <a:pt x="25790" y="307"/>
                    <a:pt x="25889" y="286"/>
                    <a:pt x="25980" y="244"/>
                  </a:cubicBezTo>
                  <a:cubicBezTo>
                    <a:pt x="26128" y="181"/>
                    <a:pt x="26275" y="103"/>
                    <a:pt x="26437" y="33"/>
                  </a:cubicBezTo>
                  <a:cubicBezTo>
                    <a:pt x="26613" y="-52"/>
                    <a:pt x="26817" y="33"/>
                    <a:pt x="26880" y="216"/>
                  </a:cubicBezTo>
                  <a:lnTo>
                    <a:pt x="26880" y="216"/>
                  </a:lnTo>
                  <a:cubicBezTo>
                    <a:pt x="26908" y="279"/>
                    <a:pt x="26908" y="342"/>
                    <a:pt x="26894" y="406"/>
                  </a:cubicBezTo>
                  <a:cubicBezTo>
                    <a:pt x="26852" y="574"/>
                    <a:pt x="26803" y="764"/>
                    <a:pt x="26747" y="968"/>
                  </a:cubicBezTo>
                  <a:lnTo>
                    <a:pt x="26747" y="968"/>
                  </a:lnTo>
                  <a:cubicBezTo>
                    <a:pt x="26043" y="3641"/>
                    <a:pt x="24461" y="9647"/>
                    <a:pt x="26916" y="11616"/>
                  </a:cubicBezTo>
                  <a:cubicBezTo>
                    <a:pt x="29609" y="13768"/>
                    <a:pt x="33379" y="17538"/>
                    <a:pt x="34455" y="19149"/>
                  </a:cubicBezTo>
                  <a:cubicBezTo>
                    <a:pt x="35285" y="20401"/>
                    <a:pt x="36438" y="24219"/>
                    <a:pt x="37170" y="26639"/>
                  </a:cubicBezTo>
                  <a:lnTo>
                    <a:pt x="37170" y="26639"/>
                  </a:lnTo>
                  <a:cubicBezTo>
                    <a:pt x="37381" y="27349"/>
                    <a:pt x="37563" y="27933"/>
                    <a:pt x="37683" y="28299"/>
                  </a:cubicBezTo>
                  <a:cubicBezTo>
                    <a:pt x="38225" y="29916"/>
                    <a:pt x="38759" y="35297"/>
                    <a:pt x="38759" y="36914"/>
                  </a:cubicBezTo>
                  <a:lnTo>
                    <a:pt x="38759" y="47140"/>
                  </a:lnTo>
                  <a:lnTo>
                    <a:pt x="38759" y="58442"/>
                  </a:lnTo>
                  <a:lnTo>
                    <a:pt x="38759" y="66889"/>
                  </a:lnTo>
                  <a:cubicBezTo>
                    <a:pt x="38759" y="67002"/>
                    <a:pt x="38787" y="67107"/>
                    <a:pt x="38837" y="67206"/>
                  </a:cubicBezTo>
                  <a:lnTo>
                    <a:pt x="41917" y="73367"/>
                  </a:lnTo>
                  <a:cubicBezTo>
                    <a:pt x="41966" y="73465"/>
                    <a:pt x="41987" y="73577"/>
                    <a:pt x="41987" y="73683"/>
                  </a:cubicBezTo>
                  <a:lnTo>
                    <a:pt x="41987" y="76046"/>
                  </a:lnTo>
                  <a:cubicBezTo>
                    <a:pt x="41987" y="76433"/>
                    <a:pt x="41678" y="76749"/>
                    <a:pt x="41284" y="76749"/>
                  </a:cubicBezTo>
                  <a:lnTo>
                    <a:pt x="27914" y="76749"/>
                  </a:lnTo>
                  <a:cubicBezTo>
                    <a:pt x="27633" y="76749"/>
                    <a:pt x="27373" y="76573"/>
                    <a:pt x="27267" y="76313"/>
                  </a:cubicBezTo>
                  <a:cubicBezTo>
                    <a:pt x="26669" y="74857"/>
                    <a:pt x="26078" y="73458"/>
                    <a:pt x="25839" y="72980"/>
                  </a:cubicBezTo>
                  <a:cubicBezTo>
                    <a:pt x="25424" y="72143"/>
                    <a:pt x="21570" y="64786"/>
                    <a:pt x="19545" y="60918"/>
                  </a:cubicBezTo>
                  <a:cubicBezTo>
                    <a:pt x="19439" y="60714"/>
                    <a:pt x="19439" y="60482"/>
                    <a:pt x="19545" y="60278"/>
                  </a:cubicBezTo>
                  <a:cubicBezTo>
                    <a:pt x="20340" y="58731"/>
                    <a:pt x="21943" y="55882"/>
                    <a:pt x="23146" y="54680"/>
                  </a:cubicBezTo>
                  <a:cubicBezTo>
                    <a:pt x="24348" y="53484"/>
                    <a:pt x="23772" y="49327"/>
                    <a:pt x="23392" y="46599"/>
                  </a:cubicBezTo>
                  <a:cubicBezTo>
                    <a:pt x="23258" y="45649"/>
                    <a:pt x="23146" y="44869"/>
                    <a:pt x="23146" y="44454"/>
                  </a:cubicBezTo>
                  <a:cubicBezTo>
                    <a:pt x="23146" y="43560"/>
                    <a:pt x="22006" y="41697"/>
                    <a:pt x="20979" y="40016"/>
                  </a:cubicBezTo>
                  <a:lnTo>
                    <a:pt x="20979" y="40016"/>
                  </a:lnTo>
                  <a:lnTo>
                    <a:pt x="20979" y="40016"/>
                  </a:lnTo>
                  <a:cubicBezTo>
                    <a:pt x="20143" y="38644"/>
                    <a:pt x="19383" y="37399"/>
                    <a:pt x="19383" y="36914"/>
                  </a:cubicBezTo>
                  <a:cubicBezTo>
                    <a:pt x="19383" y="36710"/>
                    <a:pt x="19404" y="36126"/>
                    <a:pt x="19432" y="35289"/>
                  </a:cubicBezTo>
                  <a:lnTo>
                    <a:pt x="19432" y="35289"/>
                  </a:lnTo>
                  <a:cubicBezTo>
                    <a:pt x="19545" y="31794"/>
                    <a:pt x="19819" y="23910"/>
                    <a:pt x="19383" y="21301"/>
                  </a:cubicBezTo>
                  <a:cubicBezTo>
                    <a:pt x="19348" y="21125"/>
                    <a:pt x="19320" y="20935"/>
                    <a:pt x="19285" y="20738"/>
                  </a:cubicBezTo>
                  <a:lnTo>
                    <a:pt x="19285" y="20731"/>
                  </a:lnTo>
                  <a:cubicBezTo>
                    <a:pt x="18722" y="17313"/>
                    <a:pt x="17674" y="10983"/>
                    <a:pt x="16148" y="9464"/>
                  </a:cubicBezTo>
                  <a:cubicBezTo>
                    <a:pt x="15374" y="8683"/>
                    <a:pt x="13271" y="5026"/>
                    <a:pt x="11204" y="1257"/>
                  </a:cubicBezTo>
                  <a:cubicBezTo>
                    <a:pt x="11063" y="1003"/>
                    <a:pt x="10782" y="856"/>
                    <a:pt x="10493" y="891"/>
                  </a:cubicBezTo>
                  <a:cubicBezTo>
                    <a:pt x="9108" y="1074"/>
                    <a:pt x="7610" y="1278"/>
                    <a:pt x="6140" y="1475"/>
                  </a:cubicBezTo>
                  <a:lnTo>
                    <a:pt x="6140" y="1475"/>
                  </a:lnTo>
                  <a:lnTo>
                    <a:pt x="6133" y="1475"/>
                  </a:lnTo>
                  <a:cubicBezTo>
                    <a:pt x="3833" y="1791"/>
                    <a:pt x="1611" y="2094"/>
                    <a:pt x="0" y="2276"/>
                  </a:cubicBezTo>
                  <a:cubicBezTo>
                    <a:pt x="0" y="2276"/>
                    <a:pt x="0" y="2276"/>
                    <a:pt x="0" y="2276"/>
                  </a:cubicBezTo>
                  <a:lnTo>
                    <a:pt x="0" y="227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7" name="Freihandform: Form 132">
              <a:extLst>
                <a:ext uri="{FF2B5EF4-FFF2-40B4-BE49-F238E27FC236}">
                  <a16:creationId xmlns:a16="http://schemas.microsoft.com/office/drawing/2014/main" id="{CBA8C51A-E1F2-794A-8ADF-E02A6A819534}"/>
                </a:ext>
              </a:extLst>
            </p:cNvPr>
            <p:cNvSpPr/>
            <p:nvPr/>
          </p:nvSpPr>
          <p:spPr>
            <a:xfrm>
              <a:off x="6171824" y="4331429"/>
              <a:ext cx="45461" cy="95496"/>
            </a:xfrm>
            <a:custGeom>
              <a:avLst/>
              <a:gdLst>
                <a:gd name="connsiteX0" fmla="*/ 22682 w 45461"/>
                <a:gd name="connsiteY0" fmla="*/ 0 h 95496"/>
                <a:gd name="connsiteX1" fmla="*/ 23280 w 45461"/>
                <a:gd name="connsiteY1" fmla="*/ 450 h 95496"/>
                <a:gd name="connsiteX2" fmla="*/ 39709 w 45461"/>
                <a:gd name="connsiteY2" fmla="*/ 10500 h 95496"/>
                <a:gd name="connsiteX3" fmla="*/ 41143 w 45461"/>
                <a:gd name="connsiteY3" fmla="*/ 10346 h 95496"/>
                <a:gd name="connsiteX4" fmla="*/ 41143 w 45461"/>
                <a:gd name="connsiteY4" fmla="*/ 10346 h 95496"/>
                <a:gd name="connsiteX5" fmla="*/ 42205 w 45461"/>
                <a:gd name="connsiteY5" fmla="*/ 10275 h 95496"/>
                <a:gd name="connsiteX6" fmla="*/ 45462 w 45461"/>
                <a:gd name="connsiteY6" fmla="*/ 20227 h 95496"/>
                <a:gd name="connsiteX7" fmla="*/ 43310 w 45461"/>
                <a:gd name="connsiteY7" fmla="*/ 37458 h 95496"/>
                <a:gd name="connsiteX8" fmla="*/ 36516 w 45461"/>
                <a:gd name="connsiteY8" fmla="*/ 46207 h 95496"/>
                <a:gd name="connsiteX9" fmla="*/ 33625 w 45461"/>
                <a:gd name="connsiteY9" fmla="*/ 49836 h 95496"/>
                <a:gd name="connsiteX10" fmla="*/ 29314 w 45461"/>
                <a:gd name="connsiteY10" fmla="*/ 64908 h 95496"/>
                <a:gd name="connsiteX11" fmla="*/ 30369 w 45461"/>
                <a:gd name="connsiteY11" fmla="*/ 93842 h 95496"/>
                <a:gd name="connsiteX12" fmla="*/ 29715 w 45461"/>
                <a:gd name="connsiteY12" fmla="*/ 94566 h 95496"/>
                <a:gd name="connsiteX13" fmla="*/ 17154 w 45461"/>
                <a:gd name="connsiteY13" fmla="*/ 95495 h 95496"/>
                <a:gd name="connsiteX14" fmla="*/ 16394 w 45461"/>
                <a:gd name="connsiteY14" fmla="*/ 94792 h 95496"/>
                <a:gd name="connsiteX15" fmla="*/ 16394 w 45461"/>
                <a:gd name="connsiteY15" fmla="*/ 93603 h 95496"/>
                <a:gd name="connsiteX16" fmla="*/ 16324 w 45461"/>
                <a:gd name="connsiteY16" fmla="*/ 93287 h 95496"/>
                <a:gd name="connsiteX17" fmla="*/ 13243 w 45461"/>
                <a:gd name="connsiteY17" fmla="*/ 87126 h 95496"/>
                <a:gd name="connsiteX18" fmla="*/ 13166 w 45461"/>
                <a:gd name="connsiteY18" fmla="*/ 86816 h 95496"/>
                <a:gd name="connsiteX19" fmla="*/ 13166 w 45461"/>
                <a:gd name="connsiteY19" fmla="*/ 78369 h 95496"/>
                <a:gd name="connsiteX20" fmla="*/ 13166 w 45461"/>
                <a:gd name="connsiteY20" fmla="*/ 67060 h 95496"/>
                <a:gd name="connsiteX21" fmla="*/ 13166 w 45461"/>
                <a:gd name="connsiteY21" fmla="*/ 56834 h 95496"/>
                <a:gd name="connsiteX22" fmla="*/ 12090 w 45461"/>
                <a:gd name="connsiteY22" fmla="*/ 48219 h 95496"/>
                <a:gd name="connsiteX23" fmla="*/ 11576 w 45461"/>
                <a:gd name="connsiteY23" fmla="*/ 46559 h 95496"/>
                <a:gd name="connsiteX24" fmla="*/ 11576 w 45461"/>
                <a:gd name="connsiteY24" fmla="*/ 46559 h 95496"/>
                <a:gd name="connsiteX25" fmla="*/ 11576 w 45461"/>
                <a:gd name="connsiteY25" fmla="*/ 46559 h 95496"/>
                <a:gd name="connsiteX26" fmla="*/ 8862 w 45461"/>
                <a:gd name="connsiteY26" fmla="*/ 39069 h 95496"/>
                <a:gd name="connsiteX27" fmla="*/ 1322 w 45461"/>
                <a:gd name="connsiteY27" fmla="*/ 31536 h 95496"/>
                <a:gd name="connsiteX28" fmla="*/ 1154 w 45461"/>
                <a:gd name="connsiteY28" fmla="*/ 20895 h 95496"/>
                <a:gd name="connsiteX29" fmla="*/ 1154 w 45461"/>
                <a:gd name="connsiteY29" fmla="*/ 20895 h 95496"/>
                <a:gd name="connsiteX30" fmla="*/ 1154 w 45461"/>
                <a:gd name="connsiteY30" fmla="*/ 20888 h 95496"/>
                <a:gd name="connsiteX31" fmla="*/ 1154 w 45461"/>
                <a:gd name="connsiteY31" fmla="*/ 20888 h 95496"/>
                <a:gd name="connsiteX32" fmla="*/ 1301 w 45461"/>
                <a:gd name="connsiteY32" fmla="*/ 20326 h 95496"/>
                <a:gd name="connsiteX33" fmla="*/ 1287 w 45461"/>
                <a:gd name="connsiteY33" fmla="*/ 20136 h 95496"/>
                <a:gd name="connsiteX34" fmla="*/ 858 w 45461"/>
                <a:gd name="connsiteY34" fmla="*/ 19946 h 95496"/>
                <a:gd name="connsiteX35" fmla="*/ 9938 w 45461"/>
                <a:gd name="connsiteY35" fmla="*/ 15388 h 95496"/>
                <a:gd name="connsiteX36" fmla="*/ 11555 w 45461"/>
                <a:gd name="connsiteY36" fmla="*/ 14193 h 95496"/>
                <a:gd name="connsiteX37" fmla="*/ 14784 w 45461"/>
                <a:gd name="connsiteY37" fmla="*/ 12153 h 95496"/>
                <a:gd name="connsiteX38" fmla="*/ 20748 w 45461"/>
                <a:gd name="connsiteY38" fmla="*/ 5992 h 95496"/>
                <a:gd name="connsiteX39" fmla="*/ 22316 w 45461"/>
                <a:gd name="connsiteY39" fmla="*/ 4079 h 95496"/>
                <a:gd name="connsiteX40" fmla="*/ 22682 w 45461"/>
                <a:gd name="connsiteY40" fmla="*/ 0 h 95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5461" h="95496">
                  <a:moveTo>
                    <a:pt x="22682" y="0"/>
                  </a:moveTo>
                  <a:cubicBezTo>
                    <a:pt x="22787" y="246"/>
                    <a:pt x="23019" y="415"/>
                    <a:pt x="23280" y="450"/>
                  </a:cubicBezTo>
                  <a:cubicBezTo>
                    <a:pt x="31853" y="1484"/>
                    <a:pt x="37247" y="6597"/>
                    <a:pt x="39709" y="10500"/>
                  </a:cubicBezTo>
                  <a:cubicBezTo>
                    <a:pt x="40060" y="11056"/>
                    <a:pt x="40961" y="10972"/>
                    <a:pt x="41143" y="10346"/>
                  </a:cubicBezTo>
                  <a:lnTo>
                    <a:pt x="41143" y="10346"/>
                  </a:lnTo>
                  <a:cubicBezTo>
                    <a:pt x="41291" y="9832"/>
                    <a:pt x="41994" y="9783"/>
                    <a:pt x="42205" y="10275"/>
                  </a:cubicBezTo>
                  <a:cubicBezTo>
                    <a:pt x="43971" y="14340"/>
                    <a:pt x="45462" y="18490"/>
                    <a:pt x="45462" y="20227"/>
                  </a:cubicBezTo>
                  <a:cubicBezTo>
                    <a:pt x="45462" y="23997"/>
                    <a:pt x="45462" y="34223"/>
                    <a:pt x="43310" y="37458"/>
                  </a:cubicBezTo>
                  <a:cubicBezTo>
                    <a:pt x="41903" y="39568"/>
                    <a:pt x="38886" y="43288"/>
                    <a:pt x="36516" y="46207"/>
                  </a:cubicBezTo>
                  <a:cubicBezTo>
                    <a:pt x="35257" y="47761"/>
                    <a:pt x="34181" y="49091"/>
                    <a:pt x="33625" y="49836"/>
                  </a:cubicBezTo>
                  <a:cubicBezTo>
                    <a:pt x="32008" y="51988"/>
                    <a:pt x="29314" y="62756"/>
                    <a:pt x="29314" y="64908"/>
                  </a:cubicBezTo>
                  <a:cubicBezTo>
                    <a:pt x="29314" y="66589"/>
                    <a:pt x="30003" y="84474"/>
                    <a:pt x="30369" y="93842"/>
                  </a:cubicBezTo>
                  <a:cubicBezTo>
                    <a:pt x="30383" y="94222"/>
                    <a:pt x="30095" y="94538"/>
                    <a:pt x="29715" y="94566"/>
                  </a:cubicBezTo>
                  <a:lnTo>
                    <a:pt x="17154" y="95495"/>
                  </a:lnTo>
                  <a:cubicBezTo>
                    <a:pt x="16746" y="95523"/>
                    <a:pt x="16394" y="95199"/>
                    <a:pt x="16394" y="94792"/>
                  </a:cubicBezTo>
                  <a:lnTo>
                    <a:pt x="16394" y="93603"/>
                  </a:lnTo>
                  <a:cubicBezTo>
                    <a:pt x="16394" y="93497"/>
                    <a:pt x="16373" y="93385"/>
                    <a:pt x="16324" y="93287"/>
                  </a:cubicBezTo>
                  <a:lnTo>
                    <a:pt x="13243" y="87126"/>
                  </a:lnTo>
                  <a:cubicBezTo>
                    <a:pt x="13194" y="87027"/>
                    <a:pt x="13166" y="86922"/>
                    <a:pt x="13166" y="86816"/>
                  </a:cubicBezTo>
                  <a:lnTo>
                    <a:pt x="13166" y="78369"/>
                  </a:lnTo>
                  <a:lnTo>
                    <a:pt x="13166" y="67060"/>
                  </a:lnTo>
                  <a:lnTo>
                    <a:pt x="13166" y="56834"/>
                  </a:lnTo>
                  <a:cubicBezTo>
                    <a:pt x="13166" y="55217"/>
                    <a:pt x="12631" y="49836"/>
                    <a:pt x="12090" y="48219"/>
                  </a:cubicBezTo>
                  <a:cubicBezTo>
                    <a:pt x="11970" y="47853"/>
                    <a:pt x="11787" y="47269"/>
                    <a:pt x="11576" y="46559"/>
                  </a:cubicBezTo>
                  <a:lnTo>
                    <a:pt x="11576" y="46559"/>
                  </a:lnTo>
                  <a:lnTo>
                    <a:pt x="11576" y="46559"/>
                  </a:lnTo>
                  <a:cubicBezTo>
                    <a:pt x="10845" y="44139"/>
                    <a:pt x="9692" y="40321"/>
                    <a:pt x="8862" y="39069"/>
                  </a:cubicBezTo>
                  <a:cubicBezTo>
                    <a:pt x="7786" y="37458"/>
                    <a:pt x="4016" y="33688"/>
                    <a:pt x="1322" y="31536"/>
                  </a:cubicBezTo>
                  <a:cubicBezTo>
                    <a:pt x="-1132" y="29567"/>
                    <a:pt x="450" y="23561"/>
                    <a:pt x="1154" y="20895"/>
                  </a:cubicBezTo>
                  <a:lnTo>
                    <a:pt x="1154" y="20895"/>
                  </a:lnTo>
                  <a:lnTo>
                    <a:pt x="1154" y="20888"/>
                  </a:lnTo>
                  <a:lnTo>
                    <a:pt x="1154" y="20888"/>
                  </a:lnTo>
                  <a:cubicBezTo>
                    <a:pt x="1210" y="20684"/>
                    <a:pt x="1259" y="20494"/>
                    <a:pt x="1301" y="20326"/>
                  </a:cubicBezTo>
                  <a:cubicBezTo>
                    <a:pt x="1315" y="20262"/>
                    <a:pt x="1315" y="20199"/>
                    <a:pt x="1287" y="20136"/>
                  </a:cubicBezTo>
                  <a:cubicBezTo>
                    <a:pt x="1224" y="19960"/>
                    <a:pt x="1027" y="19875"/>
                    <a:pt x="858" y="19946"/>
                  </a:cubicBezTo>
                  <a:cubicBezTo>
                    <a:pt x="3721" y="18602"/>
                    <a:pt x="8735" y="16190"/>
                    <a:pt x="9938" y="15388"/>
                  </a:cubicBezTo>
                  <a:cubicBezTo>
                    <a:pt x="10479" y="15030"/>
                    <a:pt x="11014" y="14608"/>
                    <a:pt x="11555" y="14193"/>
                  </a:cubicBezTo>
                  <a:cubicBezTo>
                    <a:pt x="12631" y="13356"/>
                    <a:pt x="13707" y="12512"/>
                    <a:pt x="14784" y="12153"/>
                  </a:cubicBezTo>
                  <a:cubicBezTo>
                    <a:pt x="16092" y="11717"/>
                    <a:pt x="18462" y="8805"/>
                    <a:pt x="20748" y="5992"/>
                  </a:cubicBezTo>
                  <a:cubicBezTo>
                    <a:pt x="21282" y="5338"/>
                    <a:pt x="21810" y="4691"/>
                    <a:pt x="22316" y="4079"/>
                  </a:cubicBezTo>
                  <a:cubicBezTo>
                    <a:pt x="23399" y="2785"/>
                    <a:pt x="23265" y="1400"/>
                    <a:pt x="22682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8" name="Freihandform: Form 133">
              <a:extLst>
                <a:ext uri="{FF2B5EF4-FFF2-40B4-BE49-F238E27FC236}">
                  <a16:creationId xmlns:a16="http://schemas.microsoft.com/office/drawing/2014/main" id="{D8E91311-C8B4-064D-9452-82E721196140}"/>
                </a:ext>
              </a:extLst>
            </p:cNvPr>
            <p:cNvSpPr/>
            <p:nvPr/>
          </p:nvSpPr>
          <p:spPr>
            <a:xfrm>
              <a:off x="6202355" y="4305727"/>
              <a:ext cx="171465" cy="36571"/>
            </a:xfrm>
            <a:custGeom>
              <a:avLst/>
              <a:gdLst>
                <a:gd name="connsiteX0" fmla="*/ 0 w 171465"/>
                <a:gd name="connsiteY0" fmla="*/ 28220 h 36571"/>
                <a:gd name="connsiteX1" fmla="*/ 0 w 171465"/>
                <a:gd name="connsiteY1" fmla="*/ 28220 h 36571"/>
                <a:gd name="connsiteX2" fmla="*/ 0 w 171465"/>
                <a:gd name="connsiteY2" fmla="*/ 28220 h 36571"/>
                <a:gd name="connsiteX3" fmla="*/ 0 w 171465"/>
                <a:gd name="connsiteY3" fmla="*/ 28220 h 36571"/>
                <a:gd name="connsiteX4" fmla="*/ 5162 w 171465"/>
                <a:gd name="connsiteY4" fmla="*/ 31582 h 36571"/>
                <a:gd name="connsiteX5" fmla="*/ 0 w 171465"/>
                <a:gd name="connsiteY5" fmla="*/ 28220 h 36571"/>
                <a:gd name="connsiteX6" fmla="*/ 9178 w 171465"/>
                <a:gd name="connsiteY6" fmla="*/ 36202 h 36571"/>
                <a:gd name="connsiteX7" fmla="*/ 9178 w 171465"/>
                <a:gd name="connsiteY7" fmla="*/ 36202 h 36571"/>
                <a:gd name="connsiteX8" fmla="*/ 9178 w 171465"/>
                <a:gd name="connsiteY8" fmla="*/ 36202 h 36571"/>
                <a:gd name="connsiteX9" fmla="*/ 9220 w 171465"/>
                <a:gd name="connsiteY9" fmla="*/ 36266 h 36571"/>
                <a:gd name="connsiteX10" fmla="*/ 10613 w 171465"/>
                <a:gd name="connsiteY10" fmla="*/ 36048 h 36571"/>
                <a:gd name="connsiteX11" fmla="*/ 14397 w 171465"/>
                <a:gd name="connsiteY11" fmla="*/ 23860 h 36571"/>
                <a:gd name="connsiteX12" fmla="*/ 25164 w 171465"/>
                <a:gd name="connsiteY12" fmla="*/ 2873 h 36571"/>
                <a:gd name="connsiteX13" fmla="*/ 31508 w 171465"/>
                <a:gd name="connsiteY13" fmla="*/ 1051 h 36571"/>
                <a:gd name="connsiteX14" fmla="*/ 37001 w 171465"/>
                <a:gd name="connsiteY14" fmla="*/ 2873 h 36571"/>
                <a:gd name="connsiteX15" fmla="*/ 50350 w 171465"/>
                <a:gd name="connsiteY15" fmla="*/ 9231 h 36571"/>
                <a:gd name="connsiteX16" fmla="*/ 50603 w 171465"/>
                <a:gd name="connsiteY16" fmla="*/ 9378 h 36571"/>
                <a:gd name="connsiteX17" fmla="*/ 58374 w 171465"/>
                <a:gd name="connsiteY17" fmla="*/ 11967 h 36571"/>
                <a:gd name="connsiteX18" fmla="*/ 58705 w 171465"/>
                <a:gd name="connsiteY18" fmla="*/ 11995 h 36571"/>
                <a:gd name="connsiteX19" fmla="*/ 75071 w 171465"/>
                <a:gd name="connsiteY19" fmla="*/ 9357 h 36571"/>
                <a:gd name="connsiteX20" fmla="*/ 75366 w 171465"/>
                <a:gd name="connsiteY20" fmla="*/ 9371 h 36571"/>
                <a:gd name="connsiteX21" fmla="*/ 99447 w 171465"/>
                <a:gd name="connsiteY21" fmla="*/ 14710 h 36571"/>
                <a:gd name="connsiteX22" fmla="*/ 113443 w 171465"/>
                <a:gd name="connsiteY22" fmla="*/ 12023 h 36571"/>
                <a:gd name="connsiteX23" fmla="*/ 116805 w 171465"/>
                <a:gd name="connsiteY23" fmla="*/ 10673 h 36571"/>
                <a:gd name="connsiteX24" fmla="*/ 119365 w 171465"/>
                <a:gd name="connsiteY24" fmla="*/ 9329 h 36571"/>
                <a:gd name="connsiteX25" fmla="*/ 126025 w 171465"/>
                <a:gd name="connsiteY25" fmla="*/ 8830 h 36571"/>
                <a:gd name="connsiteX26" fmla="*/ 128515 w 171465"/>
                <a:gd name="connsiteY26" fmla="*/ 9329 h 36571"/>
                <a:gd name="connsiteX27" fmla="*/ 138024 w 171465"/>
                <a:gd name="connsiteY27" fmla="*/ 14583 h 36571"/>
                <a:gd name="connsiteX28" fmla="*/ 138425 w 171465"/>
                <a:gd name="connsiteY28" fmla="*/ 14710 h 36571"/>
                <a:gd name="connsiteX29" fmla="*/ 154354 w 171465"/>
                <a:gd name="connsiteY29" fmla="*/ 14710 h 36571"/>
                <a:gd name="connsiteX30" fmla="*/ 159496 w 171465"/>
                <a:gd name="connsiteY30" fmla="*/ 10511 h 36571"/>
                <a:gd name="connsiteX31" fmla="*/ 160874 w 171465"/>
                <a:gd name="connsiteY31" fmla="*/ 10609 h 36571"/>
                <a:gd name="connsiteX32" fmla="*/ 165656 w 171465"/>
                <a:gd name="connsiteY32" fmla="*/ 14710 h 36571"/>
                <a:gd name="connsiteX33" fmla="*/ 167330 w 171465"/>
                <a:gd name="connsiteY33" fmla="*/ 17248 h 36571"/>
                <a:gd name="connsiteX34" fmla="*/ 169426 w 171465"/>
                <a:gd name="connsiteY34" fmla="*/ 20097 h 36571"/>
                <a:gd name="connsiteX35" fmla="*/ 171466 w 171465"/>
                <a:gd name="connsiteY35" fmla="*/ 21173 h 36571"/>
                <a:gd name="connsiteX36" fmla="*/ 171466 w 171465"/>
                <a:gd name="connsiteY36" fmla="*/ 21173 h 3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71465" h="36571">
                  <a:moveTo>
                    <a:pt x="0" y="28220"/>
                  </a:moveTo>
                  <a:cubicBezTo>
                    <a:pt x="0" y="28220"/>
                    <a:pt x="0" y="28220"/>
                    <a:pt x="0" y="28220"/>
                  </a:cubicBezTo>
                  <a:lnTo>
                    <a:pt x="0" y="28220"/>
                  </a:lnTo>
                  <a:cubicBezTo>
                    <a:pt x="0" y="28220"/>
                    <a:pt x="0" y="28220"/>
                    <a:pt x="0" y="28220"/>
                  </a:cubicBezTo>
                  <a:cubicBezTo>
                    <a:pt x="2004" y="29162"/>
                    <a:pt x="3720" y="30337"/>
                    <a:pt x="5162" y="31582"/>
                  </a:cubicBezTo>
                  <a:cubicBezTo>
                    <a:pt x="3720" y="30337"/>
                    <a:pt x="2004" y="29162"/>
                    <a:pt x="0" y="28220"/>
                  </a:cubicBezTo>
                  <a:close/>
                  <a:moveTo>
                    <a:pt x="9178" y="36202"/>
                  </a:moveTo>
                  <a:cubicBezTo>
                    <a:pt x="9178" y="36202"/>
                    <a:pt x="9178" y="36202"/>
                    <a:pt x="9178" y="36202"/>
                  </a:cubicBezTo>
                  <a:lnTo>
                    <a:pt x="9178" y="36202"/>
                  </a:lnTo>
                  <a:cubicBezTo>
                    <a:pt x="9192" y="36224"/>
                    <a:pt x="9206" y="36245"/>
                    <a:pt x="9220" y="36266"/>
                  </a:cubicBezTo>
                  <a:cubicBezTo>
                    <a:pt x="9593" y="36751"/>
                    <a:pt x="10437" y="36646"/>
                    <a:pt x="10613" y="36048"/>
                  </a:cubicBezTo>
                  <a:cubicBezTo>
                    <a:pt x="11801" y="31940"/>
                    <a:pt x="13658" y="25716"/>
                    <a:pt x="14397" y="23860"/>
                  </a:cubicBezTo>
                  <a:cubicBezTo>
                    <a:pt x="15473" y="21173"/>
                    <a:pt x="20318" y="9329"/>
                    <a:pt x="25164" y="2873"/>
                  </a:cubicBezTo>
                  <a:cubicBezTo>
                    <a:pt x="28097" y="-1045"/>
                    <a:pt x="29455" y="-215"/>
                    <a:pt x="31508" y="1051"/>
                  </a:cubicBezTo>
                  <a:cubicBezTo>
                    <a:pt x="32837" y="1867"/>
                    <a:pt x="34462" y="2873"/>
                    <a:pt x="37001" y="2873"/>
                  </a:cubicBezTo>
                  <a:cubicBezTo>
                    <a:pt x="42093" y="2873"/>
                    <a:pt x="47944" y="7043"/>
                    <a:pt x="50350" y="9231"/>
                  </a:cubicBezTo>
                  <a:cubicBezTo>
                    <a:pt x="50427" y="9294"/>
                    <a:pt x="50511" y="9343"/>
                    <a:pt x="50603" y="9378"/>
                  </a:cubicBezTo>
                  <a:lnTo>
                    <a:pt x="58374" y="11967"/>
                  </a:lnTo>
                  <a:cubicBezTo>
                    <a:pt x="58480" y="12002"/>
                    <a:pt x="58592" y="12009"/>
                    <a:pt x="58705" y="11995"/>
                  </a:cubicBezTo>
                  <a:lnTo>
                    <a:pt x="75071" y="9357"/>
                  </a:lnTo>
                  <a:cubicBezTo>
                    <a:pt x="75169" y="9336"/>
                    <a:pt x="75268" y="9343"/>
                    <a:pt x="75366" y="9371"/>
                  </a:cubicBezTo>
                  <a:cubicBezTo>
                    <a:pt x="81710" y="11179"/>
                    <a:pt x="95171" y="14710"/>
                    <a:pt x="99447" y="14710"/>
                  </a:cubicBezTo>
                  <a:cubicBezTo>
                    <a:pt x="104828" y="14710"/>
                    <a:pt x="110208" y="14710"/>
                    <a:pt x="113443" y="12023"/>
                  </a:cubicBezTo>
                  <a:cubicBezTo>
                    <a:pt x="115054" y="10673"/>
                    <a:pt x="115996" y="10673"/>
                    <a:pt x="116805" y="10673"/>
                  </a:cubicBezTo>
                  <a:cubicBezTo>
                    <a:pt x="117614" y="10673"/>
                    <a:pt x="118289" y="10673"/>
                    <a:pt x="119365" y="9329"/>
                  </a:cubicBezTo>
                  <a:cubicBezTo>
                    <a:pt x="120877" y="7437"/>
                    <a:pt x="123725" y="8204"/>
                    <a:pt x="126025" y="8830"/>
                  </a:cubicBezTo>
                  <a:cubicBezTo>
                    <a:pt x="126996" y="9090"/>
                    <a:pt x="127875" y="9329"/>
                    <a:pt x="128515" y="9329"/>
                  </a:cubicBezTo>
                  <a:cubicBezTo>
                    <a:pt x="130196" y="9329"/>
                    <a:pt x="135436" y="12747"/>
                    <a:pt x="138024" y="14583"/>
                  </a:cubicBezTo>
                  <a:cubicBezTo>
                    <a:pt x="138143" y="14667"/>
                    <a:pt x="138284" y="14710"/>
                    <a:pt x="138425" y="14710"/>
                  </a:cubicBezTo>
                  <a:lnTo>
                    <a:pt x="154354" y="14710"/>
                  </a:lnTo>
                  <a:cubicBezTo>
                    <a:pt x="156091" y="14710"/>
                    <a:pt x="158187" y="12360"/>
                    <a:pt x="159496" y="10511"/>
                  </a:cubicBezTo>
                  <a:cubicBezTo>
                    <a:pt x="159833" y="10039"/>
                    <a:pt x="160600" y="10096"/>
                    <a:pt x="160874" y="10609"/>
                  </a:cubicBezTo>
                  <a:cubicBezTo>
                    <a:pt x="161866" y="12445"/>
                    <a:pt x="163603" y="14710"/>
                    <a:pt x="165656" y="14710"/>
                  </a:cubicBezTo>
                  <a:cubicBezTo>
                    <a:pt x="167211" y="14710"/>
                    <a:pt x="167267" y="15954"/>
                    <a:pt x="167330" y="17248"/>
                  </a:cubicBezTo>
                  <a:cubicBezTo>
                    <a:pt x="167401" y="18641"/>
                    <a:pt x="167464" y="20097"/>
                    <a:pt x="169426" y="20097"/>
                  </a:cubicBezTo>
                  <a:cubicBezTo>
                    <a:pt x="170376" y="20097"/>
                    <a:pt x="171030" y="20519"/>
                    <a:pt x="171466" y="21173"/>
                  </a:cubicBezTo>
                  <a:lnTo>
                    <a:pt x="171466" y="21173"/>
                  </a:lnTo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9" name="Freihandform: Form 134">
              <a:extLst>
                <a:ext uri="{FF2B5EF4-FFF2-40B4-BE49-F238E27FC236}">
                  <a16:creationId xmlns:a16="http://schemas.microsoft.com/office/drawing/2014/main" id="{695F732C-CD92-5445-98AC-DED0574CD97B}"/>
                </a:ext>
              </a:extLst>
            </p:cNvPr>
            <p:cNvSpPr/>
            <p:nvPr/>
          </p:nvSpPr>
          <p:spPr>
            <a:xfrm>
              <a:off x="6302710" y="3984245"/>
              <a:ext cx="241325" cy="231839"/>
            </a:xfrm>
            <a:custGeom>
              <a:avLst/>
              <a:gdLst>
                <a:gd name="connsiteX0" fmla="*/ 3720 w 241325"/>
                <a:gd name="connsiteY0" fmla="*/ 47492 h 231839"/>
                <a:gd name="connsiteX1" fmla="*/ 3390 w 241325"/>
                <a:gd name="connsiteY1" fmla="*/ 48153 h 231839"/>
                <a:gd name="connsiteX2" fmla="*/ 5014 w 241325"/>
                <a:gd name="connsiteY2" fmla="*/ 57563 h 231839"/>
                <a:gd name="connsiteX3" fmla="*/ 6625 w 241325"/>
                <a:gd name="connsiteY3" fmla="*/ 70630 h 231839"/>
                <a:gd name="connsiteX4" fmla="*/ 6625 w 241325"/>
                <a:gd name="connsiteY4" fmla="*/ 98249 h 231839"/>
                <a:gd name="connsiteX5" fmla="*/ 6569 w 241325"/>
                <a:gd name="connsiteY5" fmla="*/ 98523 h 231839"/>
                <a:gd name="connsiteX6" fmla="*/ 3397 w 241325"/>
                <a:gd name="connsiteY6" fmla="*/ 104382 h 231839"/>
                <a:gd name="connsiteX7" fmla="*/ 4205 w 241325"/>
                <a:gd name="connsiteY7" fmla="*/ 112653 h 231839"/>
                <a:gd name="connsiteX8" fmla="*/ 5014 w 241325"/>
                <a:gd name="connsiteY8" fmla="*/ 116352 h 231839"/>
                <a:gd name="connsiteX9" fmla="*/ 2243 w 241325"/>
                <a:gd name="connsiteY9" fmla="*/ 121100 h 231839"/>
                <a:gd name="connsiteX10" fmla="*/ 169 w 241325"/>
                <a:gd name="connsiteY10" fmla="*/ 123976 h 231839"/>
                <a:gd name="connsiteX11" fmla="*/ 6625 w 241325"/>
                <a:gd name="connsiteY11" fmla="*/ 133773 h 231839"/>
                <a:gd name="connsiteX12" fmla="*/ 9122 w 241325"/>
                <a:gd name="connsiteY12" fmla="*/ 138619 h 231839"/>
                <a:gd name="connsiteX13" fmla="*/ 9318 w 241325"/>
                <a:gd name="connsiteY13" fmla="*/ 140307 h 231839"/>
                <a:gd name="connsiteX14" fmla="*/ 14164 w 241325"/>
                <a:gd name="connsiteY14" fmla="*/ 150653 h 231839"/>
                <a:gd name="connsiteX15" fmla="*/ 21767 w 241325"/>
                <a:gd name="connsiteY15" fmla="*/ 152059 h 231839"/>
                <a:gd name="connsiteX16" fmla="*/ 29236 w 241325"/>
                <a:gd name="connsiteY16" fmla="*/ 152826 h 231839"/>
                <a:gd name="connsiteX17" fmla="*/ 35721 w 241325"/>
                <a:gd name="connsiteY17" fmla="*/ 159570 h 231839"/>
                <a:gd name="connsiteX18" fmla="*/ 36775 w 241325"/>
                <a:gd name="connsiteY18" fmla="*/ 162081 h 231839"/>
                <a:gd name="connsiteX19" fmla="*/ 41938 w 241325"/>
                <a:gd name="connsiteY19" fmla="*/ 167905 h 231839"/>
                <a:gd name="connsiteX20" fmla="*/ 43232 w 241325"/>
                <a:gd name="connsiteY20" fmla="*/ 169157 h 231839"/>
                <a:gd name="connsiteX21" fmla="*/ 51496 w 241325"/>
                <a:gd name="connsiteY21" fmla="*/ 171175 h 231839"/>
                <a:gd name="connsiteX22" fmla="*/ 59921 w 241325"/>
                <a:gd name="connsiteY22" fmla="*/ 172968 h 231839"/>
                <a:gd name="connsiteX23" fmla="*/ 74620 w 241325"/>
                <a:gd name="connsiteY23" fmla="*/ 184081 h 231839"/>
                <a:gd name="connsiteX24" fmla="*/ 75422 w 241325"/>
                <a:gd name="connsiteY24" fmla="*/ 184158 h 231839"/>
                <a:gd name="connsiteX25" fmla="*/ 102113 w 241325"/>
                <a:gd name="connsiteY25" fmla="*/ 169346 h 231839"/>
                <a:gd name="connsiteX26" fmla="*/ 102781 w 241325"/>
                <a:gd name="connsiteY26" fmla="*/ 169339 h 231839"/>
                <a:gd name="connsiteX27" fmla="*/ 220374 w 241325"/>
                <a:gd name="connsiteY27" fmla="*/ 231758 h 231839"/>
                <a:gd name="connsiteX28" fmla="*/ 221407 w 241325"/>
                <a:gd name="connsiteY28" fmla="*/ 231132 h 231839"/>
                <a:gd name="connsiteX29" fmla="*/ 221407 w 241325"/>
                <a:gd name="connsiteY29" fmla="*/ 224844 h 231839"/>
                <a:gd name="connsiteX30" fmla="*/ 222111 w 241325"/>
                <a:gd name="connsiteY30" fmla="*/ 224141 h 231839"/>
                <a:gd name="connsiteX31" fmla="*/ 237928 w 241325"/>
                <a:gd name="connsiteY31" fmla="*/ 224141 h 231839"/>
                <a:gd name="connsiteX32" fmla="*/ 238631 w 241325"/>
                <a:gd name="connsiteY32" fmla="*/ 223438 h 231839"/>
                <a:gd name="connsiteX33" fmla="*/ 238631 w 241325"/>
                <a:gd name="connsiteY33" fmla="*/ 68056 h 231839"/>
                <a:gd name="connsiteX34" fmla="*/ 238575 w 241325"/>
                <a:gd name="connsiteY34" fmla="*/ 67775 h 231839"/>
                <a:gd name="connsiteX35" fmla="*/ 236479 w 241325"/>
                <a:gd name="connsiteY35" fmla="*/ 60833 h 231839"/>
                <a:gd name="connsiteX36" fmla="*/ 236479 w 241325"/>
                <a:gd name="connsiteY36" fmla="*/ 47224 h 231839"/>
                <a:gd name="connsiteX37" fmla="*/ 238631 w 241325"/>
                <a:gd name="connsiteY37" fmla="*/ 34157 h 231839"/>
                <a:gd name="connsiteX38" fmla="*/ 241325 w 241325"/>
                <a:gd name="connsiteY38" fmla="*/ 23270 h 231839"/>
                <a:gd name="connsiteX39" fmla="*/ 230016 w 241325"/>
                <a:gd name="connsiteY39" fmla="*/ 18368 h 231839"/>
                <a:gd name="connsiteX40" fmla="*/ 222737 w 241325"/>
                <a:gd name="connsiteY40" fmla="*/ 16272 h 231839"/>
                <a:gd name="connsiteX41" fmla="*/ 219255 w 241325"/>
                <a:gd name="connsiteY41" fmla="*/ 15105 h 231839"/>
                <a:gd name="connsiteX42" fmla="*/ 207412 w 241325"/>
                <a:gd name="connsiteY42" fmla="*/ 5308 h 231839"/>
                <a:gd name="connsiteX43" fmla="*/ 190609 w 241325"/>
                <a:gd name="connsiteY43" fmla="*/ 3106 h 231839"/>
                <a:gd name="connsiteX44" fmla="*/ 186418 w 241325"/>
                <a:gd name="connsiteY44" fmla="*/ 3127 h 231839"/>
                <a:gd name="connsiteX45" fmla="*/ 170270 w 241325"/>
                <a:gd name="connsiteY45" fmla="*/ 9661 h 231839"/>
                <a:gd name="connsiteX46" fmla="*/ 163807 w 241325"/>
                <a:gd name="connsiteY46" fmla="*/ 28713 h 231839"/>
                <a:gd name="connsiteX47" fmla="*/ 163807 w 241325"/>
                <a:gd name="connsiteY47" fmla="*/ 41232 h 231839"/>
                <a:gd name="connsiteX48" fmla="*/ 151428 w 241325"/>
                <a:gd name="connsiteY48" fmla="*/ 50488 h 231839"/>
                <a:gd name="connsiteX49" fmla="*/ 137974 w 241325"/>
                <a:gd name="connsiteY49" fmla="*/ 43413 h 231839"/>
                <a:gd name="connsiteX50" fmla="*/ 118591 w 241325"/>
                <a:gd name="connsiteY50" fmla="*/ 34157 h 231839"/>
                <a:gd name="connsiteX51" fmla="*/ 107613 w 241325"/>
                <a:gd name="connsiteY51" fmla="*/ 32448 h 231839"/>
                <a:gd name="connsiteX52" fmla="*/ 99749 w 241325"/>
                <a:gd name="connsiteY52" fmla="*/ 31435 h 231839"/>
                <a:gd name="connsiteX53" fmla="*/ 93293 w 241325"/>
                <a:gd name="connsiteY53" fmla="*/ 18368 h 231839"/>
                <a:gd name="connsiteX54" fmla="*/ 75528 w 241325"/>
                <a:gd name="connsiteY54" fmla="*/ 5308 h 231839"/>
                <a:gd name="connsiteX55" fmla="*/ 61427 w 241325"/>
                <a:gd name="connsiteY55" fmla="*/ 4217 h 231839"/>
                <a:gd name="connsiteX56" fmla="*/ 47002 w 241325"/>
                <a:gd name="connsiteY56" fmla="*/ 3127 h 231839"/>
                <a:gd name="connsiteX57" fmla="*/ 34616 w 241325"/>
                <a:gd name="connsiteY57" fmla="*/ 26 h 231839"/>
                <a:gd name="connsiteX58" fmla="*/ 33716 w 241325"/>
                <a:gd name="connsiteY58" fmla="*/ 736 h 231839"/>
                <a:gd name="connsiteX59" fmla="*/ 33541 w 241325"/>
                <a:gd name="connsiteY59" fmla="*/ 8029 h 231839"/>
                <a:gd name="connsiteX60" fmla="*/ 28737 w 241325"/>
                <a:gd name="connsiteY60" fmla="*/ 14542 h 231839"/>
                <a:gd name="connsiteX61" fmla="*/ 28160 w 241325"/>
                <a:gd name="connsiteY61" fmla="*/ 15105 h 231839"/>
                <a:gd name="connsiteX62" fmla="*/ 10641 w 241325"/>
                <a:gd name="connsiteY62" fmla="*/ 30141 h 231839"/>
                <a:gd name="connsiteX63" fmla="*/ 10395 w 241325"/>
                <a:gd name="connsiteY63" fmla="*/ 30676 h 231839"/>
                <a:gd name="connsiteX64" fmla="*/ 10395 w 241325"/>
                <a:gd name="connsiteY64" fmla="*/ 40142 h 231839"/>
                <a:gd name="connsiteX65" fmla="*/ 3720 w 241325"/>
                <a:gd name="connsiteY65" fmla="*/ 47492 h 231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41325" h="231839">
                  <a:moveTo>
                    <a:pt x="3720" y="47492"/>
                  </a:moveTo>
                  <a:cubicBezTo>
                    <a:pt x="3495" y="47632"/>
                    <a:pt x="3368" y="47885"/>
                    <a:pt x="3390" y="48153"/>
                  </a:cubicBezTo>
                  <a:cubicBezTo>
                    <a:pt x="3756" y="52872"/>
                    <a:pt x="4339" y="56881"/>
                    <a:pt x="5014" y="57563"/>
                  </a:cubicBezTo>
                  <a:cubicBezTo>
                    <a:pt x="6625" y="59195"/>
                    <a:pt x="6625" y="65728"/>
                    <a:pt x="6625" y="70630"/>
                  </a:cubicBezTo>
                  <a:lnTo>
                    <a:pt x="6625" y="98249"/>
                  </a:lnTo>
                  <a:cubicBezTo>
                    <a:pt x="6625" y="98341"/>
                    <a:pt x="6611" y="98439"/>
                    <a:pt x="6569" y="98523"/>
                  </a:cubicBezTo>
                  <a:cubicBezTo>
                    <a:pt x="5999" y="99860"/>
                    <a:pt x="4649" y="102694"/>
                    <a:pt x="3397" y="104382"/>
                  </a:cubicBezTo>
                  <a:cubicBezTo>
                    <a:pt x="2335" y="105810"/>
                    <a:pt x="3368" y="109608"/>
                    <a:pt x="4205" y="112653"/>
                  </a:cubicBezTo>
                  <a:cubicBezTo>
                    <a:pt x="4635" y="114235"/>
                    <a:pt x="5014" y="115614"/>
                    <a:pt x="5014" y="116352"/>
                  </a:cubicBezTo>
                  <a:cubicBezTo>
                    <a:pt x="5014" y="117696"/>
                    <a:pt x="3587" y="119447"/>
                    <a:pt x="2243" y="121100"/>
                  </a:cubicBezTo>
                  <a:cubicBezTo>
                    <a:pt x="1399" y="122141"/>
                    <a:pt x="583" y="123139"/>
                    <a:pt x="169" y="123976"/>
                  </a:cubicBezTo>
                  <a:cubicBezTo>
                    <a:pt x="-908" y="126156"/>
                    <a:pt x="3397" y="131051"/>
                    <a:pt x="6625" y="133773"/>
                  </a:cubicBezTo>
                  <a:cubicBezTo>
                    <a:pt x="8981" y="135757"/>
                    <a:pt x="9051" y="137163"/>
                    <a:pt x="9122" y="138619"/>
                  </a:cubicBezTo>
                  <a:cubicBezTo>
                    <a:pt x="9143" y="139160"/>
                    <a:pt x="9171" y="139716"/>
                    <a:pt x="9318" y="140307"/>
                  </a:cubicBezTo>
                  <a:cubicBezTo>
                    <a:pt x="9860" y="142487"/>
                    <a:pt x="12547" y="149014"/>
                    <a:pt x="14164" y="150653"/>
                  </a:cubicBezTo>
                  <a:cubicBezTo>
                    <a:pt x="15128" y="151623"/>
                    <a:pt x="18194" y="151820"/>
                    <a:pt x="21767" y="152059"/>
                  </a:cubicBezTo>
                  <a:cubicBezTo>
                    <a:pt x="24186" y="152214"/>
                    <a:pt x="26845" y="152390"/>
                    <a:pt x="29236" y="152826"/>
                  </a:cubicBezTo>
                  <a:cubicBezTo>
                    <a:pt x="33639" y="153635"/>
                    <a:pt x="34764" y="156856"/>
                    <a:pt x="35721" y="159570"/>
                  </a:cubicBezTo>
                  <a:cubicBezTo>
                    <a:pt x="36051" y="160506"/>
                    <a:pt x="36361" y="161385"/>
                    <a:pt x="36775" y="162081"/>
                  </a:cubicBezTo>
                  <a:cubicBezTo>
                    <a:pt x="38028" y="164191"/>
                    <a:pt x="40250" y="166301"/>
                    <a:pt x="41938" y="167905"/>
                  </a:cubicBezTo>
                  <a:cubicBezTo>
                    <a:pt x="42423" y="168369"/>
                    <a:pt x="42866" y="168791"/>
                    <a:pt x="43232" y="169157"/>
                  </a:cubicBezTo>
                  <a:cubicBezTo>
                    <a:pt x="44097" y="170029"/>
                    <a:pt x="47726" y="170591"/>
                    <a:pt x="51496" y="171175"/>
                  </a:cubicBezTo>
                  <a:cubicBezTo>
                    <a:pt x="54773" y="171681"/>
                    <a:pt x="58163" y="172209"/>
                    <a:pt x="59921" y="172968"/>
                  </a:cubicBezTo>
                  <a:cubicBezTo>
                    <a:pt x="62840" y="174234"/>
                    <a:pt x="70703" y="180705"/>
                    <a:pt x="74620" y="184081"/>
                  </a:cubicBezTo>
                  <a:cubicBezTo>
                    <a:pt x="74846" y="184271"/>
                    <a:pt x="75162" y="184306"/>
                    <a:pt x="75422" y="184158"/>
                  </a:cubicBezTo>
                  <a:lnTo>
                    <a:pt x="102113" y="169346"/>
                  </a:lnTo>
                  <a:cubicBezTo>
                    <a:pt x="102316" y="169227"/>
                    <a:pt x="102570" y="169227"/>
                    <a:pt x="102781" y="169339"/>
                  </a:cubicBezTo>
                  <a:lnTo>
                    <a:pt x="220374" y="231758"/>
                  </a:lnTo>
                  <a:cubicBezTo>
                    <a:pt x="220845" y="232004"/>
                    <a:pt x="221407" y="231666"/>
                    <a:pt x="221407" y="231132"/>
                  </a:cubicBezTo>
                  <a:lnTo>
                    <a:pt x="221407" y="224844"/>
                  </a:lnTo>
                  <a:cubicBezTo>
                    <a:pt x="221407" y="224450"/>
                    <a:pt x="221724" y="224141"/>
                    <a:pt x="222111" y="224141"/>
                  </a:cubicBezTo>
                  <a:lnTo>
                    <a:pt x="237928" y="224141"/>
                  </a:lnTo>
                  <a:cubicBezTo>
                    <a:pt x="238315" y="224141"/>
                    <a:pt x="238631" y="223824"/>
                    <a:pt x="238631" y="223438"/>
                  </a:cubicBezTo>
                  <a:lnTo>
                    <a:pt x="238631" y="68056"/>
                  </a:lnTo>
                  <a:cubicBezTo>
                    <a:pt x="238631" y="67958"/>
                    <a:pt x="238610" y="67859"/>
                    <a:pt x="238575" y="67775"/>
                  </a:cubicBezTo>
                  <a:cubicBezTo>
                    <a:pt x="237837" y="66080"/>
                    <a:pt x="236479" y="62528"/>
                    <a:pt x="236479" y="60833"/>
                  </a:cubicBezTo>
                  <a:lnTo>
                    <a:pt x="236479" y="47224"/>
                  </a:lnTo>
                  <a:cubicBezTo>
                    <a:pt x="236479" y="43954"/>
                    <a:pt x="237555" y="35789"/>
                    <a:pt x="238631" y="34157"/>
                  </a:cubicBezTo>
                  <a:cubicBezTo>
                    <a:pt x="239707" y="32525"/>
                    <a:pt x="241325" y="27082"/>
                    <a:pt x="241325" y="23270"/>
                  </a:cubicBezTo>
                  <a:cubicBezTo>
                    <a:pt x="241325" y="19458"/>
                    <a:pt x="232175" y="18368"/>
                    <a:pt x="230016" y="18368"/>
                  </a:cubicBezTo>
                  <a:cubicBezTo>
                    <a:pt x="228623" y="18368"/>
                    <a:pt x="225409" y="17221"/>
                    <a:pt x="222737" y="16272"/>
                  </a:cubicBezTo>
                  <a:cubicBezTo>
                    <a:pt x="221295" y="15752"/>
                    <a:pt x="220008" y="15294"/>
                    <a:pt x="219255" y="15105"/>
                  </a:cubicBezTo>
                  <a:cubicBezTo>
                    <a:pt x="217103" y="14563"/>
                    <a:pt x="209564" y="8029"/>
                    <a:pt x="207412" y="5308"/>
                  </a:cubicBezTo>
                  <a:cubicBezTo>
                    <a:pt x="205569" y="2980"/>
                    <a:pt x="198627" y="3043"/>
                    <a:pt x="190609" y="3106"/>
                  </a:cubicBezTo>
                  <a:cubicBezTo>
                    <a:pt x="189238" y="3120"/>
                    <a:pt x="187832" y="3127"/>
                    <a:pt x="186418" y="3127"/>
                  </a:cubicBezTo>
                  <a:cubicBezTo>
                    <a:pt x="176726" y="3127"/>
                    <a:pt x="174574" y="5308"/>
                    <a:pt x="170270" y="9661"/>
                  </a:cubicBezTo>
                  <a:cubicBezTo>
                    <a:pt x="165959" y="14014"/>
                    <a:pt x="163807" y="23270"/>
                    <a:pt x="163807" y="28713"/>
                  </a:cubicBezTo>
                  <a:lnTo>
                    <a:pt x="163807" y="41232"/>
                  </a:lnTo>
                  <a:cubicBezTo>
                    <a:pt x="163807" y="43954"/>
                    <a:pt x="154122" y="49946"/>
                    <a:pt x="151428" y="50488"/>
                  </a:cubicBezTo>
                  <a:cubicBezTo>
                    <a:pt x="148735" y="51029"/>
                    <a:pt x="139050" y="45044"/>
                    <a:pt x="137974" y="43413"/>
                  </a:cubicBezTo>
                  <a:cubicBezTo>
                    <a:pt x="136891" y="41781"/>
                    <a:pt x="122895" y="35789"/>
                    <a:pt x="118591" y="34157"/>
                  </a:cubicBezTo>
                  <a:cubicBezTo>
                    <a:pt x="116130" y="33222"/>
                    <a:pt x="111734" y="32821"/>
                    <a:pt x="107613" y="32448"/>
                  </a:cubicBezTo>
                  <a:cubicBezTo>
                    <a:pt x="104525" y="32167"/>
                    <a:pt x="101599" y="31899"/>
                    <a:pt x="99749" y="31435"/>
                  </a:cubicBezTo>
                  <a:cubicBezTo>
                    <a:pt x="95445" y="30345"/>
                    <a:pt x="93293" y="20548"/>
                    <a:pt x="93293" y="18368"/>
                  </a:cubicBezTo>
                  <a:cubicBezTo>
                    <a:pt x="93293" y="16195"/>
                    <a:pt x="82526" y="6939"/>
                    <a:pt x="75528" y="5308"/>
                  </a:cubicBezTo>
                  <a:cubicBezTo>
                    <a:pt x="72025" y="4492"/>
                    <a:pt x="66758" y="4351"/>
                    <a:pt x="61427" y="4217"/>
                  </a:cubicBezTo>
                  <a:cubicBezTo>
                    <a:pt x="56124" y="4084"/>
                    <a:pt x="50757" y="3943"/>
                    <a:pt x="47002" y="3127"/>
                  </a:cubicBezTo>
                  <a:cubicBezTo>
                    <a:pt x="43337" y="2332"/>
                    <a:pt x="38646" y="1151"/>
                    <a:pt x="34616" y="26"/>
                  </a:cubicBezTo>
                  <a:cubicBezTo>
                    <a:pt x="34159" y="-101"/>
                    <a:pt x="33702" y="258"/>
                    <a:pt x="33716" y="736"/>
                  </a:cubicBezTo>
                  <a:cubicBezTo>
                    <a:pt x="33815" y="3465"/>
                    <a:pt x="33829" y="6587"/>
                    <a:pt x="33541" y="8029"/>
                  </a:cubicBezTo>
                  <a:cubicBezTo>
                    <a:pt x="33076" y="10378"/>
                    <a:pt x="30207" y="13135"/>
                    <a:pt x="28737" y="14542"/>
                  </a:cubicBezTo>
                  <a:cubicBezTo>
                    <a:pt x="28505" y="14767"/>
                    <a:pt x="28308" y="14957"/>
                    <a:pt x="28160" y="15105"/>
                  </a:cubicBezTo>
                  <a:cubicBezTo>
                    <a:pt x="27309" y="15963"/>
                    <a:pt x="16281" y="25352"/>
                    <a:pt x="10641" y="30141"/>
                  </a:cubicBezTo>
                  <a:cubicBezTo>
                    <a:pt x="10479" y="30275"/>
                    <a:pt x="10395" y="30465"/>
                    <a:pt x="10395" y="30676"/>
                  </a:cubicBezTo>
                  <a:lnTo>
                    <a:pt x="10395" y="40142"/>
                  </a:lnTo>
                  <a:cubicBezTo>
                    <a:pt x="10395" y="42723"/>
                    <a:pt x="6541" y="45748"/>
                    <a:pt x="3720" y="4749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0" name="Freihandform: Form 135">
              <a:extLst>
                <a:ext uri="{FF2B5EF4-FFF2-40B4-BE49-F238E27FC236}">
                  <a16:creationId xmlns:a16="http://schemas.microsoft.com/office/drawing/2014/main" id="{513A2DA9-6F03-4E40-BBFF-B899E7E8DA2F}"/>
                </a:ext>
              </a:extLst>
            </p:cNvPr>
            <p:cNvSpPr/>
            <p:nvPr/>
          </p:nvSpPr>
          <p:spPr>
            <a:xfrm>
              <a:off x="6367859" y="4133186"/>
              <a:ext cx="169379" cy="272960"/>
            </a:xfrm>
            <a:custGeom>
              <a:avLst/>
              <a:gdLst>
                <a:gd name="connsiteX0" fmla="*/ 130960 w 169379"/>
                <a:gd name="connsiteY0" fmla="*/ 220628 h 272960"/>
                <a:gd name="connsiteX1" fmla="*/ 137796 w 169379"/>
                <a:gd name="connsiteY1" fmla="*/ 215656 h 272960"/>
                <a:gd name="connsiteX2" fmla="*/ 138036 w 169379"/>
                <a:gd name="connsiteY2" fmla="*/ 214777 h 272960"/>
                <a:gd name="connsiteX3" fmla="*/ 137508 w 169379"/>
                <a:gd name="connsiteY3" fmla="*/ 212301 h 272960"/>
                <a:gd name="connsiteX4" fmla="*/ 136341 w 169379"/>
                <a:gd name="connsiteY4" fmla="*/ 208785 h 272960"/>
                <a:gd name="connsiteX5" fmla="*/ 136123 w 169379"/>
                <a:gd name="connsiteY5" fmla="*/ 202209 h 272960"/>
                <a:gd name="connsiteX6" fmla="*/ 136045 w 169379"/>
                <a:gd name="connsiteY6" fmla="*/ 201414 h 272960"/>
                <a:gd name="connsiteX7" fmla="*/ 129877 w 169379"/>
                <a:gd name="connsiteY7" fmla="*/ 191019 h 272960"/>
                <a:gd name="connsiteX8" fmla="*/ 129877 w 169379"/>
                <a:gd name="connsiteY8" fmla="*/ 181328 h 272960"/>
                <a:gd name="connsiteX9" fmla="*/ 132437 w 169379"/>
                <a:gd name="connsiteY9" fmla="*/ 175033 h 272960"/>
                <a:gd name="connsiteX10" fmla="*/ 132599 w 169379"/>
                <a:gd name="connsiteY10" fmla="*/ 174660 h 272960"/>
                <a:gd name="connsiteX11" fmla="*/ 136341 w 169379"/>
                <a:gd name="connsiteY11" fmla="*/ 162493 h 272960"/>
                <a:gd name="connsiteX12" fmla="*/ 136749 w 169379"/>
                <a:gd name="connsiteY12" fmla="*/ 157162 h 272960"/>
                <a:gd name="connsiteX13" fmla="*/ 136341 w 169379"/>
                <a:gd name="connsiteY13" fmla="*/ 152802 h 272960"/>
                <a:gd name="connsiteX14" fmla="*/ 139505 w 169379"/>
                <a:gd name="connsiteY14" fmla="*/ 149482 h 272960"/>
                <a:gd name="connsiteX15" fmla="*/ 142797 w 169379"/>
                <a:gd name="connsiteY15" fmla="*/ 146338 h 272960"/>
                <a:gd name="connsiteX16" fmla="*/ 154823 w 169379"/>
                <a:gd name="connsiteY16" fmla="*/ 146099 h 272960"/>
                <a:gd name="connsiteX17" fmla="*/ 155717 w 169379"/>
                <a:gd name="connsiteY17" fmla="*/ 145410 h 272960"/>
                <a:gd name="connsiteX18" fmla="*/ 155717 w 169379"/>
                <a:gd name="connsiteY18" fmla="*/ 83428 h 272960"/>
                <a:gd name="connsiteX19" fmla="*/ 156153 w 169379"/>
                <a:gd name="connsiteY19" fmla="*/ 82563 h 272960"/>
                <a:gd name="connsiteX20" fmla="*/ 156258 w 169379"/>
                <a:gd name="connsiteY20" fmla="*/ 82190 h 272960"/>
                <a:gd name="connsiteX21" fmla="*/ 156258 w 169379"/>
                <a:gd name="connsiteY21" fmla="*/ 75902 h 272960"/>
                <a:gd name="connsiteX22" fmla="*/ 156961 w 169379"/>
                <a:gd name="connsiteY22" fmla="*/ 75199 h 272960"/>
                <a:gd name="connsiteX23" fmla="*/ 168671 w 169379"/>
                <a:gd name="connsiteY23" fmla="*/ 75199 h 272960"/>
                <a:gd name="connsiteX24" fmla="*/ 169213 w 169379"/>
                <a:gd name="connsiteY24" fmla="*/ 74045 h 272960"/>
                <a:gd name="connsiteX25" fmla="*/ 127331 w 169379"/>
                <a:gd name="connsiteY25" fmla="*/ 23780 h 272960"/>
                <a:gd name="connsiteX26" fmla="*/ 126980 w 169379"/>
                <a:gd name="connsiteY26" fmla="*/ 23548 h 272960"/>
                <a:gd name="connsiteX27" fmla="*/ 43033 w 169379"/>
                <a:gd name="connsiteY27" fmla="*/ 23 h 272960"/>
                <a:gd name="connsiteX28" fmla="*/ 42393 w 169379"/>
                <a:gd name="connsiteY28" fmla="*/ 163 h 272960"/>
                <a:gd name="connsiteX29" fmla="*/ 5533 w 169379"/>
                <a:gd name="connsiteY29" fmla="*/ 30743 h 272960"/>
                <a:gd name="connsiteX30" fmla="*/ 5540 w 169379"/>
                <a:gd name="connsiteY30" fmla="*/ 31833 h 272960"/>
                <a:gd name="connsiteX31" fmla="*/ 9471 w 169379"/>
                <a:gd name="connsiteY31" fmla="*/ 35139 h 272960"/>
                <a:gd name="connsiteX32" fmla="*/ 10273 w 169379"/>
                <a:gd name="connsiteY32" fmla="*/ 35216 h 272960"/>
                <a:gd name="connsiteX33" fmla="*/ 16793 w 169379"/>
                <a:gd name="connsiteY33" fmla="*/ 31594 h 272960"/>
                <a:gd name="connsiteX34" fmla="*/ 17763 w 169379"/>
                <a:gd name="connsiteY34" fmla="*/ 31896 h 272960"/>
                <a:gd name="connsiteX35" fmla="*/ 20070 w 169379"/>
                <a:gd name="connsiteY35" fmla="*/ 37607 h 272960"/>
                <a:gd name="connsiteX36" fmla="*/ 19536 w 169379"/>
                <a:gd name="connsiteY36" fmla="*/ 41461 h 272960"/>
                <a:gd name="connsiteX37" fmla="*/ 20070 w 169379"/>
                <a:gd name="connsiteY37" fmla="*/ 56449 h 272960"/>
                <a:gd name="connsiteX38" fmla="*/ 20366 w 169379"/>
                <a:gd name="connsiteY38" fmla="*/ 56575 h 272960"/>
                <a:gd name="connsiteX39" fmla="*/ 20366 w 169379"/>
                <a:gd name="connsiteY39" fmla="*/ 56575 h 272960"/>
                <a:gd name="connsiteX40" fmla="*/ 32448 w 169379"/>
                <a:gd name="connsiteY40" fmla="*/ 67209 h 272960"/>
                <a:gd name="connsiteX41" fmla="*/ 29755 w 169379"/>
                <a:gd name="connsiteY41" fmla="*/ 80129 h 272960"/>
                <a:gd name="connsiteX42" fmla="*/ 24916 w 169379"/>
                <a:gd name="connsiteY42" fmla="*/ 97895 h 272960"/>
                <a:gd name="connsiteX43" fmla="*/ 24782 w 169379"/>
                <a:gd name="connsiteY43" fmla="*/ 104077 h 272960"/>
                <a:gd name="connsiteX44" fmla="*/ 24782 w 169379"/>
                <a:gd name="connsiteY44" fmla="*/ 104077 h 272960"/>
                <a:gd name="connsiteX45" fmla="*/ 24782 w 169379"/>
                <a:gd name="connsiteY45" fmla="*/ 104077 h 272960"/>
                <a:gd name="connsiteX46" fmla="*/ 24782 w 169379"/>
                <a:gd name="connsiteY46" fmla="*/ 104077 h 272960"/>
                <a:gd name="connsiteX47" fmla="*/ 24916 w 169379"/>
                <a:gd name="connsiteY47" fmla="*/ 107586 h 272960"/>
                <a:gd name="connsiteX48" fmla="*/ 20070 w 169379"/>
                <a:gd name="connsiteY48" fmla="*/ 123193 h 272960"/>
                <a:gd name="connsiteX49" fmla="*/ 12531 w 169379"/>
                <a:gd name="connsiteY49" fmla="*/ 136654 h 272960"/>
                <a:gd name="connsiteX50" fmla="*/ 8402 w 169379"/>
                <a:gd name="connsiteY50" fmla="*/ 140241 h 272960"/>
                <a:gd name="connsiteX51" fmla="*/ 3922 w 169379"/>
                <a:gd name="connsiteY51" fmla="*/ 145262 h 272960"/>
                <a:gd name="connsiteX52" fmla="*/ 3901 w 169379"/>
                <a:gd name="connsiteY52" fmla="*/ 155770 h 272960"/>
                <a:gd name="connsiteX53" fmla="*/ 3768 w 169379"/>
                <a:gd name="connsiteY53" fmla="*/ 156241 h 272960"/>
                <a:gd name="connsiteX54" fmla="*/ 152 w 169379"/>
                <a:gd name="connsiteY54" fmla="*/ 165721 h 272960"/>
                <a:gd name="connsiteX55" fmla="*/ 1868 w 169379"/>
                <a:gd name="connsiteY55" fmla="*/ 169590 h 272960"/>
                <a:gd name="connsiteX56" fmla="*/ 3922 w 169379"/>
                <a:gd name="connsiteY56" fmla="*/ 175406 h 272960"/>
                <a:gd name="connsiteX57" fmla="*/ 8683 w 169379"/>
                <a:gd name="connsiteY57" fmla="*/ 181806 h 272960"/>
                <a:gd name="connsiteX58" fmla="*/ 8824 w 169379"/>
                <a:gd name="connsiteY58" fmla="*/ 181954 h 272960"/>
                <a:gd name="connsiteX59" fmla="*/ 12496 w 169379"/>
                <a:gd name="connsiteY59" fmla="*/ 187200 h 272960"/>
                <a:gd name="connsiteX60" fmla="*/ 12573 w 169379"/>
                <a:gd name="connsiteY60" fmla="*/ 187292 h 272960"/>
                <a:gd name="connsiteX61" fmla="*/ 14050 w 169379"/>
                <a:gd name="connsiteY61" fmla="*/ 191280 h 272960"/>
                <a:gd name="connsiteX62" fmla="*/ 14176 w 169379"/>
                <a:gd name="connsiteY62" fmla="*/ 192327 h 272960"/>
                <a:gd name="connsiteX63" fmla="*/ 17763 w 169379"/>
                <a:gd name="connsiteY63" fmla="*/ 195724 h 272960"/>
                <a:gd name="connsiteX64" fmla="*/ 17967 w 169379"/>
                <a:gd name="connsiteY64" fmla="*/ 196062 h 272960"/>
                <a:gd name="connsiteX65" fmla="*/ 22757 w 169379"/>
                <a:gd name="connsiteY65" fmla="*/ 204474 h 272960"/>
                <a:gd name="connsiteX66" fmla="*/ 23256 w 169379"/>
                <a:gd name="connsiteY66" fmla="*/ 215565 h 272960"/>
                <a:gd name="connsiteX67" fmla="*/ 22757 w 169379"/>
                <a:gd name="connsiteY67" fmla="*/ 220628 h 272960"/>
                <a:gd name="connsiteX68" fmla="*/ 22757 w 169379"/>
                <a:gd name="connsiteY68" fmla="*/ 230313 h 272960"/>
                <a:gd name="connsiteX69" fmla="*/ 22757 w 169379"/>
                <a:gd name="connsiteY69" fmla="*/ 232627 h 272960"/>
                <a:gd name="connsiteX70" fmla="*/ 22447 w 169379"/>
                <a:gd name="connsiteY70" fmla="*/ 233211 h 272960"/>
                <a:gd name="connsiteX71" fmla="*/ 14683 w 169379"/>
                <a:gd name="connsiteY71" fmla="*/ 236235 h 272960"/>
                <a:gd name="connsiteX72" fmla="*/ 11645 w 169379"/>
                <a:gd name="connsiteY72" fmla="*/ 236094 h 272960"/>
                <a:gd name="connsiteX73" fmla="*/ 11645 w 169379"/>
                <a:gd name="connsiteY73" fmla="*/ 236094 h 272960"/>
                <a:gd name="connsiteX74" fmla="*/ 7685 w 169379"/>
                <a:gd name="connsiteY74" fmla="*/ 236235 h 272960"/>
                <a:gd name="connsiteX75" fmla="*/ 7207 w 169379"/>
                <a:gd name="connsiteY75" fmla="*/ 241144 h 272960"/>
                <a:gd name="connsiteX76" fmla="*/ 7685 w 169379"/>
                <a:gd name="connsiteY76" fmla="*/ 244309 h 272960"/>
                <a:gd name="connsiteX77" fmla="*/ 11166 w 169379"/>
                <a:gd name="connsiteY77" fmla="*/ 247340 h 272960"/>
                <a:gd name="connsiteX78" fmla="*/ 14683 w 169379"/>
                <a:gd name="connsiteY78" fmla="*/ 249155 h 272960"/>
                <a:gd name="connsiteX79" fmla="*/ 17785 w 169379"/>
                <a:gd name="connsiteY79" fmla="*/ 253916 h 272960"/>
                <a:gd name="connsiteX80" fmla="*/ 20070 w 169379"/>
                <a:gd name="connsiteY80" fmla="*/ 257770 h 272960"/>
                <a:gd name="connsiteX81" fmla="*/ 22082 w 169379"/>
                <a:gd name="connsiteY81" fmla="*/ 262257 h 272960"/>
                <a:gd name="connsiteX82" fmla="*/ 22757 w 169379"/>
                <a:gd name="connsiteY82" fmla="*/ 265302 h 272960"/>
                <a:gd name="connsiteX83" fmla="*/ 26161 w 169379"/>
                <a:gd name="connsiteY83" fmla="*/ 269712 h 272960"/>
                <a:gd name="connsiteX84" fmla="*/ 28679 w 169379"/>
                <a:gd name="connsiteY84" fmla="*/ 271766 h 272960"/>
                <a:gd name="connsiteX85" fmla="*/ 32898 w 169379"/>
                <a:gd name="connsiteY85" fmla="*/ 272511 h 272960"/>
                <a:gd name="connsiteX86" fmla="*/ 36752 w 169379"/>
                <a:gd name="connsiteY86" fmla="*/ 271766 h 272960"/>
                <a:gd name="connsiteX87" fmla="*/ 42449 w 169379"/>
                <a:gd name="connsiteY87" fmla="*/ 269396 h 272960"/>
                <a:gd name="connsiteX88" fmla="*/ 43075 w 169379"/>
                <a:gd name="connsiteY88" fmla="*/ 269072 h 272960"/>
                <a:gd name="connsiteX89" fmla="*/ 53442 w 169379"/>
                <a:gd name="connsiteY89" fmla="*/ 267454 h 272960"/>
                <a:gd name="connsiteX90" fmla="*/ 59455 w 169379"/>
                <a:gd name="connsiteY90" fmla="*/ 267201 h 272960"/>
                <a:gd name="connsiteX91" fmla="*/ 63668 w 169379"/>
                <a:gd name="connsiteY91" fmla="*/ 267454 h 272960"/>
                <a:gd name="connsiteX92" fmla="*/ 69752 w 169379"/>
                <a:gd name="connsiteY92" fmla="*/ 263980 h 272960"/>
                <a:gd name="connsiteX93" fmla="*/ 69752 w 169379"/>
                <a:gd name="connsiteY93" fmla="*/ 263980 h 272960"/>
                <a:gd name="connsiteX94" fmla="*/ 72818 w 169379"/>
                <a:gd name="connsiteY94" fmla="*/ 261533 h 272960"/>
                <a:gd name="connsiteX95" fmla="*/ 73979 w 169379"/>
                <a:gd name="connsiteY95" fmla="*/ 260668 h 272960"/>
                <a:gd name="connsiteX96" fmla="*/ 76883 w 169379"/>
                <a:gd name="connsiteY96" fmla="*/ 258361 h 272960"/>
                <a:gd name="connsiteX97" fmla="*/ 78880 w 169379"/>
                <a:gd name="connsiteY97" fmla="*/ 256096 h 272960"/>
                <a:gd name="connsiteX98" fmla="*/ 79282 w 169379"/>
                <a:gd name="connsiteY98" fmla="*/ 255618 h 272960"/>
                <a:gd name="connsiteX99" fmla="*/ 81082 w 169379"/>
                <a:gd name="connsiteY99" fmla="*/ 250111 h 272960"/>
                <a:gd name="connsiteX100" fmla="*/ 81869 w 169379"/>
                <a:gd name="connsiteY100" fmla="*/ 249155 h 272960"/>
                <a:gd name="connsiteX101" fmla="*/ 99199 w 169379"/>
                <a:gd name="connsiteY101" fmla="*/ 249155 h 272960"/>
                <a:gd name="connsiteX102" fmla="*/ 109967 w 169379"/>
                <a:gd name="connsiteY102" fmla="*/ 244309 h 272960"/>
                <a:gd name="connsiteX103" fmla="*/ 119651 w 169379"/>
                <a:gd name="connsiteY103" fmla="*/ 233007 h 272960"/>
                <a:gd name="connsiteX104" fmla="*/ 120544 w 169379"/>
                <a:gd name="connsiteY104" fmla="*/ 231881 h 272960"/>
                <a:gd name="connsiteX105" fmla="*/ 120544 w 169379"/>
                <a:gd name="connsiteY105" fmla="*/ 231874 h 272960"/>
                <a:gd name="connsiteX106" fmla="*/ 130960 w 169379"/>
                <a:gd name="connsiteY106" fmla="*/ 220628 h 27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169379" h="272960">
                  <a:moveTo>
                    <a:pt x="130960" y="220628"/>
                  </a:moveTo>
                  <a:cubicBezTo>
                    <a:pt x="132303" y="219616"/>
                    <a:pt x="134864" y="217759"/>
                    <a:pt x="137796" y="215656"/>
                  </a:cubicBezTo>
                  <a:cubicBezTo>
                    <a:pt x="138071" y="215459"/>
                    <a:pt x="138162" y="215093"/>
                    <a:pt x="138036" y="214777"/>
                  </a:cubicBezTo>
                  <a:cubicBezTo>
                    <a:pt x="137663" y="213813"/>
                    <a:pt x="137585" y="213047"/>
                    <a:pt x="137508" y="212301"/>
                  </a:cubicBezTo>
                  <a:cubicBezTo>
                    <a:pt x="137402" y="211239"/>
                    <a:pt x="137304" y="210227"/>
                    <a:pt x="136341" y="208785"/>
                  </a:cubicBezTo>
                  <a:cubicBezTo>
                    <a:pt x="134786" y="206457"/>
                    <a:pt x="135447" y="203658"/>
                    <a:pt x="136123" y="202209"/>
                  </a:cubicBezTo>
                  <a:cubicBezTo>
                    <a:pt x="136242" y="201949"/>
                    <a:pt x="136221" y="201639"/>
                    <a:pt x="136045" y="201414"/>
                  </a:cubicBezTo>
                  <a:cubicBezTo>
                    <a:pt x="133816" y="198580"/>
                    <a:pt x="129877" y="193080"/>
                    <a:pt x="129877" y="191019"/>
                  </a:cubicBezTo>
                  <a:lnTo>
                    <a:pt x="129877" y="181328"/>
                  </a:lnTo>
                  <a:cubicBezTo>
                    <a:pt x="129877" y="178866"/>
                    <a:pt x="131509" y="176208"/>
                    <a:pt x="132437" y="175033"/>
                  </a:cubicBezTo>
                  <a:cubicBezTo>
                    <a:pt x="132522" y="174928"/>
                    <a:pt x="132578" y="174801"/>
                    <a:pt x="132599" y="174660"/>
                  </a:cubicBezTo>
                  <a:cubicBezTo>
                    <a:pt x="132986" y="171348"/>
                    <a:pt x="134231" y="164596"/>
                    <a:pt x="136341" y="162493"/>
                  </a:cubicBezTo>
                  <a:cubicBezTo>
                    <a:pt x="137867" y="160960"/>
                    <a:pt x="137318" y="159089"/>
                    <a:pt x="136749" y="157162"/>
                  </a:cubicBezTo>
                  <a:cubicBezTo>
                    <a:pt x="136312" y="155699"/>
                    <a:pt x="135876" y="154201"/>
                    <a:pt x="136341" y="152802"/>
                  </a:cubicBezTo>
                  <a:cubicBezTo>
                    <a:pt x="136896" y="151128"/>
                    <a:pt x="138176" y="150319"/>
                    <a:pt x="139505" y="149482"/>
                  </a:cubicBezTo>
                  <a:cubicBezTo>
                    <a:pt x="140743" y="148708"/>
                    <a:pt x="142023" y="147900"/>
                    <a:pt x="142797" y="146338"/>
                  </a:cubicBezTo>
                  <a:cubicBezTo>
                    <a:pt x="143992" y="143947"/>
                    <a:pt x="150829" y="145065"/>
                    <a:pt x="154823" y="146099"/>
                  </a:cubicBezTo>
                  <a:cubicBezTo>
                    <a:pt x="155274" y="146212"/>
                    <a:pt x="155717" y="145874"/>
                    <a:pt x="155717" y="145410"/>
                  </a:cubicBezTo>
                  <a:lnTo>
                    <a:pt x="155717" y="83428"/>
                  </a:lnTo>
                  <a:cubicBezTo>
                    <a:pt x="155717" y="83104"/>
                    <a:pt x="155984" y="82837"/>
                    <a:pt x="156153" y="82563"/>
                  </a:cubicBezTo>
                  <a:cubicBezTo>
                    <a:pt x="156216" y="82457"/>
                    <a:pt x="156258" y="82330"/>
                    <a:pt x="156258" y="82190"/>
                  </a:cubicBezTo>
                  <a:lnTo>
                    <a:pt x="156258" y="75902"/>
                  </a:lnTo>
                  <a:cubicBezTo>
                    <a:pt x="156258" y="75508"/>
                    <a:pt x="156575" y="75199"/>
                    <a:pt x="156961" y="75199"/>
                  </a:cubicBezTo>
                  <a:lnTo>
                    <a:pt x="168671" y="75199"/>
                  </a:lnTo>
                  <a:cubicBezTo>
                    <a:pt x="169269" y="75199"/>
                    <a:pt x="169600" y="74503"/>
                    <a:pt x="169213" y="74045"/>
                  </a:cubicBezTo>
                  <a:lnTo>
                    <a:pt x="127331" y="23780"/>
                  </a:lnTo>
                  <a:cubicBezTo>
                    <a:pt x="127240" y="23668"/>
                    <a:pt x="127113" y="23590"/>
                    <a:pt x="126980" y="23548"/>
                  </a:cubicBezTo>
                  <a:lnTo>
                    <a:pt x="43033" y="23"/>
                  </a:lnTo>
                  <a:cubicBezTo>
                    <a:pt x="42808" y="-34"/>
                    <a:pt x="42569" y="16"/>
                    <a:pt x="42393" y="163"/>
                  </a:cubicBezTo>
                  <a:lnTo>
                    <a:pt x="5533" y="30743"/>
                  </a:lnTo>
                  <a:cubicBezTo>
                    <a:pt x="5195" y="31024"/>
                    <a:pt x="5195" y="31552"/>
                    <a:pt x="5540" y="31833"/>
                  </a:cubicBezTo>
                  <a:cubicBezTo>
                    <a:pt x="7024" y="33050"/>
                    <a:pt x="8395" y="34210"/>
                    <a:pt x="9471" y="35139"/>
                  </a:cubicBezTo>
                  <a:cubicBezTo>
                    <a:pt x="9697" y="35329"/>
                    <a:pt x="10013" y="35364"/>
                    <a:pt x="10273" y="35216"/>
                  </a:cubicBezTo>
                  <a:lnTo>
                    <a:pt x="16793" y="31594"/>
                  </a:lnTo>
                  <a:cubicBezTo>
                    <a:pt x="17144" y="31404"/>
                    <a:pt x="17587" y="31538"/>
                    <a:pt x="17763" y="31896"/>
                  </a:cubicBezTo>
                  <a:cubicBezTo>
                    <a:pt x="19114" y="34611"/>
                    <a:pt x="20070" y="36784"/>
                    <a:pt x="20070" y="37607"/>
                  </a:cubicBezTo>
                  <a:cubicBezTo>
                    <a:pt x="20070" y="38282"/>
                    <a:pt x="19831" y="39689"/>
                    <a:pt x="19536" y="41461"/>
                  </a:cubicBezTo>
                  <a:cubicBezTo>
                    <a:pt x="18656" y="46757"/>
                    <a:pt x="17243" y="55232"/>
                    <a:pt x="20070" y="56449"/>
                  </a:cubicBezTo>
                  <a:lnTo>
                    <a:pt x="20366" y="56575"/>
                  </a:lnTo>
                  <a:lnTo>
                    <a:pt x="20366" y="56575"/>
                  </a:lnTo>
                  <a:cubicBezTo>
                    <a:pt x="24290" y="58249"/>
                    <a:pt x="32976" y="61963"/>
                    <a:pt x="32448" y="67209"/>
                  </a:cubicBezTo>
                  <a:cubicBezTo>
                    <a:pt x="31914" y="72597"/>
                    <a:pt x="31372" y="76901"/>
                    <a:pt x="29755" y="80129"/>
                  </a:cubicBezTo>
                  <a:cubicBezTo>
                    <a:pt x="28144" y="83364"/>
                    <a:pt x="25450" y="94125"/>
                    <a:pt x="24916" y="97895"/>
                  </a:cubicBezTo>
                  <a:cubicBezTo>
                    <a:pt x="24564" y="100342"/>
                    <a:pt x="24670" y="102107"/>
                    <a:pt x="24782" y="104077"/>
                  </a:cubicBezTo>
                  <a:lnTo>
                    <a:pt x="24782" y="104077"/>
                  </a:lnTo>
                  <a:lnTo>
                    <a:pt x="24782" y="104077"/>
                  </a:lnTo>
                  <a:lnTo>
                    <a:pt x="24782" y="104077"/>
                  </a:lnTo>
                  <a:cubicBezTo>
                    <a:pt x="24845" y="105139"/>
                    <a:pt x="24916" y="106264"/>
                    <a:pt x="24916" y="107586"/>
                  </a:cubicBezTo>
                  <a:cubicBezTo>
                    <a:pt x="24916" y="110596"/>
                    <a:pt x="21681" y="119247"/>
                    <a:pt x="20070" y="123193"/>
                  </a:cubicBezTo>
                  <a:cubicBezTo>
                    <a:pt x="18811" y="126428"/>
                    <a:pt x="15548" y="133637"/>
                    <a:pt x="12531" y="136654"/>
                  </a:cubicBezTo>
                  <a:cubicBezTo>
                    <a:pt x="11159" y="138025"/>
                    <a:pt x="9711" y="139186"/>
                    <a:pt x="8402" y="140241"/>
                  </a:cubicBezTo>
                  <a:cubicBezTo>
                    <a:pt x="6124" y="142062"/>
                    <a:pt x="4260" y="143553"/>
                    <a:pt x="3922" y="145262"/>
                  </a:cubicBezTo>
                  <a:cubicBezTo>
                    <a:pt x="3500" y="147351"/>
                    <a:pt x="3725" y="152978"/>
                    <a:pt x="3901" y="155770"/>
                  </a:cubicBezTo>
                  <a:cubicBezTo>
                    <a:pt x="3915" y="155938"/>
                    <a:pt x="3866" y="156107"/>
                    <a:pt x="3768" y="156241"/>
                  </a:cubicBezTo>
                  <a:cubicBezTo>
                    <a:pt x="2122" y="158491"/>
                    <a:pt x="-684" y="163218"/>
                    <a:pt x="152" y="165721"/>
                  </a:cubicBezTo>
                  <a:cubicBezTo>
                    <a:pt x="568" y="166959"/>
                    <a:pt x="1221" y="168282"/>
                    <a:pt x="1868" y="169590"/>
                  </a:cubicBezTo>
                  <a:cubicBezTo>
                    <a:pt x="2902" y="171685"/>
                    <a:pt x="3922" y="173753"/>
                    <a:pt x="3922" y="175406"/>
                  </a:cubicBezTo>
                  <a:cubicBezTo>
                    <a:pt x="3922" y="177523"/>
                    <a:pt x="7045" y="180512"/>
                    <a:pt x="8683" y="181806"/>
                  </a:cubicBezTo>
                  <a:cubicBezTo>
                    <a:pt x="8740" y="181848"/>
                    <a:pt x="8782" y="181897"/>
                    <a:pt x="8824" y="181954"/>
                  </a:cubicBezTo>
                  <a:lnTo>
                    <a:pt x="12496" y="187200"/>
                  </a:lnTo>
                  <a:cubicBezTo>
                    <a:pt x="12524" y="187236"/>
                    <a:pt x="12545" y="187264"/>
                    <a:pt x="12573" y="187292"/>
                  </a:cubicBezTo>
                  <a:cubicBezTo>
                    <a:pt x="13480" y="188213"/>
                    <a:pt x="14606" y="189922"/>
                    <a:pt x="14050" y="191280"/>
                  </a:cubicBezTo>
                  <a:cubicBezTo>
                    <a:pt x="13902" y="191631"/>
                    <a:pt x="13902" y="192060"/>
                    <a:pt x="14176" y="192327"/>
                  </a:cubicBezTo>
                  <a:lnTo>
                    <a:pt x="17763" y="195724"/>
                  </a:lnTo>
                  <a:cubicBezTo>
                    <a:pt x="17862" y="195816"/>
                    <a:pt x="17932" y="195928"/>
                    <a:pt x="17967" y="196062"/>
                  </a:cubicBezTo>
                  <a:cubicBezTo>
                    <a:pt x="18720" y="198988"/>
                    <a:pt x="20654" y="204474"/>
                    <a:pt x="22757" y="204474"/>
                  </a:cubicBezTo>
                  <a:cubicBezTo>
                    <a:pt x="24656" y="204474"/>
                    <a:pt x="23882" y="210613"/>
                    <a:pt x="23256" y="215565"/>
                  </a:cubicBezTo>
                  <a:cubicBezTo>
                    <a:pt x="22996" y="217639"/>
                    <a:pt x="22757" y="219510"/>
                    <a:pt x="22757" y="220628"/>
                  </a:cubicBezTo>
                  <a:lnTo>
                    <a:pt x="22757" y="230313"/>
                  </a:lnTo>
                  <a:lnTo>
                    <a:pt x="22757" y="232627"/>
                  </a:lnTo>
                  <a:cubicBezTo>
                    <a:pt x="22757" y="232866"/>
                    <a:pt x="22644" y="233084"/>
                    <a:pt x="22447" y="233211"/>
                  </a:cubicBezTo>
                  <a:cubicBezTo>
                    <a:pt x="20682" y="234336"/>
                    <a:pt x="17116" y="236235"/>
                    <a:pt x="14683" y="236235"/>
                  </a:cubicBezTo>
                  <a:cubicBezTo>
                    <a:pt x="13487" y="236235"/>
                    <a:pt x="12510" y="236164"/>
                    <a:pt x="11645" y="236094"/>
                  </a:cubicBezTo>
                  <a:lnTo>
                    <a:pt x="11645" y="236094"/>
                  </a:lnTo>
                  <a:cubicBezTo>
                    <a:pt x="10182" y="235982"/>
                    <a:pt x="9042" y="235897"/>
                    <a:pt x="7685" y="236235"/>
                  </a:cubicBezTo>
                  <a:cubicBezTo>
                    <a:pt x="6250" y="236593"/>
                    <a:pt x="6728" y="238865"/>
                    <a:pt x="7207" y="241144"/>
                  </a:cubicBezTo>
                  <a:cubicBezTo>
                    <a:pt x="7446" y="242276"/>
                    <a:pt x="7685" y="243415"/>
                    <a:pt x="7685" y="244309"/>
                  </a:cubicBezTo>
                  <a:cubicBezTo>
                    <a:pt x="7685" y="245955"/>
                    <a:pt x="9295" y="246594"/>
                    <a:pt x="11166" y="247340"/>
                  </a:cubicBezTo>
                  <a:cubicBezTo>
                    <a:pt x="12355" y="247804"/>
                    <a:pt x="13642" y="248318"/>
                    <a:pt x="14683" y="249155"/>
                  </a:cubicBezTo>
                  <a:cubicBezTo>
                    <a:pt x="16160" y="250336"/>
                    <a:pt x="16983" y="252158"/>
                    <a:pt x="17785" y="253916"/>
                  </a:cubicBezTo>
                  <a:cubicBezTo>
                    <a:pt x="18452" y="255372"/>
                    <a:pt x="19093" y="256792"/>
                    <a:pt x="20070" y="257770"/>
                  </a:cubicBezTo>
                  <a:cubicBezTo>
                    <a:pt x="21533" y="259233"/>
                    <a:pt x="21751" y="260442"/>
                    <a:pt x="22082" y="262257"/>
                  </a:cubicBezTo>
                  <a:cubicBezTo>
                    <a:pt x="22236" y="263108"/>
                    <a:pt x="22412" y="264093"/>
                    <a:pt x="22757" y="265302"/>
                  </a:cubicBezTo>
                  <a:cubicBezTo>
                    <a:pt x="23474" y="267799"/>
                    <a:pt x="24656" y="268643"/>
                    <a:pt x="26161" y="269712"/>
                  </a:cubicBezTo>
                  <a:cubicBezTo>
                    <a:pt x="26927" y="270254"/>
                    <a:pt x="27771" y="270851"/>
                    <a:pt x="28679" y="271766"/>
                  </a:cubicBezTo>
                  <a:cubicBezTo>
                    <a:pt x="30324" y="273405"/>
                    <a:pt x="31365" y="273046"/>
                    <a:pt x="32898" y="272511"/>
                  </a:cubicBezTo>
                  <a:cubicBezTo>
                    <a:pt x="33883" y="272174"/>
                    <a:pt x="35071" y="271766"/>
                    <a:pt x="36752" y="271766"/>
                  </a:cubicBezTo>
                  <a:cubicBezTo>
                    <a:pt x="39819" y="271766"/>
                    <a:pt x="41697" y="270345"/>
                    <a:pt x="42449" y="269396"/>
                  </a:cubicBezTo>
                  <a:cubicBezTo>
                    <a:pt x="42604" y="269206"/>
                    <a:pt x="42829" y="269072"/>
                    <a:pt x="43075" y="269072"/>
                  </a:cubicBezTo>
                  <a:cubicBezTo>
                    <a:pt x="45741" y="269037"/>
                    <a:pt x="50988" y="268685"/>
                    <a:pt x="53442" y="267454"/>
                  </a:cubicBezTo>
                  <a:cubicBezTo>
                    <a:pt x="55334" y="266512"/>
                    <a:pt x="57409" y="266857"/>
                    <a:pt x="59455" y="267201"/>
                  </a:cubicBezTo>
                  <a:cubicBezTo>
                    <a:pt x="60904" y="267441"/>
                    <a:pt x="62332" y="267680"/>
                    <a:pt x="63668" y="267454"/>
                  </a:cubicBezTo>
                  <a:cubicBezTo>
                    <a:pt x="65996" y="267068"/>
                    <a:pt x="67487" y="265844"/>
                    <a:pt x="69752" y="263980"/>
                  </a:cubicBezTo>
                  <a:lnTo>
                    <a:pt x="69752" y="263980"/>
                  </a:lnTo>
                  <a:cubicBezTo>
                    <a:pt x="70624" y="263256"/>
                    <a:pt x="71622" y="262440"/>
                    <a:pt x="72818" y="261533"/>
                  </a:cubicBezTo>
                  <a:cubicBezTo>
                    <a:pt x="73254" y="261209"/>
                    <a:pt x="73641" y="260921"/>
                    <a:pt x="73979" y="260668"/>
                  </a:cubicBezTo>
                  <a:cubicBezTo>
                    <a:pt x="75526" y="259514"/>
                    <a:pt x="76243" y="258980"/>
                    <a:pt x="76883" y="258361"/>
                  </a:cubicBezTo>
                  <a:cubicBezTo>
                    <a:pt x="77446" y="257819"/>
                    <a:pt x="77945" y="257221"/>
                    <a:pt x="78880" y="256096"/>
                  </a:cubicBezTo>
                  <a:cubicBezTo>
                    <a:pt x="79007" y="255948"/>
                    <a:pt x="79141" y="255787"/>
                    <a:pt x="79282" y="255618"/>
                  </a:cubicBezTo>
                  <a:cubicBezTo>
                    <a:pt x="80955" y="253606"/>
                    <a:pt x="81216" y="251468"/>
                    <a:pt x="81082" y="250111"/>
                  </a:cubicBezTo>
                  <a:cubicBezTo>
                    <a:pt x="81040" y="249633"/>
                    <a:pt x="81391" y="249155"/>
                    <a:pt x="81869" y="249155"/>
                  </a:cubicBezTo>
                  <a:lnTo>
                    <a:pt x="99199" y="249155"/>
                  </a:lnTo>
                  <a:cubicBezTo>
                    <a:pt x="100810" y="249155"/>
                    <a:pt x="107808" y="246461"/>
                    <a:pt x="109967" y="244309"/>
                  </a:cubicBezTo>
                  <a:cubicBezTo>
                    <a:pt x="112119" y="242157"/>
                    <a:pt x="117499" y="235700"/>
                    <a:pt x="119651" y="233007"/>
                  </a:cubicBezTo>
                  <a:cubicBezTo>
                    <a:pt x="119911" y="232683"/>
                    <a:pt x="120214" y="232303"/>
                    <a:pt x="120544" y="231881"/>
                  </a:cubicBezTo>
                  <a:lnTo>
                    <a:pt x="120544" y="231874"/>
                  </a:lnTo>
                  <a:cubicBezTo>
                    <a:pt x="122971" y="228801"/>
                    <a:pt x="127169" y="223463"/>
                    <a:pt x="130960" y="22062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1" name="Freihandform: Form 136">
              <a:extLst>
                <a:ext uri="{FF2B5EF4-FFF2-40B4-BE49-F238E27FC236}">
                  <a16:creationId xmlns:a16="http://schemas.microsoft.com/office/drawing/2014/main" id="{9736EBDC-F667-6C4C-90DD-5CA81AE5A034}"/>
                </a:ext>
              </a:extLst>
            </p:cNvPr>
            <p:cNvSpPr/>
            <p:nvPr/>
          </p:nvSpPr>
          <p:spPr>
            <a:xfrm>
              <a:off x="6277098" y="4309443"/>
              <a:ext cx="125902" cy="185190"/>
            </a:xfrm>
            <a:custGeom>
              <a:avLst/>
              <a:gdLst>
                <a:gd name="connsiteX0" fmla="*/ 92587 w 125902"/>
                <a:gd name="connsiteY0" fmla="*/ 13532 h 185190"/>
                <a:gd name="connsiteX1" fmla="*/ 92545 w 125902"/>
                <a:gd name="connsiteY1" fmla="*/ 13511 h 185190"/>
                <a:gd name="connsiteX2" fmla="*/ 76918 w 125902"/>
                <a:gd name="connsiteY2" fmla="*/ 26065 h 185190"/>
                <a:gd name="connsiteX3" fmla="*/ 10983 w 125902"/>
                <a:gd name="connsiteY3" fmla="*/ 66273 h 185190"/>
                <a:gd name="connsiteX4" fmla="*/ 10652 w 125902"/>
                <a:gd name="connsiteY4" fmla="*/ 66751 h 185190"/>
                <a:gd name="connsiteX5" fmla="*/ 11 w 125902"/>
                <a:gd name="connsiteY5" fmla="*/ 127960 h 185190"/>
                <a:gd name="connsiteX6" fmla="*/ 222 w 125902"/>
                <a:gd name="connsiteY6" fmla="*/ 128600 h 185190"/>
                <a:gd name="connsiteX7" fmla="*/ 19859 w 125902"/>
                <a:gd name="connsiteY7" fmla="*/ 147181 h 185190"/>
                <a:gd name="connsiteX8" fmla="*/ 25745 w 125902"/>
                <a:gd name="connsiteY8" fmla="*/ 153166 h 185190"/>
                <a:gd name="connsiteX9" fmla="*/ 25745 w 125902"/>
                <a:gd name="connsiteY9" fmla="*/ 153166 h 185190"/>
                <a:gd name="connsiteX10" fmla="*/ 27398 w 125902"/>
                <a:gd name="connsiteY10" fmla="*/ 154721 h 185190"/>
                <a:gd name="connsiteX11" fmla="*/ 33854 w 125902"/>
                <a:gd name="connsiteY11" fmla="*/ 165488 h 185190"/>
                <a:gd name="connsiteX12" fmla="*/ 33854 w 125902"/>
                <a:gd name="connsiteY12" fmla="*/ 177325 h 185190"/>
                <a:gd name="connsiteX13" fmla="*/ 53230 w 125902"/>
                <a:gd name="connsiteY13" fmla="*/ 177325 h 185190"/>
                <a:gd name="connsiteX14" fmla="*/ 72072 w 125902"/>
                <a:gd name="connsiteY14" fmla="*/ 177325 h 185190"/>
                <a:gd name="connsiteX15" fmla="*/ 84422 w 125902"/>
                <a:gd name="connsiteY15" fmla="*/ 178394 h 185190"/>
                <a:gd name="connsiteX16" fmla="*/ 89838 w 125902"/>
                <a:gd name="connsiteY16" fmla="*/ 178942 h 185190"/>
                <a:gd name="connsiteX17" fmla="*/ 109755 w 125902"/>
                <a:gd name="connsiteY17" fmla="*/ 181095 h 185190"/>
                <a:gd name="connsiteX18" fmla="*/ 125017 w 125902"/>
                <a:gd name="connsiteY18" fmla="*/ 185167 h 185190"/>
                <a:gd name="connsiteX19" fmla="*/ 125903 w 125902"/>
                <a:gd name="connsiteY19" fmla="*/ 184485 h 185190"/>
                <a:gd name="connsiteX20" fmla="*/ 125903 w 125902"/>
                <a:gd name="connsiteY20" fmla="*/ 181095 h 185190"/>
                <a:gd name="connsiteX21" fmla="*/ 125903 w 125902"/>
                <a:gd name="connsiteY21" fmla="*/ 167985 h 185190"/>
                <a:gd name="connsiteX22" fmla="*/ 125629 w 125902"/>
                <a:gd name="connsiteY22" fmla="*/ 167429 h 185190"/>
                <a:gd name="connsiteX23" fmla="*/ 115677 w 125902"/>
                <a:gd name="connsiteY23" fmla="*/ 159025 h 185190"/>
                <a:gd name="connsiteX24" fmla="*/ 107061 w 125902"/>
                <a:gd name="connsiteY24" fmla="*/ 143418 h 185190"/>
                <a:gd name="connsiteX25" fmla="*/ 104368 w 125902"/>
                <a:gd name="connsiteY25" fmla="*/ 120807 h 185190"/>
                <a:gd name="connsiteX26" fmla="*/ 118912 w 125902"/>
                <a:gd name="connsiteY26" fmla="*/ 95791 h 185190"/>
                <a:gd name="connsiteX27" fmla="*/ 118800 w 125902"/>
                <a:gd name="connsiteY27" fmla="*/ 94904 h 185190"/>
                <a:gd name="connsiteX28" fmla="*/ 116922 w 125902"/>
                <a:gd name="connsiteY28" fmla="*/ 93456 h 185190"/>
                <a:gd name="connsiteX29" fmla="*/ 113518 w 125902"/>
                <a:gd name="connsiteY29" fmla="*/ 89046 h 185190"/>
                <a:gd name="connsiteX30" fmla="*/ 112843 w 125902"/>
                <a:gd name="connsiteY30" fmla="*/ 86001 h 185190"/>
                <a:gd name="connsiteX31" fmla="*/ 110831 w 125902"/>
                <a:gd name="connsiteY31" fmla="*/ 81514 h 185190"/>
                <a:gd name="connsiteX32" fmla="*/ 108546 w 125902"/>
                <a:gd name="connsiteY32" fmla="*/ 77659 h 185190"/>
                <a:gd name="connsiteX33" fmla="*/ 105444 w 125902"/>
                <a:gd name="connsiteY33" fmla="*/ 72898 h 185190"/>
                <a:gd name="connsiteX34" fmla="*/ 101927 w 125902"/>
                <a:gd name="connsiteY34" fmla="*/ 71084 h 185190"/>
                <a:gd name="connsiteX35" fmla="*/ 101927 w 125902"/>
                <a:gd name="connsiteY35" fmla="*/ 71084 h 185190"/>
                <a:gd name="connsiteX36" fmla="*/ 98446 w 125902"/>
                <a:gd name="connsiteY36" fmla="*/ 68052 h 185190"/>
                <a:gd name="connsiteX37" fmla="*/ 97968 w 125902"/>
                <a:gd name="connsiteY37" fmla="*/ 64887 h 185190"/>
                <a:gd name="connsiteX38" fmla="*/ 98446 w 125902"/>
                <a:gd name="connsiteY38" fmla="*/ 59978 h 185190"/>
                <a:gd name="connsiteX39" fmla="*/ 102406 w 125902"/>
                <a:gd name="connsiteY39" fmla="*/ 59838 h 185190"/>
                <a:gd name="connsiteX40" fmla="*/ 102406 w 125902"/>
                <a:gd name="connsiteY40" fmla="*/ 59838 h 185190"/>
                <a:gd name="connsiteX41" fmla="*/ 102406 w 125902"/>
                <a:gd name="connsiteY41" fmla="*/ 59838 h 185190"/>
                <a:gd name="connsiteX42" fmla="*/ 105444 w 125902"/>
                <a:gd name="connsiteY42" fmla="*/ 59978 h 185190"/>
                <a:gd name="connsiteX43" fmla="*/ 113208 w 125902"/>
                <a:gd name="connsiteY43" fmla="*/ 56954 h 185190"/>
                <a:gd name="connsiteX44" fmla="*/ 113518 w 125902"/>
                <a:gd name="connsiteY44" fmla="*/ 56378 h 185190"/>
                <a:gd name="connsiteX45" fmla="*/ 113518 w 125902"/>
                <a:gd name="connsiteY45" fmla="*/ 54057 h 185190"/>
                <a:gd name="connsiteX46" fmla="*/ 113518 w 125902"/>
                <a:gd name="connsiteY46" fmla="*/ 44372 h 185190"/>
                <a:gd name="connsiteX47" fmla="*/ 114017 w 125902"/>
                <a:gd name="connsiteY47" fmla="*/ 39308 h 185190"/>
                <a:gd name="connsiteX48" fmla="*/ 114017 w 125902"/>
                <a:gd name="connsiteY48" fmla="*/ 39308 h 185190"/>
                <a:gd name="connsiteX49" fmla="*/ 113518 w 125902"/>
                <a:gd name="connsiteY49" fmla="*/ 28224 h 185190"/>
                <a:gd name="connsiteX50" fmla="*/ 108728 w 125902"/>
                <a:gd name="connsiteY50" fmla="*/ 19806 h 185190"/>
                <a:gd name="connsiteX51" fmla="*/ 108524 w 125902"/>
                <a:gd name="connsiteY51" fmla="*/ 19468 h 185190"/>
                <a:gd name="connsiteX52" fmla="*/ 104973 w 125902"/>
                <a:gd name="connsiteY52" fmla="*/ 16099 h 185190"/>
                <a:gd name="connsiteX53" fmla="*/ 103890 w 125902"/>
                <a:gd name="connsiteY53" fmla="*/ 16064 h 185190"/>
                <a:gd name="connsiteX54" fmla="*/ 103292 w 125902"/>
                <a:gd name="connsiteY54" fmla="*/ 16380 h 185190"/>
                <a:gd name="connsiteX55" fmla="*/ 100521 w 125902"/>
                <a:gd name="connsiteY55" fmla="*/ 18329 h 185190"/>
                <a:gd name="connsiteX56" fmla="*/ 96723 w 125902"/>
                <a:gd name="connsiteY56" fmla="*/ 17457 h 185190"/>
                <a:gd name="connsiteX57" fmla="*/ 94683 w 125902"/>
                <a:gd name="connsiteY57" fmla="*/ 16380 h 185190"/>
                <a:gd name="connsiteX58" fmla="*/ 92587 w 125902"/>
                <a:gd name="connsiteY58" fmla="*/ 13532 h 185190"/>
                <a:gd name="connsiteX59" fmla="*/ 92587 w 125902"/>
                <a:gd name="connsiteY59" fmla="*/ 13532 h 185190"/>
                <a:gd name="connsiteX60" fmla="*/ 105578 w 125902"/>
                <a:gd name="connsiteY60" fmla="*/ 15881 h 185190"/>
                <a:gd name="connsiteX61" fmla="*/ 104937 w 125902"/>
                <a:gd name="connsiteY61" fmla="*/ 14559 h 185190"/>
                <a:gd name="connsiteX62" fmla="*/ 103657 w 125902"/>
                <a:gd name="connsiteY62" fmla="*/ 11387 h 185190"/>
                <a:gd name="connsiteX63" fmla="*/ 103496 w 125902"/>
                <a:gd name="connsiteY63" fmla="*/ 11063 h 185190"/>
                <a:gd name="connsiteX64" fmla="*/ 102448 w 125902"/>
                <a:gd name="connsiteY64" fmla="*/ 6056 h 185190"/>
                <a:gd name="connsiteX65" fmla="*/ 102694 w 125902"/>
                <a:gd name="connsiteY65" fmla="*/ 5367 h 185190"/>
                <a:gd name="connsiteX66" fmla="*/ 109171 w 125902"/>
                <a:gd name="connsiteY66" fmla="*/ 155 h 185190"/>
                <a:gd name="connsiteX67" fmla="*/ 110184 w 125902"/>
                <a:gd name="connsiteY67" fmla="*/ 296 h 185190"/>
                <a:gd name="connsiteX68" fmla="*/ 123624 w 125902"/>
                <a:gd name="connsiteY68" fmla="*/ 19032 h 185190"/>
                <a:gd name="connsiteX69" fmla="*/ 122886 w 125902"/>
                <a:gd name="connsiteY69" fmla="*/ 20122 h 185190"/>
                <a:gd name="connsiteX70" fmla="*/ 105578 w 125902"/>
                <a:gd name="connsiteY70" fmla="*/ 15881 h 18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25902" h="185190">
                  <a:moveTo>
                    <a:pt x="92587" y="13532"/>
                  </a:moveTo>
                  <a:cubicBezTo>
                    <a:pt x="92587" y="13511"/>
                    <a:pt x="92559" y="13497"/>
                    <a:pt x="92545" y="13511"/>
                  </a:cubicBezTo>
                  <a:lnTo>
                    <a:pt x="76918" y="26065"/>
                  </a:lnTo>
                  <a:lnTo>
                    <a:pt x="10983" y="66273"/>
                  </a:lnTo>
                  <a:cubicBezTo>
                    <a:pt x="10807" y="66379"/>
                    <a:pt x="10688" y="66554"/>
                    <a:pt x="10652" y="66751"/>
                  </a:cubicBezTo>
                  <a:lnTo>
                    <a:pt x="11" y="127960"/>
                  </a:lnTo>
                  <a:cubicBezTo>
                    <a:pt x="-31" y="128199"/>
                    <a:pt x="47" y="128438"/>
                    <a:pt x="222" y="128600"/>
                  </a:cubicBezTo>
                  <a:cubicBezTo>
                    <a:pt x="5891" y="133727"/>
                    <a:pt x="17320" y="144220"/>
                    <a:pt x="19859" y="147181"/>
                  </a:cubicBezTo>
                  <a:cubicBezTo>
                    <a:pt x="22159" y="149868"/>
                    <a:pt x="24191" y="151732"/>
                    <a:pt x="25745" y="153166"/>
                  </a:cubicBezTo>
                  <a:lnTo>
                    <a:pt x="25745" y="153166"/>
                  </a:lnTo>
                  <a:cubicBezTo>
                    <a:pt x="26378" y="153750"/>
                    <a:pt x="26934" y="154257"/>
                    <a:pt x="27398" y="154721"/>
                  </a:cubicBezTo>
                  <a:cubicBezTo>
                    <a:pt x="29009" y="156331"/>
                    <a:pt x="33854" y="162253"/>
                    <a:pt x="33854" y="165488"/>
                  </a:cubicBezTo>
                  <a:lnTo>
                    <a:pt x="33854" y="177325"/>
                  </a:lnTo>
                  <a:cubicBezTo>
                    <a:pt x="33854" y="179484"/>
                    <a:pt x="46774" y="178225"/>
                    <a:pt x="53230" y="177325"/>
                  </a:cubicBezTo>
                  <a:lnTo>
                    <a:pt x="72072" y="177325"/>
                  </a:lnTo>
                  <a:cubicBezTo>
                    <a:pt x="75996" y="177325"/>
                    <a:pt x="80723" y="177923"/>
                    <a:pt x="84422" y="178394"/>
                  </a:cubicBezTo>
                  <a:cubicBezTo>
                    <a:pt x="86813" y="178696"/>
                    <a:pt x="88783" y="178942"/>
                    <a:pt x="89838" y="178942"/>
                  </a:cubicBezTo>
                  <a:cubicBezTo>
                    <a:pt x="91990" y="178942"/>
                    <a:pt x="104009" y="180377"/>
                    <a:pt x="109755" y="181095"/>
                  </a:cubicBezTo>
                  <a:lnTo>
                    <a:pt x="125017" y="185167"/>
                  </a:lnTo>
                  <a:cubicBezTo>
                    <a:pt x="125467" y="185286"/>
                    <a:pt x="125903" y="184949"/>
                    <a:pt x="125903" y="184485"/>
                  </a:cubicBezTo>
                  <a:lnTo>
                    <a:pt x="125903" y="181095"/>
                  </a:lnTo>
                  <a:lnTo>
                    <a:pt x="125903" y="167985"/>
                  </a:lnTo>
                  <a:cubicBezTo>
                    <a:pt x="125903" y="167767"/>
                    <a:pt x="125798" y="167563"/>
                    <a:pt x="125629" y="167429"/>
                  </a:cubicBezTo>
                  <a:cubicBezTo>
                    <a:pt x="122485" y="165017"/>
                    <a:pt x="116514" y="160277"/>
                    <a:pt x="115677" y="159025"/>
                  </a:cubicBezTo>
                  <a:cubicBezTo>
                    <a:pt x="114601" y="157414"/>
                    <a:pt x="107603" y="145571"/>
                    <a:pt x="107061" y="143418"/>
                  </a:cubicBezTo>
                  <a:cubicBezTo>
                    <a:pt x="106527" y="141259"/>
                    <a:pt x="104368" y="124577"/>
                    <a:pt x="104368" y="120807"/>
                  </a:cubicBezTo>
                  <a:cubicBezTo>
                    <a:pt x="104368" y="118613"/>
                    <a:pt x="111999" y="106368"/>
                    <a:pt x="118912" y="95791"/>
                  </a:cubicBezTo>
                  <a:cubicBezTo>
                    <a:pt x="119095" y="95502"/>
                    <a:pt x="119053" y="95130"/>
                    <a:pt x="118800" y="94904"/>
                  </a:cubicBezTo>
                  <a:cubicBezTo>
                    <a:pt x="118132" y="94314"/>
                    <a:pt x="117506" y="93871"/>
                    <a:pt x="116922" y="93456"/>
                  </a:cubicBezTo>
                  <a:cubicBezTo>
                    <a:pt x="115417" y="92387"/>
                    <a:pt x="114235" y="91543"/>
                    <a:pt x="113518" y="89046"/>
                  </a:cubicBezTo>
                  <a:cubicBezTo>
                    <a:pt x="113173" y="87843"/>
                    <a:pt x="112997" y="86852"/>
                    <a:pt x="112843" y="86001"/>
                  </a:cubicBezTo>
                  <a:cubicBezTo>
                    <a:pt x="112512" y="84186"/>
                    <a:pt x="112294" y="82976"/>
                    <a:pt x="110831" y="81514"/>
                  </a:cubicBezTo>
                  <a:cubicBezTo>
                    <a:pt x="109854" y="80536"/>
                    <a:pt x="109207" y="79122"/>
                    <a:pt x="108546" y="77659"/>
                  </a:cubicBezTo>
                  <a:cubicBezTo>
                    <a:pt x="107744" y="75901"/>
                    <a:pt x="106921" y="74080"/>
                    <a:pt x="105444" y="72898"/>
                  </a:cubicBezTo>
                  <a:cubicBezTo>
                    <a:pt x="104403" y="72061"/>
                    <a:pt x="103109" y="71555"/>
                    <a:pt x="101927" y="71084"/>
                  </a:cubicBezTo>
                  <a:lnTo>
                    <a:pt x="101927" y="71084"/>
                  </a:lnTo>
                  <a:cubicBezTo>
                    <a:pt x="100056" y="70338"/>
                    <a:pt x="98446" y="69698"/>
                    <a:pt x="98446" y="68052"/>
                  </a:cubicBezTo>
                  <a:cubicBezTo>
                    <a:pt x="98446" y="67159"/>
                    <a:pt x="98207" y="66020"/>
                    <a:pt x="97968" y="64887"/>
                  </a:cubicBezTo>
                  <a:cubicBezTo>
                    <a:pt x="97489" y="62609"/>
                    <a:pt x="97011" y="60337"/>
                    <a:pt x="98446" y="59978"/>
                  </a:cubicBezTo>
                  <a:cubicBezTo>
                    <a:pt x="99803" y="59641"/>
                    <a:pt x="100943" y="59732"/>
                    <a:pt x="102406" y="59838"/>
                  </a:cubicBezTo>
                  <a:lnTo>
                    <a:pt x="102406" y="59838"/>
                  </a:lnTo>
                  <a:lnTo>
                    <a:pt x="102406" y="59838"/>
                  </a:lnTo>
                  <a:cubicBezTo>
                    <a:pt x="103271" y="59908"/>
                    <a:pt x="104248" y="59978"/>
                    <a:pt x="105444" y="59978"/>
                  </a:cubicBezTo>
                  <a:cubicBezTo>
                    <a:pt x="107877" y="59978"/>
                    <a:pt x="111443" y="58079"/>
                    <a:pt x="113208" y="56954"/>
                  </a:cubicBezTo>
                  <a:cubicBezTo>
                    <a:pt x="113405" y="56828"/>
                    <a:pt x="113518" y="56610"/>
                    <a:pt x="113518" y="56378"/>
                  </a:cubicBezTo>
                  <a:lnTo>
                    <a:pt x="113518" y="54057"/>
                  </a:lnTo>
                  <a:lnTo>
                    <a:pt x="113518" y="44372"/>
                  </a:lnTo>
                  <a:cubicBezTo>
                    <a:pt x="113518" y="43254"/>
                    <a:pt x="113757" y="41390"/>
                    <a:pt x="114017" y="39308"/>
                  </a:cubicBezTo>
                  <a:lnTo>
                    <a:pt x="114017" y="39308"/>
                  </a:lnTo>
                  <a:cubicBezTo>
                    <a:pt x="114643" y="34357"/>
                    <a:pt x="115417" y="28224"/>
                    <a:pt x="113518" y="28224"/>
                  </a:cubicBezTo>
                  <a:cubicBezTo>
                    <a:pt x="111415" y="28224"/>
                    <a:pt x="109481" y="22731"/>
                    <a:pt x="108728" y="19806"/>
                  </a:cubicBezTo>
                  <a:cubicBezTo>
                    <a:pt x="108693" y="19679"/>
                    <a:pt x="108623" y="19559"/>
                    <a:pt x="108524" y="19468"/>
                  </a:cubicBezTo>
                  <a:lnTo>
                    <a:pt x="104973" y="16099"/>
                  </a:lnTo>
                  <a:cubicBezTo>
                    <a:pt x="104684" y="15825"/>
                    <a:pt x="104227" y="15846"/>
                    <a:pt x="103890" y="16064"/>
                  </a:cubicBezTo>
                  <a:cubicBezTo>
                    <a:pt x="103721" y="16177"/>
                    <a:pt x="103517" y="16282"/>
                    <a:pt x="103292" y="16380"/>
                  </a:cubicBezTo>
                  <a:cubicBezTo>
                    <a:pt x="102265" y="16817"/>
                    <a:pt x="101330" y="17527"/>
                    <a:pt x="100521" y="18329"/>
                  </a:cubicBezTo>
                  <a:cubicBezTo>
                    <a:pt x="99930" y="18905"/>
                    <a:pt x="97187" y="18146"/>
                    <a:pt x="96723" y="17457"/>
                  </a:cubicBezTo>
                  <a:cubicBezTo>
                    <a:pt x="96287" y="16803"/>
                    <a:pt x="95633" y="16380"/>
                    <a:pt x="94683" y="16380"/>
                  </a:cubicBezTo>
                  <a:cubicBezTo>
                    <a:pt x="92721" y="16380"/>
                    <a:pt x="92658" y="14925"/>
                    <a:pt x="92587" y="13532"/>
                  </a:cubicBezTo>
                  <a:lnTo>
                    <a:pt x="92587" y="13532"/>
                  </a:lnTo>
                  <a:close/>
                  <a:moveTo>
                    <a:pt x="105578" y="15881"/>
                  </a:moveTo>
                  <a:cubicBezTo>
                    <a:pt x="105064" y="15755"/>
                    <a:pt x="104860" y="15079"/>
                    <a:pt x="104937" y="14559"/>
                  </a:cubicBezTo>
                  <a:cubicBezTo>
                    <a:pt x="105092" y="13462"/>
                    <a:pt x="104375" y="12231"/>
                    <a:pt x="103657" y="11387"/>
                  </a:cubicBezTo>
                  <a:cubicBezTo>
                    <a:pt x="103573" y="11296"/>
                    <a:pt x="103517" y="11183"/>
                    <a:pt x="103496" y="11063"/>
                  </a:cubicBezTo>
                  <a:lnTo>
                    <a:pt x="102448" y="6056"/>
                  </a:lnTo>
                  <a:cubicBezTo>
                    <a:pt x="102392" y="5796"/>
                    <a:pt x="102483" y="5529"/>
                    <a:pt x="102694" y="5367"/>
                  </a:cubicBezTo>
                  <a:lnTo>
                    <a:pt x="109171" y="155"/>
                  </a:lnTo>
                  <a:cubicBezTo>
                    <a:pt x="109488" y="-98"/>
                    <a:pt x="109952" y="-35"/>
                    <a:pt x="110184" y="296"/>
                  </a:cubicBezTo>
                  <a:lnTo>
                    <a:pt x="123624" y="19032"/>
                  </a:lnTo>
                  <a:cubicBezTo>
                    <a:pt x="124004" y="19559"/>
                    <a:pt x="123519" y="20277"/>
                    <a:pt x="122886" y="20122"/>
                  </a:cubicBezTo>
                  <a:lnTo>
                    <a:pt x="105578" y="1588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2" name="Freihandform: Form 137">
              <a:extLst>
                <a:ext uri="{FF2B5EF4-FFF2-40B4-BE49-F238E27FC236}">
                  <a16:creationId xmlns:a16="http://schemas.microsoft.com/office/drawing/2014/main" id="{C0128BE5-04A2-8C43-A836-ED3F54EE5C3B}"/>
                </a:ext>
              </a:extLst>
            </p:cNvPr>
            <p:cNvSpPr/>
            <p:nvPr/>
          </p:nvSpPr>
          <p:spPr>
            <a:xfrm>
              <a:off x="6201138" y="4305727"/>
              <a:ext cx="179689" cy="150063"/>
            </a:xfrm>
            <a:custGeom>
              <a:avLst/>
              <a:gdLst>
                <a:gd name="connsiteX0" fmla="*/ 173822 w 179689"/>
                <a:gd name="connsiteY0" fmla="*/ 21862 h 150063"/>
                <a:gd name="connsiteX1" fmla="*/ 175489 w 179689"/>
                <a:gd name="connsiteY1" fmla="*/ 25477 h 150063"/>
                <a:gd name="connsiteX2" fmla="*/ 179252 w 179689"/>
                <a:gd name="connsiteY2" fmla="*/ 35703 h 150063"/>
                <a:gd name="connsiteX3" fmla="*/ 171396 w 179689"/>
                <a:gd name="connsiteY3" fmla="*/ 47055 h 150063"/>
                <a:gd name="connsiteX4" fmla="*/ 165256 w 179689"/>
                <a:gd name="connsiteY4" fmla="*/ 55086 h 150063"/>
                <a:gd name="connsiteX5" fmla="*/ 157723 w 179689"/>
                <a:gd name="connsiteY5" fmla="*/ 72845 h 150063"/>
                <a:gd name="connsiteX6" fmla="*/ 150711 w 179689"/>
                <a:gd name="connsiteY6" fmla="*/ 82825 h 150063"/>
                <a:gd name="connsiteX7" fmla="*/ 144804 w 179689"/>
                <a:gd name="connsiteY7" fmla="*/ 91152 h 150063"/>
                <a:gd name="connsiteX8" fmla="*/ 139529 w 179689"/>
                <a:gd name="connsiteY8" fmla="*/ 105710 h 150063"/>
                <a:gd name="connsiteX9" fmla="*/ 139529 w 179689"/>
                <a:gd name="connsiteY9" fmla="*/ 105710 h 150063"/>
                <a:gd name="connsiteX10" fmla="*/ 138882 w 179689"/>
                <a:gd name="connsiteY10" fmla="*/ 107300 h 150063"/>
                <a:gd name="connsiteX11" fmla="*/ 130808 w 179689"/>
                <a:gd name="connsiteY11" fmla="*/ 113221 h 150063"/>
                <a:gd name="connsiteX12" fmla="*/ 118430 w 179689"/>
                <a:gd name="connsiteY12" fmla="*/ 110528 h 150063"/>
                <a:gd name="connsiteX13" fmla="*/ 110890 w 179689"/>
                <a:gd name="connsiteY13" fmla="*/ 110528 h 150063"/>
                <a:gd name="connsiteX14" fmla="*/ 103358 w 179689"/>
                <a:gd name="connsiteY14" fmla="*/ 118067 h 150063"/>
                <a:gd name="connsiteX15" fmla="*/ 100369 w 179689"/>
                <a:gd name="connsiteY15" fmla="*/ 120149 h 150063"/>
                <a:gd name="connsiteX16" fmla="*/ 94201 w 179689"/>
                <a:gd name="connsiteY16" fmla="*/ 125600 h 150063"/>
                <a:gd name="connsiteX17" fmla="*/ 91212 w 179689"/>
                <a:gd name="connsiteY17" fmla="*/ 135348 h 150063"/>
                <a:gd name="connsiteX18" fmla="*/ 91212 w 179689"/>
                <a:gd name="connsiteY18" fmla="*/ 135348 h 150063"/>
                <a:gd name="connsiteX19" fmla="*/ 89362 w 179689"/>
                <a:gd name="connsiteY19" fmla="*/ 141213 h 150063"/>
                <a:gd name="connsiteX20" fmla="*/ 83440 w 179689"/>
                <a:gd name="connsiteY20" fmla="*/ 146059 h 150063"/>
                <a:gd name="connsiteX21" fmla="*/ 68368 w 179689"/>
                <a:gd name="connsiteY21" fmla="*/ 149821 h 150063"/>
                <a:gd name="connsiteX22" fmla="*/ 57629 w 179689"/>
                <a:gd name="connsiteY22" fmla="*/ 149913 h 150063"/>
                <a:gd name="connsiteX23" fmla="*/ 57629 w 179689"/>
                <a:gd name="connsiteY23" fmla="*/ 149913 h 150063"/>
                <a:gd name="connsiteX24" fmla="*/ 54373 w 179689"/>
                <a:gd name="connsiteY24" fmla="*/ 149821 h 150063"/>
                <a:gd name="connsiteX25" fmla="*/ 53015 w 179689"/>
                <a:gd name="connsiteY25" fmla="*/ 149857 h 150063"/>
                <a:gd name="connsiteX26" fmla="*/ 47375 w 179689"/>
                <a:gd name="connsiteY26" fmla="*/ 148211 h 150063"/>
                <a:gd name="connsiteX27" fmla="*/ 45448 w 179689"/>
                <a:gd name="connsiteY27" fmla="*/ 145883 h 150063"/>
                <a:gd name="connsiteX28" fmla="*/ 45448 w 179689"/>
                <a:gd name="connsiteY28" fmla="*/ 145883 h 150063"/>
                <a:gd name="connsiteX29" fmla="*/ 40911 w 179689"/>
                <a:gd name="connsiteY29" fmla="*/ 139595 h 150063"/>
                <a:gd name="connsiteX30" fmla="*/ 36066 w 179689"/>
                <a:gd name="connsiteY30" fmla="*/ 128293 h 150063"/>
                <a:gd name="connsiteX31" fmla="*/ 31227 w 179689"/>
                <a:gd name="connsiteY31" fmla="*/ 120754 h 150063"/>
                <a:gd name="connsiteX32" fmla="*/ 21535 w 179689"/>
                <a:gd name="connsiteY32" fmla="*/ 118067 h 150063"/>
                <a:gd name="connsiteX33" fmla="*/ 9157 w 179689"/>
                <a:gd name="connsiteY33" fmla="*/ 118067 h 150063"/>
                <a:gd name="connsiteX34" fmla="*/ 999 w 179689"/>
                <a:gd name="connsiteY34" fmla="*/ 118067 h 150063"/>
                <a:gd name="connsiteX35" fmla="*/ 0 w 179689"/>
                <a:gd name="connsiteY35" fmla="*/ 90610 h 150063"/>
                <a:gd name="connsiteX36" fmla="*/ 4311 w 179689"/>
                <a:gd name="connsiteY36" fmla="*/ 75538 h 150063"/>
                <a:gd name="connsiteX37" fmla="*/ 7202 w 179689"/>
                <a:gd name="connsiteY37" fmla="*/ 71916 h 150063"/>
                <a:gd name="connsiteX38" fmla="*/ 13996 w 179689"/>
                <a:gd name="connsiteY38" fmla="*/ 63160 h 150063"/>
                <a:gd name="connsiteX39" fmla="*/ 16155 w 179689"/>
                <a:gd name="connsiteY39" fmla="*/ 45936 h 150063"/>
                <a:gd name="connsiteX40" fmla="*/ 12266 w 179689"/>
                <a:gd name="connsiteY40" fmla="*/ 34550 h 150063"/>
                <a:gd name="connsiteX41" fmla="*/ 11830 w 179689"/>
                <a:gd name="connsiteY41" fmla="*/ 36048 h 150063"/>
                <a:gd name="connsiteX42" fmla="*/ 10958 w 179689"/>
                <a:gd name="connsiteY42" fmla="*/ 36561 h 150063"/>
                <a:gd name="connsiteX43" fmla="*/ 11830 w 179689"/>
                <a:gd name="connsiteY43" fmla="*/ 36048 h 150063"/>
                <a:gd name="connsiteX44" fmla="*/ 15614 w 179689"/>
                <a:gd name="connsiteY44" fmla="*/ 23867 h 150063"/>
                <a:gd name="connsiteX45" fmla="*/ 26381 w 179689"/>
                <a:gd name="connsiteY45" fmla="*/ 2873 h 150063"/>
                <a:gd name="connsiteX46" fmla="*/ 32725 w 179689"/>
                <a:gd name="connsiteY46" fmla="*/ 1051 h 150063"/>
                <a:gd name="connsiteX47" fmla="*/ 32725 w 179689"/>
                <a:gd name="connsiteY47" fmla="*/ 1051 h 150063"/>
                <a:gd name="connsiteX48" fmla="*/ 32725 w 179689"/>
                <a:gd name="connsiteY48" fmla="*/ 1051 h 150063"/>
                <a:gd name="connsiteX49" fmla="*/ 38218 w 179689"/>
                <a:gd name="connsiteY49" fmla="*/ 2873 h 150063"/>
                <a:gd name="connsiteX50" fmla="*/ 51567 w 179689"/>
                <a:gd name="connsiteY50" fmla="*/ 9231 h 150063"/>
                <a:gd name="connsiteX51" fmla="*/ 51820 w 179689"/>
                <a:gd name="connsiteY51" fmla="*/ 9378 h 150063"/>
                <a:gd name="connsiteX52" fmla="*/ 59591 w 179689"/>
                <a:gd name="connsiteY52" fmla="*/ 11967 h 150063"/>
                <a:gd name="connsiteX53" fmla="*/ 59922 w 179689"/>
                <a:gd name="connsiteY53" fmla="*/ 11995 h 150063"/>
                <a:gd name="connsiteX54" fmla="*/ 76288 w 179689"/>
                <a:gd name="connsiteY54" fmla="*/ 9357 h 150063"/>
                <a:gd name="connsiteX55" fmla="*/ 76590 w 179689"/>
                <a:gd name="connsiteY55" fmla="*/ 9371 h 150063"/>
                <a:gd name="connsiteX56" fmla="*/ 100664 w 179689"/>
                <a:gd name="connsiteY56" fmla="*/ 14710 h 150063"/>
                <a:gd name="connsiteX57" fmla="*/ 114660 w 179689"/>
                <a:gd name="connsiteY57" fmla="*/ 12023 h 150063"/>
                <a:gd name="connsiteX58" fmla="*/ 118022 w 179689"/>
                <a:gd name="connsiteY58" fmla="*/ 10673 h 150063"/>
                <a:gd name="connsiteX59" fmla="*/ 120582 w 179689"/>
                <a:gd name="connsiteY59" fmla="*/ 9329 h 150063"/>
                <a:gd name="connsiteX60" fmla="*/ 127242 w 179689"/>
                <a:gd name="connsiteY60" fmla="*/ 8830 h 150063"/>
                <a:gd name="connsiteX61" fmla="*/ 129732 w 179689"/>
                <a:gd name="connsiteY61" fmla="*/ 9329 h 150063"/>
                <a:gd name="connsiteX62" fmla="*/ 139240 w 179689"/>
                <a:gd name="connsiteY62" fmla="*/ 14583 h 150063"/>
                <a:gd name="connsiteX63" fmla="*/ 139648 w 179689"/>
                <a:gd name="connsiteY63" fmla="*/ 14710 h 150063"/>
                <a:gd name="connsiteX64" fmla="*/ 155571 w 179689"/>
                <a:gd name="connsiteY64" fmla="*/ 14710 h 150063"/>
                <a:gd name="connsiteX65" fmla="*/ 160713 w 179689"/>
                <a:gd name="connsiteY65" fmla="*/ 10518 h 150063"/>
                <a:gd name="connsiteX66" fmla="*/ 162098 w 179689"/>
                <a:gd name="connsiteY66" fmla="*/ 10609 h 150063"/>
                <a:gd name="connsiteX67" fmla="*/ 166873 w 179689"/>
                <a:gd name="connsiteY67" fmla="*/ 14710 h 150063"/>
                <a:gd name="connsiteX68" fmla="*/ 168547 w 179689"/>
                <a:gd name="connsiteY68" fmla="*/ 17248 h 150063"/>
                <a:gd name="connsiteX69" fmla="*/ 170643 w 179689"/>
                <a:gd name="connsiteY69" fmla="*/ 20097 h 150063"/>
                <a:gd name="connsiteX70" fmla="*/ 172683 w 179689"/>
                <a:gd name="connsiteY70" fmla="*/ 21173 h 150063"/>
                <a:gd name="connsiteX71" fmla="*/ 173822 w 179689"/>
                <a:gd name="connsiteY71" fmla="*/ 21862 h 150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79689" h="150063">
                  <a:moveTo>
                    <a:pt x="173822" y="21862"/>
                  </a:moveTo>
                  <a:cubicBezTo>
                    <a:pt x="174237" y="23691"/>
                    <a:pt x="174785" y="25125"/>
                    <a:pt x="175489" y="25477"/>
                  </a:cubicBezTo>
                  <a:cubicBezTo>
                    <a:pt x="177641" y="26553"/>
                    <a:pt x="180869" y="29781"/>
                    <a:pt x="179252" y="35703"/>
                  </a:cubicBezTo>
                  <a:cubicBezTo>
                    <a:pt x="178330" y="39086"/>
                    <a:pt x="174779" y="43172"/>
                    <a:pt x="171396" y="47055"/>
                  </a:cubicBezTo>
                  <a:cubicBezTo>
                    <a:pt x="168857" y="49973"/>
                    <a:pt x="166416" y="52779"/>
                    <a:pt x="165256" y="55086"/>
                  </a:cubicBezTo>
                  <a:cubicBezTo>
                    <a:pt x="162569" y="60466"/>
                    <a:pt x="158799" y="68540"/>
                    <a:pt x="157723" y="72845"/>
                  </a:cubicBezTo>
                  <a:cubicBezTo>
                    <a:pt x="157161" y="75081"/>
                    <a:pt x="153848" y="79062"/>
                    <a:pt x="150711" y="82825"/>
                  </a:cubicBezTo>
                  <a:cubicBezTo>
                    <a:pt x="147807" y="86306"/>
                    <a:pt x="145064" y="89597"/>
                    <a:pt x="144804" y="91152"/>
                  </a:cubicBezTo>
                  <a:cubicBezTo>
                    <a:pt x="144339" y="93916"/>
                    <a:pt x="141125" y="101807"/>
                    <a:pt x="139529" y="105710"/>
                  </a:cubicBezTo>
                  <a:lnTo>
                    <a:pt x="139529" y="105710"/>
                  </a:lnTo>
                  <a:cubicBezTo>
                    <a:pt x="139262" y="106364"/>
                    <a:pt x="139036" y="106913"/>
                    <a:pt x="138882" y="107300"/>
                  </a:cubicBezTo>
                  <a:cubicBezTo>
                    <a:pt x="137806" y="109993"/>
                    <a:pt x="134036" y="113221"/>
                    <a:pt x="130808" y="113221"/>
                  </a:cubicBezTo>
                  <a:cubicBezTo>
                    <a:pt x="128227" y="113221"/>
                    <a:pt x="121475" y="111428"/>
                    <a:pt x="118430" y="110528"/>
                  </a:cubicBezTo>
                  <a:cubicBezTo>
                    <a:pt x="116812" y="109635"/>
                    <a:pt x="113042" y="108376"/>
                    <a:pt x="110890" y="110528"/>
                  </a:cubicBezTo>
                  <a:lnTo>
                    <a:pt x="103358" y="118067"/>
                  </a:lnTo>
                  <a:cubicBezTo>
                    <a:pt x="102816" y="118602"/>
                    <a:pt x="101670" y="119326"/>
                    <a:pt x="100369" y="120149"/>
                  </a:cubicBezTo>
                  <a:cubicBezTo>
                    <a:pt x="97781" y="121781"/>
                    <a:pt x="94560" y="123813"/>
                    <a:pt x="94201" y="125600"/>
                  </a:cubicBezTo>
                  <a:cubicBezTo>
                    <a:pt x="93884" y="127189"/>
                    <a:pt x="92450" y="131571"/>
                    <a:pt x="91212" y="135348"/>
                  </a:cubicBezTo>
                  <a:lnTo>
                    <a:pt x="91212" y="135348"/>
                  </a:lnTo>
                  <a:cubicBezTo>
                    <a:pt x="90347" y="137985"/>
                    <a:pt x="89580" y="140327"/>
                    <a:pt x="89362" y="141213"/>
                  </a:cubicBezTo>
                  <a:cubicBezTo>
                    <a:pt x="88820" y="143365"/>
                    <a:pt x="87203" y="144976"/>
                    <a:pt x="83440" y="146059"/>
                  </a:cubicBezTo>
                  <a:cubicBezTo>
                    <a:pt x="79671" y="147135"/>
                    <a:pt x="71597" y="149287"/>
                    <a:pt x="68368" y="149821"/>
                  </a:cubicBezTo>
                  <a:cubicBezTo>
                    <a:pt x="66033" y="150215"/>
                    <a:pt x="61167" y="150039"/>
                    <a:pt x="57629" y="149913"/>
                  </a:cubicBezTo>
                  <a:lnTo>
                    <a:pt x="57629" y="149913"/>
                  </a:lnTo>
                  <a:cubicBezTo>
                    <a:pt x="56272" y="149864"/>
                    <a:pt x="55118" y="149821"/>
                    <a:pt x="54373" y="149821"/>
                  </a:cubicBezTo>
                  <a:cubicBezTo>
                    <a:pt x="53916" y="149821"/>
                    <a:pt x="53465" y="149835"/>
                    <a:pt x="53015" y="149857"/>
                  </a:cubicBezTo>
                  <a:cubicBezTo>
                    <a:pt x="50800" y="149927"/>
                    <a:pt x="48718" y="149997"/>
                    <a:pt x="47375" y="148211"/>
                  </a:cubicBezTo>
                  <a:cubicBezTo>
                    <a:pt x="46882" y="147557"/>
                    <a:pt x="46200" y="146755"/>
                    <a:pt x="45448" y="145883"/>
                  </a:cubicBezTo>
                  <a:lnTo>
                    <a:pt x="45448" y="145883"/>
                  </a:lnTo>
                  <a:cubicBezTo>
                    <a:pt x="43724" y="143871"/>
                    <a:pt x="41664" y="141473"/>
                    <a:pt x="40911" y="139595"/>
                  </a:cubicBezTo>
                  <a:cubicBezTo>
                    <a:pt x="40053" y="137443"/>
                    <a:pt x="37325" y="131163"/>
                    <a:pt x="36066" y="128293"/>
                  </a:cubicBezTo>
                  <a:lnTo>
                    <a:pt x="31227" y="120754"/>
                  </a:lnTo>
                  <a:cubicBezTo>
                    <a:pt x="30327" y="119861"/>
                    <a:pt x="27134" y="118067"/>
                    <a:pt x="21535" y="118067"/>
                  </a:cubicBezTo>
                  <a:lnTo>
                    <a:pt x="9157" y="118067"/>
                  </a:lnTo>
                  <a:lnTo>
                    <a:pt x="999" y="118067"/>
                  </a:lnTo>
                  <a:cubicBezTo>
                    <a:pt x="619" y="108418"/>
                    <a:pt x="0" y="92207"/>
                    <a:pt x="0" y="90610"/>
                  </a:cubicBezTo>
                  <a:cubicBezTo>
                    <a:pt x="0" y="88458"/>
                    <a:pt x="2694" y="77690"/>
                    <a:pt x="4311" y="75538"/>
                  </a:cubicBezTo>
                  <a:cubicBezTo>
                    <a:pt x="4867" y="74793"/>
                    <a:pt x="5943" y="73463"/>
                    <a:pt x="7202" y="71916"/>
                  </a:cubicBezTo>
                  <a:cubicBezTo>
                    <a:pt x="9579" y="68991"/>
                    <a:pt x="12589" y="65270"/>
                    <a:pt x="13996" y="63160"/>
                  </a:cubicBezTo>
                  <a:cubicBezTo>
                    <a:pt x="16155" y="59932"/>
                    <a:pt x="16155" y="49699"/>
                    <a:pt x="16155" y="45936"/>
                  </a:cubicBezTo>
                  <a:cubicBezTo>
                    <a:pt x="16155" y="43988"/>
                    <a:pt x="14291" y="39037"/>
                    <a:pt x="12266" y="34550"/>
                  </a:cubicBezTo>
                  <a:cubicBezTo>
                    <a:pt x="12111" y="35070"/>
                    <a:pt x="11963" y="35569"/>
                    <a:pt x="11830" y="36048"/>
                  </a:cubicBezTo>
                  <a:cubicBezTo>
                    <a:pt x="11717" y="36435"/>
                    <a:pt x="11323" y="36617"/>
                    <a:pt x="10958" y="36561"/>
                  </a:cubicBezTo>
                  <a:cubicBezTo>
                    <a:pt x="11323" y="36617"/>
                    <a:pt x="11717" y="36435"/>
                    <a:pt x="11830" y="36048"/>
                  </a:cubicBezTo>
                  <a:cubicBezTo>
                    <a:pt x="13018" y="31940"/>
                    <a:pt x="14875" y="25716"/>
                    <a:pt x="15614" y="23867"/>
                  </a:cubicBezTo>
                  <a:cubicBezTo>
                    <a:pt x="16690" y="21173"/>
                    <a:pt x="21535" y="9329"/>
                    <a:pt x="26381" y="2873"/>
                  </a:cubicBezTo>
                  <a:cubicBezTo>
                    <a:pt x="29314" y="-1045"/>
                    <a:pt x="30671" y="-215"/>
                    <a:pt x="32725" y="1051"/>
                  </a:cubicBezTo>
                  <a:lnTo>
                    <a:pt x="32725" y="1051"/>
                  </a:lnTo>
                  <a:lnTo>
                    <a:pt x="32725" y="1051"/>
                  </a:lnTo>
                  <a:cubicBezTo>
                    <a:pt x="34054" y="1867"/>
                    <a:pt x="35679" y="2873"/>
                    <a:pt x="38218" y="2873"/>
                  </a:cubicBezTo>
                  <a:cubicBezTo>
                    <a:pt x="43310" y="2873"/>
                    <a:pt x="49161" y="7043"/>
                    <a:pt x="51567" y="9231"/>
                  </a:cubicBezTo>
                  <a:cubicBezTo>
                    <a:pt x="51644" y="9294"/>
                    <a:pt x="51728" y="9343"/>
                    <a:pt x="51820" y="9378"/>
                  </a:cubicBezTo>
                  <a:lnTo>
                    <a:pt x="59591" y="11967"/>
                  </a:lnTo>
                  <a:cubicBezTo>
                    <a:pt x="59696" y="12002"/>
                    <a:pt x="59809" y="12009"/>
                    <a:pt x="59922" y="11995"/>
                  </a:cubicBezTo>
                  <a:lnTo>
                    <a:pt x="76288" y="9357"/>
                  </a:lnTo>
                  <a:cubicBezTo>
                    <a:pt x="76386" y="9336"/>
                    <a:pt x="76484" y="9343"/>
                    <a:pt x="76590" y="9371"/>
                  </a:cubicBezTo>
                  <a:cubicBezTo>
                    <a:pt x="82927" y="11179"/>
                    <a:pt x="96388" y="14710"/>
                    <a:pt x="100664" y="14710"/>
                  </a:cubicBezTo>
                  <a:cubicBezTo>
                    <a:pt x="106045" y="14710"/>
                    <a:pt x="111432" y="14710"/>
                    <a:pt x="114660" y="12023"/>
                  </a:cubicBezTo>
                  <a:cubicBezTo>
                    <a:pt x="116271" y="10673"/>
                    <a:pt x="117213" y="10673"/>
                    <a:pt x="118022" y="10673"/>
                  </a:cubicBezTo>
                  <a:cubicBezTo>
                    <a:pt x="118830" y="10673"/>
                    <a:pt x="119506" y="10673"/>
                    <a:pt x="120582" y="9329"/>
                  </a:cubicBezTo>
                  <a:cubicBezTo>
                    <a:pt x="122094" y="7437"/>
                    <a:pt x="124942" y="8204"/>
                    <a:pt x="127242" y="8830"/>
                  </a:cubicBezTo>
                  <a:cubicBezTo>
                    <a:pt x="128220" y="9090"/>
                    <a:pt x="129092" y="9329"/>
                    <a:pt x="129732" y="9329"/>
                  </a:cubicBezTo>
                  <a:cubicBezTo>
                    <a:pt x="131413" y="9329"/>
                    <a:pt x="136652" y="12754"/>
                    <a:pt x="139240" y="14583"/>
                  </a:cubicBezTo>
                  <a:cubicBezTo>
                    <a:pt x="139360" y="14667"/>
                    <a:pt x="139501" y="14710"/>
                    <a:pt x="139648" y="14710"/>
                  </a:cubicBezTo>
                  <a:lnTo>
                    <a:pt x="155571" y="14710"/>
                  </a:lnTo>
                  <a:cubicBezTo>
                    <a:pt x="157308" y="14710"/>
                    <a:pt x="159404" y="12360"/>
                    <a:pt x="160713" y="10518"/>
                  </a:cubicBezTo>
                  <a:cubicBezTo>
                    <a:pt x="161050" y="10039"/>
                    <a:pt x="161817" y="10096"/>
                    <a:pt x="162098" y="10609"/>
                  </a:cubicBezTo>
                  <a:cubicBezTo>
                    <a:pt x="163082" y="12445"/>
                    <a:pt x="164820" y="14710"/>
                    <a:pt x="166873" y="14710"/>
                  </a:cubicBezTo>
                  <a:cubicBezTo>
                    <a:pt x="168428" y="14710"/>
                    <a:pt x="168484" y="15954"/>
                    <a:pt x="168547" y="17248"/>
                  </a:cubicBezTo>
                  <a:cubicBezTo>
                    <a:pt x="168617" y="18641"/>
                    <a:pt x="168688" y="20097"/>
                    <a:pt x="170643" y="20097"/>
                  </a:cubicBezTo>
                  <a:cubicBezTo>
                    <a:pt x="171592" y="20097"/>
                    <a:pt x="172247" y="20526"/>
                    <a:pt x="172683" y="21173"/>
                  </a:cubicBezTo>
                  <a:cubicBezTo>
                    <a:pt x="172845" y="21419"/>
                    <a:pt x="173288" y="21665"/>
                    <a:pt x="173822" y="2186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3" name="Freihandform: Form 138">
              <a:extLst>
                <a:ext uri="{FF2B5EF4-FFF2-40B4-BE49-F238E27FC236}">
                  <a16:creationId xmlns:a16="http://schemas.microsoft.com/office/drawing/2014/main" id="{7F6D8143-C56A-EB44-9C62-3ADBC1A4DC53}"/>
                </a:ext>
              </a:extLst>
            </p:cNvPr>
            <p:cNvSpPr/>
            <p:nvPr/>
          </p:nvSpPr>
          <p:spPr>
            <a:xfrm>
              <a:off x="6381466" y="4328496"/>
              <a:ext cx="194608" cy="155965"/>
            </a:xfrm>
            <a:custGeom>
              <a:avLst/>
              <a:gdLst>
                <a:gd name="connsiteX0" fmla="*/ 21535 w 194608"/>
                <a:gd name="connsiteY0" fmla="*/ 155290 h 155965"/>
                <a:gd name="connsiteX1" fmla="*/ 22281 w 194608"/>
                <a:gd name="connsiteY1" fmla="*/ 155958 h 155965"/>
                <a:gd name="connsiteX2" fmla="*/ 23687 w 194608"/>
                <a:gd name="connsiteY2" fmla="*/ 155585 h 155965"/>
                <a:gd name="connsiteX3" fmla="*/ 27809 w 194608"/>
                <a:gd name="connsiteY3" fmla="*/ 149171 h 155965"/>
                <a:gd name="connsiteX4" fmla="*/ 27992 w 194608"/>
                <a:gd name="connsiteY4" fmla="*/ 148587 h 155965"/>
                <a:gd name="connsiteX5" fmla="*/ 30102 w 194608"/>
                <a:gd name="connsiteY5" fmla="*/ 146189 h 155965"/>
                <a:gd name="connsiteX6" fmla="*/ 30102 w 194608"/>
                <a:gd name="connsiteY6" fmla="*/ 146189 h 155965"/>
                <a:gd name="connsiteX7" fmla="*/ 30102 w 194608"/>
                <a:gd name="connsiteY7" fmla="*/ 146189 h 155965"/>
                <a:gd name="connsiteX8" fmla="*/ 32303 w 194608"/>
                <a:gd name="connsiteY8" fmla="*/ 144276 h 155965"/>
                <a:gd name="connsiteX9" fmla="*/ 34989 w 194608"/>
                <a:gd name="connsiteY9" fmla="*/ 142124 h 155965"/>
                <a:gd name="connsiteX10" fmla="*/ 37683 w 194608"/>
                <a:gd name="connsiteY10" fmla="*/ 139972 h 155965"/>
                <a:gd name="connsiteX11" fmla="*/ 43605 w 194608"/>
                <a:gd name="connsiteY11" fmla="*/ 137278 h 155965"/>
                <a:gd name="connsiteX12" fmla="*/ 53297 w 194608"/>
                <a:gd name="connsiteY12" fmla="*/ 137278 h 155965"/>
                <a:gd name="connsiteX13" fmla="*/ 59837 w 194608"/>
                <a:gd name="connsiteY13" fmla="*/ 134887 h 155965"/>
                <a:gd name="connsiteX14" fmla="*/ 62981 w 194608"/>
                <a:gd name="connsiteY14" fmla="*/ 131356 h 155965"/>
                <a:gd name="connsiteX15" fmla="*/ 62981 w 194608"/>
                <a:gd name="connsiteY15" fmla="*/ 131356 h 155965"/>
                <a:gd name="connsiteX16" fmla="*/ 62981 w 194608"/>
                <a:gd name="connsiteY16" fmla="*/ 131356 h 155965"/>
                <a:gd name="connsiteX17" fmla="*/ 62981 w 194608"/>
                <a:gd name="connsiteY17" fmla="*/ 131356 h 155965"/>
                <a:gd name="connsiteX18" fmla="*/ 64219 w 194608"/>
                <a:gd name="connsiteY18" fmla="*/ 128501 h 155965"/>
                <a:gd name="connsiteX19" fmla="*/ 65133 w 194608"/>
                <a:gd name="connsiteY19" fmla="*/ 127052 h 155965"/>
                <a:gd name="connsiteX20" fmla="*/ 68903 w 194608"/>
                <a:gd name="connsiteY20" fmla="*/ 120054 h 155965"/>
                <a:gd name="connsiteX21" fmla="*/ 68903 w 194608"/>
                <a:gd name="connsiteY21" fmla="*/ 120054 h 155965"/>
                <a:gd name="connsiteX22" fmla="*/ 72047 w 194608"/>
                <a:gd name="connsiteY22" fmla="*/ 119534 h 155965"/>
                <a:gd name="connsiteX23" fmla="*/ 74290 w 194608"/>
                <a:gd name="connsiteY23" fmla="*/ 120054 h 155965"/>
                <a:gd name="connsiteX24" fmla="*/ 79671 w 194608"/>
                <a:gd name="connsiteY24" fmla="*/ 120054 h 155965"/>
                <a:gd name="connsiteX25" fmla="*/ 86127 w 194608"/>
                <a:gd name="connsiteY25" fmla="*/ 122206 h 155965"/>
                <a:gd name="connsiteX26" fmla="*/ 89946 w 194608"/>
                <a:gd name="connsiteY26" fmla="*/ 125167 h 155965"/>
                <a:gd name="connsiteX27" fmla="*/ 93125 w 194608"/>
                <a:gd name="connsiteY27" fmla="*/ 127052 h 155965"/>
                <a:gd name="connsiteX28" fmla="*/ 100123 w 194608"/>
                <a:gd name="connsiteY28" fmla="*/ 128670 h 155965"/>
                <a:gd name="connsiteX29" fmla="*/ 105967 w 194608"/>
                <a:gd name="connsiteY29" fmla="*/ 130090 h 155965"/>
                <a:gd name="connsiteX30" fmla="*/ 105967 w 194608"/>
                <a:gd name="connsiteY30" fmla="*/ 130090 h 155965"/>
                <a:gd name="connsiteX31" fmla="*/ 113584 w 194608"/>
                <a:gd name="connsiteY31" fmla="*/ 131356 h 155965"/>
                <a:gd name="connsiteX32" fmla="*/ 120469 w 194608"/>
                <a:gd name="connsiteY32" fmla="*/ 130330 h 155965"/>
                <a:gd name="connsiteX33" fmla="*/ 125343 w 194608"/>
                <a:gd name="connsiteY33" fmla="*/ 127101 h 155965"/>
                <a:gd name="connsiteX34" fmla="*/ 125491 w 194608"/>
                <a:gd name="connsiteY34" fmla="*/ 126989 h 155965"/>
                <a:gd name="connsiteX35" fmla="*/ 127657 w 194608"/>
                <a:gd name="connsiteY35" fmla="*/ 124668 h 155965"/>
                <a:gd name="connsiteX36" fmla="*/ 130266 w 194608"/>
                <a:gd name="connsiteY36" fmla="*/ 122206 h 155965"/>
                <a:gd name="connsiteX37" fmla="*/ 134655 w 194608"/>
                <a:gd name="connsiteY37" fmla="*/ 120821 h 155965"/>
                <a:gd name="connsiteX38" fmla="*/ 134655 w 194608"/>
                <a:gd name="connsiteY38" fmla="*/ 120821 h 155965"/>
                <a:gd name="connsiteX39" fmla="*/ 138340 w 194608"/>
                <a:gd name="connsiteY39" fmla="*/ 120054 h 155965"/>
                <a:gd name="connsiteX40" fmla="*/ 140774 w 194608"/>
                <a:gd name="connsiteY40" fmla="*/ 119358 h 155965"/>
                <a:gd name="connsiteX41" fmla="*/ 145880 w 194608"/>
                <a:gd name="connsiteY41" fmla="*/ 117360 h 155965"/>
                <a:gd name="connsiteX42" fmla="*/ 149664 w 194608"/>
                <a:gd name="connsiteY42" fmla="*/ 116735 h 155965"/>
                <a:gd name="connsiteX43" fmla="*/ 152336 w 194608"/>
                <a:gd name="connsiteY43" fmla="*/ 117360 h 155965"/>
                <a:gd name="connsiteX44" fmla="*/ 163891 w 194608"/>
                <a:gd name="connsiteY44" fmla="*/ 117360 h 155965"/>
                <a:gd name="connsiteX45" fmla="*/ 164398 w 194608"/>
                <a:gd name="connsiteY45" fmla="*/ 117171 h 155965"/>
                <a:gd name="connsiteX46" fmla="*/ 171719 w 194608"/>
                <a:gd name="connsiteY46" fmla="*/ 114674 h 155965"/>
                <a:gd name="connsiteX47" fmla="*/ 187325 w 194608"/>
                <a:gd name="connsiteY47" fmla="*/ 113056 h 155965"/>
                <a:gd name="connsiteX48" fmla="*/ 193901 w 194608"/>
                <a:gd name="connsiteY48" fmla="*/ 113056 h 155965"/>
                <a:gd name="connsiteX49" fmla="*/ 194450 w 194608"/>
                <a:gd name="connsiteY49" fmla="*/ 111896 h 155965"/>
                <a:gd name="connsiteX50" fmla="*/ 191637 w 194608"/>
                <a:gd name="connsiteY50" fmla="*/ 108210 h 155965"/>
                <a:gd name="connsiteX51" fmla="*/ 187058 w 194608"/>
                <a:gd name="connsiteY51" fmla="*/ 104448 h 155965"/>
                <a:gd name="connsiteX52" fmla="*/ 182487 w 194608"/>
                <a:gd name="connsiteY52" fmla="*/ 100678 h 155965"/>
                <a:gd name="connsiteX53" fmla="*/ 174406 w 194608"/>
                <a:gd name="connsiteY53" fmla="*/ 89376 h 155965"/>
                <a:gd name="connsiteX54" fmla="*/ 158258 w 194608"/>
                <a:gd name="connsiteY54" fmla="*/ 71611 h 155965"/>
                <a:gd name="connsiteX55" fmla="*/ 151372 w 194608"/>
                <a:gd name="connsiteY55" fmla="*/ 62418 h 155965"/>
                <a:gd name="connsiteX56" fmla="*/ 150184 w 194608"/>
                <a:gd name="connsiteY56" fmla="*/ 62461 h 155965"/>
                <a:gd name="connsiteX57" fmla="*/ 150184 w 194608"/>
                <a:gd name="connsiteY57" fmla="*/ 62461 h 155965"/>
                <a:gd name="connsiteX58" fmla="*/ 145873 w 194608"/>
                <a:gd name="connsiteY58" fmla="*/ 63579 h 155965"/>
                <a:gd name="connsiteX59" fmla="*/ 142110 w 194608"/>
                <a:gd name="connsiteY59" fmla="*/ 62461 h 155965"/>
                <a:gd name="connsiteX60" fmla="*/ 137897 w 194608"/>
                <a:gd name="connsiteY60" fmla="*/ 57945 h 155965"/>
                <a:gd name="connsiteX61" fmla="*/ 137264 w 194608"/>
                <a:gd name="connsiteY61" fmla="*/ 55997 h 155965"/>
                <a:gd name="connsiteX62" fmla="*/ 134739 w 194608"/>
                <a:gd name="connsiteY62" fmla="*/ 44604 h 155965"/>
                <a:gd name="connsiteX63" fmla="*/ 134739 w 194608"/>
                <a:gd name="connsiteY63" fmla="*/ 44604 h 155965"/>
                <a:gd name="connsiteX64" fmla="*/ 134578 w 194608"/>
                <a:gd name="connsiteY64" fmla="*/ 43619 h 155965"/>
                <a:gd name="connsiteX65" fmla="*/ 131350 w 194608"/>
                <a:gd name="connsiteY65" fmla="*/ 37156 h 155965"/>
                <a:gd name="connsiteX66" fmla="*/ 131181 w 194608"/>
                <a:gd name="connsiteY66" fmla="*/ 34061 h 155965"/>
                <a:gd name="connsiteX67" fmla="*/ 131350 w 194608"/>
                <a:gd name="connsiteY67" fmla="*/ 30699 h 155965"/>
                <a:gd name="connsiteX68" fmla="*/ 130140 w 194608"/>
                <a:gd name="connsiteY68" fmla="*/ 28568 h 155965"/>
                <a:gd name="connsiteX69" fmla="*/ 130140 w 194608"/>
                <a:gd name="connsiteY69" fmla="*/ 28568 h 155965"/>
                <a:gd name="connsiteX70" fmla="*/ 125962 w 194608"/>
                <a:gd name="connsiteY70" fmla="*/ 22084 h 155965"/>
                <a:gd name="connsiteX71" fmla="*/ 123902 w 194608"/>
                <a:gd name="connsiteY71" fmla="*/ 16992 h 155965"/>
                <a:gd name="connsiteX72" fmla="*/ 122734 w 194608"/>
                <a:gd name="connsiteY72" fmla="*/ 13475 h 155965"/>
                <a:gd name="connsiteX73" fmla="*/ 122516 w 194608"/>
                <a:gd name="connsiteY73" fmla="*/ 6899 h 155965"/>
                <a:gd name="connsiteX74" fmla="*/ 122439 w 194608"/>
                <a:gd name="connsiteY74" fmla="*/ 6105 h 155965"/>
                <a:gd name="connsiteX75" fmla="*/ 118134 w 194608"/>
                <a:gd name="connsiteY75" fmla="*/ 0 h 155965"/>
                <a:gd name="connsiteX76" fmla="*/ 118134 w 194608"/>
                <a:gd name="connsiteY76" fmla="*/ 0 h 155965"/>
                <a:gd name="connsiteX77" fmla="*/ 118134 w 194608"/>
                <a:gd name="connsiteY77" fmla="*/ 0 h 155965"/>
                <a:gd name="connsiteX78" fmla="*/ 118134 w 194608"/>
                <a:gd name="connsiteY78" fmla="*/ 0 h 155965"/>
                <a:gd name="connsiteX79" fmla="*/ 122439 w 194608"/>
                <a:gd name="connsiteY79" fmla="*/ 6105 h 155965"/>
                <a:gd name="connsiteX80" fmla="*/ 122516 w 194608"/>
                <a:gd name="connsiteY80" fmla="*/ 6899 h 155965"/>
                <a:gd name="connsiteX81" fmla="*/ 122734 w 194608"/>
                <a:gd name="connsiteY81" fmla="*/ 13475 h 155965"/>
                <a:gd name="connsiteX82" fmla="*/ 123902 w 194608"/>
                <a:gd name="connsiteY82" fmla="*/ 16999 h 155965"/>
                <a:gd name="connsiteX83" fmla="*/ 124429 w 194608"/>
                <a:gd name="connsiteY83" fmla="*/ 19467 h 155965"/>
                <a:gd name="connsiteX84" fmla="*/ 124190 w 194608"/>
                <a:gd name="connsiteY84" fmla="*/ 20347 h 155965"/>
                <a:gd name="connsiteX85" fmla="*/ 117347 w 194608"/>
                <a:gd name="connsiteY85" fmla="*/ 25319 h 155965"/>
                <a:gd name="connsiteX86" fmla="*/ 106938 w 194608"/>
                <a:gd name="connsiteY86" fmla="*/ 36565 h 155965"/>
                <a:gd name="connsiteX87" fmla="*/ 106938 w 194608"/>
                <a:gd name="connsiteY87" fmla="*/ 36572 h 155965"/>
                <a:gd name="connsiteX88" fmla="*/ 106931 w 194608"/>
                <a:gd name="connsiteY88" fmla="*/ 36572 h 155965"/>
                <a:gd name="connsiteX89" fmla="*/ 106045 w 194608"/>
                <a:gd name="connsiteY89" fmla="*/ 37697 h 155965"/>
                <a:gd name="connsiteX90" fmla="*/ 96353 w 194608"/>
                <a:gd name="connsiteY90" fmla="*/ 48999 h 155965"/>
                <a:gd name="connsiteX91" fmla="*/ 85592 w 194608"/>
                <a:gd name="connsiteY91" fmla="*/ 53845 h 155965"/>
                <a:gd name="connsiteX92" fmla="*/ 68263 w 194608"/>
                <a:gd name="connsiteY92" fmla="*/ 53845 h 155965"/>
                <a:gd name="connsiteX93" fmla="*/ 67475 w 194608"/>
                <a:gd name="connsiteY93" fmla="*/ 54801 h 155965"/>
                <a:gd name="connsiteX94" fmla="*/ 65675 w 194608"/>
                <a:gd name="connsiteY94" fmla="*/ 60308 h 155965"/>
                <a:gd name="connsiteX95" fmla="*/ 65274 w 194608"/>
                <a:gd name="connsiteY95" fmla="*/ 60787 h 155965"/>
                <a:gd name="connsiteX96" fmla="*/ 65274 w 194608"/>
                <a:gd name="connsiteY96" fmla="*/ 60787 h 155965"/>
                <a:gd name="connsiteX97" fmla="*/ 65274 w 194608"/>
                <a:gd name="connsiteY97" fmla="*/ 60787 h 155965"/>
                <a:gd name="connsiteX98" fmla="*/ 63277 w 194608"/>
                <a:gd name="connsiteY98" fmla="*/ 63051 h 155965"/>
                <a:gd name="connsiteX99" fmla="*/ 60379 w 194608"/>
                <a:gd name="connsiteY99" fmla="*/ 65358 h 155965"/>
                <a:gd name="connsiteX100" fmla="*/ 60372 w 194608"/>
                <a:gd name="connsiteY100" fmla="*/ 65358 h 155965"/>
                <a:gd name="connsiteX101" fmla="*/ 59212 w 194608"/>
                <a:gd name="connsiteY101" fmla="*/ 66223 h 155965"/>
                <a:gd name="connsiteX102" fmla="*/ 56145 w 194608"/>
                <a:gd name="connsiteY102" fmla="*/ 68671 h 155965"/>
                <a:gd name="connsiteX103" fmla="*/ 50061 w 194608"/>
                <a:gd name="connsiteY103" fmla="*/ 72145 h 155965"/>
                <a:gd name="connsiteX104" fmla="*/ 45849 w 194608"/>
                <a:gd name="connsiteY104" fmla="*/ 71892 h 155965"/>
                <a:gd name="connsiteX105" fmla="*/ 45849 w 194608"/>
                <a:gd name="connsiteY105" fmla="*/ 71892 h 155965"/>
                <a:gd name="connsiteX106" fmla="*/ 45849 w 194608"/>
                <a:gd name="connsiteY106" fmla="*/ 71892 h 155965"/>
                <a:gd name="connsiteX107" fmla="*/ 45849 w 194608"/>
                <a:gd name="connsiteY107" fmla="*/ 71892 h 155965"/>
                <a:gd name="connsiteX108" fmla="*/ 45849 w 194608"/>
                <a:gd name="connsiteY108" fmla="*/ 71892 h 155965"/>
                <a:gd name="connsiteX109" fmla="*/ 39835 w 194608"/>
                <a:gd name="connsiteY109" fmla="*/ 72145 h 155965"/>
                <a:gd name="connsiteX110" fmla="*/ 29469 w 194608"/>
                <a:gd name="connsiteY110" fmla="*/ 73763 h 155965"/>
                <a:gd name="connsiteX111" fmla="*/ 28843 w 194608"/>
                <a:gd name="connsiteY111" fmla="*/ 74086 h 155965"/>
                <a:gd name="connsiteX112" fmla="*/ 23146 w 194608"/>
                <a:gd name="connsiteY112" fmla="*/ 76456 h 155965"/>
                <a:gd name="connsiteX113" fmla="*/ 19292 w 194608"/>
                <a:gd name="connsiteY113" fmla="*/ 77202 h 155965"/>
                <a:gd name="connsiteX114" fmla="*/ 15072 w 194608"/>
                <a:gd name="connsiteY114" fmla="*/ 76456 h 155965"/>
                <a:gd name="connsiteX115" fmla="*/ 12554 w 194608"/>
                <a:gd name="connsiteY115" fmla="*/ 74403 h 155965"/>
                <a:gd name="connsiteX116" fmla="*/ 9150 w 194608"/>
                <a:gd name="connsiteY116" fmla="*/ 69993 h 155965"/>
                <a:gd name="connsiteX117" fmla="*/ 8475 w 194608"/>
                <a:gd name="connsiteY117" fmla="*/ 66948 h 155965"/>
                <a:gd name="connsiteX118" fmla="*/ 6464 w 194608"/>
                <a:gd name="connsiteY118" fmla="*/ 62461 h 155965"/>
                <a:gd name="connsiteX119" fmla="*/ 4522 w 194608"/>
                <a:gd name="connsiteY119" fmla="*/ 59359 h 155965"/>
                <a:gd name="connsiteX120" fmla="*/ 4522 w 194608"/>
                <a:gd name="connsiteY120" fmla="*/ 59359 h 155965"/>
                <a:gd name="connsiteX121" fmla="*/ 4522 w 194608"/>
                <a:gd name="connsiteY121" fmla="*/ 59359 h 155965"/>
                <a:gd name="connsiteX122" fmla="*/ 4522 w 194608"/>
                <a:gd name="connsiteY122" fmla="*/ 59359 h 155965"/>
                <a:gd name="connsiteX123" fmla="*/ 6464 w 194608"/>
                <a:gd name="connsiteY123" fmla="*/ 62461 h 155965"/>
                <a:gd name="connsiteX124" fmla="*/ 8475 w 194608"/>
                <a:gd name="connsiteY124" fmla="*/ 66948 h 155965"/>
                <a:gd name="connsiteX125" fmla="*/ 9150 w 194608"/>
                <a:gd name="connsiteY125" fmla="*/ 69993 h 155965"/>
                <a:gd name="connsiteX126" fmla="*/ 12554 w 194608"/>
                <a:gd name="connsiteY126" fmla="*/ 74403 h 155965"/>
                <a:gd name="connsiteX127" fmla="*/ 14432 w 194608"/>
                <a:gd name="connsiteY127" fmla="*/ 75851 h 155965"/>
                <a:gd name="connsiteX128" fmla="*/ 14544 w 194608"/>
                <a:gd name="connsiteY128" fmla="*/ 76731 h 155965"/>
                <a:gd name="connsiteX129" fmla="*/ 0 w 194608"/>
                <a:gd name="connsiteY129" fmla="*/ 101754 h 155965"/>
                <a:gd name="connsiteX130" fmla="*/ 2694 w 194608"/>
                <a:gd name="connsiteY130" fmla="*/ 124359 h 155965"/>
                <a:gd name="connsiteX131" fmla="*/ 11309 w 194608"/>
                <a:gd name="connsiteY131" fmla="*/ 139972 h 155965"/>
                <a:gd name="connsiteX132" fmla="*/ 21261 w 194608"/>
                <a:gd name="connsiteY132" fmla="*/ 148376 h 155965"/>
                <a:gd name="connsiteX133" fmla="*/ 21535 w 194608"/>
                <a:gd name="connsiteY133" fmla="*/ 148932 h 155965"/>
                <a:gd name="connsiteX134" fmla="*/ 21535 w 194608"/>
                <a:gd name="connsiteY134" fmla="*/ 155290 h 155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194608" h="155965">
                  <a:moveTo>
                    <a:pt x="21535" y="155290"/>
                  </a:moveTo>
                  <a:cubicBezTo>
                    <a:pt x="21535" y="155698"/>
                    <a:pt x="21880" y="156021"/>
                    <a:pt x="22281" y="155958"/>
                  </a:cubicBezTo>
                  <a:cubicBezTo>
                    <a:pt x="22759" y="155888"/>
                    <a:pt x="23230" y="155761"/>
                    <a:pt x="23687" y="155585"/>
                  </a:cubicBezTo>
                  <a:cubicBezTo>
                    <a:pt x="26100" y="154622"/>
                    <a:pt x="27211" y="151063"/>
                    <a:pt x="27809" y="149171"/>
                  </a:cubicBezTo>
                  <a:cubicBezTo>
                    <a:pt x="27879" y="148953"/>
                    <a:pt x="27935" y="148756"/>
                    <a:pt x="27992" y="148587"/>
                  </a:cubicBezTo>
                  <a:cubicBezTo>
                    <a:pt x="28329" y="147589"/>
                    <a:pt x="29068" y="146998"/>
                    <a:pt x="30102" y="146189"/>
                  </a:cubicBezTo>
                  <a:lnTo>
                    <a:pt x="30102" y="146189"/>
                  </a:lnTo>
                  <a:lnTo>
                    <a:pt x="30102" y="146189"/>
                  </a:lnTo>
                  <a:cubicBezTo>
                    <a:pt x="30735" y="145690"/>
                    <a:pt x="31480" y="145099"/>
                    <a:pt x="32303" y="144276"/>
                  </a:cubicBezTo>
                  <a:cubicBezTo>
                    <a:pt x="33379" y="143200"/>
                    <a:pt x="34181" y="142665"/>
                    <a:pt x="34989" y="142124"/>
                  </a:cubicBezTo>
                  <a:cubicBezTo>
                    <a:pt x="35799" y="141589"/>
                    <a:pt x="36607" y="141048"/>
                    <a:pt x="37683" y="139972"/>
                  </a:cubicBezTo>
                  <a:cubicBezTo>
                    <a:pt x="39835" y="137820"/>
                    <a:pt x="41987" y="137278"/>
                    <a:pt x="43605" y="137278"/>
                  </a:cubicBezTo>
                  <a:lnTo>
                    <a:pt x="53297" y="137278"/>
                  </a:lnTo>
                  <a:cubicBezTo>
                    <a:pt x="57903" y="137278"/>
                    <a:pt x="58128" y="137004"/>
                    <a:pt x="59837" y="134887"/>
                  </a:cubicBezTo>
                  <a:cubicBezTo>
                    <a:pt x="60520" y="134043"/>
                    <a:pt x="61441" y="132897"/>
                    <a:pt x="62981" y="131356"/>
                  </a:cubicBezTo>
                  <a:cubicBezTo>
                    <a:pt x="62981" y="131356"/>
                    <a:pt x="62981" y="131356"/>
                    <a:pt x="62981" y="131356"/>
                  </a:cubicBezTo>
                  <a:lnTo>
                    <a:pt x="62981" y="131356"/>
                  </a:lnTo>
                  <a:lnTo>
                    <a:pt x="62981" y="131356"/>
                  </a:lnTo>
                  <a:cubicBezTo>
                    <a:pt x="63628" y="129753"/>
                    <a:pt x="63889" y="129106"/>
                    <a:pt x="64219" y="128501"/>
                  </a:cubicBezTo>
                  <a:cubicBezTo>
                    <a:pt x="64444" y="128093"/>
                    <a:pt x="64704" y="127699"/>
                    <a:pt x="65133" y="127052"/>
                  </a:cubicBezTo>
                  <a:cubicBezTo>
                    <a:pt x="66209" y="125441"/>
                    <a:pt x="67827" y="122206"/>
                    <a:pt x="68903" y="120054"/>
                  </a:cubicBezTo>
                  <a:lnTo>
                    <a:pt x="68903" y="120054"/>
                  </a:lnTo>
                  <a:cubicBezTo>
                    <a:pt x="69599" y="118662"/>
                    <a:pt x="70746" y="119070"/>
                    <a:pt x="72047" y="119534"/>
                  </a:cubicBezTo>
                  <a:cubicBezTo>
                    <a:pt x="72764" y="119787"/>
                    <a:pt x="73524" y="120054"/>
                    <a:pt x="74290" y="120054"/>
                  </a:cubicBezTo>
                  <a:lnTo>
                    <a:pt x="79671" y="120054"/>
                  </a:lnTo>
                  <a:cubicBezTo>
                    <a:pt x="81823" y="120054"/>
                    <a:pt x="82364" y="120054"/>
                    <a:pt x="86127" y="122206"/>
                  </a:cubicBezTo>
                  <a:cubicBezTo>
                    <a:pt x="87836" y="123184"/>
                    <a:pt x="88989" y="124274"/>
                    <a:pt x="89946" y="125167"/>
                  </a:cubicBezTo>
                  <a:cubicBezTo>
                    <a:pt x="91092" y="126250"/>
                    <a:pt x="91950" y="127052"/>
                    <a:pt x="93125" y="127052"/>
                  </a:cubicBezTo>
                  <a:cubicBezTo>
                    <a:pt x="95277" y="127052"/>
                    <a:pt x="98512" y="127052"/>
                    <a:pt x="100123" y="128670"/>
                  </a:cubicBezTo>
                  <a:cubicBezTo>
                    <a:pt x="101009" y="129556"/>
                    <a:pt x="103196" y="129795"/>
                    <a:pt x="105967" y="130090"/>
                  </a:cubicBezTo>
                  <a:lnTo>
                    <a:pt x="105967" y="130090"/>
                  </a:lnTo>
                  <a:cubicBezTo>
                    <a:pt x="108239" y="130343"/>
                    <a:pt x="110911" y="130632"/>
                    <a:pt x="113584" y="131356"/>
                  </a:cubicBezTo>
                  <a:cubicBezTo>
                    <a:pt x="117621" y="132460"/>
                    <a:pt x="118155" y="132060"/>
                    <a:pt x="120469" y="130330"/>
                  </a:cubicBezTo>
                  <a:cubicBezTo>
                    <a:pt x="121538" y="129535"/>
                    <a:pt x="122987" y="128452"/>
                    <a:pt x="125343" y="127101"/>
                  </a:cubicBezTo>
                  <a:cubicBezTo>
                    <a:pt x="125400" y="127066"/>
                    <a:pt x="125449" y="127031"/>
                    <a:pt x="125491" y="126989"/>
                  </a:cubicBezTo>
                  <a:cubicBezTo>
                    <a:pt x="126518" y="125955"/>
                    <a:pt x="127144" y="125245"/>
                    <a:pt x="127657" y="124668"/>
                  </a:cubicBezTo>
                  <a:cubicBezTo>
                    <a:pt x="128452" y="123768"/>
                    <a:pt x="128972" y="123184"/>
                    <a:pt x="130266" y="122206"/>
                  </a:cubicBezTo>
                  <a:cubicBezTo>
                    <a:pt x="131539" y="121257"/>
                    <a:pt x="133002" y="121053"/>
                    <a:pt x="134655" y="120821"/>
                  </a:cubicBezTo>
                  <a:lnTo>
                    <a:pt x="134655" y="120821"/>
                  </a:lnTo>
                  <a:cubicBezTo>
                    <a:pt x="135794" y="120666"/>
                    <a:pt x="137025" y="120497"/>
                    <a:pt x="138340" y="120054"/>
                  </a:cubicBezTo>
                  <a:cubicBezTo>
                    <a:pt x="139423" y="119695"/>
                    <a:pt x="140141" y="119520"/>
                    <a:pt x="140774" y="119358"/>
                  </a:cubicBezTo>
                  <a:cubicBezTo>
                    <a:pt x="142054" y="119041"/>
                    <a:pt x="143010" y="118802"/>
                    <a:pt x="145880" y="117360"/>
                  </a:cubicBezTo>
                  <a:cubicBezTo>
                    <a:pt x="148454" y="116081"/>
                    <a:pt x="148911" y="116327"/>
                    <a:pt x="149664" y="116735"/>
                  </a:cubicBezTo>
                  <a:cubicBezTo>
                    <a:pt x="150177" y="117016"/>
                    <a:pt x="150824" y="117360"/>
                    <a:pt x="152336" y="117360"/>
                  </a:cubicBezTo>
                  <a:lnTo>
                    <a:pt x="163891" y="117360"/>
                  </a:lnTo>
                  <a:cubicBezTo>
                    <a:pt x="164074" y="117360"/>
                    <a:pt x="164250" y="117290"/>
                    <a:pt x="164398" y="117171"/>
                  </a:cubicBezTo>
                  <a:cubicBezTo>
                    <a:pt x="165896" y="115968"/>
                    <a:pt x="169841" y="115012"/>
                    <a:pt x="171719" y="114674"/>
                  </a:cubicBezTo>
                  <a:cubicBezTo>
                    <a:pt x="174230" y="114132"/>
                    <a:pt x="180869" y="113056"/>
                    <a:pt x="187325" y="113056"/>
                  </a:cubicBezTo>
                  <a:lnTo>
                    <a:pt x="193901" y="113056"/>
                  </a:lnTo>
                  <a:cubicBezTo>
                    <a:pt x="194499" y="113056"/>
                    <a:pt x="194823" y="112360"/>
                    <a:pt x="194450" y="111896"/>
                  </a:cubicBezTo>
                  <a:cubicBezTo>
                    <a:pt x="193479" y="110700"/>
                    <a:pt x="192256" y="109146"/>
                    <a:pt x="191637" y="108210"/>
                  </a:cubicBezTo>
                  <a:cubicBezTo>
                    <a:pt x="191095" y="107409"/>
                    <a:pt x="189077" y="105925"/>
                    <a:pt x="187058" y="104448"/>
                  </a:cubicBezTo>
                  <a:cubicBezTo>
                    <a:pt x="185040" y="102964"/>
                    <a:pt x="183021" y="101487"/>
                    <a:pt x="182487" y="100678"/>
                  </a:cubicBezTo>
                  <a:cubicBezTo>
                    <a:pt x="181404" y="99060"/>
                    <a:pt x="176023" y="91528"/>
                    <a:pt x="174406" y="89376"/>
                  </a:cubicBezTo>
                  <a:cubicBezTo>
                    <a:pt x="172795" y="87217"/>
                    <a:pt x="164721" y="76456"/>
                    <a:pt x="158258" y="71611"/>
                  </a:cubicBezTo>
                  <a:cubicBezTo>
                    <a:pt x="155867" y="69817"/>
                    <a:pt x="153461" y="66265"/>
                    <a:pt x="151372" y="62418"/>
                  </a:cubicBezTo>
                  <a:cubicBezTo>
                    <a:pt x="151112" y="61933"/>
                    <a:pt x="150402" y="61947"/>
                    <a:pt x="150184" y="62461"/>
                  </a:cubicBezTo>
                  <a:lnTo>
                    <a:pt x="150184" y="62461"/>
                  </a:lnTo>
                  <a:cubicBezTo>
                    <a:pt x="149129" y="64922"/>
                    <a:pt x="147842" y="64395"/>
                    <a:pt x="145873" y="63579"/>
                  </a:cubicBezTo>
                  <a:cubicBezTo>
                    <a:pt x="144832" y="63150"/>
                    <a:pt x="143601" y="62643"/>
                    <a:pt x="142110" y="62461"/>
                  </a:cubicBezTo>
                  <a:cubicBezTo>
                    <a:pt x="138938" y="62060"/>
                    <a:pt x="138397" y="59915"/>
                    <a:pt x="137897" y="57945"/>
                  </a:cubicBezTo>
                  <a:cubicBezTo>
                    <a:pt x="137721" y="57242"/>
                    <a:pt x="137553" y="56567"/>
                    <a:pt x="137264" y="55997"/>
                  </a:cubicBezTo>
                  <a:cubicBezTo>
                    <a:pt x="136287" y="54042"/>
                    <a:pt x="135316" y="48099"/>
                    <a:pt x="134739" y="44604"/>
                  </a:cubicBezTo>
                  <a:lnTo>
                    <a:pt x="134739" y="44604"/>
                  </a:lnTo>
                  <a:cubicBezTo>
                    <a:pt x="134683" y="44245"/>
                    <a:pt x="134627" y="43914"/>
                    <a:pt x="134578" y="43619"/>
                  </a:cubicBezTo>
                  <a:cubicBezTo>
                    <a:pt x="134036" y="40391"/>
                    <a:pt x="133502" y="39315"/>
                    <a:pt x="131350" y="37156"/>
                  </a:cubicBezTo>
                  <a:cubicBezTo>
                    <a:pt x="130245" y="36058"/>
                    <a:pt x="130695" y="35095"/>
                    <a:pt x="131181" y="34061"/>
                  </a:cubicBezTo>
                  <a:cubicBezTo>
                    <a:pt x="131638" y="33069"/>
                    <a:pt x="132137" y="32014"/>
                    <a:pt x="131350" y="30699"/>
                  </a:cubicBezTo>
                  <a:cubicBezTo>
                    <a:pt x="130885" y="29933"/>
                    <a:pt x="130513" y="29250"/>
                    <a:pt x="130140" y="28568"/>
                  </a:cubicBezTo>
                  <a:lnTo>
                    <a:pt x="130140" y="28568"/>
                  </a:lnTo>
                  <a:cubicBezTo>
                    <a:pt x="129205" y="26866"/>
                    <a:pt x="128269" y="25164"/>
                    <a:pt x="125962" y="22084"/>
                  </a:cubicBezTo>
                  <a:cubicBezTo>
                    <a:pt x="124176" y="19707"/>
                    <a:pt x="124035" y="18314"/>
                    <a:pt x="123902" y="16992"/>
                  </a:cubicBezTo>
                  <a:cubicBezTo>
                    <a:pt x="123796" y="15930"/>
                    <a:pt x="123698" y="14917"/>
                    <a:pt x="122734" y="13475"/>
                  </a:cubicBezTo>
                  <a:cubicBezTo>
                    <a:pt x="121180" y="11147"/>
                    <a:pt x="121841" y="8348"/>
                    <a:pt x="122516" y="6899"/>
                  </a:cubicBezTo>
                  <a:cubicBezTo>
                    <a:pt x="122635" y="6639"/>
                    <a:pt x="122615" y="6330"/>
                    <a:pt x="122439" y="6105"/>
                  </a:cubicBezTo>
                  <a:cubicBezTo>
                    <a:pt x="121208" y="4543"/>
                    <a:pt x="119456" y="2159"/>
                    <a:pt x="118134" y="0"/>
                  </a:cubicBezTo>
                  <a:cubicBezTo>
                    <a:pt x="118134" y="0"/>
                    <a:pt x="118134" y="0"/>
                    <a:pt x="118134" y="0"/>
                  </a:cubicBezTo>
                  <a:lnTo>
                    <a:pt x="118134" y="0"/>
                  </a:lnTo>
                  <a:cubicBezTo>
                    <a:pt x="118134" y="0"/>
                    <a:pt x="118134" y="0"/>
                    <a:pt x="118134" y="0"/>
                  </a:cubicBezTo>
                  <a:cubicBezTo>
                    <a:pt x="119456" y="2159"/>
                    <a:pt x="121208" y="4543"/>
                    <a:pt x="122439" y="6105"/>
                  </a:cubicBezTo>
                  <a:cubicBezTo>
                    <a:pt x="122615" y="6330"/>
                    <a:pt x="122635" y="6639"/>
                    <a:pt x="122516" y="6899"/>
                  </a:cubicBezTo>
                  <a:cubicBezTo>
                    <a:pt x="121841" y="8348"/>
                    <a:pt x="121180" y="11147"/>
                    <a:pt x="122734" y="13475"/>
                  </a:cubicBezTo>
                  <a:cubicBezTo>
                    <a:pt x="123698" y="14917"/>
                    <a:pt x="123796" y="15930"/>
                    <a:pt x="123902" y="16999"/>
                  </a:cubicBezTo>
                  <a:cubicBezTo>
                    <a:pt x="123979" y="17737"/>
                    <a:pt x="124056" y="18504"/>
                    <a:pt x="124429" y="19467"/>
                  </a:cubicBezTo>
                  <a:cubicBezTo>
                    <a:pt x="124555" y="19784"/>
                    <a:pt x="124464" y="20150"/>
                    <a:pt x="124190" y="20347"/>
                  </a:cubicBezTo>
                  <a:cubicBezTo>
                    <a:pt x="121257" y="22449"/>
                    <a:pt x="118697" y="24306"/>
                    <a:pt x="117347" y="25319"/>
                  </a:cubicBezTo>
                  <a:cubicBezTo>
                    <a:pt x="113563" y="28153"/>
                    <a:pt x="109364" y="33491"/>
                    <a:pt x="106938" y="36565"/>
                  </a:cubicBezTo>
                  <a:lnTo>
                    <a:pt x="106938" y="36572"/>
                  </a:lnTo>
                  <a:lnTo>
                    <a:pt x="106931" y="36572"/>
                  </a:lnTo>
                  <a:cubicBezTo>
                    <a:pt x="106600" y="36994"/>
                    <a:pt x="106305" y="37374"/>
                    <a:pt x="106045" y="37697"/>
                  </a:cubicBezTo>
                  <a:cubicBezTo>
                    <a:pt x="103892" y="40391"/>
                    <a:pt x="98512" y="46847"/>
                    <a:pt x="96353" y="48999"/>
                  </a:cubicBezTo>
                  <a:cubicBezTo>
                    <a:pt x="94201" y="51151"/>
                    <a:pt x="87203" y="53845"/>
                    <a:pt x="85592" y="53845"/>
                  </a:cubicBezTo>
                  <a:lnTo>
                    <a:pt x="68263" y="53845"/>
                  </a:lnTo>
                  <a:cubicBezTo>
                    <a:pt x="67785" y="53845"/>
                    <a:pt x="67433" y="54323"/>
                    <a:pt x="67475" y="54801"/>
                  </a:cubicBezTo>
                  <a:cubicBezTo>
                    <a:pt x="67609" y="56159"/>
                    <a:pt x="67349" y="58297"/>
                    <a:pt x="65675" y="60308"/>
                  </a:cubicBezTo>
                  <a:cubicBezTo>
                    <a:pt x="65534" y="60477"/>
                    <a:pt x="65401" y="60639"/>
                    <a:pt x="65274" y="60787"/>
                  </a:cubicBezTo>
                  <a:lnTo>
                    <a:pt x="65274" y="60787"/>
                  </a:lnTo>
                  <a:lnTo>
                    <a:pt x="65274" y="60787"/>
                  </a:lnTo>
                  <a:cubicBezTo>
                    <a:pt x="64338" y="61912"/>
                    <a:pt x="63839" y="62510"/>
                    <a:pt x="63277" y="63051"/>
                  </a:cubicBezTo>
                  <a:cubicBezTo>
                    <a:pt x="62636" y="63670"/>
                    <a:pt x="61919" y="64205"/>
                    <a:pt x="60379" y="65358"/>
                  </a:cubicBezTo>
                  <a:lnTo>
                    <a:pt x="60372" y="65358"/>
                  </a:lnTo>
                  <a:cubicBezTo>
                    <a:pt x="60034" y="65611"/>
                    <a:pt x="59647" y="65900"/>
                    <a:pt x="59212" y="66223"/>
                  </a:cubicBezTo>
                  <a:cubicBezTo>
                    <a:pt x="58009" y="67130"/>
                    <a:pt x="57017" y="67946"/>
                    <a:pt x="56145" y="68671"/>
                  </a:cubicBezTo>
                  <a:cubicBezTo>
                    <a:pt x="53880" y="70535"/>
                    <a:pt x="52389" y="71758"/>
                    <a:pt x="50061" y="72145"/>
                  </a:cubicBezTo>
                  <a:cubicBezTo>
                    <a:pt x="48725" y="72370"/>
                    <a:pt x="47297" y="72131"/>
                    <a:pt x="45849" y="71892"/>
                  </a:cubicBezTo>
                  <a:cubicBezTo>
                    <a:pt x="45849" y="71892"/>
                    <a:pt x="45849" y="71892"/>
                    <a:pt x="45849" y="71892"/>
                  </a:cubicBezTo>
                  <a:lnTo>
                    <a:pt x="45849" y="71892"/>
                  </a:lnTo>
                  <a:lnTo>
                    <a:pt x="45849" y="71892"/>
                  </a:lnTo>
                  <a:cubicBezTo>
                    <a:pt x="45849" y="71892"/>
                    <a:pt x="45849" y="71892"/>
                    <a:pt x="45849" y="71892"/>
                  </a:cubicBezTo>
                  <a:cubicBezTo>
                    <a:pt x="43802" y="71547"/>
                    <a:pt x="41727" y="71203"/>
                    <a:pt x="39835" y="72145"/>
                  </a:cubicBezTo>
                  <a:cubicBezTo>
                    <a:pt x="37381" y="73376"/>
                    <a:pt x="32134" y="73727"/>
                    <a:pt x="29469" y="73763"/>
                  </a:cubicBezTo>
                  <a:cubicBezTo>
                    <a:pt x="29223" y="73763"/>
                    <a:pt x="28997" y="73896"/>
                    <a:pt x="28843" y="74086"/>
                  </a:cubicBezTo>
                  <a:cubicBezTo>
                    <a:pt x="28090" y="75029"/>
                    <a:pt x="26212" y="76456"/>
                    <a:pt x="23146" y="76456"/>
                  </a:cubicBezTo>
                  <a:cubicBezTo>
                    <a:pt x="21465" y="76456"/>
                    <a:pt x="20276" y="76864"/>
                    <a:pt x="19292" y="77202"/>
                  </a:cubicBezTo>
                  <a:cubicBezTo>
                    <a:pt x="17758" y="77736"/>
                    <a:pt x="16718" y="78095"/>
                    <a:pt x="15072" y="76456"/>
                  </a:cubicBezTo>
                  <a:cubicBezTo>
                    <a:pt x="14165" y="75542"/>
                    <a:pt x="13321" y="74944"/>
                    <a:pt x="12554" y="74403"/>
                  </a:cubicBezTo>
                  <a:cubicBezTo>
                    <a:pt x="11049" y="73334"/>
                    <a:pt x="9868" y="72490"/>
                    <a:pt x="9150" y="69993"/>
                  </a:cubicBezTo>
                  <a:cubicBezTo>
                    <a:pt x="8805" y="68783"/>
                    <a:pt x="8630" y="67799"/>
                    <a:pt x="8475" y="66948"/>
                  </a:cubicBezTo>
                  <a:cubicBezTo>
                    <a:pt x="8144" y="65133"/>
                    <a:pt x="7926" y="63923"/>
                    <a:pt x="6464" y="62461"/>
                  </a:cubicBezTo>
                  <a:cubicBezTo>
                    <a:pt x="5655" y="61652"/>
                    <a:pt x="5078" y="60540"/>
                    <a:pt x="4522" y="59359"/>
                  </a:cubicBezTo>
                  <a:cubicBezTo>
                    <a:pt x="4522" y="59359"/>
                    <a:pt x="4522" y="59359"/>
                    <a:pt x="4522" y="59359"/>
                  </a:cubicBezTo>
                  <a:lnTo>
                    <a:pt x="4522" y="59359"/>
                  </a:lnTo>
                  <a:cubicBezTo>
                    <a:pt x="4522" y="59359"/>
                    <a:pt x="4522" y="59359"/>
                    <a:pt x="4522" y="59359"/>
                  </a:cubicBezTo>
                  <a:cubicBezTo>
                    <a:pt x="5078" y="60540"/>
                    <a:pt x="5655" y="61652"/>
                    <a:pt x="6464" y="62461"/>
                  </a:cubicBezTo>
                  <a:cubicBezTo>
                    <a:pt x="7926" y="63923"/>
                    <a:pt x="8144" y="65133"/>
                    <a:pt x="8475" y="66948"/>
                  </a:cubicBezTo>
                  <a:cubicBezTo>
                    <a:pt x="8630" y="67799"/>
                    <a:pt x="8805" y="68783"/>
                    <a:pt x="9150" y="69993"/>
                  </a:cubicBezTo>
                  <a:cubicBezTo>
                    <a:pt x="9868" y="72490"/>
                    <a:pt x="11049" y="73334"/>
                    <a:pt x="12554" y="74403"/>
                  </a:cubicBezTo>
                  <a:cubicBezTo>
                    <a:pt x="13138" y="74811"/>
                    <a:pt x="13764" y="75261"/>
                    <a:pt x="14432" y="75851"/>
                  </a:cubicBezTo>
                  <a:cubicBezTo>
                    <a:pt x="14685" y="76076"/>
                    <a:pt x="14728" y="76449"/>
                    <a:pt x="14544" y="76731"/>
                  </a:cubicBezTo>
                  <a:cubicBezTo>
                    <a:pt x="7631" y="87308"/>
                    <a:pt x="0" y="99553"/>
                    <a:pt x="0" y="101754"/>
                  </a:cubicBezTo>
                  <a:cubicBezTo>
                    <a:pt x="0" y="105524"/>
                    <a:pt x="2152" y="122206"/>
                    <a:pt x="2694" y="124359"/>
                  </a:cubicBezTo>
                  <a:cubicBezTo>
                    <a:pt x="3235" y="126518"/>
                    <a:pt x="10233" y="138354"/>
                    <a:pt x="11309" y="139972"/>
                  </a:cubicBezTo>
                  <a:cubicBezTo>
                    <a:pt x="12139" y="141224"/>
                    <a:pt x="18117" y="145964"/>
                    <a:pt x="21261" y="148376"/>
                  </a:cubicBezTo>
                  <a:cubicBezTo>
                    <a:pt x="21430" y="148510"/>
                    <a:pt x="21535" y="148714"/>
                    <a:pt x="21535" y="148932"/>
                  </a:cubicBezTo>
                  <a:lnTo>
                    <a:pt x="21535" y="15529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4" name="Freihandform: Form 139">
              <a:extLst>
                <a:ext uri="{FF2B5EF4-FFF2-40B4-BE49-F238E27FC236}">
                  <a16:creationId xmlns:a16="http://schemas.microsoft.com/office/drawing/2014/main" id="{20A15DC1-918A-C143-A901-D96B09906F4F}"/>
                </a:ext>
              </a:extLst>
            </p:cNvPr>
            <p:cNvSpPr/>
            <p:nvPr/>
          </p:nvSpPr>
          <p:spPr>
            <a:xfrm>
              <a:off x="6314663" y="4480466"/>
              <a:ext cx="26200" cy="16126"/>
            </a:xfrm>
            <a:custGeom>
              <a:avLst/>
              <a:gdLst>
                <a:gd name="connsiteX0" fmla="*/ 25497 w 26200"/>
                <a:gd name="connsiteY0" fmla="*/ 0 h 16126"/>
                <a:gd name="connsiteX1" fmla="*/ 5235 w 26200"/>
                <a:gd name="connsiteY1" fmla="*/ 0 h 16126"/>
                <a:gd name="connsiteX2" fmla="*/ 4961 w 26200"/>
                <a:gd name="connsiteY2" fmla="*/ 63 h 16126"/>
                <a:gd name="connsiteX3" fmla="*/ 3 w 26200"/>
                <a:gd name="connsiteY3" fmla="*/ 15374 h 16126"/>
                <a:gd name="connsiteX4" fmla="*/ 699 w 26200"/>
                <a:gd name="connsiteY4" fmla="*/ 16127 h 16126"/>
                <a:gd name="connsiteX5" fmla="*/ 25497 w 26200"/>
                <a:gd name="connsiteY5" fmla="*/ 16127 h 16126"/>
                <a:gd name="connsiteX6" fmla="*/ 26201 w 26200"/>
                <a:gd name="connsiteY6" fmla="*/ 15424 h 16126"/>
                <a:gd name="connsiteX7" fmla="*/ 26201 w 26200"/>
                <a:gd name="connsiteY7" fmla="*/ 703 h 16126"/>
                <a:gd name="connsiteX8" fmla="*/ 25497 w 26200"/>
                <a:gd name="connsiteY8" fmla="*/ 0 h 1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00" h="16126">
                  <a:moveTo>
                    <a:pt x="25497" y="0"/>
                  </a:moveTo>
                  <a:lnTo>
                    <a:pt x="5235" y="0"/>
                  </a:lnTo>
                  <a:cubicBezTo>
                    <a:pt x="5137" y="0"/>
                    <a:pt x="5046" y="21"/>
                    <a:pt x="4961" y="63"/>
                  </a:cubicBezTo>
                  <a:cubicBezTo>
                    <a:pt x="2288" y="1477"/>
                    <a:pt x="467" y="10388"/>
                    <a:pt x="3" y="15374"/>
                  </a:cubicBezTo>
                  <a:cubicBezTo>
                    <a:pt x="-32" y="15782"/>
                    <a:pt x="291" y="16127"/>
                    <a:pt x="699" y="16127"/>
                  </a:cubicBezTo>
                  <a:lnTo>
                    <a:pt x="25497" y="16127"/>
                  </a:lnTo>
                  <a:cubicBezTo>
                    <a:pt x="25884" y="16127"/>
                    <a:pt x="26201" y="15810"/>
                    <a:pt x="26201" y="15424"/>
                  </a:cubicBezTo>
                  <a:lnTo>
                    <a:pt x="26201" y="703"/>
                  </a:lnTo>
                  <a:cubicBezTo>
                    <a:pt x="26201" y="317"/>
                    <a:pt x="25884" y="0"/>
                    <a:pt x="25497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5" name="Freihandform: Form 140">
              <a:extLst>
                <a:ext uri="{FF2B5EF4-FFF2-40B4-BE49-F238E27FC236}">
                  <a16:creationId xmlns:a16="http://schemas.microsoft.com/office/drawing/2014/main" id="{E715C368-4D57-6E41-8991-08EE7BC209C3}"/>
                </a:ext>
              </a:extLst>
            </p:cNvPr>
            <p:cNvSpPr/>
            <p:nvPr/>
          </p:nvSpPr>
          <p:spPr>
            <a:xfrm>
              <a:off x="6306367" y="4479987"/>
              <a:ext cx="78258" cy="92540"/>
            </a:xfrm>
            <a:custGeom>
              <a:avLst/>
              <a:gdLst>
                <a:gd name="connsiteX0" fmla="*/ 60998 w 78258"/>
                <a:gd name="connsiteY0" fmla="*/ 10361 h 92540"/>
                <a:gd name="connsiteX1" fmla="*/ 60998 w 78258"/>
                <a:gd name="connsiteY1" fmla="*/ 2181 h 92540"/>
                <a:gd name="connsiteX2" fmla="*/ 60337 w 78258"/>
                <a:gd name="connsiteY2" fmla="*/ 1485 h 92540"/>
                <a:gd name="connsiteX3" fmla="*/ 34631 w 78258"/>
                <a:gd name="connsiteY3" fmla="*/ 1 h 92540"/>
                <a:gd name="connsiteX4" fmla="*/ 33885 w 78258"/>
                <a:gd name="connsiteY4" fmla="*/ 704 h 92540"/>
                <a:gd name="connsiteX5" fmla="*/ 33885 w 78258"/>
                <a:gd name="connsiteY5" fmla="*/ 15382 h 92540"/>
                <a:gd name="connsiteX6" fmla="*/ 33182 w 78258"/>
                <a:gd name="connsiteY6" fmla="*/ 16086 h 92540"/>
                <a:gd name="connsiteX7" fmla="*/ 8798 w 78258"/>
                <a:gd name="connsiteY7" fmla="*/ 16086 h 92540"/>
                <a:gd name="connsiteX8" fmla="*/ 8095 w 78258"/>
                <a:gd name="connsiteY8" fmla="*/ 17021 h 92540"/>
                <a:gd name="connsiteX9" fmla="*/ 9382 w 78258"/>
                <a:gd name="connsiteY9" fmla="*/ 23878 h 92540"/>
                <a:gd name="connsiteX10" fmla="*/ 9382 w 78258"/>
                <a:gd name="connsiteY10" fmla="*/ 32191 h 92540"/>
                <a:gd name="connsiteX11" fmla="*/ 7005 w 78258"/>
                <a:gd name="connsiteY11" fmla="*/ 32445 h 92540"/>
                <a:gd name="connsiteX12" fmla="*/ 6055 w 78258"/>
                <a:gd name="connsiteY12" fmla="*/ 32958 h 92540"/>
                <a:gd name="connsiteX13" fmla="*/ 4691 w 78258"/>
                <a:gd name="connsiteY13" fmla="*/ 39991 h 92540"/>
                <a:gd name="connsiteX14" fmla="*/ 309 w 78258"/>
                <a:gd name="connsiteY14" fmla="*/ 44977 h 92540"/>
                <a:gd name="connsiteX15" fmla="*/ 0 w 78258"/>
                <a:gd name="connsiteY15" fmla="*/ 45568 h 92540"/>
                <a:gd name="connsiteX16" fmla="*/ 0 w 78258"/>
                <a:gd name="connsiteY16" fmla="*/ 54029 h 92540"/>
                <a:gd name="connsiteX17" fmla="*/ 7821 w 78258"/>
                <a:gd name="connsiteY17" fmla="*/ 65985 h 92540"/>
                <a:gd name="connsiteX18" fmla="*/ 21894 w 78258"/>
                <a:gd name="connsiteY18" fmla="*/ 83146 h 92540"/>
                <a:gd name="connsiteX19" fmla="*/ 30756 w 78258"/>
                <a:gd name="connsiteY19" fmla="*/ 91979 h 92540"/>
                <a:gd name="connsiteX20" fmla="*/ 35454 w 78258"/>
                <a:gd name="connsiteY20" fmla="*/ 90425 h 92540"/>
                <a:gd name="connsiteX21" fmla="*/ 35454 w 78258"/>
                <a:gd name="connsiteY21" fmla="*/ 90425 h 92540"/>
                <a:gd name="connsiteX22" fmla="*/ 42226 w 78258"/>
                <a:gd name="connsiteY22" fmla="*/ 87302 h 92540"/>
                <a:gd name="connsiteX23" fmla="*/ 39624 w 78258"/>
                <a:gd name="connsiteY23" fmla="*/ 82105 h 92540"/>
                <a:gd name="connsiteX24" fmla="*/ 37535 w 78258"/>
                <a:gd name="connsiteY24" fmla="*/ 76387 h 92540"/>
                <a:gd name="connsiteX25" fmla="*/ 40665 w 78258"/>
                <a:gd name="connsiteY25" fmla="*/ 70669 h 92540"/>
                <a:gd name="connsiteX26" fmla="*/ 40665 w 78258"/>
                <a:gd name="connsiteY26" fmla="*/ 70669 h 92540"/>
                <a:gd name="connsiteX27" fmla="*/ 47966 w 78258"/>
                <a:gd name="connsiteY27" fmla="*/ 70669 h 92540"/>
                <a:gd name="connsiteX28" fmla="*/ 50568 w 78258"/>
                <a:gd name="connsiteY28" fmla="*/ 67546 h 92540"/>
                <a:gd name="connsiteX29" fmla="*/ 53697 w 78258"/>
                <a:gd name="connsiteY29" fmla="*/ 65985 h 92540"/>
                <a:gd name="connsiteX30" fmla="*/ 59429 w 78258"/>
                <a:gd name="connsiteY30" fmla="*/ 70669 h 92540"/>
                <a:gd name="connsiteX31" fmla="*/ 70900 w 78258"/>
                <a:gd name="connsiteY31" fmla="*/ 70669 h 92540"/>
                <a:gd name="connsiteX32" fmla="*/ 76639 w 78258"/>
                <a:gd name="connsiteY32" fmla="*/ 68587 h 92540"/>
                <a:gd name="connsiteX33" fmla="*/ 78200 w 78258"/>
                <a:gd name="connsiteY33" fmla="*/ 62870 h 92540"/>
                <a:gd name="connsiteX34" fmla="*/ 78200 w 78258"/>
                <a:gd name="connsiteY34" fmla="*/ 51947 h 92540"/>
                <a:gd name="connsiteX35" fmla="*/ 78200 w 78258"/>
                <a:gd name="connsiteY35" fmla="*/ 45195 h 92540"/>
                <a:gd name="connsiteX36" fmla="*/ 76639 w 78258"/>
                <a:gd name="connsiteY36" fmla="*/ 39991 h 92540"/>
                <a:gd name="connsiteX37" fmla="*/ 72469 w 78258"/>
                <a:gd name="connsiteY37" fmla="*/ 35314 h 92540"/>
                <a:gd name="connsiteX38" fmla="*/ 72469 w 78258"/>
                <a:gd name="connsiteY38" fmla="*/ 31157 h 92540"/>
                <a:gd name="connsiteX39" fmla="*/ 74550 w 78258"/>
                <a:gd name="connsiteY39" fmla="*/ 23878 h 92540"/>
                <a:gd name="connsiteX40" fmla="*/ 76639 w 78258"/>
                <a:gd name="connsiteY40" fmla="*/ 17640 h 92540"/>
                <a:gd name="connsiteX41" fmla="*/ 74550 w 78258"/>
                <a:gd name="connsiteY41" fmla="*/ 13997 h 92540"/>
                <a:gd name="connsiteX42" fmla="*/ 64128 w 78258"/>
                <a:gd name="connsiteY42" fmla="*/ 13997 h 92540"/>
                <a:gd name="connsiteX43" fmla="*/ 60998 w 78258"/>
                <a:gd name="connsiteY43" fmla="*/ 10361 h 92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78258" h="92540">
                  <a:moveTo>
                    <a:pt x="60998" y="10361"/>
                  </a:moveTo>
                  <a:lnTo>
                    <a:pt x="60998" y="2181"/>
                  </a:lnTo>
                  <a:cubicBezTo>
                    <a:pt x="60998" y="1809"/>
                    <a:pt x="60702" y="1506"/>
                    <a:pt x="60337" y="1485"/>
                  </a:cubicBezTo>
                  <a:lnTo>
                    <a:pt x="34631" y="1"/>
                  </a:lnTo>
                  <a:cubicBezTo>
                    <a:pt x="34230" y="-20"/>
                    <a:pt x="33885" y="303"/>
                    <a:pt x="33885" y="704"/>
                  </a:cubicBezTo>
                  <a:lnTo>
                    <a:pt x="33885" y="15382"/>
                  </a:lnTo>
                  <a:cubicBezTo>
                    <a:pt x="33885" y="15769"/>
                    <a:pt x="33569" y="16086"/>
                    <a:pt x="33182" y="16086"/>
                  </a:cubicBezTo>
                  <a:lnTo>
                    <a:pt x="8798" y="16086"/>
                  </a:lnTo>
                  <a:cubicBezTo>
                    <a:pt x="8313" y="16086"/>
                    <a:pt x="7969" y="16557"/>
                    <a:pt x="8095" y="17021"/>
                  </a:cubicBezTo>
                  <a:cubicBezTo>
                    <a:pt x="8636" y="19089"/>
                    <a:pt x="9382" y="22823"/>
                    <a:pt x="9382" y="23878"/>
                  </a:cubicBezTo>
                  <a:cubicBezTo>
                    <a:pt x="9382" y="25433"/>
                    <a:pt x="9903" y="31157"/>
                    <a:pt x="9382" y="32191"/>
                  </a:cubicBezTo>
                  <a:cubicBezTo>
                    <a:pt x="9066" y="32831"/>
                    <a:pt x="7912" y="32698"/>
                    <a:pt x="7005" y="32445"/>
                  </a:cubicBezTo>
                  <a:cubicBezTo>
                    <a:pt x="6597" y="32332"/>
                    <a:pt x="6161" y="32550"/>
                    <a:pt x="6055" y="32958"/>
                  </a:cubicBezTo>
                  <a:cubicBezTo>
                    <a:pt x="5507" y="35061"/>
                    <a:pt x="4691" y="38528"/>
                    <a:pt x="4691" y="39991"/>
                  </a:cubicBezTo>
                  <a:cubicBezTo>
                    <a:pt x="4691" y="41552"/>
                    <a:pt x="1941" y="43845"/>
                    <a:pt x="309" y="44977"/>
                  </a:cubicBezTo>
                  <a:cubicBezTo>
                    <a:pt x="120" y="45111"/>
                    <a:pt x="0" y="45329"/>
                    <a:pt x="0" y="45568"/>
                  </a:cubicBezTo>
                  <a:lnTo>
                    <a:pt x="0" y="54029"/>
                  </a:lnTo>
                  <a:cubicBezTo>
                    <a:pt x="0" y="55070"/>
                    <a:pt x="7300" y="65985"/>
                    <a:pt x="7821" y="65985"/>
                  </a:cubicBezTo>
                  <a:cubicBezTo>
                    <a:pt x="8341" y="65985"/>
                    <a:pt x="21374" y="82105"/>
                    <a:pt x="21894" y="83146"/>
                  </a:cubicBezTo>
                  <a:cubicBezTo>
                    <a:pt x="22414" y="84187"/>
                    <a:pt x="29715" y="90425"/>
                    <a:pt x="30756" y="91979"/>
                  </a:cubicBezTo>
                  <a:cubicBezTo>
                    <a:pt x="31804" y="93541"/>
                    <a:pt x="33365" y="91459"/>
                    <a:pt x="35454" y="90425"/>
                  </a:cubicBezTo>
                  <a:lnTo>
                    <a:pt x="35454" y="90425"/>
                  </a:lnTo>
                  <a:cubicBezTo>
                    <a:pt x="37535" y="89384"/>
                    <a:pt x="40665" y="87823"/>
                    <a:pt x="42226" y="87302"/>
                  </a:cubicBezTo>
                  <a:cubicBezTo>
                    <a:pt x="43795" y="86782"/>
                    <a:pt x="40665" y="84187"/>
                    <a:pt x="39624" y="82105"/>
                  </a:cubicBezTo>
                  <a:cubicBezTo>
                    <a:pt x="38576" y="80023"/>
                    <a:pt x="38056" y="78462"/>
                    <a:pt x="37535" y="76387"/>
                  </a:cubicBezTo>
                  <a:cubicBezTo>
                    <a:pt x="37015" y="74305"/>
                    <a:pt x="39097" y="72223"/>
                    <a:pt x="40665" y="70669"/>
                  </a:cubicBezTo>
                  <a:lnTo>
                    <a:pt x="40665" y="70669"/>
                  </a:lnTo>
                  <a:cubicBezTo>
                    <a:pt x="42226" y="69108"/>
                    <a:pt x="45877" y="70669"/>
                    <a:pt x="47966" y="70669"/>
                  </a:cubicBezTo>
                  <a:cubicBezTo>
                    <a:pt x="50047" y="70669"/>
                    <a:pt x="50047" y="68587"/>
                    <a:pt x="50568" y="67546"/>
                  </a:cubicBezTo>
                  <a:cubicBezTo>
                    <a:pt x="51088" y="66506"/>
                    <a:pt x="52136" y="66506"/>
                    <a:pt x="53697" y="65985"/>
                  </a:cubicBezTo>
                  <a:cubicBezTo>
                    <a:pt x="55259" y="65465"/>
                    <a:pt x="58388" y="68587"/>
                    <a:pt x="59429" y="70669"/>
                  </a:cubicBezTo>
                  <a:cubicBezTo>
                    <a:pt x="60477" y="72744"/>
                    <a:pt x="68298" y="70669"/>
                    <a:pt x="70900" y="70669"/>
                  </a:cubicBezTo>
                  <a:cubicBezTo>
                    <a:pt x="73510" y="70669"/>
                    <a:pt x="74550" y="69628"/>
                    <a:pt x="76639" y="68587"/>
                  </a:cubicBezTo>
                  <a:cubicBezTo>
                    <a:pt x="78721" y="67546"/>
                    <a:pt x="78200" y="64431"/>
                    <a:pt x="78200" y="62870"/>
                  </a:cubicBezTo>
                  <a:lnTo>
                    <a:pt x="78200" y="51947"/>
                  </a:lnTo>
                  <a:lnTo>
                    <a:pt x="78200" y="45195"/>
                  </a:lnTo>
                  <a:cubicBezTo>
                    <a:pt x="78200" y="44155"/>
                    <a:pt x="76639" y="41552"/>
                    <a:pt x="76639" y="39991"/>
                  </a:cubicBezTo>
                  <a:cubicBezTo>
                    <a:pt x="76639" y="38437"/>
                    <a:pt x="72469" y="36355"/>
                    <a:pt x="72469" y="35314"/>
                  </a:cubicBezTo>
                  <a:cubicBezTo>
                    <a:pt x="72469" y="34273"/>
                    <a:pt x="71941" y="32191"/>
                    <a:pt x="72469" y="31157"/>
                  </a:cubicBezTo>
                  <a:cubicBezTo>
                    <a:pt x="72989" y="30117"/>
                    <a:pt x="73510" y="25433"/>
                    <a:pt x="74550" y="23878"/>
                  </a:cubicBezTo>
                  <a:cubicBezTo>
                    <a:pt x="75591" y="22317"/>
                    <a:pt x="76639" y="18681"/>
                    <a:pt x="76639" y="17640"/>
                  </a:cubicBezTo>
                  <a:cubicBezTo>
                    <a:pt x="76639" y="16599"/>
                    <a:pt x="75591" y="13997"/>
                    <a:pt x="74550" y="13997"/>
                  </a:cubicBezTo>
                  <a:cubicBezTo>
                    <a:pt x="73510" y="13997"/>
                    <a:pt x="66209" y="14517"/>
                    <a:pt x="64128" y="13997"/>
                  </a:cubicBezTo>
                  <a:cubicBezTo>
                    <a:pt x="62039" y="13476"/>
                    <a:pt x="60998" y="11922"/>
                    <a:pt x="60998" y="1036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6" name="Freihandform: Form 141">
              <a:extLst>
                <a:ext uri="{FF2B5EF4-FFF2-40B4-BE49-F238E27FC236}">
                  <a16:creationId xmlns:a16="http://schemas.microsoft.com/office/drawing/2014/main" id="{CE446AB6-3300-2649-8743-9685C3BECD92}"/>
                </a:ext>
              </a:extLst>
            </p:cNvPr>
            <p:cNvSpPr/>
            <p:nvPr/>
          </p:nvSpPr>
          <p:spPr>
            <a:xfrm>
              <a:off x="6340742" y="4457341"/>
              <a:ext cx="104238" cy="137856"/>
            </a:xfrm>
            <a:custGeom>
              <a:avLst/>
              <a:gdLst>
                <a:gd name="connsiteX0" fmla="*/ 15566 w 104238"/>
                <a:gd name="connsiteY0" fmla="*/ 22605 h 137856"/>
                <a:gd name="connsiteX1" fmla="*/ 14307 w 104238"/>
                <a:gd name="connsiteY1" fmla="*/ 22605 h 137856"/>
                <a:gd name="connsiteX2" fmla="*/ 13899 w 104238"/>
                <a:gd name="connsiteY2" fmla="*/ 22929 h 137856"/>
                <a:gd name="connsiteX3" fmla="*/ 13899 w 104238"/>
                <a:gd name="connsiteY3" fmla="*/ 22929 h 137856"/>
                <a:gd name="connsiteX4" fmla="*/ 14286 w 104238"/>
                <a:gd name="connsiteY4" fmla="*/ 23456 h 137856"/>
                <a:gd name="connsiteX5" fmla="*/ 25961 w 104238"/>
                <a:gd name="connsiteY5" fmla="*/ 24131 h 137856"/>
                <a:gd name="connsiteX6" fmla="*/ 26622 w 104238"/>
                <a:gd name="connsiteY6" fmla="*/ 24828 h 137856"/>
                <a:gd name="connsiteX7" fmla="*/ 26622 w 104238"/>
                <a:gd name="connsiteY7" fmla="*/ 33007 h 137856"/>
                <a:gd name="connsiteX8" fmla="*/ 29752 w 104238"/>
                <a:gd name="connsiteY8" fmla="*/ 36643 h 137856"/>
                <a:gd name="connsiteX9" fmla="*/ 38698 w 104238"/>
                <a:gd name="connsiteY9" fmla="*/ 36706 h 137856"/>
                <a:gd name="connsiteX10" fmla="*/ 40175 w 104238"/>
                <a:gd name="connsiteY10" fmla="*/ 36643 h 137856"/>
                <a:gd name="connsiteX11" fmla="*/ 42264 w 104238"/>
                <a:gd name="connsiteY11" fmla="*/ 40286 h 137856"/>
                <a:gd name="connsiteX12" fmla="*/ 40175 w 104238"/>
                <a:gd name="connsiteY12" fmla="*/ 46524 h 137856"/>
                <a:gd name="connsiteX13" fmla="*/ 38740 w 104238"/>
                <a:gd name="connsiteY13" fmla="*/ 51293 h 137856"/>
                <a:gd name="connsiteX14" fmla="*/ 38093 w 104238"/>
                <a:gd name="connsiteY14" fmla="*/ 53804 h 137856"/>
                <a:gd name="connsiteX15" fmla="*/ 37988 w 104238"/>
                <a:gd name="connsiteY15" fmla="*/ 56786 h 137856"/>
                <a:gd name="connsiteX16" fmla="*/ 38093 w 104238"/>
                <a:gd name="connsiteY16" fmla="*/ 57960 h 137856"/>
                <a:gd name="connsiteX17" fmla="*/ 39858 w 104238"/>
                <a:gd name="connsiteY17" fmla="*/ 59852 h 137856"/>
                <a:gd name="connsiteX18" fmla="*/ 42264 w 104238"/>
                <a:gd name="connsiteY18" fmla="*/ 62637 h 137856"/>
                <a:gd name="connsiteX19" fmla="*/ 43164 w 104238"/>
                <a:gd name="connsiteY19" fmla="*/ 65725 h 137856"/>
                <a:gd name="connsiteX20" fmla="*/ 43825 w 104238"/>
                <a:gd name="connsiteY20" fmla="*/ 67842 h 137856"/>
                <a:gd name="connsiteX21" fmla="*/ 43825 w 104238"/>
                <a:gd name="connsiteY21" fmla="*/ 74601 h 137856"/>
                <a:gd name="connsiteX22" fmla="*/ 43825 w 104238"/>
                <a:gd name="connsiteY22" fmla="*/ 85516 h 137856"/>
                <a:gd name="connsiteX23" fmla="*/ 43853 w 104238"/>
                <a:gd name="connsiteY23" fmla="*/ 86325 h 137856"/>
                <a:gd name="connsiteX24" fmla="*/ 42264 w 104238"/>
                <a:gd name="connsiteY24" fmla="*/ 91234 h 137856"/>
                <a:gd name="connsiteX25" fmla="*/ 40934 w 104238"/>
                <a:gd name="connsiteY25" fmla="*/ 91951 h 137856"/>
                <a:gd name="connsiteX26" fmla="*/ 36525 w 104238"/>
                <a:gd name="connsiteY26" fmla="*/ 93315 h 137856"/>
                <a:gd name="connsiteX27" fmla="*/ 33191 w 104238"/>
                <a:gd name="connsiteY27" fmla="*/ 93695 h 137856"/>
                <a:gd name="connsiteX28" fmla="*/ 25054 w 104238"/>
                <a:gd name="connsiteY28" fmla="*/ 93315 h 137856"/>
                <a:gd name="connsiteX29" fmla="*/ 19322 w 104238"/>
                <a:gd name="connsiteY29" fmla="*/ 88631 h 137856"/>
                <a:gd name="connsiteX30" fmla="*/ 18281 w 104238"/>
                <a:gd name="connsiteY30" fmla="*/ 88941 h 137856"/>
                <a:gd name="connsiteX31" fmla="*/ 16192 w 104238"/>
                <a:gd name="connsiteY31" fmla="*/ 90193 h 137856"/>
                <a:gd name="connsiteX32" fmla="*/ 15876 w 104238"/>
                <a:gd name="connsiteY32" fmla="*/ 91065 h 137856"/>
                <a:gd name="connsiteX33" fmla="*/ 13590 w 104238"/>
                <a:gd name="connsiteY33" fmla="*/ 93315 h 137856"/>
                <a:gd name="connsiteX34" fmla="*/ 11255 w 104238"/>
                <a:gd name="connsiteY34" fmla="*/ 92992 h 137856"/>
                <a:gd name="connsiteX35" fmla="*/ 6289 w 104238"/>
                <a:gd name="connsiteY35" fmla="*/ 93315 h 137856"/>
                <a:gd name="connsiteX36" fmla="*/ 3160 w 104238"/>
                <a:gd name="connsiteY36" fmla="*/ 99033 h 137856"/>
                <a:gd name="connsiteX37" fmla="*/ 5249 w 104238"/>
                <a:gd name="connsiteY37" fmla="*/ 104751 h 137856"/>
                <a:gd name="connsiteX38" fmla="*/ 6838 w 104238"/>
                <a:gd name="connsiteY38" fmla="*/ 107044 h 137856"/>
                <a:gd name="connsiteX39" fmla="*/ 7851 w 104238"/>
                <a:gd name="connsiteY39" fmla="*/ 109949 h 137856"/>
                <a:gd name="connsiteX40" fmla="*/ 1078 w 104238"/>
                <a:gd name="connsiteY40" fmla="*/ 113071 h 137856"/>
                <a:gd name="connsiteX41" fmla="*/ 1078 w 104238"/>
                <a:gd name="connsiteY41" fmla="*/ 113071 h 137856"/>
                <a:gd name="connsiteX42" fmla="*/ 1078 w 104238"/>
                <a:gd name="connsiteY42" fmla="*/ 113071 h 137856"/>
                <a:gd name="connsiteX43" fmla="*/ 311 w 104238"/>
                <a:gd name="connsiteY43" fmla="*/ 113500 h 137856"/>
                <a:gd name="connsiteX44" fmla="*/ 136 w 104238"/>
                <a:gd name="connsiteY44" fmla="*/ 114485 h 137856"/>
                <a:gd name="connsiteX45" fmla="*/ 5783 w 104238"/>
                <a:gd name="connsiteY45" fmla="*/ 122995 h 137856"/>
                <a:gd name="connsiteX46" fmla="*/ 12690 w 104238"/>
                <a:gd name="connsiteY46" fmla="*/ 137462 h 137856"/>
                <a:gd name="connsiteX47" fmla="*/ 14237 w 104238"/>
                <a:gd name="connsiteY47" fmla="*/ 137160 h 137856"/>
                <a:gd name="connsiteX48" fmla="*/ 16080 w 104238"/>
                <a:gd name="connsiteY48" fmla="*/ 132876 h 137856"/>
                <a:gd name="connsiteX49" fmla="*/ 19033 w 104238"/>
                <a:gd name="connsiteY49" fmla="*/ 131139 h 137856"/>
                <a:gd name="connsiteX50" fmla="*/ 27923 w 104238"/>
                <a:gd name="connsiteY50" fmla="*/ 126631 h 137856"/>
                <a:gd name="connsiteX51" fmla="*/ 32432 w 104238"/>
                <a:gd name="connsiteY51" fmla="*/ 124458 h 137856"/>
                <a:gd name="connsiteX52" fmla="*/ 34619 w 104238"/>
                <a:gd name="connsiteY52" fmla="*/ 122995 h 137856"/>
                <a:gd name="connsiteX53" fmla="*/ 40147 w 104238"/>
                <a:gd name="connsiteY53" fmla="*/ 124423 h 137856"/>
                <a:gd name="connsiteX54" fmla="*/ 40463 w 104238"/>
                <a:gd name="connsiteY54" fmla="*/ 124598 h 137856"/>
                <a:gd name="connsiteX55" fmla="*/ 47721 w 104238"/>
                <a:gd name="connsiteY55" fmla="*/ 126561 h 137856"/>
                <a:gd name="connsiteX56" fmla="*/ 48256 w 104238"/>
                <a:gd name="connsiteY56" fmla="*/ 126490 h 137856"/>
                <a:gd name="connsiteX57" fmla="*/ 57786 w 104238"/>
                <a:gd name="connsiteY57" fmla="*/ 120393 h 137856"/>
                <a:gd name="connsiteX58" fmla="*/ 62322 w 104238"/>
                <a:gd name="connsiteY58" fmla="*/ 115505 h 137856"/>
                <a:gd name="connsiteX59" fmla="*/ 62322 w 104238"/>
                <a:gd name="connsiteY59" fmla="*/ 115505 h 137856"/>
                <a:gd name="connsiteX60" fmla="*/ 65508 w 104238"/>
                <a:gd name="connsiteY60" fmla="*/ 112073 h 137856"/>
                <a:gd name="connsiteX61" fmla="*/ 68082 w 104238"/>
                <a:gd name="connsiteY61" fmla="*/ 93344 h 137856"/>
                <a:gd name="connsiteX62" fmla="*/ 75291 w 104238"/>
                <a:gd name="connsiteY62" fmla="*/ 77224 h 137856"/>
                <a:gd name="connsiteX63" fmla="*/ 83604 w 104238"/>
                <a:gd name="connsiteY63" fmla="*/ 71858 h 137856"/>
                <a:gd name="connsiteX64" fmla="*/ 89702 w 104238"/>
                <a:gd name="connsiteY64" fmla="*/ 68376 h 137856"/>
                <a:gd name="connsiteX65" fmla="*/ 94336 w 104238"/>
                <a:gd name="connsiteY65" fmla="*/ 58495 h 137856"/>
                <a:gd name="connsiteX66" fmla="*/ 94421 w 104238"/>
                <a:gd name="connsiteY66" fmla="*/ 55175 h 137856"/>
                <a:gd name="connsiteX67" fmla="*/ 94336 w 104238"/>
                <a:gd name="connsiteY67" fmla="*/ 41855 h 137856"/>
                <a:gd name="connsiteX68" fmla="*/ 102579 w 104238"/>
                <a:gd name="connsiteY68" fmla="*/ 17928 h 137856"/>
                <a:gd name="connsiteX69" fmla="*/ 103761 w 104238"/>
                <a:gd name="connsiteY69" fmla="*/ 36 h 137856"/>
                <a:gd name="connsiteX70" fmla="*/ 103683 w 104238"/>
                <a:gd name="connsiteY70" fmla="*/ 15 h 137856"/>
                <a:gd name="connsiteX71" fmla="*/ 103683 w 104238"/>
                <a:gd name="connsiteY71" fmla="*/ 15 h 137856"/>
                <a:gd name="connsiteX72" fmla="*/ 97431 w 104238"/>
                <a:gd name="connsiteY72" fmla="*/ 2322 h 137856"/>
                <a:gd name="connsiteX73" fmla="*/ 88161 w 104238"/>
                <a:gd name="connsiteY73" fmla="*/ 2322 h 137856"/>
                <a:gd name="connsiteX74" fmla="*/ 82500 w 104238"/>
                <a:gd name="connsiteY74" fmla="*/ 4924 h 137856"/>
                <a:gd name="connsiteX75" fmla="*/ 79926 w 104238"/>
                <a:gd name="connsiteY75" fmla="*/ 7006 h 137856"/>
                <a:gd name="connsiteX76" fmla="*/ 77351 w 104238"/>
                <a:gd name="connsiteY76" fmla="*/ 9088 h 137856"/>
                <a:gd name="connsiteX77" fmla="*/ 75242 w 104238"/>
                <a:gd name="connsiteY77" fmla="*/ 10930 h 137856"/>
                <a:gd name="connsiteX78" fmla="*/ 73230 w 104238"/>
                <a:gd name="connsiteY78" fmla="*/ 13244 h 137856"/>
                <a:gd name="connsiteX79" fmla="*/ 73054 w 104238"/>
                <a:gd name="connsiteY79" fmla="*/ 13807 h 137856"/>
                <a:gd name="connsiteX80" fmla="*/ 73054 w 104238"/>
                <a:gd name="connsiteY80" fmla="*/ 13814 h 137856"/>
                <a:gd name="connsiteX81" fmla="*/ 73047 w 104238"/>
                <a:gd name="connsiteY81" fmla="*/ 13814 h 137856"/>
                <a:gd name="connsiteX82" fmla="*/ 69109 w 104238"/>
                <a:gd name="connsiteY82" fmla="*/ 20010 h 137856"/>
                <a:gd name="connsiteX83" fmla="*/ 67709 w 104238"/>
                <a:gd name="connsiteY83" fmla="*/ 20383 h 137856"/>
                <a:gd name="connsiteX84" fmla="*/ 67048 w 104238"/>
                <a:gd name="connsiteY84" fmla="*/ 21107 h 137856"/>
                <a:gd name="connsiteX85" fmla="*/ 67048 w 104238"/>
                <a:gd name="connsiteY85" fmla="*/ 26248 h 137856"/>
                <a:gd name="connsiteX86" fmla="*/ 67048 w 104238"/>
                <a:gd name="connsiteY86" fmla="*/ 29490 h 137856"/>
                <a:gd name="connsiteX87" fmla="*/ 66162 w 104238"/>
                <a:gd name="connsiteY87" fmla="*/ 30173 h 137856"/>
                <a:gd name="connsiteX88" fmla="*/ 51604 w 104238"/>
                <a:gd name="connsiteY88" fmla="*/ 26248 h 137856"/>
                <a:gd name="connsiteX89" fmla="*/ 32558 w 104238"/>
                <a:gd name="connsiteY89" fmla="*/ 24167 h 137856"/>
                <a:gd name="connsiteX90" fmla="*/ 27382 w 104238"/>
                <a:gd name="connsiteY90" fmla="*/ 23639 h 137856"/>
                <a:gd name="connsiteX91" fmla="*/ 27382 w 104238"/>
                <a:gd name="connsiteY91" fmla="*/ 23639 h 137856"/>
                <a:gd name="connsiteX92" fmla="*/ 27375 w 104238"/>
                <a:gd name="connsiteY92" fmla="*/ 23639 h 137856"/>
                <a:gd name="connsiteX93" fmla="*/ 27375 w 104238"/>
                <a:gd name="connsiteY93" fmla="*/ 23639 h 137856"/>
                <a:gd name="connsiteX94" fmla="*/ 27375 w 104238"/>
                <a:gd name="connsiteY94" fmla="*/ 23639 h 137856"/>
                <a:gd name="connsiteX95" fmla="*/ 15566 w 104238"/>
                <a:gd name="connsiteY95" fmla="*/ 22605 h 13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104238" h="137856">
                  <a:moveTo>
                    <a:pt x="15566" y="22605"/>
                  </a:moveTo>
                  <a:lnTo>
                    <a:pt x="14307" y="22605"/>
                  </a:lnTo>
                  <a:cubicBezTo>
                    <a:pt x="14117" y="22605"/>
                    <a:pt x="13942" y="22739"/>
                    <a:pt x="13899" y="22929"/>
                  </a:cubicBezTo>
                  <a:lnTo>
                    <a:pt x="13899" y="22929"/>
                  </a:lnTo>
                  <a:cubicBezTo>
                    <a:pt x="13829" y="23189"/>
                    <a:pt x="14019" y="23442"/>
                    <a:pt x="14286" y="23456"/>
                  </a:cubicBezTo>
                  <a:lnTo>
                    <a:pt x="25961" y="24131"/>
                  </a:lnTo>
                  <a:cubicBezTo>
                    <a:pt x="26327" y="24152"/>
                    <a:pt x="26622" y="24455"/>
                    <a:pt x="26622" y="24828"/>
                  </a:cubicBezTo>
                  <a:lnTo>
                    <a:pt x="26622" y="33007"/>
                  </a:lnTo>
                  <a:cubicBezTo>
                    <a:pt x="26622" y="34568"/>
                    <a:pt x="27663" y="36123"/>
                    <a:pt x="29752" y="36643"/>
                  </a:cubicBezTo>
                  <a:cubicBezTo>
                    <a:pt x="31377" y="37051"/>
                    <a:pt x="36173" y="36826"/>
                    <a:pt x="38698" y="36706"/>
                  </a:cubicBezTo>
                  <a:cubicBezTo>
                    <a:pt x="39415" y="36671"/>
                    <a:pt x="39943" y="36643"/>
                    <a:pt x="40175" y="36643"/>
                  </a:cubicBezTo>
                  <a:cubicBezTo>
                    <a:pt x="41216" y="36643"/>
                    <a:pt x="42264" y="39245"/>
                    <a:pt x="42264" y="40286"/>
                  </a:cubicBezTo>
                  <a:cubicBezTo>
                    <a:pt x="42264" y="41327"/>
                    <a:pt x="41216" y="44963"/>
                    <a:pt x="40175" y="46524"/>
                  </a:cubicBezTo>
                  <a:cubicBezTo>
                    <a:pt x="39542" y="47467"/>
                    <a:pt x="39106" y="49556"/>
                    <a:pt x="38740" y="51293"/>
                  </a:cubicBezTo>
                  <a:cubicBezTo>
                    <a:pt x="38501" y="52418"/>
                    <a:pt x="38297" y="53389"/>
                    <a:pt x="38093" y="53804"/>
                  </a:cubicBezTo>
                  <a:cubicBezTo>
                    <a:pt x="37727" y="54528"/>
                    <a:pt x="37868" y="55759"/>
                    <a:pt x="37988" y="56786"/>
                  </a:cubicBezTo>
                  <a:cubicBezTo>
                    <a:pt x="38044" y="57236"/>
                    <a:pt x="38093" y="57644"/>
                    <a:pt x="38093" y="57960"/>
                  </a:cubicBezTo>
                  <a:cubicBezTo>
                    <a:pt x="38093" y="58432"/>
                    <a:pt x="38930" y="59107"/>
                    <a:pt x="39858" y="59852"/>
                  </a:cubicBezTo>
                  <a:cubicBezTo>
                    <a:pt x="40998" y="60766"/>
                    <a:pt x="42264" y="61779"/>
                    <a:pt x="42264" y="62637"/>
                  </a:cubicBezTo>
                  <a:cubicBezTo>
                    <a:pt x="42264" y="63495"/>
                    <a:pt x="42735" y="64670"/>
                    <a:pt x="43164" y="65725"/>
                  </a:cubicBezTo>
                  <a:cubicBezTo>
                    <a:pt x="43509" y="66590"/>
                    <a:pt x="43825" y="67371"/>
                    <a:pt x="43825" y="67842"/>
                  </a:cubicBezTo>
                  <a:lnTo>
                    <a:pt x="43825" y="74601"/>
                  </a:lnTo>
                  <a:lnTo>
                    <a:pt x="43825" y="85516"/>
                  </a:lnTo>
                  <a:cubicBezTo>
                    <a:pt x="43825" y="85755"/>
                    <a:pt x="43839" y="86029"/>
                    <a:pt x="43853" y="86325"/>
                  </a:cubicBezTo>
                  <a:cubicBezTo>
                    <a:pt x="43923" y="87977"/>
                    <a:pt x="44029" y="90355"/>
                    <a:pt x="42264" y="91234"/>
                  </a:cubicBezTo>
                  <a:cubicBezTo>
                    <a:pt x="41771" y="91480"/>
                    <a:pt x="41342" y="91719"/>
                    <a:pt x="40934" y="91951"/>
                  </a:cubicBezTo>
                  <a:cubicBezTo>
                    <a:pt x="39598" y="92704"/>
                    <a:pt x="38522" y="93315"/>
                    <a:pt x="36525" y="93315"/>
                  </a:cubicBezTo>
                  <a:cubicBezTo>
                    <a:pt x="35765" y="93315"/>
                    <a:pt x="34548" y="93491"/>
                    <a:pt x="33191" y="93695"/>
                  </a:cubicBezTo>
                  <a:cubicBezTo>
                    <a:pt x="29914" y="94173"/>
                    <a:pt x="25792" y="94785"/>
                    <a:pt x="25054" y="93315"/>
                  </a:cubicBezTo>
                  <a:cubicBezTo>
                    <a:pt x="24013" y="91234"/>
                    <a:pt x="20883" y="88111"/>
                    <a:pt x="19322" y="88631"/>
                  </a:cubicBezTo>
                  <a:cubicBezTo>
                    <a:pt x="18942" y="88758"/>
                    <a:pt x="18597" y="88857"/>
                    <a:pt x="18281" y="88941"/>
                  </a:cubicBezTo>
                  <a:cubicBezTo>
                    <a:pt x="17282" y="89215"/>
                    <a:pt x="16586" y="89405"/>
                    <a:pt x="16192" y="90193"/>
                  </a:cubicBezTo>
                  <a:cubicBezTo>
                    <a:pt x="16073" y="90439"/>
                    <a:pt x="15974" y="90741"/>
                    <a:pt x="15876" y="91065"/>
                  </a:cubicBezTo>
                  <a:cubicBezTo>
                    <a:pt x="15559" y="92099"/>
                    <a:pt x="15179" y="93315"/>
                    <a:pt x="13590" y="93315"/>
                  </a:cubicBezTo>
                  <a:cubicBezTo>
                    <a:pt x="12929" y="93315"/>
                    <a:pt x="12113" y="93154"/>
                    <a:pt x="11255" y="92992"/>
                  </a:cubicBezTo>
                  <a:cubicBezTo>
                    <a:pt x="9398" y="92640"/>
                    <a:pt x="7358" y="92246"/>
                    <a:pt x="6289" y="93315"/>
                  </a:cubicBezTo>
                  <a:cubicBezTo>
                    <a:pt x="4721" y="94870"/>
                    <a:pt x="2639" y="96952"/>
                    <a:pt x="3160" y="99033"/>
                  </a:cubicBezTo>
                  <a:cubicBezTo>
                    <a:pt x="3680" y="101115"/>
                    <a:pt x="4201" y="102669"/>
                    <a:pt x="5249" y="104751"/>
                  </a:cubicBezTo>
                  <a:cubicBezTo>
                    <a:pt x="5614" y="105490"/>
                    <a:pt x="6247" y="106291"/>
                    <a:pt x="6838" y="107044"/>
                  </a:cubicBezTo>
                  <a:cubicBezTo>
                    <a:pt x="7914" y="108408"/>
                    <a:pt x="8864" y="109611"/>
                    <a:pt x="7851" y="109949"/>
                  </a:cubicBezTo>
                  <a:cubicBezTo>
                    <a:pt x="6289" y="110469"/>
                    <a:pt x="3160" y="112030"/>
                    <a:pt x="1078" y="113071"/>
                  </a:cubicBezTo>
                  <a:lnTo>
                    <a:pt x="1078" y="113071"/>
                  </a:lnTo>
                  <a:lnTo>
                    <a:pt x="1078" y="113071"/>
                  </a:lnTo>
                  <a:cubicBezTo>
                    <a:pt x="811" y="113198"/>
                    <a:pt x="558" y="113346"/>
                    <a:pt x="311" y="113500"/>
                  </a:cubicBezTo>
                  <a:cubicBezTo>
                    <a:pt x="-26" y="113711"/>
                    <a:pt x="-96" y="114169"/>
                    <a:pt x="136" y="114485"/>
                  </a:cubicBezTo>
                  <a:cubicBezTo>
                    <a:pt x="2703" y="117994"/>
                    <a:pt x="5270" y="121687"/>
                    <a:pt x="5783" y="122995"/>
                  </a:cubicBezTo>
                  <a:cubicBezTo>
                    <a:pt x="6472" y="124739"/>
                    <a:pt x="10115" y="132229"/>
                    <a:pt x="12690" y="137462"/>
                  </a:cubicBezTo>
                  <a:cubicBezTo>
                    <a:pt x="13020" y="138130"/>
                    <a:pt x="14132" y="137898"/>
                    <a:pt x="14237" y="137160"/>
                  </a:cubicBezTo>
                  <a:cubicBezTo>
                    <a:pt x="14504" y="135296"/>
                    <a:pt x="15053" y="133397"/>
                    <a:pt x="16080" y="132876"/>
                  </a:cubicBezTo>
                  <a:cubicBezTo>
                    <a:pt x="16677" y="132574"/>
                    <a:pt x="17754" y="131920"/>
                    <a:pt x="19033" y="131139"/>
                  </a:cubicBezTo>
                  <a:cubicBezTo>
                    <a:pt x="22149" y="129247"/>
                    <a:pt x="26460" y="126631"/>
                    <a:pt x="27923" y="126631"/>
                  </a:cubicBezTo>
                  <a:cubicBezTo>
                    <a:pt x="29365" y="126631"/>
                    <a:pt x="30814" y="125611"/>
                    <a:pt x="32432" y="124458"/>
                  </a:cubicBezTo>
                  <a:cubicBezTo>
                    <a:pt x="33128" y="123973"/>
                    <a:pt x="33845" y="123459"/>
                    <a:pt x="34619" y="122995"/>
                  </a:cubicBezTo>
                  <a:cubicBezTo>
                    <a:pt x="36588" y="121792"/>
                    <a:pt x="39035" y="123368"/>
                    <a:pt x="40147" y="124423"/>
                  </a:cubicBezTo>
                  <a:cubicBezTo>
                    <a:pt x="40231" y="124507"/>
                    <a:pt x="40344" y="124570"/>
                    <a:pt x="40463" y="124598"/>
                  </a:cubicBezTo>
                  <a:lnTo>
                    <a:pt x="47721" y="126561"/>
                  </a:lnTo>
                  <a:cubicBezTo>
                    <a:pt x="47904" y="126603"/>
                    <a:pt x="48094" y="126582"/>
                    <a:pt x="48256" y="126490"/>
                  </a:cubicBezTo>
                  <a:cubicBezTo>
                    <a:pt x="51083" y="124873"/>
                    <a:pt x="56583" y="121602"/>
                    <a:pt x="57786" y="120393"/>
                  </a:cubicBezTo>
                  <a:cubicBezTo>
                    <a:pt x="58637" y="119535"/>
                    <a:pt x="60578" y="117411"/>
                    <a:pt x="62322" y="115505"/>
                  </a:cubicBezTo>
                  <a:lnTo>
                    <a:pt x="62322" y="115505"/>
                  </a:lnTo>
                  <a:cubicBezTo>
                    <a:pt x="63750" y="113950"/>
                    <a:pt x="65044" y="112537"/>
                    <a:pt x="65508" y="112073"/>
                  </a:cubicBezTo>
                  <a:cubicBezTo>
                    <a:pt x="66535" y="111032"/>
                    <a:pt x="68082" y="97507"/>
                    <a:pt x="68082" y="93344"/>
                  </a:cubicBezTo>
                  <a:cubicBezTo>
                    <a:pt x="68082" y="89187"/>
                    <a:pt x="73230" y="80339"/>
                    <a:pt x="75291" y="77224"/>
                  </a:cubicBezTo>
                  <a:cubicBezTo>
                    <a:pt x="76494" y="75395"/>
                    <a:pt x="80151" y="73574"/>
                    <a:pt x="83604" y="71858"/>
                  </a:cubicBezTo>
                  <a:cubicBezTo>
                    <a:pt x="86065" y="70634"/>
                    <a:pt x="88422" y="69459"/>
                    <a:pt x="89702" y="68376"/>
                  </a:cubicBezTo>
                  <a:cubicBezTo>
                    <a:pt x="92796" y="65781"/>
                    <a:pt x="94336" y="61618"/>
                    <a:pt x="94336" y="58495"/>
                  </a:cubicBezTo>
                  <a:cubicBezTo>
                    <a:pt x="94336" y="57637"/>
                    <a:pt x="94378" y="56505"/>
                    <a:pt x="94421" y="55175"/>
                  </a:cubicBezTo>
                  <a:cubicBezTo>
                    <a:pt x="94547" y="51659"/>
                    <a:pt x="94709" y="46757"/>
                    <a:pt x="94336" y="41855"/>
                  </a:cubicBezTo>
                  <a:cubicBezTo>
                    <a:pt x="93823" y="35089"/>
                    <a:pt x="98971" y="24167"/>
                    <a:pt x="102579" y="17928"/>
                  </a:cubicBezTo>
                  <a:cubicBezTo>
                    <a:pt x="104541" y="14531"/>
                    <a:pt x="104520" y="7280"/>
                    <a:pt x="103761" y="36"/>
                  </a:cubicBezTo>
                  <a:cubicBezTo>
                    <a:pt x="103754" y="1"/>
                    <a:pt x="103711" y="-13"/>
                    <a:pt x="103683" y="15"/>
                  </a:cubicBezTo>
                  <a:lnTo>
                    <a:pt x="103683" y="15"/>
                  </a:lnTo>
                  <a:cubicBezTo>
                    <a:pt x="102052" y="2062"/>
                    <a:pt x="101841" y="2322"/>
                    <a:pt x="97431" y="2322"/>
                  </a:cubicBezTo>
                  <a:lnTo>
                    <a:pt x="88161" y="2322"/>
                  </a:lnTo>
                  <a:cubicBezTo>
                    <a:pt x="86614" y="2322"/>
                    <a:pt x="84553" y="2842"/>
                    <a:pt x="82500" y="4924"/>
                  </a:cubicBezTo>
                  <a:cubicBezTo>
                    <a:pt x="81466" y="5965"/>
                    <a:pt x="80692" y="6485"/>
                    <a:pt x="79926" y="7006"/>
                  </a:cubicBezTo>
                  <a:cubicBezTo>
                    <a:pt x="79152" y="7526"/>
                    <a:pt x="78378" y="8047"/>
                    <a:pt x="77351" y="9088"/>
                  </a:cubicBezTo>
                  <a:cubicBezTo>
                    <a:pt x="76564" y="9882"/>
                    <a:pt x="75853" y="10445"/>
                    <a:pt x="75242" y="10930"/>
                  </a:cubicBezTo>
                  <a:cubicBezTo>
                    <a:pt x="74257" y="11718"/>
                    <a:pt x="73547" y="12281"/>
                    <a:pt x="73230" y="13244"/>
                  </a:cubicBezTo>
                  <a:cubicBezTo>
                    <a:pt x="73174" y="13406"/>
                    <a:pt x="73118" y="13596"/>
                    <a:pt x="73054" y="13807"/>
                  </a:cubicBezTo>
                  <a:lnTo>
                    <a:pt x="73054" y="13814"/>
                  </a:lnTo>
                  <a:lnTo>
                    <a:pt x="73047" y="13814"/>
                  </a:lnTo>
                  <a:cubicBezTo>
                    <a:pt x="72485" y="15642"/>
                    <a:pt x="71416" y="19075"/>
                    <a:pt x="69109" y="20010"/>
                  </a:cubicBezTo>
                  <a:cubicBezTo>
                    <a:pt x="68659" y="20193"/>
                    <a:pt x="68188" y="20312"/>
                    <a:pt x="67709" y="20383"/>
                  </a:cubicBezTo>
                  <a:cubicBezTo>
                    <a:pt x="67337" y="20432"/>
                    <a:pt x="67048" y="20734"/>
                    <a:pt x="67048" y="21107"/>
                  </a:cubicBezTo>
                  <a:lnTo>
                    <a:pt x="67048" y="26248"/>
                  </a:lnTo>
                  <a:lnTo>
                    <a:pt x="67048" y="29490"/>
                  </a:lnTo>
                  <a:cubicBezTo>
                    <a:pt x="67048" y="29955"/>
                    <a:pt x="66612" y="30292"/>
                    <a:pt x="66162" y="30173"/>
                  </a:cubicBezTo>
                  <a:lnTo>
                    <a:pt x="51604" y="26248"/>
                  </a:lnTo>
                  <a:cubicBezTo>
                    <a:pt x="46111" y="25552"/>
                    <a:pt x="34619" y="24167"/>
                    <a:pt x="32558" y="24167"/>
                  </a:cubicBezTo>
                  <a:cubicBezTo>
                    <a:pt x="31545" y="24167"/>
                    <a:pt x="29667" y="23927"/>
                    <a:pt x="27382" y="23639"/>
                  </a:cubicBezTo>
                  <a:lnTo>
                    <a:pt x="27382" y="23639"/>
                  </a:lnTo>
                  <a:lnTo>
                    <a:pt x="27375" y="23639"/>
                  </a:lnTo>
                  <a:cubicBezTo>
                    <a:pt x="27375" y="23639"/>
                    <a:pt x="27375" y="23639"/>
                    <a:pt x="27375" y="23639"/>
                  </a:cubicBezTo>
                  <a:lnTo>
                    <a:pt x="27375" y="23639"/>
                  </a:lnTo>
                  <a:cubicBezTo>
                    <a:pt x="23837" y="23182"/>
                    <a:pt x="19322" y="22605"/>
                    <a:pt x="15566" y="2260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7" name="Freihandform: Form 142">
              <a:extLst>
                <a:ext uri="{FF2B5EF4-FFF2-40B4-BE49-F238E27FC236}">
                  <a16:creationId xmlns:a16="http://schemas.microsoft.com/office/drawing/2014/main" id="{C46F6914-E0D6-4842-8100-5C68A30F2AF6}"/>
                </a:ext>
              </a:extLst>
            </p:cNvPr>
            <p:cNvSpPr/>
            <p:nvPr/>
          </p:nvSpPr>
          <p:spPr>
            <a:xfrm>
              <a:off x="6353327" y="4436256"/>
              <a:ext cx="275344" cy="275655"/>
            </a:xfrm>
            <a:custGeom>
              <a:avLst/>
              <a:gdLst>
                <a:gd name="connsiteX0" fmla="*/ 91345 w 275344"/>
                <a:gd name="connsiteY0" fmla="*/ 20797 h 275655"/>
                <a:gd name="connsiteX1" fmla="*/ 91191 w 275344"/>
                <a:gd name="connsiteY1" fmla="*/ 21310 h 275655"/>
                <a:gd name="connsiteX2" fmla="*/ 89995 w 275344"/>
                <a:gd name="connsiteY2" fmla="*/ 39012 h 275655"/>
                <a:gd name="connsiteX3" fmla="*/ 81752 w 275344"/>
                <a:gd name="connsiteY3" fmla="*/ 62939 h 275655"/>
                <a:gd name="connsiteX4" fmla="*/ 81837 w 275344"/>
                <a:gd name="connsiteY4" fmla="*/ 76259 h 275655"/>
                <a:gd name="connsiteX5" fmla="*/ 81752 w 275344"/>
                <a:gd name="connsiteY5" fmla="*/ 79579 h 275655"/>
                <a:gd name="connsiteX6" fmla="*/ 77125 w 275344"/>
                <a:gd name="connsiteY6" fmla="*/ 89460 h 275655"/>
                <a:gd name="connsiteX7" fmla="*/ 71020 w 275344"/>
                <a:gd name="connsiteY7" fmla="*/ 92942 h 275655"/>
                <a:gd name="connsiteX8" fmla="*/ 62707 w 275344"/>
                <a:gd name="connsiteY8" fmla="*/ 98308 h 275655"/>
                <a:gd name="connsiteX9" fmla="*/ 55498 w 275344"/>
                <a:gd name="connsiteY9" fmla="*/ 114428 h 275655"/>
                <a:gd name="connsiteX10" fmla="*/ 52924 w 275344"/>
                <a:gd name="connsiteY10" fmla="*/ 133150 h 275655"/>
                <a:gd name="connsiteX11" fmla="*/ 49738 w 275344"/>
                <a:gd name="connsiteY11" fmla="*/ 136589 h 275655"/>
                <a:gd name="connsiteX12" fmla="*/ 45201 w 275344"/>
                <a:gd name="connsiteY12" fmla="*/ 141477 h 275655"/>
                <a:gd name="connsiteX13" fmla="*/ 35672 w 275344"/>
                <a:gd name="connsiteY13" fmla="*/ 147575 h 275655"/>
                <a:gd name="connsiteX14" fmla="*/ 35137 w 275344"/>
                <a:gd name="connsiteY14" fmla="*/ 147638 h 275655"/>
                <a:gd name="connsiteX15" fmla="*/ 27879 w 275344"/>
                <a:gd name="connsiteY15" fmla="*/ 145683 h 275655"/>
                <a:gd name="connsiteX16" fmla="*/ 27562 w 275344"/>
                <a:gd name="connsiteY16" fmla="*/ 145507 h 275655"/>
                <a:gd name="connsiteX17" fmla="*/ 22035 w 275344"/>
                <a:gd name="connsiteY17" fmla="*/ 144072 h 275655"/>
                <a:gd name="connsiteX18" fmla="*/ 19847 w 275344"/>
                <a:gd name="connsiteY18" fmla="*/ 145542 h 275655"/>
                <a:gd name="connsiteX19" fmla="*/ 19847 w 275344"/>
                <a:gd name="connsiteY19" fmla="*/ 145542 h 275655"/>
                <a:gd name="connsiteX20" fmla="*/ 15339 w 275344"/>
                <a:gd name="connsiteY20" fmla="*/ 147715 h 275655"/>
                <a:gd name="connsiteX21" fmla="*/ 6449 w 275344"/>
                <a:gd name="connsiteY21" fmla="*/ 152223 h 275655"/>
                <a:gd name="connsiteX22" fmla="*/ 6449 w 275344"/>
                <a:gd name="connsiteY22" fmla="*/ 152223 h 275655"/>
                <a:gd name="connsiteX23" fmla="*/ 6449 w 275344"/>
                <a:gd name="connsiteY23" fmla="*/ 152223 h 275655"/>
                <a:gd name="connsiteX24" fmla="*/ 6449 w 275344"/>
                <a:gd name="connsiteY24" fmla="*/ 152230 h 275655"/>
                <a:gd name="connsiteX25" fmla="*/ 3496 w 275344"/>
                <a:gd name="connsiteY25" fmla="*/ 153961 h 275655"/>
                <a:gd name="connsiteX26" fmla="*/ 1653 w 275344"/>
                <a:gd name="connsiteY26" fmla="*/ 158244 h 275655"/>
                <a:gd name="connsiteX27" fmla="*/ 105 w 275344"/>
                <a:gd name="connsiteY27" fmla="*/ 158546 h 275655"/>
                <a:gd name="connsiteX28" fmla="*/ 0 w 275344"/>
                <a:gd name="connsiteY28" fmla="*/ 158321 h 275655"/>
                <a:gd name="connsiteX29" fmla="*/ 3263 w 275344"/>
                <a:gd name="connsiteY29" fmla="*/ 166395 h 275655"/>
                <a:gd name="connsiteX30" fmla="*/ 4093 w 275344"/>
                <a:gd name="connsiteY30" fmla="*/ 166817 h 275655"/>
                <a:gd name="connsiteX31" fmla="*/ 18427 w 275344"/>
                <a:gd name="connsiteY31" fmla="*/ 164883 h 275655"/>
                <a:gd name="connsiteX32" fmla="*/ 58621 w 275344"/>
                <a:gd name="connsiteY32" fmla="*/ 164876 h 275655"/>
                <a:gd name="connsiteX33" fmla="*/ 59260 w 275344"/>
                <a:gd name="connsiteY33" fmla="*/ 165333 h 275655"/>
                <a:gd name="connsiteX34" fmla="*/ 77125 w 275344"/>
                <a:gd name="connsiteY34" fmla="*/ 195568 h 275655"/>
                <a:gd name="connsiteX35" fmla="*/ 85705 w 275344"/>
                <a:gd name="connsiteY35" fmla="*/ 196018 h 275655"/>
                <a:gd name="connsiteX36" fmla="*/ 99778 w 275344"/>
                <a:gd name="connsiteY36" fmla="*/ 195568 h 275655"/>
                <a:gd name="connsiteX37" fmla="*/ 101705 w 275344"/>
                <a:gd name="connsiteY37" fmla="*/ 192143 h 275655"/>
                <a:gd name="connsiteX38" fmla="*/ 108014 w 275344"/>
                <a:gd name="connsiteY38" fmla="*/ 183605 h 275655"/>
                <a:gd name="connsiteX39" fmla="*/ 114934 w 275344"/>
                <a:gd name="connsiteY39" fmla="*/ 181439 h 275655"/>
                <a:gd name="connsiteX40" fmla="*/ 119337 w 275344"/>
                <a:gd name="connsiteY40" fmla="*/ 179962 h 275655"/>
                <a:gd name="connsiteX41" fmla="*/ 119696 w 275344"/>
                <a:gd name="connsiteY41" fmla="*/ 181221 h 275655"/>
                <a:gd name="connsiteX42" fmla="*/ 121397 w 275344"/>
                <a:gd name="connsiteY42" fmla="*/ 183605 h 275655"/>
                <a:gd name="connsiteX43" fmla="*/ 122642 w 275344"/>
                <a:gd name="connsiteY43" fmla="*/ 183598 h 275655"/>
                <a:gd name="connsiteX44" fmla="*/ 137876 w 275344"/>
                <a:gd name="connsiteY44" fmla="*/ 186728 h 275655"/>
                <a:gd name="connsiteX45" fmla="*/ 139522 w 275344"/>
                <a:gd name="connsiteY45" fmla="*/ 194626 h 275655"/>
                <a:gd name="connsiteX46" fmla="*/ 141990 w 275344"/>
                <a:gd name="connsiteY46" fmla="*/ 207531 h 275655"/>
                <a:gd name="connsiteX47" fmla="*/ 145598 w 275344"/>
                <a:gd name="connsiteY47" fmla="*/ 225212 h 275655"/>
                <a:gd name="connsiteX48" fmla="*/ 147265 w 275344"/>
                <a:gd name="connsiteY48" fmla="*/ 234770 h 275655"/>
                <a:gd name="connsiteX49" fmla="*/ 148173 w 275344"/>
                <a:gd name="connsiteY49" fmla="*/ 240298 h 275655"/>
                <a:gd name="connsiteX50" fmla="*/ 175081 w 275344"/>
                <a:gd name="connsiteY50" fmla="*/ 240298 h 275655"/>
                <a:gd name="connsiteX51" fmla="*/ 175679 w 275344"/>
                <a:gd name="connsiteY51" fmla="*/ 240608 h 275655"/>
                <a:gd name="connsiteX52" fmla="*/ 180095 w 275344"/>
                <a:gd name="connsiteY52" fmla="*/ 243942 h 275655"/>
                <a:gd name="connsiteX53" fmla="*/ 183120 w 275344"/>
                <a:gd name="connsiteY53" fmla="*/ 244272 h 275655"/>
                <a:gd name="connsiteX54" fmla="*/ 195026 w 275344"/>
                <a:gd name="connsiteY54" fmla="*/ 247578 h 275655"/>
                <a:gd name="connsiteX55" fmla="*/ 195371 w 275344"/>
                <a:gd name="connsiteY55" fmla="*/ 248302 h 275655"/>
                <a:gd name="connsiteX56" fmla="*/ 195378 w 275344"/>
                <a:gd name="connsiteY56" fmla="*/ 248302 h 275655"/>
                <a:gd name="connsiteX57" fmla="*/ 203262 w 275344"/>
                <a:gd name="connsiteY57" fmla="*/ 253823 h 275655"/>
                <a:gd name="connsiteX58" fmla="*/ 218193 w 275344"/>
                <a:gd name="connsiteY58" fmla="*/ 253823 h 275655"/>
                <a:gd name="connsiteX59" fmla="*/ 218974 w 275344"/>
                <a:gd name="connsiteY59" fmla="*/ 253795 h 275655"/>
                <a:gd name="connsiteX60" fmla="*/ 224369 w 275344"/>
                <a:gd name="connsiteY60" fmla="*/ 255384 h 275655"/>
                <a:gd name="connsiteX61" fmla="*/ 227899 w 275344"/>
                <a:gd name="connsiteY61" fmla="*/ 258078 h 275655"/>
                <a:gd name="connsiteX62" fmla="*/ 227899 w 275344"/>
                <a:gd name="connsiteY62" fmla="*/ 258078 h 275655"/>
                <a:gd name="connsiteX63" fmla="*/ 235185 w 275344"/>
                <a:gd name="connsiteY63" fmla="*/ 263704 h 275655"/>
                <a:gd name="connsiteX64" fmla="*/ 239982 w 275344"/>
                <a:gd name="connsiteY64" fmla="*/ 268684 h 275655"/>
                <a:gd name="connsiteX65" fmla="*/ 248787 w 275344"/>
                <a:gd name="connsiteY65" fmla="*/ 275653 h 275655"/>
                <a:gd name="connsiteX66" fmla="*/ 249287 w 275344"/>
                <a:gd name="connsiteY66" fmla="*/ 275457 h 275655"/>
                <a:gd name="connsiteX67" fmla="*/ 254231 w 275344"/>
                <a:gd name="connsiteY67" fmla="*/ 261623 h 275655"/>
                <a:gd name="connsiteX68" fmla="*/ 250524 w 275344"/>
                <a:gd name="connsiteY68" fmla="*/ 260750 h 275655"/>
                <a:gd name="connsiteX69" fmla="*/ 244961 w 275344"/>
                <a:gd name="connsiteY69" fmla="*/ 258500 h 275655"/>
                <a:gd name="connsiteX70" fmla="*/ 240144 w 275344"/>
                <a:gd name="connsiteY70" fmla="*/ 255286 h 275655"/>
                <a:gd name="connsiteX71" fmla="*/ 235185 w 275344"/>
                <a:gd name="connsiteY71" fmla="*/ 250700 h 275655"/>
                <a:gd name="connsiteX72" fmla="*/ 237759 w 275344"/>
                <a:gd name="connsiteY72" fmla="*/ 240298 h 275655"/>
                <a:gd name="connsiteX73" fmla="*/ 240334 w 275344"/>
                <a:gd name="connsiteY73" fmla="*/ 228855 h 275655"/>
                <a:gd name="connsiteX74" fmla="*/ 240334 w 275344"/>
                <a:gd name="connsiteY74" fmla="*/ 213770 h 275655"/>
                <a:gd name="connsiteX75" fmla="*/ 242908 w 275344"/>
                <a:gd name="connsiteY75" fmla="*/ 203888 h 275655"/>
                <a:gd name="connsiteX76" fmla="*/ 244919 w 275344"/>
                <a:gd name="connsiteY76" fmla="*/ 203276 h 275655"/>
                <a:gd name="connsiteX77" fmla="*/ 254231 w 275344"/>
                <a:gd name="connsiteY77" fmla="*/ 201286 h 275655"/>
                <a:gd name="connsiteX78" fmla="*/ 259323 w 275344"/>
                <a:gd name="connsiteY78" fmla="*/ 201996 h 275655"/>
                <a:gd name="connsiteX79" fmla="*/ 259323 w 275344"/>
                <a:gd name="connsiteY79" fmla="*/ 201996 h 275655"/>
                <a:gd name="connsiteX80" fmla="*/ 270196 w 275344"/>
                <a:gd name="connsiteY80" fmla="*/ 201286 h 275655"/>
                <a:gd name="connsiteX81" fmla="*/ 261953 w 275344"/>
                <a:gd name="connsiteY81" fmla="*/ 182044 h 275655"/>
                <a:gd name="connsiteX82" fmla="*/ 260357 w 275344"/>
                <a:gd name="connsiteY82" fmla="*/ 180201 h 275655"/>
                <a:gd name="connsiteX83" fmla="*/ 260357 w 275344"/>
                <a:gd name="connsiteY83" fmla="*/ 180201 h 275655"/>
                <a:gd name="connsiteX84" fmla="*/ 254231 w 275344"/>
                <a:gd name="connsiteY84" fmla="*/ 170601 h 275655"/>
                <a:gd name="connsiteX85" fmla="*/ 252444 w 275344"/>
                <a:gd name="connsiteY85" fmla="*/ 154143 h 275655"/>
                <a:gd name="connsiteX86" fmla="*/ 252444 w 275344"/>
                <a:gd name="connsiteY86" fmla="*/ 154143 h 275655"/>
                <a:gd name="connsiteX87" fmla="*/ 252444 w 275344"/>
                <a:gd name="connsiteY87" fmla="*/ 154143 h 275655"/>
                <a:gd name="connsiteX88" fmla="*/ 251657 w 275344"/>
                <a:gd name="connsiteY88" fmla="*/ 147715 h 275655"/>
                <a:gd name="connsiteX89" fmla="*/ 250215 w 275344"/>
                <a:gd name="connsiteY89" fmla="*/ 140098 h 275655"/>
                <a:gd name="connsiteX90" fmla="*/ 249083 w 275344"/>
                <a:gd name="connsiteY90" fmla="*/ 133670 h 275655"/>
                <a:gd name="connsiteX91" fmla="*/ 249083 w 275344"/>
                <a:gd name="connsiteY91" fmla="*/ 124309 h 275655"/>
                <a:gd name="connsiteX92" fmla="*/ 248182 w 275344"/>
                <a:gd name="connsiteY92" fmla="*/ 121601 h 275655"/>
                <a:gd name="connsiteX93" fmla="*/ 247022 w 275344"/>
                <a:gd name="connsiteY93" fmla="*/ 117030 h 275655"/>
                <a:gd name="connsiteX94" fmla="*/ 247599 w 275344"/>
                <a:gd name="connsiteY94" fmla="*/ 114927 h 275655"/>
                <a:gd name="connsiteX95" fmla="*/ 249083 w 275344"/>
                <a:gd name="connsiteY95" fmla="*/ 108190 h 275655"/>
                <a:gd name="connsiteX96" fmla="*/ 254231 w 275344"/>
                <a:gd name="connsiteY96" fmla="*/ 95185 h 275655"/>
                <a:gd name="connsiteX97" fmla="*/ 257839 w 275344"/>
                <a:gd name="connsiteY97" fmla="*/ 73861 h 275655"/>
                <a:gd name="connsiteX98" fmla="*/ 263451 w 275344"/>
                <a:gd name="connsiteY98" fmla="*/ 60414 h 275655"/>
                <a:gd name="connsiteX99" fmla="*/ 263564 w 275344"/>
                <a:gd name="connsiteY99" fmla="*/ 60273 h 275655"/>
                <a:gd name="connsiteX100" fmla="*/ 275126 w 275344"/>
                <a:gd name="connsiteY100" fmla="*/ 49098 h 275655"/>
                <a:gd name="connsiteX101" fmla="*/ 275344 w 275344"/>
                <a:gd name="connsiteY101" fmla="*/ 48598 h 275655"/>
                <a:gd name="connsiteX102" fmla="*/ 275344 w 275344"/>
                <a:gd name="connsiteY102" fmla="*/ 45440 h 275655"/>
                <a:gd name="connsiteX103" fmla="*/ 275253 w 275344"/>
                <a:gd name="connsiteY103" fmla="*/ 45089 h 275655"/>
                <a:gd name="connsiteX104" fmla="*/ 273283 w 275344"/>
                <a:gd name="connsiteY104" fmla="*/ 39533 h 275655"/>
                <a:gd name="connsiteX105" fmla="*/ 273283 w 275344"/>
                <a:gd name="connsiteY105" fmla="*/ 26824 h 275655"/>
                <a:gd name="connsiteX106" fmla="*/ 273072 w 275344"/>
                <a:gd name="connsiteY106" fmla="*/ 26318 h 275655"/>
                <a:gd name="connsiteX107" fmla="*/ 258043 w 275344"/>
                <a:gd name="connsiteY107" fmla="*/ 11647 h 275655"/>
                <a:gd name="connsiteX108" fmla="*/ 257551 w 275344"/>
                <a:gd name="connsiteY108" fmla="*/ 11443 h 275655"/>
                <a:gd name="connsiteX109" fmla="*/ 247022 w 275344"/>
                <a:gd name="connsiteY109" fmla="*/ 11443 h 275655"/>
                <a:gd name="connsiteX110" fmla="*/ 237380 w 275344"/>
                <a:gd name="connsiteY110" fmla="*/ 11443 h 275655"/>
                <a:gd name="connsiteX111" fmla="*/ 237112 w 275344"/>
                <a:gd name="connsiteY111" fmla="*/ 11492 h 275655"/>
                <a:gd name="connsiteX112" fmla="*/ 230037 w 275344"/>
                <a:gd name="connsiteY112" fmla="*/ 11443 h 275655"/>
                <a:gd name="connsiteX113" fmla="*/ 228637 w 275344"/>
                <a:gd name="connsiteY113" fmla="*/ 9713 h 275655"/>
                <a:gd name="connsiteX114" fmla="*/ 220008 w 275344"/>
                <a:gd name="connsiteY114" fmla="*/ 176 h 275655"/>
                <a:gd name="connsiteX115" fmla="*/ 219544 w 275344"/>
                <a:gd name="connsiteY115" fmla="*/ 0 h 275655"/>
                <a:gd name="connsiteX116" fmla="*/ 213045 w 275344"/>
                <a:gd name="connsiteY116" fmla="*/ 0 h 275655"/>
                <a:gd name="connsiteX117" fmla="*/ 198114 w 275344"/>
                <a:gd name="connsiteY117" fmla="*/ 1561 h 275655"/>
                <a:gd name="connsiteX118" fmla="*/ 191123 w 275344"/>
                <a:gd name="connsiteY118" fmla="*/ 3967 h 275655"/>
                <a:gd name="connsiteX119" fmla="*/ 190610 w 275344"/>
                <a:gd name="connsiteY119" fmla="*/ 4164 h 275655"/>
                <a:gd name="connsiteX120" fmla="*/ 179575 w 275344"/>
                <a:gd name="connsiteY120" fmla="*/ 4164 h 275655"/>
                <a:gd name="connsiteX121" fmla="*/ 177022 w 275344"/>
                <a:gd name="connsiteY121" fmla="*/ 3559 h 275655"/>
                <a:gd name="connsiteX122" fmla="*/ 173400 w 275344"/>
                <a:gd name="connsiteY122" fmla="*/ 4164 h 275655"/>
                <a:gd name="connsiteX123" fmla="*/ 168519 w 275344"/>
                <a:gd name="connsiteY123" fmla="*/ 6091 h 275655"/>
                <a:gd name="connsiteX124" fmla="*/ 166191 w 275344"/>
                <a:gd name="connsiteY124" fmla="*/ 6766 h 275655"/>
                <a:gd name="connsiteX125" fmla="*/ 162660 w 275344"/>
                <a:gd name="connsiteY125" fmla="*/ 7504 h 275655"/>
                <a:gd name="connsiteX126" fmla="*/ 158469 w 275344"/>
                <a:gd name="connsiteY126" fmla="*/ 8841 h 275655"/>
                <a:gd name="connsiteX127" fmla="*/ 155972 w 275344"/>
                <a:gd name="connsiteY127" fmla="*/ 11218 h 275655"/>
                <a:gd name="connsiteX128" fmla="*/ 153904 w 275344"/>
                <a:gd name="connsiteY128" fmla="*/ 13454 h 275655"/>
                <a:gd name="connsiteX129" fmla="*/ 153750 w 275344"/>
                <a:gd name="connsiteY129" fmla="*/ 13574 h 275655"/>
                <a:gd name="connsiteX130" fmla="*/ 149094 w 275344"/>
                <a:gd name="connsiteY130" fmla="*/ 16689 h 275655"/>
                <a:gd name="connsiteX131" fmla="*/ 142511 w 275344"/>
                <a:gd name="connsiteY131" fmla="*/ 17688 h 275655"/>
                <a:gd name="connsiteX132" fmla="*/ 135225 w 275344"/>
                <a:gd name="connsiteY132" fmla="*/ 16464 h 275655"/>
                <a:gd name="connsiteX133" fmla="*/ 129633 w 275344"/>
                <a:gd name="connsiteY133" fmla="*/ 15086 h 275655"/>
                <a:gd name="connsiteX134" fmla="*/ 122945 w 275344"/>
                <a:gd name="connsiteY134" fmla="*/ 13525 h 275655"/>
                <a:gd name="connsiteX135" fmla="*/ 119899 w 275344"/>
                <a:gd name="connsiteY135" fmla="*/ 11703 h 275655"/>
                <a:gd name="connsiteX136" fmla="*/ 116249 w 275344"/>
                <a:gd name="connsiteY136" fmla="*/ 8841 h 275655"/>
                <a:gd name="connsiteX137" fmla="*/ 110074 w 275344"/>
                <a:gd name="connsiteY137" fmla="*/ 6766 h 275655"/>
                <a:gd name="connsiteX138" fmla="*/ 104926 w 275344"/>
                <a:gd name="connsiteY138" fmla="*/ 6766 h 275655"/>
                <a:gd name="connsiteX139" fmla="*/ 102781 w 275344"/>
                <a:gd name="connsiteY139" fmla="*/ 6259 h 275655"/>
                <a:gd name="connsiteX140" fmla="*/ 99778 w 275344"/>
                <a:gd name="connsiteY140" fmla="*/ 6766 h 275655"/>
                <a:gd name="connsiteX141" fmla="*/ 96170 w 275344"/>
                <a:gd name="connsiteY141" fmla="*/ 13525 h 275655"/>
                <a:gd name="connsiteX142" fmla="*/ 95298 w 275344"/>
                <a:gd name="connsiteY142" fmla="*/ 14917 h 275655"/>
                <a:gd name="connsiteX143" fmla="*/ 94166 w 275344"/>
                <a:gd name="connsiteY143" fmla="*/ 17554 h 275655"/>
                <a:gd name="connsiteX144" fmla="*/ 94011 w 275344"/>
                <a:gd name="connsiteY144" fmla="*/ 17787 h 275655"/>
                <a:gd name="connsiteX145" fmla="*/ 91345 w 275344"/>
                <a:gd name="connsiteY145" fmla="*/ 20797 h 275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75344" h="275655">
                  <a:moveTo>
                    <a:pt x="91345" y="20797"/>
                  </a:moveTo>
                  <a:cubicBezTo>
                    <a:pt x="91226" y="20937"/>
                    <a:pt x="91177" y="21120"/>
                    <a:pt x="91191" y="21310"/>
                  </a:cubicBezTo>
                  <a:cubicBezTo>
                    <a:pt x="91936" y="28491"/>
                    <a:pt x="91936" y="35643"/>
                    <a:pt x="89995" y="39012"/>
                  </a:cubicBezTo>
                  <a:cubicBezTo>
                    <a:pt x="86387" y="45251"/>
                    <a:pt x="81239" y="56173"/>
                    <a:pt x="81752" y="62939"/>
                  </a:cubicBezTo>
                  <a:cubicBezTo>
                    <a:pt x="82125" y="67841"/>
                    <a:pt x="81963" y="72743"/>
                    <a:pt x="81837" y="76259"/>
                  </a:cubicBezTo>
                  <a:cubicBezTo>
                    <a:pt x="81794" y="77589"/>
                    <a:pt x="81752" y="78721"/>
                    <a:pt x="81752" y="79579"/>
                  </a:cubicBezTo>
                  <a:cubicBezTo>
                    <a:pt x="81752" y="82702"/>
                    <a:pt x="80212" y="86865"/>
                    <a:pt x="77125" y="89460"/>
                  </a:cubicBezTo>
                  <a:cubicBezTo>
                    <a:pt x="75837" y="90544"/>
                    <a:pt x="73481" y="91718"/>
                    <a:pt x="71020" y="92942"/>
                  </a:cubicBezTo>
                  <a:cubicBezTo>
                    <a:pt x="67566" y="94658"/>
                    <a:pt x="63909" y="96479"/>
                    <a:pt x="62707" y="98308"/>
                  </a:cubicBezTo>
                  <a:cubicBezTo>
                    <a:pt x="60646" y="101424"/>
                    <a:pt x="55498" y="110264"/>
                    <a:pt x="55498" y="114428"/>
                  </a:cubicBezTo>
                  <a:cubicBezTo>
                    <a:pt x="55498" y="118591"/>
                    <a:pt x="53951" y="132116"/>
                    <a:pt x="52924" y="133150"/>
                  </a:cubicBezTo>
                  <a:cubicBezTo>
                    <a:pt x="52459" y="133621"/>
                    <a:pt x="51165" y="135035"/>
                    <a:pt x="49738" y="136589"/>
                  </a:cubicBezTo>
                  <a:cubicBezTo>
                    <a:pt x="47993" y="138495"/>
                    <a:pt x="46052" y="140619"/>
                    <a:pt x="45201" y="141477"/>
                  </a:cubicBezTo>
                  <a:cubicBezTo>
                    <a:pt x="43999" y="142687"/>
                    <a:pt x="38499" y="145957"/>
                    <a:pt x="35672" y="147575"/>
                  </a:cubicBezTo>
                  <a:cubicBezTo>
                    <a:pt x="35510" y="147666"/>
                    <a:pt x="35320" y="147687"/>
                    <a:pt x="35137" y="147638"/>
                  </a:cubicBezTo>
                  <a:lnTo>
                    <a:pt x="27879" y="145683"/>
                  </a:lnTo>
                  <a:cubicBezTo>
                    <a:pt x="27760" y="145655"/>
                    <a:pt x="27647" y="145591"/>
                    <a:pt x="27562" y="145507"/>
                  </a:cubicBezTo>
                  <a:cubicBezTo>
                    <a:pt x="26451" y="144452"/>
                    <a:pt x="24004" y="142876"/>
                    <a:pt x="22035" y="144072"/>
                  </a:cubicBezTo>
                  <a:cubicBezTo>
                    <a:pt x="21261" y="144543"/>
                    <a:pt x="20544" y="145050"/>
                    <a:pt x="19847" y="145542"/>
                  </a:cubicBezTo>
                  <a:lnTo>
                    <a:pt x="19847" y="145542"/>
                  </a:lnTo>
                  <a:cubicBezTo>
                    <a:pt x="18230" y="146695"/>
                    <a:pt x="16781" y="147715"/>
                    <a:pt x="15339" y="147715"/>
                  </a:cubicBezTo>
                  <a:cubicBezTo>
                    <a:pt x="13876" y="147715"/>
                    <a:pt x="9565" y="150332"/>
                    <a:pt x="6449" y="152223"/>
                  </a:cubicBezTo>
                  <a:lnTo>
                    <a:pt x="6449" y="152223"/>
                  </a:lnTo>
                  <a:lnTo>
                    <a:pt x="6449" y="152223"/>
                  </a:lnTo>
                  <a:lnTo>
                    <a:pt x="6449" y="152230"/>
                  </a:lnTo>
                  <a:cubicBezTo>
                    <a:pt x="5169" y="153004"/>
                    <a:pt x="4093" y="153658"/>
                    <a:pt x="3496" y="153961"/>
                  </a:cubicBezTo>
                  <a:cubicBezTo>
                    <a:pt x="2468" y="154481"/>
                    <a:pt x="1920" y="156380"/>
                    <a:pt x="1653" y="158244"/>
                  </a:cubicBezTo>
                  <a:cubicBezTo>
                    <a:pt x="1547" y="158982"/>
                    <a:pt x="436" y="159207"/>
                    <a:pt x="105" y="158546"/>
                  </a:cubicBezTo>
                  <a:cubicBezTo>
                    <a:pt x="70" y="158469"/>
                    <a:pt x="35" y="158398"/>
                    <a:pt x="0" y="158321"/>
                  </a:cubicBezTo>
                  <a:lnTo>
                    <a:pt x="3263" y="166395"/>
                  </a:lnTo>
                  <a:cubicBezTo>
                    <a:pt x="3397" y="166719"/>
                    <a:pt x="3749" y="166894"/>
                    <a:pt x="4093" y="166817"/>
                  </a:cubicBezTo>
                  <a:cubicBezTo>
                    <a:pt x="6541" y="166254"/>
                    <a:pt x="12013" y="165263"/>
                    <a:pt x="18427" y="164883"/>
                  </a:cubicBezTo>
                  <a:cubicBezTo>
                    <a:pt x="25326" y="164468"/>
                    <a:pt x="47783" y="164700"/>
                    <a:pt x="58621" y="164876"/>
                  </a:cubicBezTo>
                  <a:cubicBezTo>
                    <a:pt x="58916" y="164876"/>
                    <a:pt x="59162" y="165059"/>
                    <a:pt x="59260" y="165333"/>
                  </a:cubicBezTo>
                  <a:cubicBezTo>
                    <a:pt x="62960" y="175700"/>
                    <a:pt x="71442" y="195568"/>
                    <a:pt x="77125" y="195568"/>
                  </a:cubicBezTo>
                  <a:cubicBezTo>
                    <a:pt x="79488" y="195568"/>
                    <a:pt x="82575" y="195793"/>
                    <a:pt x="85705" y="196018"/>
                  </a:cubicBezTo>
                  <a:cubicBezTo>
                    <a:pt x="92126" y="196482"/>
                    <a:pt x="98737" y="196968"/>
                    <a:pt x="99778" y="195568"/>
                  </a:cubicBezTo>
                  <a:cubicBezTo>
                    <a:pt x="100228" y="194956"/>
                    <a:pt x="100910" y="193662"/>
                    <a:pt x="101705" y="192143"/>
                  </a:cubicBezTo>
                  <a:cubicBezTo>
                    <a:pt x="103618" y="188514"/>
                    <a:pt x="106199" y="183605"/>
                    <a:pt x="108014" y="183605"/>
                  </a:cubicBezTo>
                  <a:cubicBezTo>
                    <a:pt x="109463" y="183605"/>
                    <a:pt x="112388" y="182451"/>
                    <a:pt x="114934" y="181439"/>
                  </a:cubicBezTo>
                  <a:cubicBezTo>
                    <a:pt x="116910" y="180658"/>
                    <a:pt x="118669" y="179962"/>
                    <a:pt x="119337" y="179962"/>
                  </a:cubicBezTo>
                  <a:cubicBezTo>
                    <a:pt x="119949" y="179962"/>
                    <a:pt x="119836" y="180531"/>
                    <a:pt x="119696" y="181221"/>
                  </a:cubicBezTo>
                  <a:cubicBezTo>
                    <a:pt x="119485" y="182276"/>
                    <a:pt x="119217" y="183605"/>
                    <a:pt x="121397" y="183605"/>
                  </a:cubicBezTo>
                  <a:cubicBezTo>
                    <a:pt x="121742" y="183605"/>
                    <a:pt x="122164" y="183598"/>
                    <a:pt x="122642" y="183598"/>
                  </a:cubicBezTo>
                  <a:cubicBezTo>
                    <a:pt x="127242" y="183542"/>
                    <a:pt x="137405" y="183429"/>
                    <a:pt x="137876" y="186728"/>
                  </a:cubicBezTo>
                  <a:cubicBezTo>
                    <a:pt x="138080" y="188169"/>
                    <a:pt x="138769" y="191243"/>
                    <a:pt x="139522" y="194626"/>
                  </a:cubicBezTo>
                  <a:cubicBezTo>
                    <a:pt x="140675" y="199781"/>
                    <a:pt x="141990" y="205646"/>
                    <a:pt x="141990" y="207531"/>
                  </a:cubicBezTo>
                  <a:cubicBezTo>
                    <a:pt x="141990" y="210654"/>
                    <a:pt x="142511" y="222617"/>
                    <a:pt x="145598" y="225212"/>
                  </a:cubicBezTo>
                  <a:cubicBezTo>
                    <a:pt x="147300" y="226647"/>
                    <a:pt x="147279" y="231078"/>
                    <a:pt x="147265" y="234770"/>
                  </a:cubicBezTo>
                  <a:cubicBezTo>
                    <a:pt x="147258" y="237781"/>
                    <a:pt x="147244" y="240298"/>
                    <a:pt x="148173" y="240298"/>
                  </a:cubicBezTo>
                  <a:lnTo>
                    <a:pt x="175081" y="240298"/>
                  </a:lnTo>
                  <a:cubicBezTo>
                    <a:pt x="175320" y="240298"/>
                    <a:pt x="175538" y="240418"/>
                    <a:pt x="175679" y="240608"/>
                  </a:cubicBezTo>
                  <a:cubicBezTo>
                    <a:pt x="176487" y="241719"/>
                    <a:pt x="178218" y="243562"/>
                    <a:pt x="180095" y="243942"/>
                  </a:cubicBezTo>
                  <a:cubicBezTo>
                    <a:pt x="180707" y="244061"/>
                    <a:pt x="181797" y="244159"/>
                    <a:pt x="183120" y="244272"/>
                  </a:cubicBezTo>
                  <a:cubicBezTo>
                    <a:pt x="187311" y="244638"/>
                    <a:pt x="193852" y="245207"/>
                    <a:pt x="195026" y="247578"/>
                  </a:cubicBezTo>
                  <a:cubicBezTo>
                    <a:pt x="195146" y="247824"/>
                    <a:pt x="195259" y="248063"/>
                    <a:pt x="195371" y="248302"/>
                  </a:cubicBezTo>
                  <a:lnTo>
                    <a:pt x="195378" y="248302"/>
                  </a:lnTo>
                  <a:cubicBezTo>
                    <a:pt x="196757" y="251164"/>
                    <a:pt x="198037" y="253823"/>
                    <a:pt x="203262" y="253823"/>
                  </a:cubicBezTo>
                  <a:lnTo>
                    <a:pt x="218193" y="253823"/>
                  </a:lnTo>
                  <a:cubicBezTo>
                    <a:pt x="218433" y="253823"/>
                    <a:pt x="218693" y="253809"/>
                    <a:pt x="218974" y="253795"/>
                  </a:cubicBezTo>
                  <a:cubicBezTo>
                    <a:pt x="220521" y="253724"/>
                    <a:pt x="222631" y="253626"/>
                    <a:pt x="224369" y="255384"/>
                  </a:cubicBezTo>
                  <a:cubicBezTo>
                    <a:pt x="225262" y="256277"/>
                    <a:pt x="226436" y="257079"/>
                    <a:pt x="227899" y="258078"/>
                  </a:cubicBezTo>
                  <a:lnTo>
                    <a:pt x="227899" y="258078"/>
                  </a:lnTo>
                  <a:cubicBezTo>
                    <a:pt x="229826" y="259393"/>
                    <a:pt x="232259" y="261046"/>
                    <a:pt x="235185" y="263704"/>
                  </a:cubicBezTo>
                  <a:cubicBezTo>
                    <a:pt x="236831" y="265202"/>
                    <a:pt x="238435" y="266975"/>
                    <a:pt x="239982" y="268684"/>
                  </a:cubicBezTo>
                  <a:cubicBezTo>
                    <a:pt x="243140" y="272179"/>
                    <a:pt x="246072" y="275435"/>
                    <a:pt x="248787" y="275653"/>
                  </a:cubicBezTo>
                  <a:cubicBezTo>
                    <a:pt x="248977" y="275668"/>
                    <a:pt x="249160" y="275590"/>
                    <a:pt x="249287" y="275457"/>
                  </a:cubicBezTo>
                  <a:cubicBezTo>
                    <a:pt x="254315" y="270273"/>
                    <a:pt x="257283" y="263163"/>
                    <a:pt x="254231" y="261623"/>
                  </a:cubicBezTo>
                  <a:cubicBezTo>
                    <a:pt x="252993" y="260997"/>
                    <a:pt x="251762" y="260877"/>
                    <a:pt x="250524" y="260750"/>
                  </a:cubicBezTo>
                  <a:cubicBezTo>
                    <a:pt x="248675" y="260561"/>
                    <a:pt x="246818" y="260378"/>
                    <a:pt x="244961" y="258500"/>
                  </a:cubicBezTo>
                  <a:cubicBezTo>
                    <a:pt x="243716" y="257241"/>
                    <a:pt x="241888" y="256235"/>
                    <a:pt x="240144" y="255286"/>
                  </a:cubicBezTo>
                  <a:cubicBezTo>
                    <a:pt x="237562" y="253872"/>
                    <a:pt x="235185" y="252564"/>
                    <a:pt x="235185" y="250700"/>
                  </a:cubicBezTo>
                  <a:cubicBezTo>
                    <a:pt x="235185" y="247578"/>
                    <a:pt x="236725" y="242900"/>
                    <a:pt x="237759" y="240298"/>
                  </a:cubicBezTo>
                  <a:cubicBezTo>
                    <a:pt x="238786" y="237696"/>
                    <a:pt x="240334" y="232499"/>
                    <a:pt x="240334" y="228855"/>
                  </a:cubicBezTo>
                  <a:lnTo>
                    <a:pt x="240334" y="213770"/>
                  </a:lnTo>
                  <a:cubicBezTo>
                    <a:pt x="240334" y="212208"/>
                    <a:pt x="240847" y="204409"/>
                    <a:pt x="242908" y="203888"/>
                  </a:cubicBezTo>
                  <a:cubicBezTo>
                    <a:pt x="243414" y="203762"/>
                    <a:pt x="244103" y="203537"/>
                    <a:pt x="244919" y="203276"/>
                  </a:cubicBezTo>
                  <a:cubicBezTo>
                    <a:pt x="247430" y="202475"/>
                    <a:pt x="251122" y="201286"/>
                    <a:pt x="254231" y="201286"/>
                  </a:cubicBezTo>
                  <a:cubicBezTo>
                    <a:pt x="255490" y="201286"/>
                    <a:pt x="257333" y="201631"/>
                    <a:pt x="259323" y="201996"/>
                  </a:cubicBezTo>
                  <a:lnTo>
                    <a:pt x="259323" y="201996"/>
                  </a:lnTo>
                  <a:cubicBezTo>
                    <a:pt x="263831" y="202833"/>
                    <a:pt x="269120" y="203818"/>
                    <a:pt x="270196" y="201286"/>
                  </a:cubicBezTo>
                  <a:cubicBezTo>
                    <a:pt x="271736" y="197650"/>
                    <a:pt x="265041" y="185687"/>
                    <a:pt x="261953" y="182044"/>
                  </a:cubicBezTo>
                  <a:cubicBezTo>
                    <a:pt x="261454" y="181453"/>
                    <a:pt x="260912" y="180834"/>
                    <a:pt x="260357" y="180201"/>
                  </a:cubicBezTo>
                  <a:lnTo>
                    <a:pt x="260357" y="180201"/>
                  </a:lnTo>
                  <a:cubicBezTo>
                    <a:pt x="257487" y="176924"/>
                    <a:pt x="254231" y="173217"/>
                    <a:pt x="254231" y="170601"/>
                  </a:cubicBezTo>
                  <a:cubicBezTo>
                    <a:pt x="254231" y="168421"/>
                    <a:pt x="253225" y="160382"/>
                    <a:pt x="252444" y="154143"/>
                  </a:cubicBezTo>
                  <a:lnTo>
                    <a:pt x="252444" y="154143"/>
                  </a:lnTo>
                  <a:lnTo>
                    <a:pt x="252444" y="154143"/>
                  </a:lnTo>
                  <a:cubicBezTo>
                    <a:pt x="252107" y="151464"/>
                    <a:pt x="251812" y="149122"/>
                    <a:pt x="251657" y="147715"/>
                  </a:cubicBezTo>
                  <a:cubicBezTo>
                    <a:pt x="251404" y="145430"/>
                    <a:pt x="250785" y="142644"/>
                    <a:pt x="250215" y="140098"/>
                  </a:cubicBezTo>
                  <a:cubicBezTo>
                    <a:pt x="249624" y="137426"/>
                    <a:pt x="249083" y="135006"/>
                    <a:pt x="249083" y="133670"/>
                  </a:cubicBezTo>
                  <a:lnTo>
                    <a:pt x="249083" y="124309"/>
                  </a:lnTo>
                  <a:cubicBezTo>
                    <a:pt x="249083" y="123676"/>
                    <a:pt x="248654" y="122685"/>
                    <a:pt x="248182" y="121601"/>
                  </a:cubicBezTo>
                  <a:cubicBezTo>
                    <a:pt x="247493" y="120033"/>
                    <a:pt x="246719" y="118261"/>
                    <a:pt x="247022" y="117030"/>
                  </a:cubicBezTo>
                  <a:cubicBezTo>
                    <a:pt x="247163" y="116481"/>
                    <a:pt x="247367" y="115743"/>
                    <a:pt x="247599" y="114927"/>
                  </a:cubicBezTo>
                  <a:cubicBezTo>
                    <a:pt x="248246" y="112648"/>
                    <a:pt x="249083" y="109716"/>
                    <a:pt x="249083" y="108190"/>
                  </a:cubicBezTo>
                  <a:cubicBezTo>
                    <a:pt x="249083" y="106108"/>
                    <a:pt x="252691" y="98308"/>
                    <a:pt x="254231" y="95185"/>
                  </a:cubicBezTo>
                  <a:cubicBezTo>
                    <a:pt x="255778" y="92063"/>
                    <a:pt x="257839" y="78018"/>
                    <a:pt x="257839" y="73861"/>
                  </a:cubicBezTo>
                  <a:cubicBezTo>
                    <a:pt x="257839" y="70556"/>
                    <a:pt x="261552" y="63572"/>
                    <a:pt x="263451" y="60414"/>
                  </a:cubicBezTo>
                  <a:cubicBezTo>
                    <a:pt x="263486" y="60358"/>
                    <a:pt x="263521" y="60315"/>
                    <a:pt x="263564" y="60273"/>
                  </a:cubicBezTo>
                  <a:lnTo>
                    <a:pt x="275126" y="49098"/>
                  </a:lnTo>
                  <a:cubicBezTo>
                    <a:pt x="275267" y="48971"/>
                    <a:pt x="275344" y="48788"/>
                    <a:pt x="275344" y="48598"/>
                  </a:cubicBezTo>
                  <a:lnTo>
                    <a:pt x="275344" y="45440"/>
                  </a:lnTo>
                  <a:cubicBezTo>
                    <a:pt x="275344" y="45314"/>
                    <a:pt x="275309" y="45201"/>
                    <a:pt x="275253" y="45089"/>
                  </a:cubicBezTo>
                  <a:cubicBezTo>
                    <a:pt x="274542" y="43802"/>
                    <a:pt x="273283" y="41129"/>
                    <a:pt x="273283" y="39533"/>
                  </a:cubicBezTo>
                  <a:lnTo>
                    <a:pt x="273283" y="26824"/>
                  </a:lnTo>
                  <a:cubicBezTo>
                    <a:pt x="273283" y="26634"/>
                    <a:pt x="273206" y="26451"/>
                    <a:pt x="273072" y="26318"/>
                  </a:cubicBezTo>
                  <a:lnTo>
                    <a:pt x="258043" y="11647"/>
                  </a:lnTo>
                  <a:cubicBezTo>
                    <a:pt x="257909" y="11513"/>
                    <a:pt x="257733" y="11443"/>
                    <a:pt x="257551" y="11443"/>
                  </a:cubicBezTo>
                  <a:lnTo>
                    <a:pt x="247022" y="11443"/>
                  </a:lnTo>
                  <a:lnTo>
                    <a:pt x="237380" y="11443"/>
                  </a:lnTo>
                  <a:cubicBezTo>
                    <a:pt x="237288" y="11443"/>
                    <a:pt x="237197" y="11464"/>
                    <a:pt x="237112" y="11492"/>
                  </a:cubicBezTo>
                  <a:cubicBezTo>
                    <a:pt x="235347" y="12181"/>
                    <a:pt x="231641" y="13067"/>
                    <a:pt x="230037" y="11443"/>
                  </a:cubicBezTo>
                  <a:cubicBezTo>
                    <a:pt x="229742" y="11147"/>
                    <a:pt x="229270" y="10536"/>
                    <a:pt x="228637" y="9713"/>
                  </a:cubicBezTo>
                  <a:cubicBezTo>
                    <a:pt x="226915" y="7469"/>
                    <a:pt x="223968" y="3636"/>
                    <a:pt x="220008" y="176"/>
                  </a:cubicBezTo>
                  <a:cubicBezTo>
                    <a:pt x="219882" y="63"/>
                    <a:pt x="219713" y="0"/>
                    <a:pt x="219544" y="0"/>
                  </a:cubicBezTo>
                  <a:lnTo>
                    <a:pt x="213045" y="0"/>
                  </a:lnTo>
                  <a:cubicBezTo>
                    <a:pt x="206863" y="0"/>
                    <a:pt x="200512" y="1041"/>
                    <a:pt x="198114" y="1561"/>
                  </a:cubicBezTo>
                  <a:cubicBezTo>
                    <a:pt x="196321" y="1892"/>
                    <a:pt x="192565" y="2813"/>
                    <a:pt x="191123" y="3967"/>
                  </a:cubicBezTo>
                  <a:cubicBezTo>
                    <a:pt x="190976" y="4086"/>
                    <a:pt x="190800" y="4164"/>
                    <a:pt x="190610" y="4164"/>
                  </a:cubicBezTo>
                  <a:lnTo>
                    <a:pt x="179575" y="4164"/>
                  </a:lnTo>
                  <a:cubicBezTo>
                    <a:pt x="178126" y="4164"/>
                    <a:pt x="177507" y="3826"/>
                    <a:pt x="177022" y="3559"/>
                  </a:cubicBezTo>
                  <a:cubicBezTo>
                    <a:pt x="176298" y="3165"/>
                    <a:pt x="175861" y="2919"/>
                    <a:pt x="173400" y="4164"/>
                  </a:cubicBezTo>
                  <a:cubicBezTo>
                    <a:pt x="170650" y="5549"/>
                    <a:pt x="169736" y="5781"/>
                    <a:pt x="168519" y="6091"/>
                  </a:cubicBezTo>
                  <a:cubicBezTo>
                    <a:pt x="167907" y="6245"/>
                    <a:pt x="167218" y="6414"/>
                    <a:pt x="166191" y="6766"/>
                  </a:cubicBezTo>
                  <a:cubicBezTo>
                    <a:pt x="164925" y="7188"/>
                    <a:pt x="163751" y="7357"/>
                    <a:pt x="162660" y="7504"/>
                  </a:cubicBezTo>
                  <a:cubicBezTo>
                    <a:pt x="161085" y="7729"/>
                    <a:pt x="159685" y="7919"/>
                    <a:pt x="158469" y="8841"/>
                  </a:cubicBezTo>
                  <a:cubicBezTo>
                    <a:pt x="157224" y="9783"/>
                    <a:pt x="156732" y="10346"/>
                    <a:pt x="155972" y="11218"/>
                  </a:cubicBezTo>
                  <a:cubicBezTo>
                    <a:pt x="155480" y="11780"/>
                    <a:pt x="154882" y="12463"/>
                    <a:pt x="153904" y="13454"/>
                  </a:cubicBezTo>
                  <a:cubicBezTo>
                    <a:pt x="153855" y="13503"/>
                    <a:pt x="153806" y="13539"/>
                    <a:pt x="153750" y="13574"/>
                  </a:cubicBezTo>
                  <a:cubicBezTo>
                    <a:pt x="151506" y="14875"/>
                    <a:pt x="150121" y="15923"/>
                    <a:pt x="149094" y="16689"/>
                  </a:cubicBezTo>
                  <a:cubicBezTo>
                    <a:pt x="146878" y="18363"/>
                    <a:pt x="146365" y="18750"/>
                    <a:pt x="142511" y="17688"/>
                  </a:cubicBezTo>
                  <a:cubicBezTo>
                    <a:pt x="139951" y="16985"/>
                    <a:pt x="137398" y="16704"/>
                    <a:pt x="135225" y="16464"/>
                  </a:cubicBezTo>
                  <a:cubicBezTo>
                    <a:pt x="132573" y="16169"/>
                    <a:pt x="130484" y="15944"/>
                    <a:pt x="129633" y="15086"/>
                  </a:cubicBezTo>
                  <a:cubicBezTo>
                    <a:pt x="128093" y="13525"/>
                    <a:pt x="125005" y="13525"/>
                    <a:pt x="122945" y="13525"/>
                  </a:cubicBezTo>
                  <a:cubicBezTo>
                    <a:pt x="121820" y="13525"/>
                    <a:pt x="120997" y="12744"/>
                    <a:pt x="119899" y="11703"/>
                  </a:cubicBezTo>
                  <a:cubicBezTo>
                    <a:pt x="118985" y="10838"/>
                    <a:pt x="117881" y="9790"/>
                    <a:pt x="116249" y="8841"/>
                  </a:cubicBezTo>
                  <a:cubicBezTo>
                    <a:pt x="112648" y="6766"/>
                    <a:pt x="112128" y="6766"/>
                    <a:pt x="110074" y="6766"/>
                  </a:cubicBezTo>
                  <a:lnTo>
                    <a:pt x="104926" y="6766"/>
                  </a:lnTo>
                  <a:cubicBezTo>
                    <a:pt x="104195" y="6766"/>
                    <a:pt x="103463" y="6506"/>
                    <a:pt x="102781" y="6259"/>
                  </a:cubicBezTo>
                  <a:cubicBezTo>
                    <a:pt x="101536" y="5809"/>
                    <a:pt x="100439" y="5422"/>
                    <a:pt x="99778" y="6766"/>
                  </a:cubicBezTo>
                  <a:cubicBezTo>
                    <a:pt x="98744" y="8841"/>
                    <a:pt x="97204" y="11963"/>
                    <a:pt x="96170" y="13525"/>
                  </a:cubicBezTo>
                  <a:cubicBezTo>
                    <a:pt x="95755" y="14150"/>
                    <a:pt x="95509" y="14523"/>
                    <a:pt x="95298" y="14917"/>
                  </a:cubicBezTo>
                  <a:cubicBezTo>
                    <a:pt x="94981" y="15487"/>
                    <a:pt x="94742" y="16092"/>
                    <a:pt x="94166" y="17554"/>
                  </a:cubicBezTo>
                  <a:cubicBezTo>
                    <a:pt x="94130" y="17639"/>
                    <a:pt x="94074" y="17723"/>
                    <a:pt x="94011" y="17787"/>
                  </a:cubicBezTo>
                  <a:cubicBezTo>
                    <a:pt x="92766" y="19053"/>
                    <a:pt x="91957" y="20030"/>
                    <a:pt x="91345" y="20797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8" name="Freihandform: Form 143">
              <a:extLst>
                <a:ext uri="{FF2B5EF4-FFF2-40B4-BE49-F238E27FC236}">
                  <a16:creationId xmlns:a16="http://schemas.microsoft.com/office/drawing/2014/main" id="{46278F81-1612-C045-A0BC-A2DAA79BAD83}"/>
                </a:ext>
              </a:extLst>
            </p:cNvPr>
            <p:cNvSpPr/>
            <p:nvPr/>
          </p:nvSpPr>
          <p:spPr>
            <a:xfrm>
              <a:off x="6529209" y="4330573"/>
              <a:ext cx="160884" cy="131405"/>
            </a:xfrm>
            <a:custGeom>
              <a:avLst/>
              <a:gdLst>
                <a:gd name="connsiteX0" fmla="*/ 37163 w 160884"/>
                <a:gd name="connsiteY0" fmla="*/ 105684 h 131405"/>
                <a:gd name="connsiteX1" fmla="*/ 22386 w 160884"/>
                <a:gd name="connsiteY1" fmla="*/ 107210 h 131405"/>
                <a:gd name="connsiteX2" fmla="*/ 22386 w 160884"/>
                <a:gd name="connsiteY2" fmla="*/ 107210 h 131405"/>
                <a:gd name="connsiteX3" fmla="*/ 22386 w 160884"/>
                <a:gd name="connsiteY3" fmla="*/ 107210 h 131405"/>
                <a:gd name="connsiteX4" fmla="*/ 22386 w 160884"/>
                <a:gd name="connsiteY4" fmla="*/ 107210 h 131405"/>
                <a:gd name="connsiteX5" fmla="*/ 37163 w 160884"/>
                <a:gd name="connsiteY5" fmla="*/ 105684 h 131405"/>
                <a:gd name="connsiteX6" fmla="*/ 43661 w 160884"/>
                <a:gd name="connsiteY6" fmla="*/ 105684 h 131405"/>
                <a:gd name="connsiteX7" fmla="*/ 44125 w 160884"/>
                <a:gd name="connsiteY7" fmla="*/ 105859 h 131405"/>
                <a:gd name="connsiteX8" fmla="*/ 52748 w 160884"/>
                <a:gd name="connsiteY8" fmla="*/ 115389 h 131405"/>
                <a:gd name="connsiteX9" fmla="*/ 54147 w 160884"/>
                <a:gd name="connsiteY9" fmla="*/ 117126 h 131405"/>
                <a:gd name="connsiteX10" fmla="*/ 61230 w 160884"/>
                <a:gd name="connsiteY10" fmla="*/ 117176 h 131405"/>
                <a:gd name="connsiteX11" fmla="*/ 61497 w 160884"/>
                <a:gd name="connsiteY11" fmla="*/ 117126 h 131405"/>
                <a:gd name="connsiteX12" fmla="*/ 71139 w 160884"/>
                <a:gd name="connsiteY12" fmla="*/ 117126 h 131405"/>
                <a:gd name="connsiteX13" fmla="*/ 81668 w 160884"/>
                <a:gd name="connsiteY13" fmla="*/ 117126 h 131405"/>
                <a:gd name="connsiteX14" fmla="*/ 82160 w 160884"/>
                <a:gd name="connsiteY14" fmla="*/ 117330 h 131405"/>
                <a:gd name="connsiteX15" fmla="*/ 96367 w 160884"/>
                <a:gd name="connsiteY15" fmla="*/ 131207 h 131405"/>
                <a:gd name="connsiteX16" fmla="*/ 97309 w 160884"/>
                <a:gd name="connsiteY16" fmla="*/ 131249 h 131405"/>
                <a:gd name="connsiteX17" fmla="*/ 101740 w 160884"/>
                <a:gd name="connsiteY17" fmla="*/ 127753 h 131405"/>
                <a:gd name="connsiteX18" fmla="*/ 102380 w 160884"/>
                <a:gd name="connsiteY18" fmla="*/ 127641 h 131405"/>
                <a:gd name="connsiteX19" fmla="*/ 115419 w 160884"/>
                <a:gd name="connsiteY19" fmla="*/ 130651 h 131405"/>
                <a:gd name="connsiteX20" fmla="*/ 118795 w 160884"/>
                <a:gd name="connsiteY20" fmla="*/ 128893 h 131405"/>
                <a:gd name="connsiteX21" fmla="*/ 121081 w 160884"/>
                <a:gd name="connsiteY21" fmla="*/ 127528 h 131405"/>
                <a:gd name="connsiteX22" fmla="*/ 136012 w 160884"/>
                <a:gd name="connsiteY22" fmla="*/ 127528 h 131405"/>
                <a:gd name="connsiteX23" fmla="*/ 153004 w 160884"/>
                <a:gd name="connsiteY23" fmla="*/ 112449 h 131405"/>
                <a:gd name="connsiteX24" fmla="*/ 160726 w 160884"/>
                <a:gd name="connsiteY24" fmla="*/ 100486 h 131405"/>
                <a:gd name="connsiteX25" fmla="*/ 153004 w 160884"/>
                <a:gd name="connsiteY25" fmla="*/ 85921 h 131405"/>
                <a:gd name="connsiteX26" fmla="*/ 148306 w 160884"/>
                <a:gd name="connsiteY26" fmla="*/ 80358 h 131405"/>
                <a:gd name="connsiteX27" fmla="*/ 145282 w 160884"/>
                <a:gd name="connsiteY27" fmla="*/ 76560 h 131405"/>
                <a:gd name="connsiteX28" fmla="*/ 132411 w 160884"/>
                <a:gd name="connsiteY28" fmla="*/ 61474 h 131405"/>
                <a:gd name="connsiteX29" fmla="*/ 136068 w 160884"/>
                <a:gd name="connsiteY29" fmla="*/ 59111 h 131405"/>
                <a:gd name="connsiteX30" fmla="*/ 145282 w 160884"/>
                <a:gd name="connsiteY30" fmla="*/ 46388 h 131405"/>
                <a:gd name="connsiteX31" fmla="*/ 142462 w 160884"/>
                <a:gd name="connsiteY31" fmla="*/ 34010 h 131405"/>
                <a:gd name="connsiteX32" fmla="*/ 141793 w 160884"/>
                <a:gd name="connsiteY32" fmla="*/ 33314 h 131405"/>
                <a:gd name="connsiteX33" fmla="*/ 140260 w 160884"/>
                <a:gd name="connsiteY33" fmla="*/ 32737 h 131405"/>
                <a:gd name="connsiteX34" fmla="*/ 139100 w 160884"/>
                <a:gd name="connsiteY34" fmla="*/ 32350 h 131405"/>
                <a:gd name="connsiteX35" fmla="*/ 133952 w 160884"/>
                <a:gd name="connsiteY35" fmla="*/ 27146 h 131405"/>
                <a:gd name="connsiteX36" fmla="*/ 133952 w 160884"/>
                <a:gd name="connsiteY36" fmla="*/ 27146 h 131405"/>
                <a:gd name="connsiteX37" fmla="*/ 132425 w 160884"/>
                <a:gd name="connsiteY37" fmla="*/ 23896 h 131405"/>
                <a:gd name="connsiteX38" fmla="*/ 131377 w 160884"/>
                <a:gd name="connsiteY38" fmla="*/ 21428 h 131405"/>
                <a:gd name="connsiteX39" fmla="*/ 131089 w 160884"/>
                <a:gd name="connsiteY39" fmla="*/ 14985 h 131405"/>
                <a:gd name="connsiteX40" fmla="*/ 131089 w 160884"/>
                <a:gd name="connsiteY40" fmla="*/ 14985 h 131405"/>
                <a:gd name="connsiteX41" fmla="*/ 131377 w 160884"/>
                <a:gd name="connsiteY41" fmla="*/ 12580 h 131405"/>
                <a:gd name="connsiteX42" fmla="*/ 131377 w 160884"/>
                <a:gd name="connsiteY42" fmla="*/ 4260 h 131405"/>
                <a:gd name="connsiteX43" fmla="*/ 129176 w 160884"/>
                <a:gd name="connsiteY43" fmla="*/ 223 h 131405"/>
                <a:gd name="connsiteX44" fmla="*/ 128803 w 160884"/>
                <a:gd name="connsiteY44" fmla="*/ 103 h 131405"/>
                <a:gd name="connsiteX45" fmla="*/ 124752 w 160884"/>
                <a:gd name="connsiteY45" fmla="*/ 1074 h 131405"/>
                <a:gd name="connsiteX46" fmla="*/ 124752 w 160884"/>
                <a:gd name="connsiteY46" fmla="*/ 1074 h 131405"/>
                <a:gd name="connsiteX47" fmla="*/ 124752 w 160884"/>
                <a:gd name="connsiteY47" fmla="*/ 1074 h 131405"/>
                <a:gd name="connsiteX48" fmla="*/ 120567 w 160884"/>
                <a:gd name="connsiteY48" fmla="*/ 2699 h 131405"/>
                <a:gd name="connsiteX49" fmla="*/ 118106 w 160884"/>
                <a:gd name="connsiteY49" fmla="*/ 7017 h 131405"/>
                <a:gd name="connsiteX50" fmla="*/ 118507 w 160884"/>
                <a:gd name="connsiteY50" fmla="*/ 9464 h 131405"/>
                <a:gd name="connsiteX51" fmla="*/ 118507 w 160884"/>
                <a:gd name="connsiteY51" fmla="*/ 13621 h 131405"/>
                <a:gd name="connsiteX52" fmla="*/ 118507 w 160884"/>
                <a:gd name="connsiteY52" fmla="*/ 17785 h 131405"/>
                <a:gd name="connsiteX53" fmla="*/ 116017 w 160884"/>
                <a:gd name="connsiteY53" fmla="*/ 21357 h 131405"/>
                <a:gd name="connsiteX54" fmla="*/ 115876 w 160884"/>
                <a:gd name="connsiteY54" fmla="*/ 21512 h 131405"/>
                <a:gd name="connsiteX55" fmla="*/ 111298 w 160884"/>
                <a:gd name="connsiteY55" fmla="*/ 28707 h 131405"/>
                <a:gd name="connsiteX56" fmla="*/ 108815 w 160884"/>
                <a:gd name="connsiteY56" fmla="*/ 31963 h 131405"/>
                <a:gd name="connsiteX57" fmla="*/ 107697 w 160884"/>
                <a:gd name="connsiteY57" fmla="*/ 33391 h 131405"/>
                <a:gd name="connsiteX58" fmla="*/ 98941 w 160884"/>
                <a:gd name="connsiteY58" fmla="*/ 39629 h 131405"/>
                <a:gd name="connsiteX59" fmla="*/ 94925 w 160884"/>
                <a:gd name="connsiteY59" fmla="*/ 38926 h 131405"/>
                <a:gd name="connsiteX60" fmla="*/ 94925 w 160884"/>
                <a:gd name="connsiteY60" fmla="*/ 38926 h 131405"/>
                <a:gd name="connsiteX61" fmla="*/ 94306 w 160884"/>
                <a:gd name="connsiteY61" fmla="*/ 38588 h 131405"/>
                <a:gd name="connsiteX62" fmla="*/ 91669 w 160884"/>
                <a:gd name="connsiteY62" fmla="*/ 36183 h 131405"/>
                <a:gd name="connsiteX63" fmla="*/ 91669 w 160884"/>
                <a:gd name="connsiteY63" fmla="*/ 36183 h 131405"/>
                <a:gd name="connsiteX64" fmla="*/ 88645 w 160884"/>
                <a:gd name="connsiteY64" fmla="*/ 33391 h 131405"/>
                <a:gd name="connsiteX65" fmla="*/ 78862 w 160884"/>
                <a:gd name="connsiteY65" fmla="*/ 35466 h 131405"/>
                <a:gd name="connsiteX66" fmla="*/ 71653 w 160884"/>
                <a:gd name="connsiteY66" fmla="*/ 41191 h 131405"/>
                <a:gd name="connsiteX67" fmla="*/ 65478 w 160884"/>
                <a:gd name="connsiteY67" fmla="*/ 42414 h 131405"/>
                <a:gd name="connsiteX68" fmla="*/ 65478 w 160884"/>
                <a:gd name="connsiteY68" fmla="*/ 42414 h 131405"/>
                <a:gd name="connsiteX69" fmla="*/ 59816 w 160884"/>
                <a:gd name="connsiteY69" fmla="*/ 43272 h 131405"/>
                <a:gd name="connsiteX70" fmla="*/ 54295 w 160884"/>
                <a:gd name="connsiteY70" fmla="*/ 43026 h 131405"/>
                <a:gd name="connsiteX71" fmla="*/ 51573 w 160884"/>
                <a:gd name="connsiteY71" fmla="*/ 41191 h 131405"/>
                <a:gd name="connsiteX72" fmla="*/ 45848 w 160884"/>
                <a:gd name="connsiteY72" fmla="*/ 40093 h 131405"/>
                <a:gd name="connsiteX73" fmla="*/ 33217 w 160884"/>
                <a:gd name="connsiteY73" fmla="*/ 38623 h 131405"/>
                <a:gd name="connsiteX74" fmla="*/ 32900 w 160884"/>
                <a:gd name="connsiteY74" fmla="*/ 38476 h 131405"/>
                <a:gd name="connsiteX75" fmla="*/ 31220 w 160884"/>
                <a:gd name="connsiteY75" fmla="*/ 35571 h 131405"/>
                <a:gd name="connsiteX76" fmla="*/ 29440 w 160884"/>
                <a:gd name="connsiteY76" fmla="*/ 29748 h 131405"/>
                <a:gd name="connsiteX77" fmla="*/ 24672 w 160884"/>
                <a:gd name="connsiteY77" fmla="*/ 27786 h 131405"/>
                <a:gd name="connsiteX78" fmla="*/ 19657 w 160884"/>
                <a:gd name="connsiteY78" fmla="*/ 29748 h 131405"/>
                <a:gd name="connsiteX79" fmla="*/ 13778 w 160884"/>
                <a:gd name="connsiteY79" fmla="*/ 33110 h 131405"/>
                <a:gd name="connsiteX80" fmla="*/ 11415 w 160884"/>
                <a:gd name="connsiteY80" fmla="*/ 36506 h 131405"/>
                <a:gd name="connsiteX81" fmla="*/ 7912 w 160884"/>
                <a:gd name="connsiteY81" fmla="*/ 43624 h 131405"/>
                <a:gd name="connsiteX82" fmla="*/ 7912 w 160884"/>
                <a:gd name="connsiteY82" fmla="*/ 43624 h 131405"/>
                <a:gd name="connsiteX83" fmla="*/ 6266 w 160884"/>
                <a:gd name="connsiteY83" fmla="*/ 47949 h 131405"/>
                <a:gd name="connsiteX84" fmla="*/ 5169 w 160884"/>
                <a:gd name="connsiteY84" fmla="*/ 49883 h 131405"/>
                <a:gd name="connsiteX85" fmla="*/ 5169 w 160884"/>
                <a:gd name="connsiteY85" fmla="*/ 49883 h 131405"/>
                <a:gd name="connsiteX86" fmla="*/ 1632 w 160884"/>
                <a:gd name="connsiteY86" fmla="*/ 56797 h 131405"/>
                <a:gd name="connsiteX87" fmla="*/ 0 w 160884"/>
                <a:gd name="connsiteY87" fmla="*/ 58513 h 131405"/>
                <a:gd name="connsiteX88" fmla="*/ 1639 w 160884"/>
                <a:gd name="connsiteY88" fmla="*/ 56797 h 131405"/>
                <a:gd name="connsiteX89" fmla="*/ 1639 w 160884"/>
                <a:gd name="connsiteY89" fmla="*/ 56797 h 131405"/>
                <a:gd name="connsiteX90" fmla="*/ 2771 w 160884"/>
                <a:gd name="connsiteY90" fmla="*/ 56755 h 131405"/>
                <a:gd name="connsiteX91" fmla="*/ 9361 w 160884"/>
                <a:gd name="connsiteY91" fmla="*/ 65637 h 131405"/>
                <a:gd name="connsiteX92" fmla="*/ 24806 w 160884"/>
                <a:gd name="connsiteY92" fmla="*/ 82798 h 131405"/>
                <a:gd name="connsiteX93" fmla="*/ 24806 w 160884"/>
                <a:gd name="connsiteY93" fmla="*/ 82798 h 131405"/>
                <a:gd name="connsiteX94" fmla="*/ 32528 w 160884"/>
                <a:gd name="connsiteY94" fmla="*/ 93720 h 131405"/>
                <a:gd name="connsiteX95" fmla="*/ 36902 w 160884"/>
                <a:gd name="connsiteY95" fmla="*/ 97363 h 131405"/>
                <a:gd name="connsiteX96" fmla="*/ 41277 w 160884"/>
                <a:gd name="connsiteY96" fmla="*/ 101007 h 131405"/>
                <a:gd name="connsiteX97" fmla="*/ 43943 w 160884"/>
                <a:gd name="connsiteY97" fmla="*/ 104530 h 131405"/>
                <a:gd name="connsiteX98" fmla="*/ 43394 w 160884"/>
                <a:gd name="connsiteY98" fmla="*/ 105684 h 131405"/>
                <a:gd name="connsiteX99" fmla="*/ 37163 w 160884"/>
                <a:gd name="connsiteY99" fmla="*/ 105684 h 13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160884" h="131405">
                  <a:moveTo>
                    <a:pt x="37163" y="105684"/>
                  </a:moveTo>
                  <a:cubicBezTo>
                    <a:pt x="31114" y="105684"/>
                    <a:pt x="24897" y="106682"/>
                    <a:pt x="22386" y="107210"/>
                  </a:cubicBezTo>
                  <a:cubicBezTo>
                    <a:pt x="22386" y="107210"/>
                    <a:pt x="22386" y="107210"/>
                    <a:pt x="22386" y="107210"/>
                  </a:cubicBezTo>
                  <a:lnTo>
                    <a:pt x="22386" y="107210"/>
                  </a:lnTo>
                  <a:cubicBezTo>
                    <a:pt x="22386" y="107210"/>
                    <a:pt x="22386" y="107210"/>
                    <a:pt x="22386" y="107210"/>
                  </a:cubicBezTo>
                  <a:cubicBezTo>
                    <a:pt x="24904" y="106682"/>
                    <a:pt x="31114" y="105684"/>
                    <a:pt x="37163" y="105684"/>
                  </a:cubicBezTo>
                  <a:lnTo>
                    <a:pt x="43661" y="105684"/>
                  </a:lnTo>
                  <a:cubicBezTo>
                    <a:pt x="43830" y="105684"/>
                    <a:pt x="43999" y="105747"/>
                    <a:pt x="44125" y="105859"/>
                  </a:cubicBezTo>
                  <a:cubicBezTo>
                    <a:pt x="48085" y="109320"/>
                    <a:pt x="51025" y="113153"/>
                    <a:pt x="52748" y="115389"/>
                  </a:cubicBezTo>
                  <a:cubicBezTo>
                    <a:pt x="53388" y="116219"/>
                    <a:pt x="53859" y="116831"/>
                    <a:pt x="54147" y="117126"/>
                  </a:cubicBezTo>
                  <a:cubicBezTo>
                    <a:pt x="55758" y="118751"/>
                    <a:pt x="59457" y="117865"/>
                    <a:pt x="61230" y="117176"/>
                  </a:cubicBezTo>
                  <a:cubicBezTo>
                    <a:pt x="61314" y="117148"/>
                    <a:pt x="61406" y="117126"/>
                    <a:pt x="61497" y="117126"/>
                  </a:cubicBezTo>
                  <a:lnTo>
                    <a:pt x="71139" y="117126"/>
                  </a:lnTo>
                  <a:lnTo>
                    <a:pt x="81668" y="117126"/>
                  </a:lnTo>
                  <a:cubicBezTo>
                    <a:pt x="81851" y="117126"/>
                    <a:pt x="82026" y="117197"/>
                    <a:pt x="82160" y="117330"/>
                  </a:cubicBezTo>
                  <a:lnTo>
                    <a:pt x="96367" y="131207"/>
                  </a:lnTo>
                  <a:cubicBezTo>
                    <a:pt x="96627" y="131453"/>
                    <a:pt x="97028" y="131474"/>
                    <a:pt x="97309" y="131249"/>
                  </a:cubicBezTo>
                  <a:cubicBezTo>
                    <a:pt x="98906" y="129941"/>
                    <a:pt x="100551" y="128661"/>
                    <a:pt x="101740" y="127753"/>
                  </a:cubicBezTo>
                  <a:cubicBezTo>
                    <a:pt x="101923" y="127613"/>
                    <a:pt x="102162" y="127570"/>
                    <a:pt x="102380" y="127641"/>
                  </a:cubicBezTo>
                  <a:cubicBezTo>
                    <a:pt x="105784" y="128710"/>
                    <a:pt x="112634" y="130651"/>
                    <a:pt x="115419" y="130651"/>
                  </a:cubicBezTo>
                  <a:cubicBezTo>
                    <a:pt x="117375" y="130651"/>
                    <a:pt x="118113" y="129737"/>
                    <a:pt x="118795" y="128893"/>
                  </a:cubicBezTo>
                  <a:cubicBezTo>
                    <a:pt x="119372" y="128182"/>
                    <a:pt x="119899" y="127528"/>
                    <a:pt x="121081" y="127528"/>
                  </a:cubicBezTo>
                  <a:lnTo>
                    <a:pt x="136012" y="127528"/>
                  </a:lnTo>
                  <a:cubicBezTo>
                    <a:pt x="138896" y="127528"/>
                    <a:pt x="148538" y="117478"/>
                    <a:pt x="153004" y="112449"/>
                  </a:cubicBezTo>
                  <a:cubicBezTo>
                    <a:pt x="155233" y="109327"/>
                    <a:pt x="159903" y="102561"/>
                    <a:pt x="160726" y="100486"/>
                  </a:cubicBezTo>
                  <a:cubicBezTo>
                    <a:pt x="161753" y="97884"/>
                    <a:pt x="157639" y="88523"/>
                    <a:pt x="153004" y="85921"/>
                  </a:cubicBezTo>
                  <a:cubicBezTo>
                    <a:pt x="150472" y="84500"/>
                    <a:pt x="149326" y="82313"/>
                    <a:pt x="148306" y="80358"/>
                  </a:cubicBezTo>
                  <a:cubicBezTo>
                    <a:pt x="147448" y="78726"/>
                    <a:pt x="146681" y="77270"/>
                    <a:pt x="145282" y="76560"/>
                  </a:cubicBezTo>
                  <a:cubicBezTo>
                    <a:pt x="142194" y="74998"/>
                    <a:pt x="132411" y="63556"/>
                    <a:pt x="132411" y="61474"/>
                  </a:cubicBezTo>
                  <a:cubicBezTo>
                    <a:pt x="132411" y="60862"/>
                    <a:pt x="133980" y="60109"/>
                    <a:pt x="136068" y="59111"/>
                  </a:cubicBezTo>
                  <a:cubicBezTo>
                    <a:pt x="141034" y="56741"/>
                    <a:pt x="148904" y="52985"/>
                    <a:pt x="145282" y="46388"/>
                  </a:cubicBezTo>
                  <a:cubicBezTo>
                    <a:pt x="143643" y="43406"/>
                    <a:pt x="142785" y="38898"/>
                    <a:pt x="142462" y="34010"/>
                  </a:cubicBezTo>
                  <a:cubicBezTo>
                    <a:pt x="142440" y="33651"/>
                    <a:pt x="142145" y="33377"/>
                    <a:pt x="141793" y="33314"/>
                  </a:cubicBezTo>
                  <a:cubicBezTo>
                    <a:pt x="141125" y="33187"/>
                    <a:pt x="140661" y="32948"/>
                    <a:pt x="140260" y="32737"/>
                  </a:cubicBezTo>
                  <a:cubicBezTo>
                    <a:pt x="139866" y="32526"/>
                    <a:pt x="139529" y="32350"/>
                    <a:pt x="139100" y="32350"/>
                  </a:cubicBezTo>
                  <a:cubicBezTo>
                    <a:pt x="138073" y="32350"/>
                    <a:pt x="136012" y="29748"/>
                    <a:pt x="133952" y="27146"/>
                  </a:cubicBezTo>
                  <a:lnTo>
                    <a:pt x="133952" y="27146"/>
                  </a:lnTo>
                  <a:cubicBezTo>
                    <a:pt x="132840" y="25746"/>
                    <a:pt x="132629" y="24796"/>
                    <a:pt x="132425" y="23896"/>
                  </a:cubicBezTo>
                  <a:cubicBezTo>
                    <a:pt x="132256" y="23123"/>
                    <a:pt x="132088" y="22384"/>
                    <a:pt x="131377" y="21428"/>
                  </a:cubicBezTo>
                  <a:cubicBezTo>
                    <a:pt x="130294" y="19965"/>
                    <a:pt x="130738" y="17215"/>
                    <a:pt x="131089" y="14985"/>
                  </a:cubicBezTo>
                  <a:lnTo>
                    <a:pt x="131089" y="14985"/>
                  </a:lnTo>
                  <a:cubicBezTo>
                    <a:pt x="131244" y="14043"/>
                    <a:pt x="131377" y="13199"/>
                    <a:pt x="131377" y="12580"/>
                  </a:cubicBezTo>
                  <a:lnTo>
                    <a:pt x="131377" y="4260"/>
                  </a:lnTo>
                  <a:cubicBezTo>
                    <a:pt x="131377" y="919"/>
                    <a:pt x="130512" y="645"/>
                    <a:pt x="129176" y="223"/>
                  </a:cubicBezTo>
                  <a:cubicBezTo>
                    <a:pt x="129057" y="181"/>
                    <a:pt x="128930" y="146"/>
                    <a:pt x="128803" y="103"/>
                  </a:cubicBezTo>
                  <a:cubicBezTo>
                    <a:pt x="127833" y="-227"/>
                    <a:pt x="126651" y="272"/>
                    <a:pt x="124752" y="1074"/>
                  </a:cubicBezTo>
                  <a:lnTo>
                    <a:pt x="124752" y="1074"/>
                  </a:lnTo>
                  <a:lnTo>
                    <a:pt x="124752" y="1074"/>
                  </a:lnTo>
                  <a:cubicBezTo>
                    <a:pt x="123641" y="1545"/>
                    <a:pt x="122277" y="2122"/>
                    <a:pt x="120567" y="2699"/>
                  </a:cubicBezTo>
                  <a:cubicBezTo>
                    <a:pt x="117262" y="3817"/>
                    <a:pt x="117621" y="5188"/>
                    <a:pt x="118106" y="7017"/>
                  </a:cubicBezTo>
                  <a:cubicBezTo>
                    <a:pt x="118296" y="7755"/>
                    <a:pt x="118507" y="8564"/>
                    <a:pt x="118507" y="9464"/>
                  </a:cubicBezTo>
                  <a:lnTo>
                    <a:pt x="118507" y="13621"/>
                  </a:lnTo>
                  <a:lnTo>
                    <a:pt x="118507" y="17785"/>
                  </a:lnTo>
                  <a:cubicBezTo>
                    <a:pt x="118507" y="18994"/>
                    <a:pt x="116896" y="20626"/>
                    <a:pt x="116017" y="21357"/>
                  </a:cubicBezTo>
                  <a:cubicBezTo>
                    <a:pt x="115961" y="21399"/>
                    <a:pt x="115912" y="21456"/>
                    <a:pt x="115876" y="21512"/>
                  </a:cubicBezTo>
                  <a:cubicBezTo>
                    <a:pt x="114815" y="23123"/>
                    <a:pt x="112515" y="26667"/>
                    <a:pt x="111298" y="28707"/>
                  </a:cubicBezTo>
                  <a:cubicBezTo>
                    <a:pt x="110405" y="30212"/>
                    <a:pt x="109512" y="31197"/>
                    <a:pt x="108815" y="31963"/>
                  </a:cubicBezTo>
                  <a:cubicBezTo>
                    <a:pt x="108309" y="32512"/>
                    <a:pt x="107915" y="32948"/>
                    <a:pt x="107697" y="33391"/>
                  </a:cubicBezTo>
                  <a:cubicBezTo>
                    <a:pt x="107184" y="34432"/>
                    <a:pt x="101515" y="38588"/>
                    <a:pt x="98941" y="39629"/>
                  </a:cubicBezTo>
                  <a:cubicBezTo>
                    <a:pt x="97042" y="40396"/>
                    <a:pt x="95706" y="39468"/>
                    <a:pt x="94925" y="38926"/>
                  </a:cubicBezTo>
                  <a:lnTo>
                    <a:pt x="94925" y="38926"/>
                  </a:lnTo>
                  <a:cubicBezTo>
                    <a:pt x="94651" y="38729"/>
                    <a:pt x="94447" y="38588"/>
                    <a:pt x="94306" y="38588"/>
                  </a:cubicBezTo>
                  <a:cubicBezTo>
                    <a:pt x="94053" y="38588"/>
                    <a:pt x="92893" y="37421"/>
                    <a:pt x="91669" y="36183"/>
                  </a:cubicBezTo>
                  <a:lnTo>
                    <a:pt x="91669" y="36183"/>
                  </a:lnTo>
                  <a:cubicBezTo>
                    <a:pt x="90445" y="34945"/>
                    <a:pt x="89158" y="33651"/>
                    <a:pt x="88645" y="33391"/>
                  </a:cubicBezTo>
                  <a:cubicBezTo>
                    <a:pt x="87618" y="32870"/>
                    <a:pt x="79896" y="33911"/>
                    <a:pt x="78862" y="35466"/>
                  </a:cubicBezTo>
                  <a:cubicBezTo>
                    <a:pt x="77835" y="37027"/>
                    <a:pt x="76801" y="38588"/>
                    <a:pt x="71653" y="41191"/>
                  </a:cubicBezTo>
                  <a:cubicBezTo>
                    <a:pt x="68952" y="42555"/>
                    <a:pt x="67236" y="42485"/>
                    <a:pt x="65478" y="42414"/>
                  </a:cubicBezTo>
                  <a:lnTo>
                    <a:pt x="65478" y="42414"/>
                  </a:lnTo>
                  <a:cubicBezTo>
                    <a:pt x="63888" y="42351"/>
                    <a:pt x="62257" y="42281"/>
                    <a:pt x="59816" y="43272"/>
                  </a:cubicBezTo>
                  <a:cubicBezTo>
                    <a:pt x="56293" y="44693"/>
                    <a:pt x="55660" y="44173"/>
                    <a:pt x="54295" y="43026"/>
                  </a:cubicBezTo>
                  <a:cubicBezTo>
                    <a:pt x="53662" y="42506"/>
                    <a:pt x="52874" y="41845"/>
                    <a:pt x="51573" y="41191"/>
                  </a:cubicBezTo>
                  <a:cubicBezTo>
                    <a:pt x="49590" y="40185"/>
                    <a:pt x="48197" y="40150"/>
                    <a:pt x="45848" y="40093"/>
                  </a:cubicBezTo>
                  <a:cubicBezTo>
                    <a:pt x="43352" y="40030"/>
                    <a:pt x="39765" y="39939"/>
                    <a:pt x="33217" y="38623"/>
                  </a:cubicBezTo>
                  <a:cubicBezTo>
                    <a:pt x="33104" y="38602"/>
                    <a:pt x="32992" y="38546"/>
                    <a:pt x="32900" y="38476"/>
                  </a:cubicBezTo>
                  <a:cubicBezTo>
                    <a:pt x="31417" y="37196"/>
                    <a:pt x="31353" y="36682"/>
                    <a:pt x="31220" y="35571"/>
                  </a:cubicBezTo>
                  <a:cubicBezTo>
                    <a:pt x="31093" y="34530"/>
                    <a:pt x="30903" y="32962"/>
                    <a:pt x="29440" y="29748"/>
                  </a:cubicBezTo>
                  <a:cubicBezTo>
                    <a:pt x="27591" y="25704"/>
                    <a:pt x="26479" y="26498"/>
                    <a:pt x="24672" y="27786"/>
                  </a:cubicBezTo>
                  <a:cubicBezTo>
                    <a:pt x="23455" y="28658"/>
                    <a:pt x="21929" y="29748"/>
                    <a:pt x="19657" y="29748"/>
                  </a:cubicBezTo>
                  <a:cubicBezTo>
                    <a:pt x="15754" y="29748"/>
                    <a:pt x="15030" y="30979"/>
                    <a:pt x="13778" y="33110"/>
                  </a:cubicBezTo>
                  <a:cubicBezTo>
                    <a:pt x="13215" y="34073"/>
                    <a:pt x="12540" y="35212"/>
                    <a:pt x="11415" y="36506"/>
                  </a:cubicBezTo>
                  <a:cubicBezTo>
                    <a:pt x="9234" y="39031"/>
                    <a:pt x="8559" y="41366"/>
                    <a:pt x="7912" y="43624"/>
                  </a:cubicBezTo>
                  <a:lnTo>
                    <a:pt x="7912" y="43624"/>
                  </a:lnTo>
                  <a:cubicBezTo>
                    <a:pt x="7490" y="45087"/>
                    <a:pt x="7082" y="46522"/>
                    <a:pt x="6266" y="47949"/>
                  </a:cubicBezTo>
                  <a:cubicBezTo>
                    <a:pt x="5865" y="48667"/>
                    <a:pt x="5500" y="49300"/>
                    <a:pt x="5169" y="49883"/>
                  </a:cubicBezTo>
                  <a:lnTo>
                    <a:pt x="5169" y="49883"/>
                  </a:lnTo>
                  <a:cubicBezTo>
                    <a:pt x="3784" y="52282"/>
                    <a:pt x="2876" y="53864"/>
                    <a:pt x="1632" y="56797"/>
                  </a:cubicBezTo>
                  <a:cubicBezTo>
                    <a:pt x="1154" y="57929"/>
                    <a:pt x="626" y="58407"/>
                    <a:pt x="0" y="58513"/>
                  </a:cubicBezTo>
                  <a:cubicBezTo>
                    <a:pt x="626" y="58407"/>
                    <a:pt x="1154" y="57929"/>
                    <a:pt x="1639" y="56797"/>
                  </a:cubicBezTo>
                  <a:lnTo>
                    <a:pt x="1639" y="56797"/>
                  </a:lnTo>
                  <a:cubicBezTo>
                    <a:pt x="1843" y="56305"/>
                    <a:pt x="2518" y="56283"/>
                    <a:pt x="2771" y="56755"/>
                  </a:cubicBezTo>
                  <a:cubicBezTo>
                    <a:pt x="4768" y="60475"/>
                    <a:pt x="7075" y="63900"/>
                    <a:pt x="9361" y="65637"/>
                  </a:cubicBezTo>
                  <a:cubicBezTo>
                    <a:pt x="15536" y="70314"/>
                    <a:pt x="23258" y="80716"/>
                    <a:pt x="24806" y="82798"/>
                  </a:cubicBezTo>
                  <a:lnTo>
                    <a:pt x="24806" y="82798"/>
                  </a:lnTo>
                  <a:cubicBezTo>
                    <a:pt x="26346" y="84880"/>
                    <a:pt x="31494" y="92159"/>
                    <a:pt x="32528" y="93720"/>
                  </a:cubicBezTo>
                  <a:cubicBezTo>
                    <a:pt x="33041" y="94501"/>
                    <a:pt x="34975" y="95936"/>
                    <a:pt x="36902" y="97363"/>
                  </a:cubicBezTo>
                  <a:cubicBezTo>
                    <a:pt x="38836" y="98791"/>
                    <a:pt x="40764" y="100226"/>
                    <a:pt x="41277" y="101007"/>
                  </a:cubicBezTo>
                  <a:cubicBezTo>
                    <a:pt x="41868" y="101900"/>
                    <a:pt x="43021" y="103377"/>
                    <a:pt x="43943" y="104530"/>
                  </a:cubicBezTo>
                  <a:cubicBezTo>
                    <a:pt x="44315" y="104994"/>
                    <a:pt x="43985" y="105684"/>
                    <a:pt x="43394" y="105684"/>
                  </a:cubicBezTo>
                  <a:lnTo>
                    <a:pt x="37163" y="10568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9" name="Freihandform: Form 144">
              <a:extLst>
                <a:ext uri="{FF2B5EF4-FFF2-40B4-BE49-F238E27FC236}">
                  <a16:creationId xmlns:a16="http://schemas.microsoft.com/office/drawing/2014/main" id="{0C5E529E-4CFF-D847-9A0E-B5FF1A0C79C0}"/>
                </a:ext>
              </a:extLst>
            </p:cNvPr>
            <p:cNvSpPr/>
            <p:nvPr/>
          </p:nvSpPr>
          <p:spPr>
            <a:xfrm>
              <a:off x="6661621" y="4289954"/>
              <a:ext cx="207593" cy="173985"/>
            </a:xfrm>
            <a:custGeom>
              <a:avLst/>
              <a:gdLst>
                <a:gd name="connsiteX0" fmla="*/ 10296 w 207593"/>
                <a:gd name="connsiteY0" fmla="*/ 74010 h 173985"/>
                <a:gd name="connsiteX1" fmla="*/ 10029 w 207593"/>
                <a:gd name="connsiteY1" fmla="*/ 74284 h 173985"/>
                <a:gd name="connsiteX2" fmla="*/ 12870 w 207593"/>
                <a:gd name="connsiteY2" fmla="*/ 87007 h 173985"/>
                <a:gd name="connsiteX3" fmla="*/ 3657 w 207593"/>
                <a:gd name="connsiteY3" fmla="*/ 99730 h 173985"/>
                <a:gd name="connsiteX4" fmla="*/ 0 w 207593"/>
                <a:gd name="connsiteY4" fmla="*/ 102093 h 173985"/>
                <a:gd name="connsiteX5" fmla="*/ 12870 w 207593"/>
                <a:gd name="connsiteY5" fmla="*/ 117179 h 173985"/>
                <a:gd name="connsiteX6" fmla="*/ 15895 w 207593"/>
                <a:gd name="connsiteY6" fmla="*/ 120977 h 173985"/>
                <a:gd name="connsiteX7" fmla="*/ 20593 w 207593"/>
                <a:gd name="connsiteY7" fmla="*/ 126540 h 173985"/>
                <a:gd name="connsiteX8" fmla="*/ 28315 w 207593"/>
                <a:gd name="connsiteY8" fmla="*/ 141105 h 173985"/>
                <a:gd name="connsiteX9" fmla="*/ 27985 w 207593"/>
                <a:gd name="connsiteY9" fmla="*/ 141809 h 173985"/>
                <a:gd name="connsiteX10" fmla="*/ 28329 w 207593"/>
                <a:gd name="connsiteY10" fmla="*/ 142807 h 173985"/>
                <a:gd name="connsiteX11" fmla="*/ 32739 w 207593"/>
                <a:gd name="connsiteY11" fmla="*/ 144657 h 173985"/>
                <a:gd name="connsiteX12" fmla="*/ 33069 w 207593"/>
                <a:gd name="connsiteY12" fmla="*/ 144931 h 173985"/>
                <a:gd name="connsiteX13" fmla="*/ 36466 w 207593"/>
                <a:gd name="connsiteY13" fmla="*/ 150333 h 173985"/>
                <a:gd name="connsiteX14" fmla="*/ 36684 w 207593"/>
                <a:gd name="connsiteY14" fmla="*/ 150551 h 173985"/>
                <a:gd name="connsiteX15" fmla="*/ 49942 w 207593"/>
                <a:gd name="connsiteY15" fmla="*/ 157746 h 173985"/>
                <a:gd name="connsiteX16" fmla="*/ 60751 w 207593"/>
                <a:gd name="connsiteY16" fmla="*/ 164511 h 173985"/>
                <a:gd name="connsiteX17" fmla="*/ 73108 w 207593"/>
                <a:gd name="connsiteY17" fmla="*/ 172831 h 173985"/>
                <a:gd name="connsiteX18" fmla="*/ 82638 w 207593"/>
                <a:gd name="connsiteY18" fmla="*/ 173500 h 173985"/>
                <a:gd name="connsiteX19" fmla="*/ 90100 w 207593"/>
                <a:gd name="connsiteY19" fmla="*/ 172831 h 173985"/>
                <a:gd name="connsiteX20" fmla="*/ 101895 w 207593"/>
                <a:gd name="connsiteY20" fmla="*/ 165594 h 173985"/>
                <a:gd name="connsiteX21" fmla="*/ 105545 w 207593"/>
                <a:gd name="connsiteY21" fmla="*/ 161909 h 173985"/>
                <a:gd name="connsiteX22" fmla="*/ 113450 w 207593"/>
                <a:gd name="connsiteY22" fmla="*/ 164132 h 173985"/>
                <a:gd name="connsiteX23" fmla="*/ 120476 w 207593"/>
                <a:gd name="connsiteY23" fmla="*/ 167627 h 173985"/>
                <a:gd name="connsiteX24" fmla="*/ 125835 w 207593"/>
                <a:gd name="connsiteY24" fmla="*/ 164392 h 173985"/>
                <a:gd name="connsiteX25" fmla="*/ 127685 w 207593"/>
                <a:gd name="connsiteY25" fmla="*/ 161909 h 173985"/>
                <a:gd name="connsiteX26" fmla="*/ 136104 w 207593"/>
                <a:gd name="connsiteY26" fmla="*/ 159180 h 173985"/>
                <a:gd name="connsiteX27" fmla="*/ 141069 w 207593"/>
                <a:gd name="connsiteY27" fmla="*/ 157746 h 173985"/>
                <a:gd name="connsiteX28" fmla="*/ 150550 w 207593"/>
                <a:gd name="connsiteY28" fmla="*/ 152464 h 173985"/>
                <a:gd name="connsiteX29" fmla="*/ 150550 w 207593"/>
                <a:gd name="connsiteY29" fmla="*/ 152464 h 173985"/>
                <a:gd name="connsiteX30" fmla="*/ 153939 w 207593"/>
                <a:gd name="connsiteY30" fmla="*/ 150466 h 173985"/>
                <a:gd name="connsiteX31" fmla="*/ 166128 w 207593"/>
                <a:gd name="connsiteY31" fmla="*/ 150072 h 173985"/>
                <a:gd name="connsiteX32" fmla="*/ 170931 w 207593"/>
                <a:gd name="connsiteY32" fmla="*/ 150466 h 173985"/>
                <a:gd name="connsiteX33" fmla="*/ 207454 w 207593"/>
                <a:gd name="connsiteY33" fmla="*/ 106475 h 173985"/>
                <a:gd name="connsiteX34" fmla="*/ 207130 w 207593"/>
                <a:gd name="connsiteY34" fmla="*/ 105413 h 173985"/>
                <a:gd name="connsiteX35" fmla="*/ 177620 w 207593"/>
                <a:gd name="connsiteY35" fmla="*/ 96375 h 173985"/>
                <a:gd name="connsiteX36" fmla="*/ 138495 w 207593"/>
                <a:gd name="connsiteY36" fmla="*/ 74010 h 173985"/>
                <a:gd name="connsiteX37" fmla="*/ 137130 w 207593"/>
                <a:gd name="connsiteY37" fmla="*/ 58376 h 173985"/>
                <a:gd name="connsiteX38" fmla="*/ 136378 w 207593"/>
                <a:gd name="connsiteY38" fmla="*/ 57532 h 173985"/>
                <a:gd name="connsiteX39" fmla="*/ 131799 w 207593"/>
                <a:gd name="connsiteY39" fmla="*/ 40723 h 173985"/>
                <a:gd name="connsiteX40" fmla="*/ 126138 w 207593"/>
                <a:gd name="connsiteY40" fmla="*/ 29280 h 173985"/>
                <a:gd name="connsiteX41" fmla="*/ 113858 w 207593"/>
                <a:gd name="connsiteY41" fmla="*/ 15840 h 173985"/>
                <a:gd name="connsiteX42" fmla="*/ 113675 w 207593"/>
                <a:gd name="connsiteY42" fmla="*/ 15692 h 173985"/>
                <a:gd name="connsiteX43" fmla="*/ 103069 w 207593"/>
                <a:gd name="connsiteY43" fmla="*/ 9573 h 173985"/>
                <a:gd name="connsiteX44" fmla="*/ 102851 w 207593"/>
                <a:gd name="connsiteY44" fmla="*/ 9489 h 173985"/>
                <a:gd name="connsiteX45" fmla="*/ 89678 w 207593"/>
                <a:gd name="connsiteY45" fmla="*/ 6929 h 173985"/>
                <a:gd name="connsiteX46" fmla="*/ 89496 w 207593"/>
                <a:gd name="connsiteY46" fmla="*/ 6866 h 173985"/>
                <a:gd name="connsiteX47" fmla="*/ 81857 w 207593"/>
                <a:gd name="connsiteY47" fmla="*/ 4833 h 173985"/>
                <a:gd name="connsiteX48" fmla="*/ 73622 w 207593"/>
                <a:gd name="connsiteY48" fmla="*/ 5874 h 173985"/>
                <a:gd name="connsiteX49" fmla="*/ 66926 w 207593"/>
                <a:gd name="connsiteY49" fmla="*/ 149 h 173985"/>
                <a:gd name="connsiteX50" fmla="*/ 63326 w 207593"/>
                <a:gd name="connsiteY50" fmla="*/ 12112 h 173985"/>
                <a:gd name="connsiteX51" fmla="*/ 60913 w 207593"/>
                <a:gd name="connsiteY51" fmla="*/ 12485 h 173985"/>
                <a:gd name="connsiteX52" fmla="*/ 56630 w 207593"/>
                <a:gd name="connsiteY52" fmla="*/ 12112 h 173985"/>
                <a:gd name="connsiteX53" fmla="*/ 47508 w 207593"/>
                <a:gd name="connsiteY53" fmla="*/ 8680 h 173985"/>
                <a:gd name="connsiteX54" fmla="*/ 46601 w 207593"/>
                <a:gd name="connsiteY54" fmla="*/ 9144 h 173985"/>
                <a:gd name="connsiteX55" fmla="*/ 45553 w 207593"/>
                <a:gd name="connsiteY55" fmla="*/ 12232 h 173985"/>
                <a:gd name="connsiteX56" fmla="*/ 45553 w 207593"/>
                <a:gd name="connsiteY56" fmla="*/ 12232 h 173985"/>
                <a:gd name="connsiteX57" fmla="*/ 44273 w 207593"/>
                <a:gd name="connsiteY57" fmla="*/ 16276 h 173985"/>
                <a:gd name="connsiteX58" fmla="*/ 43724 w 207593"/>
                <a:gd name="connsiteY58" fmla="*/ 18794 h 173985"/>
                <a:gd name="connsiteX59" fmla="*/ 43724 w 207593"/>
                <a:gd name="connsiteY59" fmla="*/ 18794 h 173985"/>
                <a:gd name="connsiteX60" fmla="*/ 43724 w 207593"/>
                <a:gd name="connsiteY60" fmla="*/ 18794 h 173985"/>
                <a:gd name="connsiteX61" fmla="*/ 43724 w 207593"/>
                <a:gd name="connsiteY61" fmla="*/ 18794 h 173985"/>
                <a:gd name="connsiteX62" fmla="*/ 42212 w 207593"/>
                <a:gd name="connsiteY62" fmla="*/ 25637 h 173985"/>
                <a:gd name="connsiteX63" fmla="*/ 40756 w 207593"/>
                <a:gd name="connsiteY63" fmla="*/ 28900 h 173985"/>
                <a:gd name="connsiteX64" fmla="*/ 40159 w 207593"/>
                <a:gd name="connsiteY64" fmla="*/ 29800 h 173985"/>
                <a:gd name="connsiteX65" fmla="*/ 38098 w 207593"/>
                <a:gd name="connsiteY65" fmla="*/ 32916 h 173985"/>
                <a:gd name="connsiteX66" fmla="*/ 36424 w 207593"/>
                <a:gd name="connsiteY66" fmla="*/ 35511 h 173985"/>
                <a:gd name="connsiteX67" fmla="*/ 36424 w 207593"/>
                <a:gd name="connsiteY67" fmla="*/ 35511 h 173985"/>
                <a:gd name="connsiteX68" fmla="*/ 34490 w 207593"/>
                <a:gd name="connsiteY68" fmla="*/ 38641 h 173985"/>
                <a:gd name="connsiteX69" fmla="*/ 33850 w 207593"/>
                <a:gd name="connsiteY69" fmla="*/ 39513 h 173985"/>
                <a:gd name="connsiteX70" fmla="*/ 33843 w 207593"/>
                <a:gd name="connsiteY70" fmla="*/ 39520 h 173985"/>
                <a:gd name="connsiteX71" fmla="*/ 33843 w 207593"/>
                <a:gd name="connsiteY71" fmla="*/ 39520 h 173985"/>
                <a:gd name="connsiteX72" fmla="*/ 29342 w 207593"/>
                <a:gd name="connsiteY72" fmla="*/ 44879 h 173985"/>
                <a:gd name="connsiteX73" fmla="*/ 27795 w 207593"/>
                <a:gd name="connsiteY73" fmla="*/ 48522 h 173985"/>
                <a:gd name="connsiteX74" fmla="*/ 26254 w 207593"/>
                <a:gd name="connsiteY74" fmla="*/ 53199 h 173985"/>
                <a:gd name="connsiteX75" fmla="*/ 23800 w 207593"/>
                <a:gd name="connsiteY75" fmla="*/ 55717 h 173985"/>
                <a:gd name="connsiteX76" fmla="*/ 20593 w 207593"/>
                <a:gd name="connsiteY76" fmla="*/ 57363 h 173985"/>
                <a:gd name="connsiteX77" fmla="*/ 17702 w 207593"/>
                <a:gd name="connsiteY77" fmla="*/ 60324 h 173985"/>
                <a:gd name="connsiteX78" fmla="*/ 17702 w 207593"/>
                <a:gd name="connsiteY78" fmla="*/ 60324 h 173985"/>
                <a:gd name="connsiteX79" fmla="*/ 16985 w 207593"/>
                <a:gd name="connsiteY79" fmla="*/ 62047 h 173985"/>
                <a:gd name="connsiteX80" fmla="*/ 15895 w 207593"/>
                <a:gd name="connsiteY80" fmla="*/ 65732 h 173985"/>
                <a:gd name="connsiteX81" fmla="*/ 13897 w 207593"/>
                <a:gd name="connsiteY81" fmla="*/ 72969 h 173985"/>
                <a:gd name="connsiteX82" fmla="*/ 11682 w 207593"/>
                <a:gd name="connsiteY82" fmla="*/ 75367 h 173985"/>
                <a:gd name="connsiteX83" fmla="*/ 10296 w 207593"/>
                <a:gd name="connsiteY83" fmla="*/ 74010 h 173985"/>
                <a:gd name="connsiteX84" fmla="*/ 10296 w 207593"/>
                <a:gd name="connsiteY84" fmla="*/ 74010 h 17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207593" h="173985">
                  <a:moveTo>
                    <a:pt x="10296" y="74010"/>
                  </a:moveTo>
                  <a:cubicBezTo>
                    <a:pt x="10142" y="74010"/>
                    <a:pt x="10022" y="74130"/>
                    <a:pt x="10029" y="74284"/>
                  </a:cubicBezTo>
                  <a:cubicBezTo>
                    <a:pt x="10332" y="79299"/>
                    <a:pt x="11189" y="83955"/>
                    <a:pt x="12870" y="87007"/>
                  </a:cubicBezTo>
                  <a:cubicBezTo>
                    <a:pt x="16492" y="93604"/>
                    <a:pt x="8622" y="97360"/>
                    <a:pt x="3657" y="99730"/>
                  </a:cubicBezTo>
                  <a:cubicBezTo>
                    <a:pt x="1568" y="100729"/>
                    <a:pt x="0" y="101481"/>
                    <a:pt x="0" y="102093"/>
                  </a:cubicBezTo>
                  <a:cubicBezTo>
                    <a:pt x="0" y="104175"/>
                    <a:pt x="9783" y="115618"/>
                    <a:pt x="12870" y="117179"/>
                  </a:cubicBezTo>
                  <a:cubicBezTo>
                    <a:pt x="14270" y="117889"/>
                    <a:pt x="15037" y="119345"/>
                    <a:pt x="15895" y="120977"/>
                  </a:cubicBezTo>
                  <a:cubicBezTo>
                    <a:pt x="16914" y="122932"/>
                    <a:pt x="18061" y="125119"/>
                    <a:pt x="20593" y="126540"/>
                  </a:cubicBezTo>
                  <a:cubicBezTo>
                    <a:pt x="25228" y="129142"/>
                    <a:pt x="29342" y="138503"/>
                    <a:pt x="28315" y="141105"/>
                  </a:cubicBezTo>
                  <a:cubicBezTo>
                    <a:pt x="28238" y="141302"/>
                    <a:pt x="28125" y="141541"/>
                    <a:pt x="27985" y="141809"/>
                  </a:cubicBezTo>
                  <a:cubicBezTo>
                    <a:pt x="27787" y="142181"/>
                    <a:pt x="27942" y="142646"/>
                    <a:pt x="28329" y="142807"/>
                  </a:cubicBezTo>
                  <a:cubicBezTo>
                    <a:pt x="29975" y="143511"/>
                    <a:pt x="31501" y="144151"/>
                    <a:pt x="32739" y="144657"/>
                  </a:cubicBezTo>
                  <a:cubicBezTo>
                    <a:pt x="32872" y="144713"/>
                    <a:pt x="32992" y="144812"/>
                    <a:pt x="33069" y="144931"/>
                  </a:cubicBezTo>
                  <a:lnTo>
                    <a:pt x="36466" y="150333"/>
                  </a:lnTo>
                  <a:cubicBezTo>
                    <a:pt x="36522" y="150417"/>
                    <a:pt x="36593" y="150495"/>
                    <a:pt x="36684" y="150551"/>
                  </a:cubicBezTo>
                  <a:cubicBezTo>
                    <a:pt x="40503" y="152998"/>
                    <a:pt x="48310" y="157746"/>
                    <a:pt x="49942" y="157746"/>
                  </a:cubicBezTo>
                  <a:cubicBezTo>
                    <a:pt x="51588" y="157746"/>
                    <a:pt x="57833" y="162254"/>
                    <a:pt x="60751" y="164511"/>
                  </a:cubicBezTo>
                  <a:cubicBezTo>
                    <a:pt x="63326" y="166417"/>
                    <a:pt x="69402" y="170750"/>
                    <a:pt x="73108" y="172831"/>
                  </a:cubicBezTo>
                  <a:cubicBezTo>
                    <a:pt x="76027" y="174470"/>
                    <a:pt x="78946" y="174041"/>
                    <a:pt x="82638" y="173500"/>
                  </a:cubicBezTo>
                  <a:cubicBezTo>
                    <a:pt x="84805" y="173183"/>
                    <a:pt x="87238" y="172831"/>
                    <a:pt x="90100" y="172831"/>
                  </a:cubicBezTo>
                  <a:cubicBezTo>
                    <a:pt x="95530" y="172831"/>
                    <a:pt x="98920" y="168970"/>
                    <a:pt x="101895" y="165594"/>
                  </a:cubicBezTo>
                  <a:cubicBezTo>
                    <a:pt x="103147" y="164174"/>
                    <a:pt x="104321" y="162831"/>
                    <a:pt x="105545" y="161909"/>
                  </a:cubicBezTo>
                  <a:cubicBezTo>
                    <a:pt x="107880" y="160137"/>
                    <a:pt x="110545" y="162050"/>
                    <a:pt x="113450" y="164132"/>
                  </a:cubicBezTo>
                  <a:cubicBezTo>
                    <a:pt x="115666" y="165714"/>
                    <a:pt x="118022" y="167402"/>
                    <a:pt x="120476" y="167627"/>
                  </a:cubicBezTo>
                  <a:cubicBezTo>
                    <a:pt x="124112" y="167965"/>
                    <a:pt x="124991" y="166150"/>
                    <a:pt x="125835" y="164392"/>
                  </a:cubicBezTo>
                  <a:cubicBezTo>
                    <a:pt x="126300" y="163421"/>
                    <a:pt x="126764" y="162465"/>
                    <a:pt x="127685" y="161909"/>
                  </a:cubicBezTo>
                  <a:cubicBezTo>
                    <a:pt x="129246" y="160960"/>
                    <a:pt x="132903" y="160010"/>
                    <a:pt x="136104" y="159180"/>
                  </a:cubicBezTo>
                  <a:cubicBezTo>
                    <a:pt x="138178" y="158646"/>
                    <a:pt x="140056" y="158154"/>
                    <a:pt x="141069" y="157746"/>
                  </a:cubicBezTo>
                  <a:cubicBezTo>
                    <a:pt x="142961" y="156986"/>
                    <a:pt x="147068" y="154539"/>
                    <a:pt x="150550" y="152464"/>
                  </a:cubicBezTo>
                  <a:lnTo>
                    <a:pt x="150550" y="152464"/>
                  </a:lnTo>
                  <a:cubicBezTo>
                    <a:pt x="151809" y="151718"/>
                    <a:pt x="152983" y="151015"/>
                    <a:pt x="153939" y="150466"/>
                  </a:cubicBezTo>
                  <a:cubicBezTo>
                    <a:pt x="156464" y="149011"/>
                    <a:pt x="161767" y="149594"/>
                    <a:pt x="166128" y="150072"/>
                  </a:cubicBezTo>
                  <a:cubicBezTo>
                    <a:pt x="167999" y="150276"/>
                    <a:pt x="169693" y="150466"/>
                    <a:pt x="170931" y="150466"/>
                  </a:cubicBezTo>
                  <a:cubicBezTo>
                    <a:pt x="174174" y="150466"/>
                    <a:pt x="196279" y="121603"/>
                    <a:pt x="207454" y="106475"/>
                  </a:cubicBezTo>
                  <a:cubicBezTo>
                    <a:pt x="207735" y="106095"/>
                    <a:pt x="207573" y="105574"/>
                    <a:pt x="207130" y="105413"/>
                  </a:cubicBezTo>
                  <a:cubicBezTo>
                    <a:pt x="200695" y="103035"/>
                    <a:pt x="187058" y="98359"/>
                    <a:pt x="177620" y="96375"/>
                  </a:cubicBezTo>
                  <a:cubicBezTo>
                    <a:pt x="165270" y="93773"/>
                    <a:pt x="142616" y="77646"/>
                    <a:pt x="138495" y="74010"/>
                  </a:cubicBezTo>
                  <a:cubicBezTo>
                    <a:pt x="135520" y="71380"/>
                    <a:pt x="136033" y="64150"/>
                    <a:pt x="137130" y="58376"/>
                  </a:cubicBezTo>
                  <a:cubicBezTo>
                    <a:pt x="137215" y="57911"/>
                    <a:pt x="136842" y="57496"/>
                    <a:pt x="136378" y="57532"/>
                  </a:cubicBezTo>
                  <a:cubicBezTo>
                    <a:pt x="125364" y="58347"/>
                    <a:pt x="123550" y="57384"/>
                    <a:pt x="131799" y="40723"/>
                  </a:cubicBezTo>
                  <a:cubicBezTo>
                    <a:pt x="133923" y="36432"/>
                    <a:pt x="128198" y="30834"/>
                    <a:pt x="126138" y="29280"/>
                  </a:cubicBezTo>
                  <a:cubicBezTo>
                    <a:pt x="124499" y="28035"/>
                    <a:pt x="117318" y="19863"/>
                    <a:pt x="113858" y="15840"/>
                  </a:cubicBezTo>
                  <a:cubicBezTo>
                    <a:pt x="113802" y="15783"/>
                    <a:pt x="113746" y="15734"/>
                    <a:pt x="113675" y="15692"/>
                  </a:cubicBezTo>
                  <a:lnTo>
                    <a:pt x="103069" y="9573"/>
                  </a:lnTo>
                  <a:cubicBezTo>
                    <a:pt x="103006" y="9531"/>
                    <a:pt x="102929" y="9503"/>
                    <a:pt x="102851" y="9489"/>
                  </a:cubicBezTo>
                  <a:lnTo>
                    <a:pt x="89678" y="6929"/>
                  </a:lnTo>
                  <a:cubicBezTo>
                    <a:pt x="89615" y="6915"/>
                    <a:pt x="89552" y="6901"/>
                    <a:pt x="89496" y="6866"/>
                  </a:cubicBezTo>
                  <a:cubicBezTo>
                    <a:pt x="87400" y="5818"/>
                    <a:pt x="83081" y="4010"/>
                    <a:pt x="81857" y="4833"/>
                  </a:cubicBezTo>
                  <a:cubicBezTo>
                    <a:pt x="80317" y="5874"/>
                    <a:pt x="75169" y="7949"/>
                    <a:pt x="73622" y="5874"/>
                  </a:cubicBezTo>
                  <a:cubicBezTo>
                    <a:pt x="72075" y="3792"/>
                    <a:pt x="66926" y="-892"/>
                    <a:pt x="66926" y="149"/>
                  </a:cubicBezTo>
                  <a:cubicBezTo>
                    <a:pt x="66926" y="1190"/>
                    <a:pt x="65900" y="12112"/>
                    <a:pt x="63326" y="12112"/>
                  </a:cubicBezTo>
                  <a:cubicBezTo>
                    <a:pt x="62425" y="12112"/>
                    <a:pt x="61652" y="12302"/>
                    <a:pt x="60913" y="12485"/>
                  </a:cubicBezTo>
                  <a:cubicBezTo>
                    <a:pt x="59542" y="12822"/>
                    <a:pt x="58304" y="13125"/>
                    <a:pt x="56630" y="12112"/>
                  </a:cubicBezTo>
                  <a:cubicBezTo>
                    <a:pt x="55589" y="11486"/>
                    <a:pt x="51805" y="10122"/>
                    <a:pt x="47508" y="8680"/>
                  </a:cubicBezTo>
                  <a:cubicBezTo>
                    <a:pt x="47128" y="8553"/>
                    <a:pt x="46728" y="8764"/>
                    <a:pt x="46601" y="9144"/>
                  </a:cubicBezTo>
                  <a:cubicBezTo>
                    <a:pt x="46285" y="10157"/>
                    <a:pt x="45912" y="11219"/>
                    <a:pt x="45553" y="12232"/>
                  </a:cubicBezTo>
                  <a:lnTo>
                    <a:pt x="45553" y="12232"/>
                  </a:lnTo>
                  <a:cubicBezTo>
                    <a:pt x="44983" y="13849"/>
                    <a:pt x="44463" y="15333"/>
                    <a:pt x="44273" y="16276"/>
                  </a:cubicBezTo>
                  <a:cubicBezTo>
                    <a:pt x="44048" y="17401"/>
                    <a:pt x="43921" y="17943"/>
                    <a:pt x="43724" y="18794"/>
                  </a:cubicBezTo>
                  <a:lnTo>
                    <a:pt x="43724" y="18794"/>
                  </a:lnTo>
                  <a:lnTo>
                    <a:pt x="43724" y="18794"/>
                  </a:lnTo>
                  <a:lnTo>
                    <a:pt x="43724" y="18794"/>
                  </a:lnTo>
                  <a:cubicBezTo>
                    <a:pt x="43471" y="19898"/>
                    <a:pt x="43092" y="21515"/>
                    <a:pt x="42212" y="25637"/>
                  </a:cubicBezTo>
                  <a:cubicBezTo>
                    <a:pt x="41565" y="28260"/>
                    <a:pt x="41122" y="28612"/>
                    <a:pt x="40756" y="28900"/>
                  </a:cubicBezTo>
                  <a:cubicBezTo>
                    <a:pt x="40538" y="29069"/>
                    <a:pt x="40349" y="29217"/>
                    <a:pt x="40159" y="29800"/>
                  </a:cubicBezTo>
                  <a:cubicBezTo>
                    <a:pt x="39638" y="31355"/>
                    <a:pt x="39125" y="31875"/>
                    <a:pt x="38098" y="32916"/>
                  </a:cubicBezTo>
                  <a:cubicBezTo>
                    <a:pt x="37563" y="33458"/>
                    <a:pt x="37029" y="34421"/>
                    <a:pt x="36424" y="35511"/>
                  </a:cubicBezTo>
                  <a:lnTo>
                    <a:pt x="36424" y="35511"/>
                  </a:lnTo>
                  <a:cubicBezTo>
                    <a:pt x="35861" y="36517"/>
                    <a:pt x="35236" y="37642"/>
                    <a:pt x="34490" y="38641"/>
                  </a:cubicBezTo>
                  <a:cubicBezTo>
                    <a:pt x="34272" y="38943"/>
                    <a:pt x="34054" y="39232"/>
                    <a:pt x="33850" y="39513"/>
                  </a:cubicBezTo>
                  <a:lnTo>
                    <a:pt x="33843" y="39520"/>
                  </a:lnTo>
                  <a:lnTo>
                    <a:pt x="33843" y="39520"/>
                  </a:lnTo>
                  <a:cubicBezTo>
                    <a:pt x="32612" y="41194"/>
                    <a:pt x="31543" y="42657"/>
                    <a:pt x="29342" y="44879"/>
                  </a:cubicBezTo>
                  <a:cubicBezTo>
                    <a:pt x="28034" y="46201"/>
                    <a:pt x="27921" y="47256"/>
                    <a:pt x="27795" y="48522"/>
                  </a:cubicBezTo>
                  <a:cubicBezTo>
                    <a:pt x="27668" y="49746"/>
                    <a:pt x="27520" y="51160"/>
                    <a:pt x="26254" y="53199"/>
                  </a:cubicBezTo>
                  <a:cubicBezTo>
                    <a:pt x="24820" y="55520"/>
                    <a:pt x="24503" y="55576"/>
                    <a:pt x="23800" y="55717"/>
                  </a:cubicBezTo>
                  <a:cubicBezTo>
                    <a:pt x="23230" y="55823"/>
                    <a:pt x="22421" y="55977"/>
                    <a:pt x="20593" y="57363"/>
                  </a:cubicBezTo>
                  <a:cubicBezTo>
                    <a:pt x="17906" y="59402"/>
                    <a:pt x="17850" y="59663"/>
                    <a:pt x="17702" y="60324"/>
                  </a:cubicBezTo>
                  <a:lnTo>
                    <a:pt x="17702" y="60324"/>
                  </a:lnTo>
                  <a:cubicBezTo>
                    <a:pt x="17625" y="60675"/>
                    <a:pt x="17526" y="61140"/>
                    <a:pt x="16985" y="62047"/>
                  </a:cubicBezTo>
                  <a:cubicBezTo>
                    <a:pt x="16281" y="63235"/>
                    <a:pt x="16112" y="64318"/>
                    <a:pt x="15895" y="65732"/>
                  </a:cubicBezTo>
                  <a:cubicBezTo>
                    <a:pt x="15627" y="67420"/>
                    <a:pt x="15297" y="69579"/>
                    <a:pt x="13897" y="72969"/>
                  </a:cubicBezTo>
                  <a:cubicBezTo>
                    <a:pt x="12315" y="76809"/>
                    <a:pt x="12097" y="76317"/>
                    <a:pt x="11682" y="75367"/>
                  </a:cubicBezTo>
                  <a:cubicBezTo>
                    <a:pt x="11422" y="74777"/>
                    <a:pt x="11084" y="74010"/>
                    <a:pt x="10296" y="74010"/>
                  </a:cubicBezTo>
                  <a:lnTo>
                    <a:pt x="10296" y="7401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0" name="Freihandform: Form 145">
              <a:extLst>
                <a:ext uri="{FF2B5EF4-FFF2-40B4-BE49-F238E27FC236}">
                  <a16:creationId xmlns:a16="http://schemas.microsoft.com/office/drawing/2014/main" id="{9C53586B-85BF-F048-823D-123A5DB2B1A9}"/>
                </a:ext>
              </a:extLst>
            </p:cNvPr>
            <p:cNvSpPr/>
            <p:nvPr/>
          </p:nvSpPr>
          <p:spPr>
            <a:xfrm>
              <a:off x="6776949" y="4336396"/>
              <a:ext cx="146215" cy="200430"/>
            </a:xfrm>
            <a:custGeom>
              <a:avLst/>
              <a:gdLst>
                <a:gd name="connsiteX0" fmla="*/ 134261 w 146215"/>
                <a:gd name="connsiteY0" fmla="*/ 3705 h 200430"/>
                <a:gd name="connsiteX1" fmla="*/ 115715 w 146215"/>
                <a:gd name="connsiteY1" fmla="*/ 8269 h 200430"/>
                <a:gd name="connsiteX2" fmla="*/ 115152 w 146215"/>
                <a:gd name="connsiteY2" fmla="*/ 8958 h 200430"/>
                <a:gd name="connsiteX3" fmla="*/ 115152 w 146215"/>
                <a:gd name="connsiteY3" fmla="*/ 36725 h 200430"/>
                <a:gd name="connsiteX4" fmla="*/ 114983 w 146215"/>
                <a:gd name="connsiteY4" fmla="*/ 37182 h 200430"/>
                <a:gd name="connsiteX5" fmla="*/ 98111 w 146215"/>
                <a:gd name="connsiteY5" fmla="*/ 56741 h 200430"/>
                <a:gd name="connsiteX6" fmla="*/ 57319 w 146215"/>
                <a:gd name="connsiteY6" fmla="*/ 103019 h 200430"/>
                <a:gd name="connsiteX7" fmla="*/ 40278 w 146215"/>
                <a:gd name="connsiteY7" fmla="*/ 103019 h 200430"/>
                <a:gd name="connsiteX8" fmla="*/ 27970 w 146215"/>
                <a:gd name="connsiteY8" fmla="*/ 110234 h 200430"/>
                <a:gd name="connsiteX9" fmla="*/ 27781 w 146215"/>
                <a:gd name="connsiteY9" fmla="*/ 110326 h 200430"/>
                <a:gd name="connsiteX10" fmla="*/ 10578 w 146215"/>
                <a:gd name="connsiteY10" fmla="*/ 115931 h 200430"/>
                <a:gd name="connsiteX11" fmla="*/ 10191 w 146215"/>
                <a:gd name="connsiteY11" fmla="*/ 116241 h 200430"/>
                <a:gd name="connsiteX12" fmla="*/ 99 w 146215"/>
                <a:gd name="connsiteY12" fmla="*/ 133007 h 200430"/>
                <a:gd name="connsiteX13" fmla="*/ 0 w 146215"/>
                <a:gd name="connsiteY13" fmla="*/ 133366 h 200430"/>
                <a:gd name="connsiteX14" fmla="*/ 0 w 146215"/>
                <a:gd name="connsiteY14" fmla="*/ 190728 h 200430"/>
                <a:gd name="connsiteX15" fmla="*/ 63 w 146215"/>
                <a:gd name="connsiteY15" fmla="*/ 191030 h 200430"/>
                <a:gd name="connsiteX16" fmla="*/ 4318 w 146215"/>
                <a:gd name="connsiteY16" fmla="*/ 200025 h 200430"/>
                <a:gd name="connsiteX17" fmla="*/ 5676 w 146215"/>
                <a:gd name="connsiteY17" fmla="*/ 199906 h 200430"/>
                <a:gd name="connsiteX18" fmla="*/ 8257 w 146215"/>
                <a:gd name="connsiteY18" fmla="*/ 193485 h 200430"/>
                <a:gd name="connsiteX19" fmla="*/ 21170 w 146215"/>
                <a:gd name="connsiteY19" fmla="*/ 181008 h 200430"/>
                <a:gd name="connsiteX20" fmla="*/ 30980 w 146215"/>
                <a:gd name="connsiteY20" fmla="*/ 171127 h 200430"/>
                <a:gd name="connsiteX21" fmla="*/ 37697 w 146215"/>
                <a:gd name="connsiteY21" fmla="*/ 165409 h 200430"/>
                <a:gd name="connsiteX22" fmla="*/ 52671 w 146215"/>
                <a:gd name="connsiteY22" fmla="*/ 155534 h 200430"/>
                <a:gd name="connsiteX23" fmla="*/ 64029 w 146215"/>
                <a:gd name="connsiteY23" fmla="*/ 147214 h 200430"/>
                <a:gd name="connsiteX24" fmla="*/ 86232 w 146215"/>
                <a:gd name="connsiteY24" fmla="*/ 131094 h 200430"/>
                <a:gd name="connsiteX25" fmla="*/ 98111 w 146215"/>
                <a:gd name="connsiteY25" fmla="*/ 116016 h 200430"/>
                <a:gd name="connsiteX26" fmla="*/ 98111 w 146215"/>
                <a:gd name="connsiteY26" fmla="*/ 116016 h 200430"/>
                <a:gd name="connsiteX27" fmla="*/ 103794 w 146215"/>
                <a:gd name="connsiteY27" fmla="*/ 105100 h 200430"/>
                <a:gd name="connsiteX28" fmla="*/ 115152 w 146215"/>
                <a:gd name="connsiteY28" fmla="*/ 85338 h 200430"/>
                <a:gd name="connsiteX29" fmla="*/ 122895 w 146215"/>
                <a:gd name="connsiteY29" fmla="*/ 68184 h 200430"/>
                <a:gd name="connsiteX30" fmla="*/ 134261 w 146215"/>
                <a:gd name="connsiteY30" fmla="*/ 54659 h 200430"/>
                <a:gd name="connsiteX31" fmla="*/ 143552 w 146215"/>
                <a:gd name="connsiteY31" fmla="*/ 36985 h 200430"/>
                <a:gd name="connsiteX32" fmla="*/ 146133 w 146215"/>
                <a:gd name="connsiteY32" fmla="*/ 3705 h 200430"/>
                <a:gd name="connsiteX33" fmla="*/ 134261 w 146215"/>
                <a:gd name="connsiteY33" fmla="*/ 3705 h 200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6215" h="200430">
                  <a:moveTo>
                    <a:pt x="134261" y="3705"/>
                  </a:moveTo>
                  <a:cubicBezTo>
                    <a:pt x="133058" y="4514"/>
                    <a:pt x="121735" y="7010"/>
                    <a:pt x="115715" y="8269"/>
                  </a:cubicBezTo>
                  <a:cubicBezTo>
                    <a:pt x="115384" y="8339"/>
                    <a:pt x="115152" y="8628"/>
                    <a:pt x="115152" y="8958"/>
                  </a:cubicBezTo>
                  <a:lnTo>
                    <a:pt x="115152" y="36725"/>
                  </a:lnTo>
                  <a:cubicBezTo>
                    <a:pt x="115152" y="36894"/>
                    <a:pt x="115089" y="37055"/>
                    <a:pt x="114983" y="37182"/>
                  </a:cubicBezTo>
                  <a:lnTo>
                    <a:pt x="98111" y="56741"/>
                  </a:lnTo>
                  <a:cubicBezTo>
                    <a:pt x="84685" y="72164"/>
                    <a:pt x="57727" y="103019"/>
                    <a:pt x="57319" y="103019"/>
                  </a:cubicBezTo>
                  <a:lnTo>
                    <a:pt x="40278" y="103019"/>
                  </a:lnTo>
                  <a:cubicBezTo>
                    <a:pt x="38640" y="103019"/>
                    <a:pt x="31445" y="107794"/>
                    <a:pt x="27970" y="110234"/>
                  </a:cubicBezTo>
                  <a:cubicBezTo>
                    <a:pt x="27907" y="110277"/>
                    <a:pt x="27851" y="110305"/>
                    <a:pt x="27781" y="110326"/>
                  </a:cubicBezTo>
                  <a:lnTo>
                    <a:pt x="10578" y="115931"/>
                  </a:lnTo>
                  <a:cubicBezTo>
                    <a:pt x="10416" y="115987"/>
                    <a:pt x="10275" y="116093"/>
                    <a:pt x="10191" y="116241"/>
                  </a:cubicBezTo>
                  <a:lnTo>
                    <a:pt x="99" y="133007"/>
                  </a:lnTo>
                  <a:cubicBezTo>
                    <a:pt x="35" y="133113"/>
                    <a:pt x="0" y="133240"/>
                    <a:pt x="0" y="133366"/>
                  </a:cubicBezTo>
                  <a:lnTo>
                    <a:pt x="0" y="190728"/>
                  </a:lnTo>
                  <a:cubicBezTo>
                    <a:pt x="0" y="190833"/>
                    <a:pt x="21" y="190939"/>
                    <a:pt x="63" y="191030"/>
                  </a:cubicBezTo>
                  <a:lnTo>
                    <a:pt x="4318" y="200025"/>
                  </a:lnTo>
                  <a:cubicBezTo>
                    <a:pt x="4600" y="200623"/>
                    <a:pt x="5493" y="200539"/>
                    <a:pt x="5676" y="199906"/>
                  </a:cubicBezTo>
                  <a:cubicBezTo>
                    <a:pt x="6330" y="197655"/>
                    <a:pt x="7321" y="194744"/>
                    <a:pt x="8257" y="193485"/>
                  </a:cubicBezTo>
                  <a:cubicBezTo>
                    <a:pt x="9811" y="191410"/>
                    <a:pt x="16007" y="186726"/>
                    <a:pt x="21170" y="181008"/>
                  </a:cubicBezTo>
                  <a:cubicBezTo>
                    <a:pt x="26332" y="175290"/>
                    <a:pt x="27886" y="175290"/>
                    <a:pt x="30980" y="171127"/>
                  </a:cubicBezTo>
                  <a:cubicBezTo>
                    <a:pt x="34082" y="166970"/>
                    <a:pt x="34082" y="168531"/>
                    <a:pt x="37697" y="165409"/>
                  </a:cubicBezTo>
                  <a:cubicBezTo>
                    <a:pt x="41312" y="162293"/>
                    <a:pt x="47508" y="159691"/>
                    <a:pt x="52671" y="155534"/>
                  </a:cubicBezTo>
                  <a:cubicBezTo>
                    <a:pt x="57833" y="151371"/>
                    <a:pt x="58866" y="150330"/>
                    <a:pt x="64029" y="147214"/>
                  </a:cubicBezTo>
                  <a:cubicBezTo>
                    <a:pt x="69191" y="144092"/>
                    <a:pt x="81590" y="135251"/>
                    <a:pt x="86232" y="131094"/>
                  </a:cubicBezTo>
                  <a:cubicBezTo>
                    <a:pt x="90881" y="126938"/>
                    <a:pt x="93983" y="122254"/>
                    <a:pt x="98111" y="116016"/>
                  </a:cubicBezTo>
                  <a:lnTo>
                    <a:pt x="98111" y="116016"/>
                  </a:lnTo>
                  <a:cubicBezTo>
                    <a:pt x="102240" y="109777"/>
                    <a:pt x="102240" y="109257"/>
                    <a:pt x="103794" y="105100"/>
                  </a:cubicBezTo>
                  <a:cubicBezTo>
                    <a:pt x="105341" y="100937"/>
                    <a:pt x="115152" y="89501"/>
                    <a:pt x="115152" y="85338"/>
                  </a:cubicBezTo>
                  <a:cubicBezTo>
                    <a:pt x="115152" y="81181"/>
                    <a:pt x="121869" y="71820"/>
                    <a:pt x="122895" y="68184"/>
                  </a:cubicBezTo>
                  <a:cubicBezTo>
                    <a:pt x="123929" y="64541"/>
                    <a:pt x="130646" y="58823"/>
                    <a:pt x="134261" y="54659"/>
                  </a:cubicBezTo>
                  <a:cubicBezTo>
                    <a:pt x="137876" y="50503"/>
                    <a:pt x="142518" y="40101"/>
                    <a:pt x="143552" y="36985"/>
                  </a:cubicBezTo>
                  <a:cubicBezTo>
                    <a:pt x="144586" y="33862"/>
                    <a:pt x="146653" y="11504"/>
                    <a:pt x="146133" y="3705"/>
                  </a:cubicBezTo>
                  <a:cubicBezTo>
                    <a:pt x="145619" y="-4088"/>
                    <a:pt x="135808" y="2671"/>
                    <a:pt x="134261" y="370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1" name="Freihandform: Form 146">
              <a:extLst>
                <a:ext uri="{FF2B5EF4-FFF2-40B4-BE49-F238E27FC236}">
                  <a16:creationId xmlns:a16="http://schemas.microsoft.com/office/drawing/2014/main" id="{D9DC19B8-A79B-354B-9B53-36348DC83554}"/>
                </a:ext>
              </a:extLst>
            </p:cNvPr>
            <p:cNvSpPr/>
            <p:nvPr/>
          </p:nvSpPr>
          <p:spPr>
            <a:xfrm>
              <a:off x="6669856" y="4432647"/>
              <a:ext cx="113620" cy="151997"/>
            </a:xfrm>
            <a:custGeom>
              <a:avLst/>
              <a:gdLst>
                <a:gd name="connsiteX0" fmla="*/ 3692 w 113620"/>
                <a:gd name="connsiteY0" fmla="*/ 19398 h 151997"/>
                <a:gd name="connsiteX1" fmla="*/ 3587 w 113620"/>
                <a:gd name="connsiteY1" fmla="*/ 20291 h 151997"/>
                <a:gd name="connsiteX2" fmla="*/ 10296 w 113620"/>
                <a:gd name="connsiteY2" fmla="*/ 31178 h 151997"/>
                <a:gd name="connsiteX3" fmla="*/ 17505 w 113620"/>
                <a:gd name="connsiteY3" fmla="*/ 54064 h 151997"/>
                <a:gd name="connsiteX4" fmla="*/ 7722 w 113620"/>
                <a:gd name="connsiteY4" fmla="*/ 69663 h 151997"/>
                <a:gd name="connsiteX5" fmla="*/ 84 w 113620"/>
                <a:gd name="connsiteY5" fmla="*/ 83554 h 151997"/>
                <a:gd name="connsiteX6" fmla="*/ 0 w 113620"/>
                <a:gd name="connsiteY6" fmla="*/ 83891 h 151997"/>
                <a:gd name="connsiteX7" fmla="*/ 0 w 113620"/>
                <a:gd name="connsiteY7" fmla="*/ 94230 h 151997"/>
                <a:gd name="connsiteX8" fmla="*/ 344 w 113620"/>
                <a:gd name="connsiteY8" fmla="*/ 94835 h 151997"/>
                <a:gd name="connsiteX9" fmla="*/ 54738 w 113620"/>
                <a:gd name="connsiteY9" fmla="*/ 126673 h 151997"/>
                <a:gd name="connsiteX10" fmla="*/ 55090 w 113620"/>
                <a:gd name="connsiteY10" fmla="*/ 127285 h 151997"/>
                <a:gd name="connsiteX11" fmla="*/ 55090 w 113620"/>
                <a:gd name="connsiteY11" fmla="*/ 135352 h 151997"/>
                <a:gd name="connsiteX12" fmla="*/ 55392 w 113620"/>
                <a:gd name="connsiteY12" fmla="*/ 135929 h 151997"/>
                <a:gd name="connsiteX13" fmla="*/ 78566 w 113620"/>
                <a:gd name="connsiteY13" fmla="*/ 151873 h 151997"/>
                <a:gd name="connsiteX14" fmla="*/ 79621 w 113620"/>
                <a:gd name="connsiteY14" fmla="*/ 151563 h 151997"/>
                <a:gd name="connsiteX15" fmla="*/ 95762 w 113620"/>
                <a:gd name="connsiteY15" fmla="*/ 120118 h 151997"/>
                <a:gd name="connsiteX16" fmla="*/ 112051 w 113620"/>
                <a:gd name="connsiteY16" fmla="*/ 109330 h 151997"/>
                <a:gd name="connsiteX17" fmla="*/ 112269 w 113620"/>
                <a:gd name="connsiteY17" fmla="*/ 108957 h 151997"/>
                <a:gd name="connsiteX18" fmla="*/ 112887 w 113620"/>
                <a:gd name="connsiteY18" fmla="*/ 103675 h 151997"/>
                <a:gd name="connsiteX19" fmla="*/ 112768 w 113620"/>
                <a:gd name="connsiteY19" fmla="*/ 103654 h 151997"/>
                <a:gd name="connsiteX20" fmla="*/ 112768 w 113620"/>
                <a:gd name="connsiteY20" fmla="*/ 103654 h 151997"/>
                <a:gd name="connsiteX21" fmla="*/ 111411 w 113620"/>
                <a:gd name="connsiteY21" fmla="*/ 103774 h 151997"/>
                <a:gd name="connsiteX22" fmla="*/ 107156 w 113620"/>
                <a:gd name="connsiteY22" fmla="*/ 94778 h 151997"/>
                <a:gd name="connsiteX23" fmla="*/ 107092 w 113620"/>
                <a:gd name="connsiteY23" fmla="*/ 94476 h 151997"/>
                <a:gd name="connsiteX24" fmla="*/ 107092 w 113620"/>
                <a:gd name="connsiteY24" fmla="*/ 37114 h 151997"/>
                <a:gd name="connsiteX25" fmla="*/ 107191 w 113620"/>
                <a:gd name="connsiteY25" fmla="*/ 36756 h 151997"/>
                <a:gd name="connsiteX26" fmla="*/ 113521 w 113620"/>
                <a:gd name="connsiteY26" fmla="*/ 26241 h 151997"/>
                <a:gd name="connsiteX27" fmla="*/ 112740 w 113620"/>
                <a:gd name="connsiteY27" fmla="*/ 24968 h 151997"/>
                <a:gd name="connsiteX28" fmla="*/ 112240 w 113620"/>
                <a:gd name="connsiteY28" fmla="*/ 24933 h 151997"/>
                <a:gd name="connsiteX29" fmla="*/ 105215 w 113620"/>
                <a:gd name="connsiteY29" fmla="*/ 21438 h 151997"/>
                <a:gd name="connsiteX30" fmla="*/ 97309 w 113620"/>
                <a:gd name="connsiteY30" fmla="*/ 19215 h 151997"/>
                <a:gd name="connsiteX31" fmla="*/ 93659 w 113620"/>
                <a:gd name="connsiteY31" fmla="*/ 22900 h 151997"/>
                <a:gd name="connsiteX32" fmla="*/ 81865 w 113620"/>
                <a:gd name="connsiteY32" fmla="*/ 30138 h 151997"/>
                <a:gd name="connsiteX33" fmla="*/ 74403 w 113620"/>
                <a:gd name="connsiteY33" fmla="*/ 30806 h 151997"/>
                <a:gd name="connsiteX34" fmla="*/ 64873 w 113620"/>
                <a:gd name="connsiteY34" fmla="*/ 30138 h 151997"/>
                <a:gd name="connsiteX35" fmla="*/ 52516 w 113620"/>
                <a:gd name="connsiteY35" fmla="*/ 21817 h 151997"/>
                <a:gd name="connsiteX36" fmla="*/ 41706 w 113620"/>
                <a:gd name="connsiteY36" fmla="*/ 15052 h 151997"/>
                <a:gd name="connsiteX37" fmla="*/ 28448 w 113620"/>
                <a:gd name="connsiteY37" fmla="*/ 7857 h 151997"/>
                <a:gd name="connsiteX38" fmla="*/ 28231 w 113620"/>
                <a:gd name="connsiteY38" fmla="*/ 7639 h 151997"/>
                <a:gd name="connsiteX39" fmla="*/ 24834 w 113620"/>
                <a:gd name="connsiteY39" fmla="*/ 2237 h 151997"/>
                <a:gd name="connsiteX40" fmla="*/ 24503 w 113620"/>
                <a:gd name="connsiteY40" fmla="*/ 1963 h 151997"/>
                <a:gd name="connsiteX41" fmla="*/ 19953 w 113620"/>
                <a:gd name="connsiteY41" fmla="*/ 57 h 151997"/>
                <a:gd name="connsiteX42" fmla="*/ 19060 w 113620"/>
                <a:gd name="connsiteY42" fmla="*/ 352 h 151997"/>
                <a:gd name="connsiteX43" fmla="*/ 12357 w 113620"/>
                <a:gd name="connsiteY43" fmla="*/ 10375 h 151997"/>
                <a:gd name="connsiteX44" fmla="*/ 3692 w 113620"/>
                <a:gd name="connsiteY44" fmla="*/ 19398 h 151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3620" h="151997">
                  <a:moveTo>
                    <a:pt x="3692" y="19398"/>
                  </a:moveTo>
                  <a:cubicBezTo>
                    <a:pt x="3446" y="19630"/>
                    <a:pt x="3404" y="20003"/>
                    <a:pt x="3587" y="20291"/>
                  </a:cubicBezTo>
                  <a:cubicBezTo>
                    <a:pt x="6871" y="25447"/>
                    <a:pt x="9685" y="29941"/>
                    <a:pt x="10296" y="31178"/>
                  </a:cubicBezTo>
                  <a:cubicBezTo>
                    <a:pt x="11844" y="34301"/>
                    <a:pt x="18532" y="51462"/>
                    <a:pt x="17505" y="54064"/>
                  </a:cubicBezTo>
                  <a:cubicBezTo>
                    <a:pt x="16682" y="56146"/>
                    <a:pt x="10641" y="65331"/>
                    <a:pt x="7722" y="69663"/>
                  </a:cubicBezTo>
                  <a:lnTo>
                    <a:pt x="84" y="83554"/>
                  </a:lnTo>
                  <a:cubicBezTo>
                    <a:pt x="28" y="83652"/>
                    <a:pt x="0" y="83772"/>
                    <a:pt x="0" y="83891"/>
                  </a:cubicBezTo>
                  <a:lnTo>
                    <a:pt x="0" y="94230"/>
                  </a:lnTo>
                  <a:cubicBezTo>
                    <a:pt x="0" y="94476"/>
                    <a:pt x="134" y="94708"/>
                    <a:pt x="344" y="94835"/>
                  </a:cubicBezTo>
                  <a:lnTo>
                    <a:pt x="54738" y="126673"/>
                  </a:lnTo>
                  <a:cubicBezTo>
                    <a:pt x="54956" y="126800"/>
                    <a:pt x="55090" y="127032"/>
                    <a:pt x="55090" y="127285"/>
                  </a:cubicBezTo>
                  <a:lnTo>
                    <a:pt x="55090" y="135352"/>
                  </a:lnTo>
                  <a:cubicBezTo>
                    <a:pt x="55090" y="135584"/>
                    <a:pt x="55202" y="135802"/>
                    <a:pt x="55392" y="135929"/>
                  </a:cubicBezTo>
                  <a:lnTo>
                    <a:pt x="78566" y="151873"/>
                  </a:lnTo>
                  <a:cubicBezTo>
                    <a:pt x="78939" y="152126"/>
                    <a:pt x="79445" y="151978"/>
                    <a:pt x="79621" y="151563"/>
                  </a:cubicBezTo>
                  <a:cubicBezTo>
                    <a:pt x="83876" y="141260"/>
                    <a:pt x="92555" y="121736"/>
                    <a:pt x="95762" y="120118"/>
                  </a:cubicBezTo>
                  <a:cubicBezTo>
                    <a:pt x="99011" y="118480"/>
                    <a:pt x="107845" y="112333"/>
                    <a:pt x="112051" y="109330"/>
                  </a:cubicBezTo>
                  <a:cubicBezTo>
                    <a:pt x="112170" y="109245"/>
                    <a:pt x="112248" y="109112"/>
                    <a:pt x="112269" y="108957"/>
                  </a:cubicBezTo>
                  <a:lnTo>
                    <a:pt x="112887" y="103675"/>
                  </a:lnTo>
                  <a:cubicBezTo>
                    <a:pt x="112895" y="103598"/>
                    <a:pt x="112789" y="103577"/>
                    <a:pt x="112768" y="103654"/>
                  </a:cubicBezTo>
                  <a:lnTo>
                    <a:pt x="112768" y="103654"/>
                  </a:lnTo>
                  <a:cubicBezTo>
                    <a:pt x="112585" y="104287"/>
                    <a:pt x="111692" y="104371"/>
                    <a:pt x="111411" y="103774"/>
                  </a:cubicBezTo>
                  <a:lnTo>
                    <a:pt x="107156" y="94778"/>
                  </a:lnTo>
                  <a:cubicBezTo>
                    <a:pt x="107113" y="94687"/>
                    <a:pt x="107092" y="94581"/>
                    <a:pt x="107092" y="94476"/>
                  </a:cubicBezTo>
                  <a:lnTo>
                    <a:pt x="107092" y="37114"/>
                  </a:lnTo>
                  <a:cubicBezTo>
                    <a:pt x="107092" y="36988"/>
                    <a:pt x="107127" y="36861"/>
                    <a:pt x="107191" y="36756"/>
                  </a:cubicBezTo>
                  <a:lnTo>
                    <a:pt x="113521" y="26241"/>
                  </a:lnTo>
                  <a:cubicBezTo>
                    <a:pt x="113837" y="25714"/>
                    <a:pt x="113352" y="24996"/>
                    <a:pt x="112740" y="24968"/>
                  </a:cubicBezTo>
                  <a:cubicBezTo>
                    <a:pt x="112578" y="24961"/>
                    <a:pt x="112409" y="24954"/>
                    <a:pt x="112240" y="24933"/>
                  </a:cubicBezTo>
                  <a:cubicBezTo>
                    <a:pt x="109786" y="24708"/>
                    <a:pt x="107430" y="23020"/>
                    <a:pt x="105215" y="21438"/>
                  </a:cubicBezTo>
                  <a:cubicBezTo>
                    <a:pt x="102310" y="19356"/>
                    <a:pt x="99644" y="17443"/>
                    <a:pt x="97309" y="19215"/>
                  </a:cubicBezTo>
                  <a:cubicBezTo>
                    <a:pt x="96086" y="20137"/>
                    <a:pt x="94911" y="21480"/>
                    <a:pt x="93659" y="22900"/>
                  </a:cubicBezTo>
                  <a:cubicBezTo>
                    <a:pt x="90691" y="26276"/>
                    <a:pt x="87294" y="30138"/>
                    <a:pt x="81865" y="30138"/>
                  </a:cubicBezTo>
                  <a:cubicBezTo>
                    <a:pt x="79009" y="30138"/>
                    <a:pt x="76576" y="30489"/>
                    <a:pt x="74403" y="30806"/>
                  </a:cubicBezTo>
                  <a:cubicBezTo>
                    <a:pt x="70710" y="31347"/>
                    <a:pt x="67792" y="31776"/>
                    <a:pt x="64873" y="30138"/>
                  </a:cubicBezTo>
                  <a:cubicBezTo>
                    <a:pt x="61166" y="28056"/>
                    <a:pt x="55090" y="23723"/>
                    <a:pt x="52516" y="21817"/>
                  </a:cubicBezTo>
                  <a:cubicBezTo>
                    <a:pt x="49597" y="19560"/>
                    <a:pt x="43352" y="15052"/>
                    <a:pt x="41706" y="15052"/>
                  </a:cubicBezTo>
                  <a:cubicBezTo>
                    <a:pt x="40074" y="15052"/>
                    <a:pt x="32268" y="10304"/>
                    <a:pt x="28448" y="7857"/>
                  </a:cubicBezTo>
                  <a:cubicBezTo>
                    <a:pt x="28357" y="7801"/>
                    <a:pt x="28287" y="7723"/>
                    <a:pt x="28231" y="7639"/>
                  </a:cubicBezTo>
                  <a:lnTo>
                    <a:pt x="24834" y="2237"/>
                  </a:lnTo>
                  <a:cubicBezTo>
                    <a:pt x="24756" y="2118"/>
                    <a:pt x="24644" y="2019"/>
                    <a:pt x="24503" y="1963"/>
                  </a:cubicBezTo>
                  <a:cubicBezTo>
                    <a:pt x="23223" y="1436"/>
                    <a:pt x="21648" y="782"/>
                    <a:pt x="19953" y="57"/>
                  </a:cubicBezTo>
                  <a:cubicBezTo>
                    <a:pt x="19622" y="-83"/>
                    <a:pt x="19242" y="43"/>
                    <a:pt x="19060" y="352"/>
                  </a:cubicBezTo>
                  <a:cubicBezTo>
                    <a:pt x="17336" y="3264"/>
                    <a:pt x="14101" y="7934"/>
                    <a:pt x="12357" y="10375"/>
                  </a:cubicBezTo>
                  <a:cubicBezTo>
                    <a:pt x="10219" y="12780"/>
                    <a:pt x="6892" y="16339"/>
                    <a:pt x="3692" y="1939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2" name="Freihandform: Form 147">
              <a:extLst>
                <a:ext uri="{FF2B5EF4-FFF2-40B4-BE49-F238E27FC236}">
                  <a16:creationId xmlns:a16="http://schemas.microsoft.com/office/drawing/2014/main" id="{C4401069-41BE-1A42-B19B-1C3A84E7478B}"/>
                </a:ext>
              </a:extLst>
            </p:cNvPr>
            <p:cNvSpPr/>
            <p:nvPr/>
          </p:nvSpPr>
          <p:spPr>
            <a:xfrm>
              <a:off x="6606810" y="4453284"/>
              <a:ext cx="81031" cy="81274"/>
            </a:xfrm>
            <a:custGeom>
              <a:avLst/>
              <a:gdLst>
                <a:gd name="connsiteX0" fmla="*/ 16860 w 81031"/>
                <a:gd name="connsiteY0" fmla="*/ 73994 h 81274"/>
                <a:gd name="connsiteX1" fmla="*/ 62343 w 81031"/>
                <a:gd name="connsiteY1" fmla="*/ 73994 h 81274"/>
                <a:gd name="connsiteX2" fmla="*/ 63046 w 81031"/>
                <a:gd name="connsiteY2" fmla="*/ 73291 h 81274"/>
                <a:gd name="connsiteX3" fmla="*/ 63046 w 81031"/>
                <a:gd name="connsiteY3" fmla="*/ 62228 h 81274"/>
                <a:gd name="connsiteX4" fmla="*/ 63152 w 81031"/>
                <a:gd name="connsiteY4" fmla="*/ 61862 h 81274"/>
                <a:gd name="connsiteX5" fmla="*/ 69742 w 81031"/>
                <a:gd name="connsiteY5" fmla="*/ 51109 h 81274"/>
                <a:gd name="connsiteX6" fmla="*/ 80917 w 81031"/>
                <a:gd name="connsiteY6" fmla="*/ 34173 h 81274"/>
                <a:gd name="connsiteX7" fmla="*/ 81023 w 81031"/>
                <a:gd name="connsiteY7" fmla="*/ 33674 h 81274"/>
                <a:gd name="connsiteX8" fmla="*/ 75917 w 81031"/>
                <a:gd name="connsiteY8" fmla="*/ 16260 h 81274"/>
                <a:gd name="connsiteX9" fmla="*/ 66134 w 81031"/>
                <a:gd name="connsiteY9" fmla="*/ 267 h 81274"/>
                <a:gd name="connsiteX10" fmla="*/ 65058 w 81031"/>
                <a:gd name="connsiteY10" fmla="*/ 224 h 81274"/>
                <a:gd name="connsiteX11" fmla="*/ 57898 w 81031"/>
                <a:gd name="connsiteY11" fmla="*/ 4817 h 81274"/>
                <a:gd name="connsiteX12" fmla="*/ 46568 w 81031"/>
                <a:gd name="connsiteY12" fmla="*/ 4817 h 81274"/>
                <a:gd name="connsiteX13" fmla="*/ 38845 w 81031"/>
                <a:gd name="connsiteY13" fmla="*/ 7419 h 81274"/>
                <a:gd name="connsiteX14" fmla="*/ 25314 w 81031"/>
                <a:gd name="connsiteY14" fmla="*/ 4944 h 81274"/>
                <a:gd name="connsiteX15" fmla="*/ 24646 w 81031"/>
                <a:gd name="connsiteY15" fmla="*/ 5070 h 81274"/>
                <a:gd name="connsiteX16" fmla="*/ 19540 w 81031"/>
                <a:gd name="connsiteY16" fmla="*/ 9290 h 81274"/>
                <a:gd name="connsiteX17" fmla="*/ 19286 w 81031"/>
                <a:gd name="connsiteY17" fmla="*/ 9832 h 81274"/>
                <a:gd name="connsiteX18" fmla="*/ 19286 w 81031"/>
                <a:gd name="connsiteY18" fmla="*/ 18342 h 81274"/>
                <a:gd name="connsiteX19" fmla="*/ 21277 w 81031"/>
                <a:gd name="connsiteY19" fmla="*/ 29974 h 81274"/>
                <a:gd name="connsiteX20" fmla="*/ 21129 w 81031"/>
                <a:gd name="connsiteY20" fmla="*/ 30565 h 81274"/>
                <a:gd name="connsiteX21" fmla="*/ 12078 w 81031"/>
                <a:gd name="connsiteY21" fmla="*/ 41748 h 81274"/>
                <a:gd name="connsiteX22" fmla="*/ 3835 w 81031"/>
                <a:gd name="connsiteY22" fmla="*/ 58908 h 81274"/>
                <a:gd name="connsiteX23" fmla="*/ 16 w 81031"/>
                <a:gd name="connsiteY23" fmla="*/ 80422 h 81274"/>
                <a:gd name="connsiteX24" fmla="*/ 1000 w 81031"/>
                <a:gd name="connsiteY24" fmla="*/ 81210 h 81274"/>
                <a:gd name="connsiteX25" fmla="*/ 16572 w 81031"/>
                <a:gd name="connsiteY25" fmla="*/ 74057 h 81274"/>
                <a:gd name="connsiteX26" fmla="*/ 16860 w 81031"/>
                <a:gd name="connsiteY26" fmla="*/ 73994 h 81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1031" h="81274">
                  <a:moveTo>
                    <a:pt x="16860" y="73994"/>
                  </a:moveTo>
                  <a:lnTo>
                    <a:pt x="62343" y="73994"/>
                  </a:lnTo>
                  <a:cubicBezTo>
                    <a:pt x="62730" y="73994"/>
                    <a:pt x="63046" y="73678"/>
                    <a:pt x="63046" y="73291"/>
                  </a:cubicBezTo>
                  <a:lnTo>
                    <a:pt x="63046" y="62228"/>
                  </a:lnTo>
                  <a:cubicBezTo>
                    <a:pt x="63046" y="62101"/>
                    <a:pt x="63081" y="61975"/>
                    <a:pt x="63152" y="61862"/>
                  </a:cubicBezTo>
                  <a:lnTo>
                    <a:pt x="69742" y="51109"/>
                  </a:lnTo>
                  <a:lnTo>
                    <a:pt x="80917" y="34173"/>
                  </a:lnTo>
                  <a:cubicBezTo>
                    <a:pt x="81009" y="34025"/>
                    <a:pt x="81051" y="33850"/>
                    <a:pt x="81023" y="33674"/>
                  </a:cubicBezTo>
                  <a:cubicBezTo>
                    <a:pt x="80453" y="30389"/>
                    <a:pt x="78723" y="22737"/>
                    <a:pt x="75917" y="16260"/>
                  </a:cubicBezTo>
                  <a:cubicBezTo>
                    <a:pt x="73237" y="10071"/>
                    <a:pt x="68567" y="3403"/>
                    <a:pt x="66134" y="267"/>
                  </a:cubicBezTo>
                  <a:cubicBezTo>
                    <a:pt x="65866" y="-78"/>
                    <a:pt x="65360" y="-85"/>
                    <a:pt x="65058" y="224"/>
                  </a:cubicBezTo>
                  <a:cubicBezTo>
                    <a:pt x="63299" y="2053"/>
                    <a:pt x="60106" y="4817"/>
                    <a:pt x="57898" y="4817"/>
                  </a:cubicBezTo>
                  <a:lnTo>
                    <a:pt x="46568" y="4817"/>
                  </a:lnTo>
                  <a:cubicBezTo>
                    <a:pt x="41940" y="4817"/>
                    <a:pt x="41940" y="6378"/>
                    <a:pt x="38845" y="7419"/>
                  </a:cubicBezTo>
                  <a:cubicBezTo>
                    <a:pt x="36461" y="8221"/>
                    <a:pt x="29062" y="6174"/>
                    <a:pt x="25314" y="4944"/>
                  </a:cubicBezTo>
                  <a:cubicBezTo>
                    <a:pt x="25089" y="4866"/>
                    <a:pt x="24836" y="4915"/>
                    <a:pt x="24646" y="5070"/>
                  </a:cubicBezTo>
                  <a:lnTo>
                    <a:pt x="19540" y="9290"/>
                  </a:lnTo>
                  <a:cubicBezTo>
                    <a:pt x="19378" y="9424"/>
                    <a:pt x="19286" y="9621"/>
                    <a:pt x="19286" y="9832"/>
                  </a:cubicBezTo>
                  <a:lnTo>
                    <a:pt x="19286" y="18342"/>
                  </a:lnTo>
                  <a:cubicBezTo>
                    <a:pt x="19286" y="19952"/>
                    <a:pt x="20567" y="26563"/>
                    <a:pt x="21277" y="29974"/>
                  </a:cubicBezTo>
                  <a:cubicBezTo>
                    <a:pt x="21319" y="30185"/>
                    <a:pt x="21263" y="30396"/>
                    <a:pt x="21129" y="30565"/>
                  </a:cubicBezTo>
                  <a:cubicBezTo>
                    <a:pt x="18309" y="33948"/>
                    <a:pt x="12879" y="40531"/>
                    <a:pt x="12078" y="41748"/>
                  </a:cubicBezTo>
                  <a:cubicBezTo>
                    <a:pt x="11044" y="43309"/>
                    <a:pt x="3835" y="54752"/>
                    <a:pt x="3835" y="58908"/>
                  </a:cubicBezTo>
                  <a:cubicBezTo>
                    <a:pt x="3835" y="62010"/>
                    <a:pt x="1458" y="73776"/>
                    <a:pt x="16" y="80422"/>
                  </a:cubicBezTo>
                  <a:cubicBezTo>
                    <a:pt x="-104" y="80985"/>
                    <a:pt x="473" y="81449"/>
                    <a:pt x="1000" y="81210"/>
                  </a:cubicBezTo>
                  <a:lnTo>
                    <a:pt x="16572" y="74057"/>
                  </a:lnTo>
                  <a:cubicBezTo>
                    <a:pt x="16663" y="74015"/>
                    <a:pt x="16762" y="73994"/>
                    <a:pt x="16860" y="7399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3" name="Freihandform: Form 148">
              <a:extLst>
                <a:ext uri="{FF2B5EF4-FFF2-40B4-BE49-F238E27FC236}">
                  <a16:creationId xmlns:a16="http://schemas.microsoft.com/office/drawing/2014/main" id="{97DA3C35-2B8C-9D44-9558-D8CEEBE8F0A2}"/>
                </a:ext>
              </a:extLst>
            </p:cNvPr>
            <p:cNvSpPr/>
            <p:nvPr/>
          </p:nvSpPr>
          <p:spPr>
            <a:xfrm>
              <a:off x="6601084" y="4529952"/>
              <a:ext cx="25092" cy="26197"/>
            </a:xfrm>
            <a:custGeom>
              <a:avLst/>
              <a:gdLst>
                <a:gd name="connsiteX0" fmla="*/ 25006 w 25092"/>
                <a:gd name="connsiteY0" fmla="*/ 11892 h 26197"/>
                <a:gd name="connsiteX1" fmla="*/ 18078 w 25092"/>
                <a:gd name="connsiteY1" fmla="*/ 196 h 26197"/>
                <a:gd name="connsiteX2" fmla="*/ 17424 w 25092"/>
                <a:gd name="connsiteY2" fmla="*/ 20 h 26197"/>
                <a:gd name="connsiteX3" fmla="*/ 2872 w 25092"/>
                <a:gd name="connsiteY3" fmla="*/ 11822 h 26197"/>
                <a:gd name="connsiteX4" fmla="*/ 2851 w 25092"/>
                <a:gd name="connsiteY4" fmla="*/ 11962 h 26197"/>
                <a:gd name="connsiteX5" fmla="*/ 17 w 25092"/>
                <a:gd name="connsiteY5" fmla="*/ 25353 h 26197"/>
                <a:gd name="connsiteX6" fmla="*/ 875 w 25092"/>
                <a:gd name="connsiteY6" fmla="*/ 26176 h 26197"/>
                <a:gd name="connsiteX7" fmla="*/ 7796 w 25092"/>
                <a:gd name="connsiteY7" fmla="*/ 24432 h 26197"/>
                <a:gd name="connsiteX8" fmla="*/ 8161 w 25092"/>
                <a:gd name="connsiteY8" fmla="*/ 24193 h 26197"/>
                <a:gd name="connsiteX9" fmla="*/ 11621 w 25092"/>
                <a:gd name="connsiteY9" fmla="*/ 19171 h 26197"/>
                <a:gd name="connsiteX10" fmla="*/ 20891 w 25092"/>
                <a:gd name="connsiteY10" fmla="*/ 19171 h 26197"/>
                <a:gd name="connsiteX11" fmla="*/ 25006 w 25092"/>
                <a:gd name="connsiteY11" fmla="*/ 11892 h 26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92" h="26197">
                  <a:moveTo>
                    <a:pt x="25006" y="11892"/>
                  </a:moveTo>
                  <a:cubicBezTo>
                    <a:pt x="25807" y="8671"/>
                    <a:pt x="20884" y="2918"/>
                    <a:pt x="18078" y="196"/>
                  </a:cubicBezTo>
                  <a:cubicBezTo>
                    <a:pt x="17909" y="27"/>
                    <a:pt x="17656" y="-36"/>
                    <a:pt x="17424" y="20"/>
                  </a:cubicBezTo>
                  <a:cubicBezTo>
                    <a:pt x="5897" y="2946"/>
                    <a:pt x="2922" y="9044"/>
                    <a:pt x="2872" y="11822"/>
                  </a:cubicBezTo>
                  <a:cubicBezTo>
                    <a:pt x="2872" y="11871"/>
                    <a:pt x="2866" y="11913"/>
                    <a:pt x="2851" y="11962"/>
                  </a:cubicBezTo>
                  <a:lnTo>
                    <a:pt x="17" y="25353"/>
                  </a:lnTo>
                  <a:cubicBezTo>
                    <a:pt x="-95" y="25859"/>
                    <a:pt x="369" y="26302"/>
                    <a:pt x="875" y="26176"/>
                  </a:cubicBezTo>
                  <a:lnTo>
                    <a:pt x="7796" y="24432"/>
                  </a:lnTo>
                  <a:cubicBezTo>
                    <a:pt x="7943" y="24397"/>
                    <a:pt x="8070" y="24312"/>
                    <a:pt x="8161" y="24193"/>
                  </a:cubicBezTo>
                  <a:cubicBezTo>
                    <a:pt x="9076" y="23067"/>
                    <a:pt x="10841" y="20746"/>
                    <a:pt x="11621" y="19171"/>
                  </a:cubicBezTo>
                  <a:cubicBezTo>
                    <a:pt x="12655" y="17089"/>
                    <a:pt x="17804" y="19171"/>
                    <a:pt x="20891" y="19171"/>
                  </a:cubicBezTo>
                  <a:cubicBezTo>
                    <a:pt x="23979" y="19171"/>
                    <a:pt x="23979" y="16048"/>
                    <a:pt x="25006" y="1189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4" name="Freihandform: Form 149">
              <a:extLst>
                <a:ext uri="{FF2B5EF4-FFF2-40B4-BE49-F238E27FC236}">
                  <a16:creationId xmlns:a16="http://schemas.microsoft.com/office/drawing/2014/main" id="{9CF28D32-6806-894C-9915-CA406E79EF8A}"/>
                </a:ext>
              </a:extLst>
            </p:cNvPr>
            <p:cNvSpPr/>
            <p:nvPr/>
          </p:nvSpPr>
          <p:spPr>
            <a:xfrm>
              <a:off x="6602430" y="4548737"/>
              <a:ext cx="21152" cy="32808"/>
            </a:xfrm>
            <a:custGeom>
              <a:avLst/>
              <a:gdLst>
                <a:gd name="connsiteX0" fmla="*/ 21086 w 21152"/>
                <a:gd name="connsiteY0" fmla="*/ 15992 h 32808"/>
                <a:gd name="connsiteX1" fmla="*/ 4101 w 21152"/>
                <a:gd name="connsiteY1" fmla="*/ 32632 h 32808"/>
                <a:gd name="connsiteX2" fmla="*/ 1 w 21152"/>
                <a:gd name="connsiteY2" fmla="*/ 8213 h 32808"/>
                <a:gd name="connsiteX3" fmla="*/ 507 w 21152"/>
                <a:gd name="connsiteY3" fmla="*/ 7517 h 32808"/>
                <a:gd name="connsiteX4" fmla="*/ 6928 w 21152"/>
                <a:gd name="connsiteY4" fmla="*/ 5661 h 32808"/>
                <a:gd name="connsiteX5" fmla="*/ 7329 w 21152"/>
                <a:gd name="connsiteY5" fmla="*/ 5365 h 32808"/>
                <a:gd name="connsiteX6" fmla="*/ 10501 w 21152"/>
                <a:gd name="connsiteY6" fmla="*/ 329 h 32808"/>
                <a:gd name="connsiteX7" fmla="*/ 11310 w 21152"/>
                <a:gd name="connsiteY7" fmla="*/ 34 h 32808"/>
                <a:gd name="connsiteX8" fmla="*/ 18645 w 21152"/>
                <a:gd name="connsiteY8" fmla="*/ 2348 h 32808"/>
                <a:gd name="connsiteX9" fmla="*/ 19123 w 21152"/>
                <a:gd name="connsiteY9" fmla="*/ 2854 h 32808"/>
                <a:gd name="connsiteX10" fmla="*/ 21086 w 21152"/>
                <a:gd name="connsiteY10" fmla="*/ 15992 h 3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152" h="32808">
                  <a:moveTo>
                    <a:pt x="21086" y="15992"/>
                  </a:moveTo>
                  <a:cubicBezTo>
                    <a:pt x="20678" y="18074"/>
                    <a:pt x="9594" y="27955"/>
                    <a:pt x="4101" y="32632"/>
                  </a:cubicBezTo>
                  <a:cubicBezTo>
                    <a:pt x="1674" y="34728"/>
                    <a:pt x="374" y="17567"/>
                    <a:pt x="1" y="8213"/>
                  </a:cubicBezTo>
                  <a:cubicBezTo>
                    <a:pt x="-13" y="7890"/>
                    <a:pt x="198" y="7609"/>
                    <a:pt x="507" y="7517"/>
                  </a:cubicBezTo>
                  <a:lnTo>
                    <a:pt x="6928" y="5661"/>
                  </a:lnTo>
                  <a:cubicBezTo>
                    <a:pt x="7097" y="5618"/>
                    <a:pt x="7238" y="5506"/>
                    <a:pt x="7329" y="5365"/>
                  </a:cubicBezTo>
                  <a:lnTo>
                    <a:pt x="10501" y="329"/>
                  </a:lnTo>
                  <a:cubicBezTo>
                    <a:pt x="10670" y="55"/>
                    <a:pt x="11007" y="-64"/>
                    <a:pt x="11310" y="34"/>
                  </a:cubicBezTo>
                  <a:lnTo>
                    <a:pt x="18645" y="2348"/>
                  </a:lnTo>
                  <a:cubicBezTo>
                    <a:pt x="18884" y="2425"/>
                    <a:pt x="19067" y="2615"/>
                    <a:pt x="19123" y="2854"/>
                  </a:cubicBezTo>
                  <a:cubicBezTo>
                    <a:pt x="19996" y="6638"/>
                    <a:pt x="21487" y="13981"/>
                    <a:pt x="21086" y="1599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5" name="Freihandform: Form 150">
              <a:extLst>
                <a:ext uri="{FF2B5EF4-FFF2-40B4-BE49-F238E27FC236}">
                  <a16:creationId xmlns:a16="http://schemas.microsoft.com/office/drawing/2014/main" id="{86205CF9-ECB4-E14A-ADFB-6DC9579A291D}"/>
                </a:ext>
              </a:extLst>
            </p:cNvPr>
            <p:cNvSpPr/>
            <p:nvPr/>
          </p:nvSpPr>
          <p:spPr>
            <a:xfrm>
              <a:off x="6605516" y="4527804"/>
              <a:ext cx="156309" cy="159412"/>
            </a:xfrm>
            <a:custGeom>
              <a:avLst/>
              <a:gdLst>
                <a:gd name="connsiteX0" fmla="*/ 37052 w 156309"/>
                <a:gd name="connsiteY0" fmla="*/ 118065 h 159412"/>
                <a:gd name="connsiteX1" fmla="*/ 18006 w 156309"/>
                <a:gd name="connsiteY1" fmla="*/ 105581 h 159412"/>
                <a:gd name="connsiteX2" fmla="*/ 10277 w 156309"/>
                <a:gd name="connsiteY2" fmla="*/ 91536 h 159412"/>
                <a:gd name="connsiteX3" fmla="*/ 1647 w 156309"/>
                <a:gd name="connsiteY3" fmla="*/ 79742 h 159412"/>
                <a:gd name="connsiteX4" fmla="*/ 1514 w 156309"/>
                <a:gd name="connsiteY4" fmla="*/ 79369 h 159412"/>
                <a:gd name="connsiteX5" fmla="*/ 2 w 156309"/>
                <a:gd name="connsiteY5" fmla="*/ 54409 h 159412"/>
                <a:gd name="connsiteX6" fmla="*/ 212 w 156309"/>
                <a:gd name="connsiteY6" fmla="*/ 53860 h 159412"/>
                <a:gd name="connsiteX7" fmla="*/ 17725 w 156309"/>
                <a:gd name="connsiteY7" fmla="*/ 36679 h 159412"/>
                <a:gd name="connsiteX8" fmla="*/ 17922 w 156309"/>
                <a:gd name="connsiteY8" fmla="*/ 36024 h 159412"/>
                <a:gd name="connsiteX9" fmla="*/ 15101 w 156309"/>
                <a:gd name="connsiteY9" fmla="*/ 23217 h 159412"/>
                <a:gd name="connsiteX10" fmla="*/ 15791 w 156309"/>
                <a:gd name="connsiteY10" fmla="*/ 22359 h 159412"/>
                <a:gd name="connsiteX11" fmla="*/ 17415 w 156309"/>
                <a:gd name="connsiteY11" fmla="*/ 22359 h 159412"/>
                <a:gd name="connsiteX12" fmla="*/ 18105 w 156309"/>
                <a:gd name="connsiteY12" fmla="*/ 21782 h 159412"/>
                <a:gd name="connsiteX13" fmla="*/ 20018 w 156309"/>
                <a:gd name="connsiteY13" fmla="*/ 11163 h 159412"/>
                <a:gd name="connsiteX14" fmla="*/ 19940 w 156309"/>
                <a:gd name="connsiteY14" fmla="*/ 10698 h 159412"/>
                <a:gd name="connsiteX15" fmla="*/ 15263 w 156309"/>
                <a:gd name="connsiteY15" fmla="*/ 2195 h 159412"/>
                <a:gd name="connsiteX16" fmla="*/ 15566 w 156309"/>
                <a:gd name="connsiteY16" fmla="*/ 1225 h 159412"/>
                <a:gd name="connsiteX17" fmla="*/ 17845 w 156309"/>
                <a:gd name="connsiteY17" fmla="*/ 79 h 159412"/>
                <a:gd name="connsiteX18" fmla="*/ 18182 w 156309"/>
                <a:gd name="connsiteY18" fmla="*/ 1 h 159412"/>
                <a:gd name="connsiteX19" fmla="*/ 64178 w 156309"/>
                <a:gd name="connsiteY19" fmla="*/ 1548 h 159412"/>
                <a:gd name="connsiteX20" fmla="*/ 64480 w 156309"/>
                <a:gd name="connsiteY20" fmla="*/ 1633 h 159412"/>
                <a:gd name="connsiteX21" fmla="*/ 118023 w 156309"/>
                <a:gd name="connsiteY21" fmla="*/ 29962 h 159412"/>
                <a:gd name="connsiteX22" fmla="*/ 118403 w 156309"/>
                <a:gd name="connsiteY22" fmla="*/ 30588 h 159412"/>
                <a:gd name="connsiteX23" fmla="*/ 118403 w 156309"/>
                <a:gd name="connsiteY23" fmla="*/ 40701 h 159412"/>
                <a:gd name="connsiteX24" fmla="*/ 118727 w 156309"/>
                <a:gd name="connsiteY24" fmla="*/ 41292 h 159412"/>
                <a:gd name="connsiteX25" fmla="*/ 143202 w 156309"/>
                <a:gd name="connsiteY25" fmla="*/ 56934 h 159412"/>
                <a:gd name="connsiteX26" fmla="*/ 143504 w 156309"/>
                <a:gd name="connsiteY26" fmla="*/ 57700 h 159412"/>
                <a:gd name="connsiteX27" fmla="*/ 141570 w 156309"/>
                <a:gd name="connsiteY27" fmla="*/ 65528 h 159412"/>
                <a:gd name="connsiteX28" fmla="*/ 138996 w 156309"/>
                <a:gd name="connsiteY28" fmla="*/ 82696 h 159412"/>
                <a:gd name="connsiteX29" fmla="*/ 145684 w 156309"/>
                <a:gd name="connsiteY29" fmla="*/ 91536 h 159412"/>
                <a:gd name="connsiteX30" fmla="*/ 143630 w 156309"/>
                <a:gd name="connsiteY30" fmla="*/ 101938 h 159412"/>
                <a:gd name="connsiteX31" fmla="*/ 145684 w 156309"/>
                <a:gd name="connsiteY31" fmla="*/ 120140 h 159412"/>
                <a:gd name="connsiteX32" fmla="*/ 156213 w 156309"/>
                <a:gd name="connsiteY32" fmla="*/ 139931 h 159412"/>
                <a:gd name="connsiteX33" fmla="*/ 156072 w 156309"/>
                <a:gd name="connsiteY33" fmla="*/ 140803 h 159412"/>
                <a:gd name="connsiteX34" fmla="*/ 143630 w 156309"/>
                <a:gd name="connsiteY34" fmla="*/ 149791 h 159412"/>
                <a:gd name="connsiteX35" fmla="*/ 129726 w 156309"/>
                <a:gd name="connsiteY35" fmla="*/ 153434 h 159412"/>
                <a:gd name="connsiteX36" fmla="*/ 120457 w 156309"/>
                <a:gd name="connsiteY36" fmla="*/ 157070 h 159412"/>
                <a:gd name="connsiteX37" fmla="*/ 94202 w 156309"/>
                <a:gd name="connsiteY37" fmla="*/ 158632 h 159412"/>
                <a:gd name="connsiteX38" fmla="*/ 75670 w 156309"/>
                <a:gd name="connsiteY38" fmla="*/ 153434 h 159412"/>
                <a:gd name="connsiteX39" fmla="*/ 66400 w 156309"/>
                <a:gd name="connsiteY39" fmla="*/ 129508 h 159412"/>
                <a:gd name="connsiteX40" fmla="*/ 58678 w 156309"/>
                <a:gd name="connsiteY40" fmla="*/ 124303 h 159412"/>
                <a:gd name="connsiteX41" fmla="*/ 37052 w 156309"/>
                <a:gd name="connsiteY41" fmla="*/ 118065 h 159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56309" h="159412">
                  <a:moveTo>
                    <a:pt x="37052" y="118065"/>
                  </a:moveTo>
                  <a:cubicBezTo>
                    <a:pt x="34991" y="118065"/>
                    <a:pt x="22634" y="112860"/>
                    <a:pt x="18006" y="105581"/>
                  </a:cubicBezTo>
                  <a:lnTo>
                    <a:pt x="10277" y="91536"/>
                  </a:lnTo>
                  <a:lnTo>
                    <a:pt x="1647" y="79742"/>
                  </a:lnTo>
                  <a:cubicBezTo>
                    <a:pt x="1570" y="79629"/>
                    <a:pt x="1521" y="79503"/>
                    <a:pt x="1514" y="79369"/>
                  </a:cubicBezTo>
                  <a:lnTo>
                    <a:pt x="2" y="54409"/>
                  </a:lnTo>
                  <a:cubicBezTo>
                    <a:pt x="-12" y="54205"/>
                    <a:pt x="65" y="54008"/>
                    <a:pt x="212" y="53860"/>
                  </a:cubicBezTo>
                  <a:lnTo>
                    <a:pt x="17725" y="36679"/>
                  </a:lnTo>
                  <a:cubicBezTo>
                    <a:pt x="17901" y="36510"/>
                    <a:pt x="17971" y="36256"/>
                    <a:pt x="17922" y="36024"/>
                  </a:cubicBezTo>
                  <a:lnTo>
                    <a:pt x="15101" y="23217"/>
                  </a:lnTo>
                  <a:cubicBezTo>
                    <a:pt x="15003" y="22774"/>
                    <a:pt x="15341" y="22359"/>
                    <a:pt x="15791" y="22359"/>
                  </a:cubicBezTo>
                  <a:lnTo>
                    <a:pt x="17415" y="22359"/>
                  </a:lnTo>
                  <a:cubicBezTo>
                    <a:pt x="17753" y="22359"/>
                    <a:pt x="18048" y="22113"/>
                    <a:pt x="18105" y="21782"/>
                  </a:cubicBezTo>
                  <a:lnTo>
                    <a:pt x="20018" y="11163"/>
                  </a:lnTo>
                  <a:cubicBezTo>
                    <a:pt x="20046" y="11001"/>
                    <a:pt x="20018" y="10839"/>
                    <a:pt x="19940" y="10698"/>
                  </a:cubicBezTo>
                  <a:lnTo>
                    <a:pt x="15263" y="2195"/>
                  </a:lnTo>
                  <a:cubicBezTo>
                    <a:pt x="15073" y="1844"/>
                    <a:pt x="15207" y="1408"/>
                    <a:pt x="15566" y="1225"/>
                  </a:cubicBezTo>
                  <a:lnTo>
                    <a:pt x="17845" y="79"/>
                  </a:lnTo>
                  <a:cubicBezTo>
                    <a:pt x="17950" y="22"/>
                    <a:pt x="18062" y="-6"/>
                    <a:pt x="18182" y="1"/>
                  </a:cubicBezTo>
                  <a:lnTo>
                    <a:pt x="64178" y="1548"/>
                  </a:lnTo>
                  <a:cubicBezTo>
                    <a:pt x="64284" y="1555"/>
                    <a:pt x="64389" y="1584"/>
                    <a:pt x="64480" y="1633"/>
                  </a:cubicBezTo>
                  <a:lnTo>
                    <a:pt x="118023" y="29962"/>
                  </a:lnTo>
                  <a:cubicBezTo>
                    <a:pt x="118256" y="30088"/>
                    <a:pt x="118403" y="30328"/>
                    <a:pt x="118403" y="30588"/>
                  </a:cubicBezTo>
                  <a:lnTo>
                    <a:pt x="118403" y="40701"/>
                  </a:lnTo>
                  <a:cubicBezTo>
                    <a:pt x="118403" y="40940"/>
                    <a:pt x="118523" y="41166"/>
                    <a:pt x="118727" y="41292"/>
                  </a:cubicBezTo>
                  <a:lnTo>
                    <a:pt x="143202" y="56934"/>
                  </a:lnTo>
                  <a:cubicBezTo>
                    <a:pt x="143455" y="57102"/>
                    <a:pt x="143581" y="57405"/>
                    <a:pt x="143504" y="57700"/>
                  </a:cubicBezTo>
                  <a:lnTo>
                    <a:pt x="141570" y="65528"/>
                  </a:lnTo>
                  <a:cubicBezTo>
                    <a:pt x="140712" y="70388"/>
                    <a:pt x="138996" y="80614"/>
                    <a:pt x="138996" y="82696"/>
                  </a:cubicBezTo>
                  <a:cubicBezTo>
                    <a:pt x="138996" y="85298"/>
                    <a:pt x="145684" y="88414"/>
                    <a:pt x="145684" y="91536"/>
                  </a:cubicBezTo>
                  <a:cubicBezTo>
                    <a:pt x="145684" y="94659"/>
                    <a:pt x="145684" y="98295"/>
                    <a:pt x="143630" y="101938"/>
                  </a:cubicBezTo>
                  <a:cubicBezTo>
                    <a:pt x="141570" y="105581"/>
                    <a:pt x="143630" y="114942"/>
                    <a:pt x="145684" y="120140"/>
                  </a:cubicBezTo>
                  <a:cubicBezTo>
                    <a:pt x="147281" y="124170"/>
                    <a:pt x="153189" y="134705"/>
                    <a:pt x="156213" y="139931"/>
                  </a:cubicBezTo>
                  <a:cubicBezTo>
                    <a:pt x="156382" y="140219"/>
                    <a:pt x="156325" y="140585"/>
                    <a:pt x="156072" y="140803"/>
                  </a:cubicBezTo>
                  <a:cubicBezTo>
                    <a:pt x="152977" y="143532"/>
                    <a:pt x="146767" y="148602"/>
                    <a:pt x="143630" y="149791"/>
                  </a:cubicBezTo>
                  <a:cubicBezTo>
                    <a:pt x="139509" y="151352"/>
                    <a:pt x="134875" y="153434"/>
                    <a:pt x="129726" y="153434"/>
                  </a:cubicBezTo>
                  <a:cubicBezTo>
                    <a:pt x="124578" y="153434"/>
                    <a:pt x="124578" y="153434"/>
                    <a:pt x="120457" y="157070"/>
                  </a:cubicBezTo>
                  <a:cubicBezTo>
                    <a:pt x="116342" y="160713"/>
                    <a:pt x="101925" y="159152"/>
                    <a:pt x="94202" y="158632"/>
                  </a:cubicBezTo>
                  <a:cubicBezTo>
                    <a:pt x="86480" y="158111"/>
                    <a:pt x="75670" y="154989"/>
                    <a:pt x="75670" y="153434"/>
                  </a:cubicBezTo>
                  <a:cubicBezTo>
                    <a:pt x="75670" y="151873"/>
                    <a:pt x="67941" y="134185"/>
                    <a:pt x="66400" y="129508"/>
                  </a:cubicBezTo>
                  <a:cubicBezTo>
                    <a:pt x="64853" y="124824"/>
                    <a:pt x="62279" y="124824"/>
                    <a:pt x="58678" y="124303"/>
                  </a:cubicBezTo>
                  <a:cubicBezTo>
                    <a:pt x="55070" y="123783"/>
                    <a:pt x="39626" y="118065"/>
                    <a:pt x="37052" y="11806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6" name="Freihandform: Form 151">
              <a:extLst>
                <a:ext uri="{FF2B5EF4-FFF2-40B4-BE49-F238E27FC236}">
                  <a16:creationId xmlns:a16="http://schemas.microsoft.com/office/drawing/2014/main" id="{98AC8ACB-D08F-C847-B0CA-7867CCE2ED38}"/>
                </a:ext>
              </a:extLst>
            </p:cNvPr>
            <p:cNvSpPr/>
            <p:nvPr/>
          </p:nvSpPr>
          <p:spPr>
            <a:xfrm>
              <a:off x="6605516" y="4527804"/>
              <a:ext cx="156309" cy="159412"/>
            </a:xfrm>
            <a:custGeom>
              <a:avLst/>
              <a:gdLst>
                <a:gd name="connsiteX0" fmla="*/ 37052 w 156309"/>
                <a:gd name="connsiteY0" fmla="*/ 118065 h 159412"/>
                <a:gd name="connsiteX1" fmla="*/ 18006 w 156309"/>
                <a:gd name="connsiteY1" fmla="*/ 105581 h 159412"/>
                <a:gd name="connsiteX2" fmla="*/ 10277 w 156309"/>
                <a:gd name="connsiteY2" fmla="*/ 91536 h 159412"/>
                <a:gd name="connsiteX3" fmla="*/ 1647 w 156309"/>
                <a:gd name="connsiteY3" fmla="*/ 79742 h 159412"/>
                <a:gd name="connsiteX4" fmla="*/ 1514 w 156309"/>
                <a:gd name="connsiteY4" fmla="*/ 79369 h 159412"/>
                <a:gd name="connsiteX5" fmla="*/ 2 w 156309"/>
                <a:gd name="connsiteY5" fmla="*/ 54409 h 159412"/>
                <a:gd name="connsiteX6" fmla="*/ 212 w 156309"/>
                <a:gd name="connsiteY6" fmla="*/ 53860 h 159412"/>
                <a:gd name="connsiteX7" fmla="*/ 17725 w 156309"/>
                <a:gd name="connsiteY7" fmla="*/ 36679 h 159412"/>
                <a:gd name="connsiteX8" fmla="*/ 17922 w 156309"/>
                <a:gd name="connsiteY8" fmla="*/ 36024 h 159412"/>
                <a:gd name="connsiteX9" fmla="*/ 15101 w 156309"/>
                <a:gd name="connsiteY9" fmla="*/ 23217 h 159412"/>
                <a:gd name="connsiteX10" fmla="*/ 15791 w 156309"/>
                <a:gd name="connsiteY10" fmla="*/ 22359 h 159412"/>
                <a:gd name="connsiteX11" fmla="*/ 17415 w 156309"/>
                <a:gd name="connsiteY11" fmla="*/ 22359 h 159412"/>
                <a:gd name="connsiteX12" fmla="*/ 18105 w 156309"/>
                <a:gd name="connsiteY12" fmla="*/ 21782 h 159412"/>
                <a:gd name="connsiteX13" fmla="*/ 20018 w 156309"/>
                <a:gd name="connsiteY13" fmla="*/ 11163 h 159412"/>
                <a:gd name="connsiteX14" fmla="*/ 19940 w 156309"/>
                <a:gd name="connsiteY14" fmla="*/ 10698 h 159412"/>
                <a:gd name="connsiteX15" fmla="*/ 15263 w 156309"/>
                <a:gd name="connsiteY15" fmla="*/ 2195 h 159412"/>
                <a:gd name="connsiteX16" fmla="*/ 15566 w 156309"/>
                <a:gd name="connsiteY16" fmla="*/ 1225 h 159412"/>
                <a:gd name="connsiteX17" fmla="*/ 17845 w 156309"/>
                <a:gd name="connsiteY17" fmla="*/ 79 h 159412"/>
                <a:gd name="connsiteX18" fmla="*/ 18182 w 156309"/>
                <a:gd name="connsiteY18" fmla="*/ 1 h 159412"/>
                <a:gd name="connsiteX19" fmla="*/ 64178 w 156309"/>
                <a:gd name="connsiteY19" fmla="*/ 1548 h 159412"/>
                <a:gd name="connsiteX20" fmla="*/ 64480 w 156309"/>
                <a:gd name="connsiteY20" fmla="*/ 1633 h 159412"/>
                <a:gd name="connsiteX21" fmla="*/ 118023 w 156309"/>
                <a:gd name="connsiteY21" fmla="*/ 29962 h 159412"/>
                <a:gd name="connsiteX22" fmla="*/ 118403 w 156309"/>
                <a:gd name="connsiteY22" fmla="*/ 30588 h 159412"/>
                <a:gd name="connsiteX23" fmla="*/ 118403 w 156309"/>
                <a:gd name="connsiteY23" fmla="*/ 40701 h 159412"/>
                <a:gd name="connsiteX24" fmla="*/ 118727 w 156309"/>
                <a:gd name="connsiteY24" fmla="*/ 41292 h 159412"/>
                <a:gd name="connsiteX25" fmla="*/ 143202 w 156309"/>
                <a:gd name="connsiteY25" fmla="*/ 56934 h 159412"/>
                <a:gd name="connsiteX26" fmla="*/ 143504 w 156309"/>
                <a:gd name="connsiteY26" fmla="*/ 57700 h 159412"/>
                <a:gd name="connsiteX27" fmla="*/ 141570 w 156309"/>
                <a:gd name="connsiteY27" fmla="*/ 65528 h 159412"/>
                <a:gd name="connsiteX28" fmla="*/ 138996 w 156309"/>
                <a:gd name="connsiteY28" fmla="*/ 82696 h 159412"/>
                <a:gd name="connsiteX29" fmla="*/ 145684 w 156309"/>
                <a:gd name="connsiteY29" fmla="*/ 91536 h 159412"/>
                <a:gd name="connsiteX30" fmla="*/ 143630 w 156309"/>
                <a:gd name="connsiteY30" fmla="*/ 101938 h 159412"/>
                <a:gd name="connsiteX31" fmla="*/ 145684 w 156309"/>
                <a:gd name="connsiteY31" fmla="*/ 120140 h 159412"/>
                <a:gd name="connsiteX32" fmla="*/ 156213 w 156309"/>
                <a:gd name="connsiteY32" fmla="*/ 139931 h 159412"/>
                <a:gd name="connsiteX33" fmla="*/ 156072 w 156309"/>
                <a:gd name="connsiteY33" fmla="*/ 140803 h 159412"/>
                <a:gd name="connsiteX34" fmla="*/ 143630 w 156309"/>
                <a:gd name="connsiteY34" fmla="*/ 149791 h 159412"/>
                <a:gd name="connsiteX35" fmla="*/ 129726 w 156309"/>
                <a:gd name="connsiteY35" fmla="*/ 153434 h 159412"/>
                <a:gd name="connsiteX36" fmla="*/ 120457 w 156309"/>
                <a:gd name="connsiteY36" fmla="*/ 157070 h 159412"/>
                <a:gd name="connsiteX37" fmla="*/ 94202 w 156309"/>
                <a:gd name="connsiteY37" fmla="*/ 158632 h 159412"/>
                <a:gd name="connsiteX38" fmla="*/ 75670 w 156309"/>
                <a:gd name="connsiteY38" fmla="*/ 153434 h 159412"/>
                <a:gd name="connsiteX39" fmla="*/ 66400 w 156309"/>
                <a:gd name="connsiteY39" fmla="*/ 129508 h 159412"/>
                <a:gd name="connsiteX40" fmla="*/ 58678 w 156309"/>
                <a:gd name="connsiteY40" fmla="*/ 124303 h 159412"/>
                <a:gd name="connsiteX41" fmla="*/ 37052 w 156309"/>
                <a:gd name="connsiteY41" fmla="*/ 118065 h 159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56309" h="159412">
                  <a:moveTo>
                    <a:pt x="37052" y="118065"/>
                  </a:moveTo>
                  <a:cubicBezTo>
                    <a:pt x="34991" y="118065"/>
                    <a:pt x="22634" y="112860"/>
                    <a:pt x="18006" y="105581"/>
                  </a:cubicBezTo>
                  <a:lnTo>
                    <a:pt x="10277" y="91536"/>
                  </a:lnTo>
                  <a:lnTo>
                    <a:pt x="1647" y="79742"/>
                  </a:lnTo>
                  <a:cubicBezTo>
                    <a:pt x="1570" y="79629"/>
                    <a:pt x="1521" y="79503"/>
                    <a:pt x="1514" y="79369"/>
                  </a:cubicBezTo>
                  <a:lnTo>
                    <a:pt x="2" y="54409"/>
                  </a:lnTo>
                  <a:cubicBezTo>
                    <a:pt x="-12" y="54205"/>
                    <a:pt x="65" y="54008"/>
                    <a:pt x="212" y="53860"/>
                  </a:cubicBezTo>
                  <a:lnTo>
                    <a:pt x="17725" y="36679"/>
                  </a:lnTo>
                  <a:cubicBezTo>
                    <a:pt x="17901" y="36510"/>
                    <a:pt x="17971" y="36256"/>
                    <a:pt x="17922" y="36024"/>
                  </a:cubicBezTo>
                  <a:lnTo>
                    <a:pt x="15101" y="23217"/>
                  </a:lnTo>
                  <a:cubicBezTo>
                    <a:pt x="15003" y="22774"/>
                    <a:pt x="15341" y="22359"/>
                    <a:pt x="15791" y="22359"/>
                  </a:cubicBezTo>
                  <a:lnTo>
                    <a:pt x="17415" y="22359"/>
                  </a:lnTo>
                  <a:cubicBezTo>
                    <a:pt x="17753" y="22359"/>
                    <a:pt x="18048" y="22113"/>
                    <a:pt x="18105" y="21782"/>
                  </a:cubicBezTo>
                  <a:lnTo>
                    <a:pt x="20018" y="11163"/>
                  </a:lnTo>
                  <a:cubicBezTo>
                    <a:pt x="20046" y="11001"/>
                    <a:pt x="20018" y="10839"/>
                    <a:pt x="19940" y="10698"/>
                  </a:cubicBezTo>
                  <a:lnTo>
                    <a:pt x="15263" y="2195"/>
                  </a:lnTo>
                  <a:cubicBezTo>
                    <a:pt x="15073" y="1844"/>
                    <a:pt x="15207" y="1408"/>
                    <a:pt x="15566" y="1225"/>
                  </a:cubicBezTo>
                  <a:lnTo>
                    <a:pt x="17845" y="79"/>
                  </a:lnTo>
                  <a:cubicBezTo>
                    <a:pt x="17950" y="22"/>
                    <a:pt x="18062" y="-6"/>
                    <a:pt x="18182" y="1"/>
                  </a:cubicBezTo>
                  <a:lnTo>
                    <a:pt x="64178" y="1548"/>
                  </a:lnTo>
                  <a:cubicBezTo>
                    <a:pt x="64284" y="1555"/>
                    <a:pt x="64389" y="1584"/>
                    <a:pt x="64480" y="1633"/>
                  </a:cubicBezTo>
                  <a:lnTo>
                    <a:pt x="118023" y="29962"/>
                  </a:lnTo>
                  <a:cubicBezTo>
                    <a:pt x="118256" y="30088"/>
                    <a:pt x="118403" y="30328"/>
                    <a:pt x="118403" y="30588"/>
                  </a:cubicBezTo>
                  <a:lnTo>
                    <a:pt x="118403" y="40701"/>
                  </a:lnTo>
                  <a:cubicBezTo>
                    <a:pt x="118403" y="40940"/>
                    <a:pt x="118523" y="41166"/>
                    <a:pt x="118727" y="41292"/>
                  </a:cubicBezTo>
                  <a:lnTo>
                    <a:pt x="143202" y="56934"/>
                  </a:lnTo>
                  <a:cubicBezTo>
                    <a:pt x="143455" y="57102"/>
                    <a:pt x="143581" y="57405"/>
                    <a:pt x="143504" y="57700"/>
                  </a:cubicBezTo>
                  <a:lnTo>
                    <a:pt x="141570" y="65528"/>
                  </a:lnTo>
                  <a:cubicBezTo>
                    <a:pt x="140712" y="70388"/>
                    <a:pt x="138996" y="80614"/>
                    <a:pt x="138996" y="82696"/>
                  </a:cubicBezTo>
                  <a:cubicBezTo>
                    <a:pt x="138996" y="85298"/>
                    <a:pt x="145684" y="88414"/>
                    <a:pt x="145684" y="91536"/>
                  </a:cubicBezTo>
                  <a:cubicBezTo>
                    <a:pt x="145684" y="94659"/>
                    <a:pt x="145684" y="98295"/>
                    <a:pt x="143630" y="101938"/>
                  </a:cubicBezTo>
                  <a:cubicBezTo>
                    <a:pt x="141570" y="105581"/>
                    <a:pt x="143630" y="114942"/>
                    <a:pt x="145684" y="120140"/>
                  </a:cubicBezTo>
                  <a:cubicBezTo>
                    <a:pt x="147281" y="124170"/>
                    <a:pt x="153189" y="134705"/>
                    <a:pt x="156213" y="139931"/>
                  </a:cubicBezTo>
                  <a:cubicBezTo>
                    <a:pt x="156382" y="140219"/>
                    <a:pt x="156325" y="140585"/>
                    <a:pt x="156072" y="140803"/>
                  </a:cubicBezTo>
                  <a:cubicBezTo>
                    <a:pt x="152977" y="143532"/>
                    <a:pt x="146767" y="148602"/>
                    <a:pt x="143630" y="149791"/>
                  </a:cubicBezTo>
                  <a:cubicBezTo>
                    <a:pt x="139509" y="151352"/>
                    <a:pt x="134875" y="153434"/>
                    <a:pt x="129726" y="153434"/>
                  </a:cubicBezTo>
                  <a:cubicBezTo>
                    <a:pt x="124578" y="153434"/>
                    <a:pt x="124578" y="153434"/>
                    <a:pt x="120457" y="157070"/>
                  </a:cubicBezTo>
                  <a:cubicBezTo>
                    <a:pt x="116342" y="160713"/>
                    <a:pt x="101925" y="159152"/>
                    <a:pt x="94202" y="158632"/>
                  </a:cubicBezTo>
                  <a:cubicBezTo>
                    <a:pt x="86480" y="158111"/>
                    <a:pt x="75670" y="154989"/>
                    <a:pt x="75670" y="153434"/>
                  </a:cubicBezTo>
                  <a:cubicBezTo>
                    <a:pt x="75670" y="151873"/>
                    <a:pt x="67941" y="134185"/>
                    <a:pt x="66400" y="129508"/>
                  </a:cubicBezTo>
                  <a:cubicBezTo>
                    <a:pt x="64853" y="124824"/>
                    <a:pt x="62279" y="124824"/>
                    <a:pt x="58678" y="124303"/>
                  </a:cubicBezTo>
                  <a:cubicBezTo>
                    <a:pt x="55070" y="123783"/>
                    <a:pt x="39626" y="118065"/>
                    <a:pt x="37052" y="11806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7" name="Freihandform: Form 152">
              <a:extLst>
                <a:ext uri="{FF2B5EF4-FFF2-40B4-BE49-F238E27FC236}">
                  <a16:creationId xmlns:a16="http://schemas.microsoft.com/office/drawing/2014/main" id="{4BDAA973-8CFC-2B4D-89C3-400B0732675C}"/>
                </a:ext>
              </a:extLst>
            </p:cNvPr>
            <p:cNvSpPr/>
            <p:nvPr/>
          </p:nvSpPr>
          <p:spPr>
            <a:xfrm>
              <a:off x="6347641" y="4600907"/>
              <a:ext cx="178051" cy="181869"/>
            </a:xfrm>
            <a:custGeom>
              <a:avLst/>
              <a:gdLst>
                <a:gd name="connsiteX0" fmla="*/ 8822 w 178051"/>
                <a:gd name="connsiteY0" fmla="*/ 1702 h 181869"/>
                <a:gd name="connsiteX1" fmla="*/ 8949 w 178051"/>
                <a:gd name="connsiteY1" fmla="*/ 1745 h 181869"/>
                <a:gd name="connsiteX2" fmla="*/ 8949 w 178051"/>
                <a:gd name="connsiteY2" fmla="*/ 1745 h 181869"/>
                <a:gd name="connsiteX3" fmla="*/ 9778 w 178051"/>
                <a:gd name="connsiteY3" fmla="*/ 2167 h 181869"/>
                <a:gd name="connsiteX4" fmla="*/ 24112 w 178051"/>
                <a:gd name="connsiteY4" fmla="*/ 233 h 181869"/>
                <a:gd name="connsiteX5" fmla="*/ 64306 w 178051"/>
                <a:gd name="connsiteY5" fmla="*/ 225 h 181869"/>
                <a:gd name="connsiteX6" fmla="*/ 64945 w 178051"/>
                <a:gd name="connsiteY6" fmla="*/ 683 h 181869"/>
                <a:gd name="connsiteX7" fmla="*/ 82802 w 178051"/>
                <a:gd name="connsiteY7" fmla="*/ 30918 h 181869"/>
                <a:gd name="connsiteX8" fmla="*/ 91390 w 178051"/>
                <a:gd name="connsiteY8" fmla="*/ 31368 h 181869"/>
                <a:gd name="connsiteX9" fmla="*/ 105463 w 178051"/>
                <a:gd name="connsiteY9" fmla="*/ 30918 h 181869"/>
                <a:gd name="connsiteX10" fmla="*/ 107390 w 178051"/>
                <a:gd name="connsiteY10" fmla="*/ 27493 h 181869"/>
                <a:gd name="connsiteX11" fmla="*/ 107390 w 178051"/>
                <a:gd name="connsiteY11" fmla="*/ 27493 h 181869"/>
                <a:gd name="connsiteX12" fmla="*/ 107390 w 178051"/>
                <a:gd name="connsiteY12" fmla="*/ 27493 h 181869"/>
                <a:gd name="connsiteX13" fmla="*/ 113699 w 178051"/>
                <a:gd name="connsiteY13" fmla="*/ 18955 h 181869"/>
                <a:gd name="connsiteX14" fmla="*/ 120619 w 178051"/>
                <a:gd name="connsiteY14" fmla="*/ 16788 h 181869"/>
                <a:gd name="connsiteX15" fmla="*/ 125022 w 178051"/>
                <a:gd name="connsiteY15" fmla="*/ 15311 h 181869"/>
                <a:gd name="connsiteX16" fmla="*/ 125381 w 178051"/>
                <a:gd name="connsiteY16" fmla="*/ 16570 h 181869"/>
                <a:gd name="connsiteX17" fmla="*/ 127083 w 178051"/>
                <a:gd name="connsiteY17" fmla="*/ 18955 h 181869"/>
                <a:gd name="connsiteX18" fmla="*/ 128327 w 178051"/>
                <a:gd name="connsiteY18" fmla="*/ 18948 h 181869"/>
                <a:gd name="connsiteX19" fmla="*/ 143561 w 178051"/>
                <a:gd name="connsiteY19" fmla="*/ 22077 h 181869"/>
                <a:gd name="connsiteX20" fmla="*/ 145207 w 178051"/>
                <a:gd name="connsiteY20" fmla="*/ 29975 h 181869"/>
                <a:gd name="connsiteX21" fmla="*/ 147676 w 178051"/>
                <a:gd name="connsiteY21" fmla="*/ 42881 h 181869"/>
                <a:gd name="connsiteX22" fmla="*/ 151283 w 178051"/>
                <a:gd name="connsiteY22" fmla="*/ 60562 h 181869"/>
                <a:gd name="connsiteX23" fmla="*/ 152950 w 178051"/>
                <a:gd name="connsiteY23" fmla="*/ 70120 h 181869"/>
                <a:gd name="connsiteX24" fmla="*/ 153858 w 178051"/>
                <a:gd name="connsiteY24" fmla="*/ 75648 h 181869"/>
                <a:gd name="connsiteX25" fmla="*/ 177348 w 178051"/>
                <a:gd name="connsiteY25" fmla="*/ 75648 h 181869"/>
                <a:gd name="connsiteX26" fmla="*/ 178051 w 178051"/>
                <a:gd name="connsiteY26" fmla="*/ 76351 h 181869"/>
                <a:gd name="connsiteX27" fmla="*/ 178051 w 178051"/>
                <a:gd name="connsiteY27" fmla="*/ 104069 h 181869"/>
                <a:gd name="connsiteX28" fmla="*/ 177348 w 178051"/>
                <a:gd name="connsiteY28" fmla="*/ 104772 h 181869"/>
                <a:gd name="connsiteX29" fmla="*/ 149926 w 178051"/>
                <a:gd name="connsiteY29" fmla="*/ 104772 h 181869"/>
                <a:gd name="connsiteX30" fmla="*/ 149223 w 178051"/>
                <a:gd name="connsiteY30" fmla="*/ 105475 h 181869"/>
                <a:gd name="connsiteX31" fmla="*/ 149223 w 178051"/>
                <a:gd name="connsiteY31" fmla="*/ 153412 h 181869"/>
                <a:gd name="connsiteX32" fmla="*/ 149384 w 178051"/>
                <a:gd name="connsiteY32" fmla="*/ 153863 h 181869"/>
                <a:gd name="connsiteX33" fmla="*/ 166144 w 178051"/>
                <a:gd name="connsiteY33" fmla="*/ 174279 h 181869"/>
                <a:gd name="connsiteX34" fmla="*/ 165884 w 178051"/>
                <a:gd name="connsiteY34" fmla="*/ 175356 h 181869"/>
                <a:gd name="connsiteX35" fmla="*/ 145622 w 178051"/>
                <a:gd name="connsiteY35" fmla="*/ 180715 h 181869"/>
                <a:gd name="connsiteX36" fmla="*/ 135768 w 178051"/>
                <a:gd name="connsiteY36" fmla="*/ 181193 h 181869"/>
                <a:gd name="connsiteX37" fmla="*/ 110091 w 178051"/>
                <a:gd name="connsiteY37" fmla="*/ 180715 h 181869"/>
                <a:gd name="connsiteX38" fmla="*/ 105358 w 178051"/>
                <a:gd name="connsiteY38" fmla="*/ 178710 h 181869"/>
                <a:gd name="connsiteX39" fmla="*/ 91559 w 178051"/>
                <a:gd name="connsiteY39" fmla="*/ 174990 h 181869"/>
                <a:gd name="connsiteX40" fmla="*/ 32783 w 178051"/>
                <a:gd name="connsiteY40" fmla="*/ 174990 h 181869"/>
                <a:gd name="connsiteX41" fmla="*/ 32150 w 178051"/>
                <a:gd name="connsiteY41" fmla="*/ 174603 h 181869"/>
                <a:gd name="connsiteX42" fmla="*/ 17416 w 178051"/>
                <a:gd name="connsiteY42" fmla="*/ 166670 h 181869"/>
                <a:gd name="connsiteX43" fmla="*/ 994 w 178051"/>
                <a:gd name="connsiteY43" fmla="*/ 170397 h 181869"/>
                <a:gd name="connsiteX44" fmla="*/ 2 w 178051"/>
                <a:gd name="connsiteY44" fmla="*/ 169673 h 181869"/>
                <a:gd name="connsiteX45" fmla="*/ 5580 w 178051"/>
                <a:gd name="connsiteY45" fmla="*/ 130260 h 181869"/>
                <a:gd name="connsiteX46" fmla="*/ 26686 w 178051"/>
                <a:gd name="connsiteY46" fmla="*/ 93329 h 181869"/>
                <a:gd name="connsiteX47" fmla="*/ 26686 w 178051"/>
                <a:gd name="connsiteY47" fmla="*/ 68889 h 181869"/>
                <a:gd name="connsiteX48" fmla="*/ 17655 w 178051"/>
                <a:gd name="connsiteY48" fmla="*/ 48606 h 181869"/>
                <a:gd name="connsiteX49" fmla="*/ 17880 w 178051"/>
                <a:gd name="connsiteY49" fmla="*/ 47734 h 181869"/>
                <a:gd name="connsiteX50" fmla="*/ 23085 w 178051"/>
                <a:gd name="connsiteY50" fmla="*/ 40279 h 181869"/>
                <a:gd name="connsiteX51" fmla="*/ 8716 w 178051"/>
                <a:gd name="connsiteY51" fmla="*/ 1899 h 181869"/>
                <a:gd name="connsiteX52" fmla="*/ 8773 w 178051"/>
                <a:gd name="connsiteY52" fmla="*/ 1731 h 181869"/>
                <a:gd name="connsiteX53" fmla="*/ 8822 w 178051"/>
                <a:gd name="connsiteY53" fmla="*/ 1702 h 181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78051" h="181869">
                  <a:moveTo>
                    <a:pt x="8822" y="1702"/>
                  </a:moveTo>
                  <a:cubicBezTo>
                    <a:pt x="8871" y="1674"/>
                    <a:pt x="8934" y="1695"/>
                    <a:pt x="8949" y="1745"/>
                  </a:cubicBezTo>
                  <a:lnTo>
                    <a:pt x="8949" y="1745"/>
                  </a:lnTo>
                  <a:cubicBezTo>
                    <a:pt x="9082" y="2068"/>
                    <a:pt x="9434" y="2244"/>
                    <a:pt x="9778" y="2167"/>
                  </a:cubicBezTo>
                  <a:cubicBezTo>
                    <a:pt x="12226" y="1604"/>
                    <a:pt x="17698" y="612"/>
                    <a:pt x="24112" y="233"/>
                  </a:cubicBezTo>
                  <a:cubicBezTo>
                    <a:pt x="31011" y="-182"/>
                    <a:pt x="53468" y="50"/>
                    <a:pt x="64306" y="225"/>
                  </a:cubicBezTo>
                  <a:cubicBezTo>
                    <a:pt x="64601" y="225"/>
                    <a:pt x="64847" y="408"/>
                    <a:pt x="64945" y="683"/>
                  </a:cubicBezTo>
                  <a:cubicBezTo>
                    <a:pt x="68645" y="11049"/>
                    <a:pt x="77127" y="30918"/>
                    <a:pt x="82802" y="30918"/>
                  </a:cubicBezTo>
                  <a:cubicBezTo>
                    <a:pt x="85173" y="30918"/>
                    <a:pt x="88260" y="31143"/>
                    <a:pt x="91390" y="31368"/>
                  </a:cubicBezTo>
                  <a:cubicBezTo>
                    <a:pt x="97811" y="31832"/>
                    <a:pt x="104422" y="32317"/>
                    <a:pt x="105463" y="30918"/>
                  </a:cubicBezTo>
                  <a:cubicBezTo>
                    <a:pt x="105913" y="30306"/>
                    <a:pt x="106595" y="29012"/>
                    <a:pt x="107390" y="27493"/>
                  </a:cubicBezTo>
                  <a:lnTo>
                    <a:pt x="107390" y="27493"/>
                  </a:lnTo>
                  <a:lnTo>
                    <a:pt x="107390" y="27493"/>
                  </a:lnTo>
                  <a:cubicBezTo>
                    <a:pt x="109303" y="23864"/>
                    <a:pt x="111884" y="18955"/>
                    <a:pt x="113699" y="18955"/>
                  </a:cubicBezTo>
                  <a:cubicBezTo>
                    <a:pt x="115148" y="18955"/>
                    <a:pt x="118073" y="17801"/>
                    <a:pt x="120619" y="16788"/>
                  </a:cubicBezTo>
                  <a:cubicBezTo>
                    <a:pt x="122596" y="16008"/>
                    <a:pt x="124347" y="15311"/>
                    <a:pt x="125022" y="15311"/>
                  </a:cubicBezTo>
                  <a:cubicBezTo>
                    <a:pt x="125634" y="15311"/>
                    <a:pt x="125521" y="15881"/>
                    <a:pt x="125381" y="16570"/>
                  </a:cubicBezTo>
                  <a:cubicBezTo>
                    <a:pt x="125170" y="17625"/>
                    <a:pt x="124902" y="18955"/>
                    <a:pt x="127083" y="18955"/>
                  </a:cubicBezTo>
                  <a:cubicBezTo>
                    <a:pt x="127427" y="18955"/>
                    <a:pt x="127849" y="18948"/>
                    <a:pt x="128327" y="18948"/>
                  </a:cubicBezTo>
                  <a:cubicBezTo>
                    <a:pt x="132927" y="18891"/>
                    <a:pt x="143090" y="18779"/>
                    <a:pt x="143561" y="22077"/>
                  </a:cubicBezTo>
                  <a:cubicBezTo>
                    <a:pt x="143765" y="23519"/>
                    <a:pt x="144454" y="26592"/>
                    <a:pt x="145207" y="29975"/>
                  </a:cubicBezTo>
                  <a:cubicBezTo>
                    <a:pt x="146360" y="35124"/>
                    <a:pt x="147676" y="40996"/>
                    <a:pt x="147676" y="42881"/>
                  </a:cubicBezTo>
                  <a:cubicBezTo>
                    <a:pt x="147676" y="46004"/>
                    <a:pt x="148196" y="57967"/>
                    <a:pt x="151283" y="60562"/>
                  </a:cubicBezTo>
                  <a:cubicBezTo>
                    <a:pt x="152985" y="61997"/>
                    <a:pt x="152964" y="66428"/>
                    <a:pt x="152950" y="70120"/>
                  </a:cubicBezTo>
                  <a:cubicBezTo>
                    <a:pt x="152943" y="73130"/>
                    <a:pt x="152929" y="75648"/>
                    <a:pt x="153858" y="75648"/>
                  </a:cubicBezTo>
                  <a:lnTo>
                    <a:pt x="177348" y="75648"/>
                  </a:lnTo>
                  <a:cubicBezTo>
                    <a:pt x="177742" y="75648"/>
                    <a:pt x="178051" y="75964"/>
                    <a:pt x="178051" y="76351"/>
                  </a:cubicBezTo>
                  <a:lnTo>
                    <a:pt x="178051" y="104069"/>
                  </a:lnTo>
                  <a:cubicBezTo>
                    <a:pt x="178051" y="104462"/>
                    <a:pt x="177742" y="104772"/>
                    <a:pt x="177348" y="104772"/>
                  </a:cubicBezTo>
                  <a:lnTo>
                    <a:pt x="149926" y="104772"/>
                  </a:lnTo>
                  <a:cubicBezTo>
                    <a:pt x="149539" y="104772"/>
                    <a:pt x="149223" y="105088"/>
                    <a:pt x="149223" y="105475"/>
                  </a:cubicBezTo>
                  <a:lnTo>
                    <a:pt x="149223" y="153412"/>
                  </a:lnTo>
                  <a:cubicBezTo>
                    <a:pt x="149223" y="153574"/>
                    <a:pt x="149279" y="153736"/>
                    <a:pt x="149384" y="153863"/>
                  </a:cubicBezTo>
                  <a:lnTo>
                    <a:pt x="166144" y="174279"/>
                  </a:lnTo>
                  <a:cubicBezTo>
                    <a:pt x="166440" y="174638"/>
                    <a:pt x="166306" y="175180"/>
                    <a:pt x="165884" y="175356"/>
                  </a:cubicBezTo>
                  <a:cubicBezTo>
                    <a:pt x="161207" y="177346"/>
                    <a:pt x="151811" y="180715"/>
                    <a:pt x="145622" y="180715"/>
                  </a:cubicBezTo>
                  <a:cubicBezTo>
                    <a:pt x="143188" y="180715"/>
                    <a:pt x="139679" y="180940"/>
                    <a:pt x="135768" y="181193"/>
                  </a:cubicBezTo>
                  <a:cubicBezTo>
                    <a:pt x="126436" y="181798"/>
                    <a:pt x="114810" y="182543"/>
                    <a:pt x="110091" y="180715"/>
                  </a:cubicBezTo>
                  <a:cubicBezTo>
                    <a:pt x="108410" y="180061"/>
                    <a:pt x="106856" y="179371"/>
                    <a:pt x="105358" y="178710"/>
                  </a:cubicBezTo>
                  <a:cubicBezTo>
                    <a:pt x="100906" y="176741"/>
                    <a:pt x="96953" y="174990"/>
                    <a:pt x="91559" y="174990"/>
                  </a:cubicBezTo>
                  <a:lnTo>
                    <a:pt x="32783" y="174990"/>
                  </a:lnTo>
                  <a:cubicBezTo>
                    <a:pt x="32516" y="174990"/>
                    <a:pt x="32277" y="174842"/>
                    <a:pt x="32150" y="174603"/>
                  </a:cubicBezTo>
                  <a:cubicBezTo>
                    <a:pt x="30392" y="171403"/>
                    <a:pt x="25329" y="165868"/>
                    <a:pt x="17416" y="166670"/>
                  </a:cubicBezTo>
                  <a:cubicBezTo>
                    <a:pt x="10193" y="167401"/>
                    <a:pt x="4018" y="169251"/>
                    <a:pt x="994" y="170397"/>
                  </a:cubicBezTo>
                  <a:cubicBezTo>
                    <a:pt x="495" y="170580"/>
                    <a:pt x="-40" y="170200"/>
                    <a:pt x="2" y="169673"/>
                  </a:cubicBezTo>
                  <a:cubicBezTo>
                    <a:pt x="924" y="157836"/>
                    <a:pt x="3189" y="135091"/>
                    <a:pt x="5580" y="130260"/>
                  </a:cubicBezTo>
                  <a:cubicBezTo>
                    <a:pt x="8667" y="124021"/>
                    <a:pt x="21024" y="100615"/>
                    <a:pt x="26686" y="93329"/>
                  </a:cubicBezTo>
                  <a:cubicBezTo>
                    <a:pt x="32348" y="86050"/>
                    <a:pt x="28747" y="73566"/>
                    <a:pt x="26686" y="68889"/>
                  </a:cubicBezTo>
                  <a:cubicBezTo>
                    <a:pt x="25089" y="65260"/>
                    <a:pt x="20145" y="54183"/>
                    <a:pt x="17655" y="48606"/>
                  </a:cubicBezTo>
                  <a:cubicBezTo>
                    <a:pt x="17515" y="48304"/>
                    <a:pt x="17613" y="47945"/>
                    <a:pt x="17880" y="47734"/>
                  </a:cubicBezTo>
                  <a:cubicBezTo>
                    <a:pt x="19702" y="46327"/>
                    <a:pt x="22705" y="43331"/>
                    <a:pt x="23085" y="40279"/>
                  </a:cubicBezTo>
                  <a:cubicBezTo>
                    <a:pt x="23493" y="36959"/>
                    <a:pt x="13710" y="13384"/>
                    <a:pt x="8716" y="1899"/>
                  </a:cubicBezTo>
                  <a:cubicBezTo>
                    <a:pt x="8688" y="1836"/>
                    <a:pt x="8716" y="1766"/>
                    <a:pt x="8773" y="1731"/>
                  </a:cubicBezTo>
                  <a:lnTo>
                    <a:pt x="8822" y="170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8" name="Freihandform: Form 153">
              <a:extLst>
                <a:ext uri="{FF2B5EF4-FFF2-40B4-BE49-F238E27FC236}">
                  <a16:creationId xmlns:a16="http://schemas.microsoft.com/office/drawing/2014/main" id="{9917F39F-A4C6-CE41-9010-CA8A894532BB}"/>
                </a:ext>
              </a:extLst>
            </p:cNvPr>
            <p:cNvSpPr/>
            <p:nvPr/>
          </p:nvSpPr>
          <p:spPr>
            <a:xfrm>
              <a:off x="6347552" y="4767498"/>
              <a:ext cx="193265" cy="192750"/>
            </a:xfrm>
            <a:custGeom>
              <a:avLst/>
              <a:gdLst>
                <a:gd name="connsiteX0" fmla="*/ 77 w 193265"/>
                <a:gd name="connsiteY0" fmla="*/ 3222 h 192750"/>
                <a:gd name="connsiteX1" fmla="*/ 21 w 193265"/>
                <a:gd name="connsiteY1" fmla="*/ 3187 h 192750"/>
                <a:gd name="connsiteX2" fmla="*/ 21 w 193265"/>
                <a:gd name="connsiteY2" fmla="*/ 3187 h 192750"/>
                <a:gd name="connsiteX3" fmla="*/ 0 w 193265"/>
                <a:gd name="connsiteY3" fmla="*/ 3222 h 192750"/>
                <a:gd name="connsiteX4" fmla="*/ 0 w 193265"/>
                <a:gd name="connsiteY4" fmla="*/ 4235 h 192750"/>
                <a:gd name="connsiteX5" fmla="*/ 77 w 193265"/>
                <a:gd name="connsiteY5" fmla="*/ 3222 h 192750"/>
                <a:gd name="connsiteX6" fmla="*/ 429 w 193265"/>
                <a:gd name="connsiteY6" fmla="*/ 4059 h 192750"/>
                <a:gd name="connsiteX7" fmla="*/ 0 w 193265"/>
                <a:gd name="connsiteY7" fmla="*/ 4699 h 192750"/>
                <a:gd name="connsiteX8" fmla="*/ 0 w 193265"/>
                <a:gd name="connsiteY8" fmla="*/ 16198 h 192750"/>
                <a:gd name="connsiteX9" fmla="*/ 11260 w 193265"/>
                <a:gd name="connsiteY9" fmla="*/ 36214 h 192750"/>
                <a:gd name="connsiteX10" fmla="*/ 14931 w 193265"/>
                <a:gd name="connsiteY10" fmla="*/ 41686 h 192750"/>
                <a:gd name="connsiteX11" fmla="*/ 16528 w 193265"/>
                <a:gd name="connsiteY11" fmla="*/ 45013 h 192750"/>
                <a:gd name="connsiteX12" fmla="*/ 25748 w 193265"/>
                <a:gd name="connsiteY12" fmla="*/ 63010 h 192750"/>
                <a:gd name="connsiteX13" fmla="*/ 37585 w 193265"/>
                <a:gd name="connsiteY13" fmla="*/ 88498 h 192750"/>
                <a:gd name="connsiteX14" fmla="*/ 40229 w 193265"/>
                <a:gd name="connsiteY14" fmla="*/ 104006 h 192750"/>
                <a:gd name="connsiteX15" fmla="*/ 44793 w 193265"/>
                <a:gd name="connsiteY15" fmla="*/ 131667 h 192750"/>
                <a:gd name="connsiteX16" fmla="*/ 53036 w 193265"/>
                <a:gd name="connsiteY16" fmla="*/ 168077 h 192750"/>
                <a:gd name="connsiteX17" fmla="*/ 67968 w 193265"/>
                <a:gd name="connsiteY17" fmla="*/ 185237 h 192750"/>
                <a:gd name="connsiteX18" fmla="*/ 71048 w 193265"/>
                <a:gd name="connsiteY18" fmla="*/ 181953 h 192750"/>
                <a:gd name="connsiteX19" fmla="*/ 74142 w 193265"/>
                <a:gd name="connsiteY19" fmla="*/ 178999 h 192750"/>
                <a:gd name="connsiteX20" fmla="*/ 82224 w 193265"/>
                <a:gd name="connsiteY20" fmla="*/ 190006 h 192750"/>
                <a:gd name="connsiteX21" fmla="*/ 82842 w 193265"/>
                <a:gd name="connsiteY21" fmla="*/ 190477 h 192750"/>
                <a:gd name="connsiteX22" fmla="*/ 95249 w 193265"/>
                <a:gd name="connsiteY22" fmla="*/ 192524 h 192750"/>
                <a:gd name="connsiteX23" fmla="*/ 118992 w 193265"/>
                <a:gd name="connsiteY23" fmla="*/ 187488 h 192750"/>
                <a:gd name="connsiteX24" fmla="*/ 119449 w 193265"/>
                <a:gd name="connsiteY24" fmla="*/ 186827 h 192750"/>
                <a:gd name="connsiteX25" fmla="*/ 119449 w 193265"/>
                <a:gd name="connsiteY25" fmla="*/ 77238 h 192750"/>
                <a:gd name="connsiteX26" fmla="*/ 120153 w 193265"/>
                <a:gd name="connsiteY26" fmla="*/ 76535 h 192750"/>
                <a:gd name="connsiteX27" fmla="*/ 130590 w 193265"/>
                <a:gd name="connsiteY27" fmla="*/ 76535 h 192750"/>
                <a:gd name="connsiteX28" fmla="*/ 131293 w 193265"/>
                <a:gd name="connsiteY28" fmla="*/ 75831 h 192750"/>
                <a:gd name="connsiteX29" fmla="*/ 131293 w 193265"/>
                <a:gd name="connsiteY29" fmla="*/ 22528 h 192750"/>
                <a:gd name="connsiteX30" fmla="*/ 131891 w 193265"/>
                <a:gd name="connsiteY30" fmla="*/ 21832 h 192750"/>
                <a:gd name="connsiteX31" fmla="*/ 168899 w 193265"/>
                <a:gd name="connsiteY31" fmla="*/ 16275 h 192750"/>
                <a:gd name="connsiteX32" fmla="*/ 169623 w 193265"/>
                <a:gd name="connsiteY32" fmla="*/ 16634 h 192750"/>
                <a:gd name="connsiteX33" fmla="*/ 172225 w 193265"/>
                <a:gd name="connsiteY33" fmla="*/ 21452 h 192750"/>
                <a:gd name="connsiteX34" fmla="*/ 172992 w 193265"/>
                <a:gd name="connsiteY34" fmla="*/ 21803 h 192750"/>
                <a:gd name="connsiteX35" fmla="*/ 193071 w 193265"/>
                <a:gd name="connsiteY35" fmla="*/ 10480 h 192750"/>
                <a:gd name="connsiteX36" fmla="*/ 166346 w 193265"/>
                <a:gd name="connsiteY36" fmla="*/ 6007 h 192750"/>
                <a:gd name="connsiteX37" fmla="*/ 165790 w 193265"/>
                <a:gd name="connsiteY37" fmla="*/ 7154 h 192750"/>
                <a:gd name="connsiteX38" fmla="*/ 166233 w 193265"/>
                <a:gd name="connsiteY38" fmla="*/ 7688 h 192750"/>
                <a:gd name="connsiteX39" fmla="*/ 165973 w 193265"/>
                <a:gd name="connsiteY39" fmla="*/ 8764 h 192750"/>
                <a:gd name="connsiteX40" fmla="*/ 145704 w 193265"/>
                <a:gd name="connsiteY40" fmla="*/ 14123 h 192750"/>
                <a:gd name="connsiteX41" fmla="*/ 135857 w 193265"/>
                <a:gd name="connsiteY41" fmla="*/ 14602 h 192750"/>
                <a:gd name="connsiteX42" fmla="*/ 110180 w 193265"/>
                <a:gd name="connsiteY42" fmla="*/ 14123 h 192750"/>
                <a:gd name="connsiteX43" fmla="*/ 105447 w 193265"/>
                <a:gd name="connsiteY43" fmla="*/ 12119 h 192750"/>
                <a:gd name="connsiteX44" fmla="*/ 105447 w 193265"/>
                <a:gd name="connsiteY44" fmla="*/ 12119 h 192750"/>
                <a:gd name="connsiteX45" fmla="*/ 91648 w 193265"/>
                <a:gd name="connsiteY45" fmla="*/ 8398 h 192750"/>
                <a:gd name="connsiteX46" fmla="*/ 32872 w 193265"/>
                <a:gd name="connsiteY46" fmla="*/ 8398 h 192750"/>
                <a:gd name="connsiteX47" fmla="*/ 32239 w 193265"/>
                <a:gd name="connsiteY47" fmla="*/ 8012 h 192750"/>
                <a:gd name="connsiteX48" fmla="*/ 17505 w 193265"/>
                <a:gd name="connsiteY48" fmla="*/ 78 h 192750"/>
                <a:gd name="connsiteX49" fmla="*/ 429 w 193265"/>
                <a:gd name="connsiteY49" fmla="*/ 4059 h 19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93265" h="192750">
                  <a:moveTo>
                    <a:pt x="77" y="3222"/>
                  </a:moveTo>
                  <a:cubicBezTo>
                    <a:pt x="84" y="3194"/>
                    <a:pt x="49" y="3173"/>
                    <a:pt x="21" y="3187"/>
                  </a:cubicBezTo>
                  <a:lnTo>
                    <a:pt x="21" y="3187"/>
                  </a:lnTo>
                  <a:cubicBezTo>
                    <a:pt x="14" y="3194"/>
                    <a:pt x="0" y="3208"/>
                    <a:pt x="0" y="3222"/>
                  </a:cubicBezTo>
                  <a:lnTo>
                    <a:pt x="0" y="4235"/>
                  </a:lnTo>
                  <a:cubicBezTo>
                    <a:pt x="28" y="3911"/>
                    <a:pt x="56" y="3574"/>
                    <a:pt x="77" y="3222"/>
                  </a:cubicBezTo>
                  <a:close/>
                  <a:moveTo>
                    <a:pt x="429" y="4059"/>
                  </a:moveTo>
                  <a:cubicBezTo>
                    <a:pt x="169" y="4165"/>
                    <a:pt x="0" y="4418"/>
                    <a:pt x="0" y="4699"/>
                  </a:cubicBezTo>
                  <a:lnTo>
                    <a:pt x="0" y="16198"/>
                  </a:lnTo>
                  <a:cubicBezTo>
                    <a:pt x="0" y="20277"/>
                    <a:pt x="6794" y="29891"/>
                    <a:pt x="11260" y="36214"/>
                  </a:cubicBezTo>
                  <a:cubicBezTo>
                    <a:pt x="13067" y="38774"/>
                    <a:pt x="14488" y="40793"/>
                    <a:pt x="14931" y="41686"/>
                  </a:cubicBezTo>
                  <a:cubicBezTo>
                    <a:pt x="15262" y="42347"/>
                    <a:pt x="15824" y="43529"/>
                    <a:pt x="16528" y="45013"/>
                  </a:cubicBezTo>
                  <a:cubicBezTo>
                    <a:pt x="19137" y="50505"/>
                    <a:pt x="23715" y="60148"/>
                    <a:pt x="25748" y="63010"/>
                  </a:cubicBezTo>
                  <a:cubicBezTo>
                    <a:pt x="28322" y="66653"/>
                    <a:pt x="36558" y="81739"/>
                    <a:pt x="37585" y="88498"/>
                  </a:cubicBezTo>
                  <a:cubicBezTo>
                    <a:pt x="37978" y="91065"/>
                    <a:pt x="39033" y="97156"/>
                    <a:pt x="40229" y="104006"/>
                  </a:cubicBezTo>
                  <a:cubicBezTo>
                    <a:pt x="42177" y="115202"/>
                    <a:pt x="44477" y="128439"/>
                    <a:pt x="44793" y="131667"/>
                  </a:cubicBezTo>
                  <a:cubicBezTo>
                    <a:pt x="45307" y="136871"/>
                    <a:pt x="52002" y="164434"/>
                    <a:pt x="53036" y="168077"/>
                  </a:cubicBezTo>
                  <a:cubicBezTo>
                    <a:pt x="54063" y="171720"/>
                    <a:pt x="63333" y="184724"/>
                    <a:pt x="67968" y="185237"/>
                  </a:cubicBezTo>
                  <a:cubicBezTo>
                    <a:pt x="70267" y="185498"/>
                    <a:pt x="70661" y="183705"/>
                    <a:pt x="71048" y="181953"/>
                  </a:cubicBezTo>
                  <a:cubicBezTo>
                    <a:pt x="71435" y="180188"/>
                    <a:pt x="71814" y="178479"/>
                    <a:pt x="74142" y="178999"/>
                  </a:cubicBezTo>
                  <a:cubicBezTo>
                    <a:pt x="77701" y="179801"/>
                    <a:pt x="80908" y="186412"/>
                    <a:pt x="82224" y="190006"/>
                  </a:cubicBezTo>
                  <a:cubicBezTo>
                    <a:pt x="82322" y="190273"/>
                    <a:pt x="82561" y="190456"/>
                    <a:pt x="82842" y="190477"/>
                  </a:cubicBezTo>
                  <a:cubicBezTo>
                    <a:pt x="85480" y="190695"/>
                    <a:pt x="90987" y="191349"/>
                    <a:pt x="95249" y="192524"/>
                  </a:cubicBezTo>
                  <a:cubicBezTo>
                    <a:pt x="99672" y="193741"/>
                    <a:pt x="112627" y="189774"/>
                    <a:pt x="118992" y="187488"/>
                  </a:cubicBezTo>
                  <a:cubicBezTo>
                    <a:pt x="119267" y="187390"/>
                    <a:pt x="119449" y="187122"/>
                    <a:pt x="119449" y="186827"/>
                  </a:cubicBezTo>
                  <a:lnTo>
                    <a:pt x="119449" y="77238"/>
                  </a:lnTo>
                  <a:cubicBezTo>
                    <a:pt x="119449" y="76851"/>
                    <a:pt x="119766" y="76535"/>
                    <a:pt x="120153" y="76535"/>
                  </a:cubicBezTo>
                  <a:lnTo>
                    <a:pt x="130590" y="76535"/>
                  </a:lnTo>
                  <a:cubicBezTo>
                    <a:pt x="130977" y="76535"/>
                    <a:pt x="131293" y="76218"/>
                    <a:pt x="131293" y="75831"/>
                  </a:cubicBezTo>
                  <a:lnTo>
                    <a:pt x="131293" y="22528"/>
                  </a:lnTo>
                  <a:cubicBezTo>
                    <a:pt x="131293" y="22183"/>
                    <a:pt x="131546" y="21881"/>
                    <a:pt x="131891" y="21832"/>
                  </a:cubicBezTo>
                  <a:lnTo>
                    <a:pt x="168899" y="16275"/>
                  </a:lnTo>
                  <a:cubicBezTo>
                    <a:pt x="169194" y="16233"/>
                    <a:pt x="169483" y="16374"/>
                    <a:pt x="169623" y="16634"/>
                  </a:cubicBezTo>
                  <a:lnTo>
                    <a:pt x="172225" y="21452"/>
                  </a:lnTo>
                  <a:cubicBezTo>
                    <a:pt x="172373" y="21733"/>
                    <a:pt x="172690" y="21874"/>
                    <a:pt x="172992" y="21803"/>
                  </a:cubicBezTo>
                  <a:cubicBezTo>
                    <a:pt x="180848" y="19982"/>
                    <a:pt x="195090" y="15361"/>
                    <a:pt x="193071" y="10480"/>
                  </a:cubicBezTo>
                  <a:cubicBezTo>
                    <a:pt x="191777" y="7329"/>
                    <a:pt x="179202" y="6225"/>
                    <a:pt x="166346" y="6007"/>
                  </a:cubicBezTo>
                  <a:cubicBezTo>
                    <a:pt x="165748" y="6000"/>
                    <a:pt x="165417" y="6689"/>
                    <a:pt x="165790" y="7154"/>
                  </a:cubicBezTo>
                  <a:lnTo>
                    <a:pt x="166233" y="7688"/>
                  </a:lnTo>
                  <a:cubicBezTo>
                    <a:pt x="166529" y="8047"/>
                    <a:pt x="166395" y="8588"/>
                    <a:pt x="165973" y="8764"/>
                  </a:cubicBezTo>
                  <a:cubicBezTo>
                    <a:pt x="161296" y="10755"/>
                    <a:pt x="151900" y="14123"/>
                    <a:pt x="145704" y="14123"/>
                  </a:cubicBezTo>
                  <a:cubicBezTo>
                    <a:pt x="143277" y="14123"/>
                    <a:pt x="139768" y="14348"/>
                    <a:pt x="135857" y="14602"/>
                  </a:cubicBezTo>
                  <a:cubicBezTo>
                    <a:pt x="126525" y="15200"/>
                    <a:pt x="114899" y="15952"/>
                    <a:pt x="110180" y="14123"/>
                  </a:cubicBezTo>
                  <a:cubicBezTo>
                    <a:pt x="108499" y="13469"/>
                    <a:pt x="106945" y="12780"/>
                    <a:pt x="105447" y="12119"/>
                  </a:cubicBezTo>
                  <a:lnTo>
                    <a:pt x="105447" y="12119"/>
                  </a:lnTo>
                  <a:cubicBezTo>
                    <a:pt x="100995" y="10150"/>
                    <a:pt x="97042" y="8398"/>
                    <a:pt x="91648" y="8398"/>
                  </a:cubicBezTo>
                  <a:lnTo>
                    <a:pt x="32872" y="8398"/>
                  </a:lnTo>
                  <a:cubicBezTo>
                    <a:pt x="32605" y="8398"/>
                    <a:pt x="32366" y="8251"/>
                    <a:pt x="32239" y="8012"/>
                  </a:cubicBezTo>
                  <a:cubicBezTo>
                    <a:pt x="30481" y="4812"/>
                    <a:pt x="25418" y="-723"/>
                    <a:pt x="17505" y="78"/>
                  </a:cubicBezTo>
                  <a:cubicBezTo>
                    <a:pt x="9713" y="866"/>
                    <a:pt x="3144" y="2955"/>
                    <a:pt x="429" y="4059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9" name="Freihandform: Form 154">
              <a:extLst>
                <a:ext uri="{FF2B5EF4-FFF2-40B4-BE49-F238E27FC236}">
                  <a16:creationId xmlns:a16="http://schemas.microsoft.com/office/drawing/2014/main" id="{34275B32-A1F0-0F45-88A5-75897E0E1B28}"/>
                </a:ext>
              </a:extLst>
            </p:cNvPr>
            <p:cNvSpPr/>
            <p:nvPr/>
          </p:nvSpPr>
          <p:spPr>
            <a:xfrm>
              <a:off x="6655439" y="4650923"/>
              <a:ext cx="43253" cy="112763"/>
            </a:xfrm>
            <a:custGeom>
              <a:avLst/>
              <a:gdLst>
                <a:gd name="connsiteX0" fmla="*/ 4353 w 43253"/>
                <a:gd name="connsiteY0" fmla="*/ 32 h 112763"/>
                <a:gd name="connsiteX1" fmla="*/ 3517 w 43253"/>
                <a:gd name="connsiteY1" fmla="*/ 1058 h 112763"/>
                <a:gd name="connsiteX2" fmla="*/ 8243 w 43253"/>
                <a:gd name="connsiteY2" fmla="*/ 12628 h 112763"/>
                <a:gd name="connsiteX3" fmla="*/ 5978 w 43253"/>
                <a:gd name="connsiteY3" fmla="*/ 28515 h 112763"/>
                <a:gd name="connsiteX4" fmla="*/ 4635 w 43253"/>
                <a:gd name="connsiteY4" fmla="*/ 37075 h 112763"/>
                <a:gd name="connsiteX5" fmla="*/ 5570 w 43253"/>
                <a:gd name="connsiteY5" fmla="*/ 41513 h 112763"/>
                <a:gd name="connsiteX6" fmla="*/ 6182 w 43253"/>
                <a:gd name="connsiteY6" fmla="*/ 48517 h 112763"/>
                <a:gd name="connsiteX7" fmla="*/ 5155 w 43253"/>
                <a:gd name="connsiteY7" fmla="*/ 50177 h 112763"/>
                <a:gd name="connsiteX8" fmla="*/ 0 w 43253"/>
                <a:gd name="connsiteY8" fmla="*/ 61001 h 112763"/>
                <a:gd name="connsiteX9" fmla="*/ 11330 w 43253"/>
                <a:gd name="connsiteY9" fmla="*/ 76087 h 112763"/>
                <a:gd name="connsiteX10" fmla="*/ 24201 w 43253"/>
                <a:gd name="connsiteY10" fmla="*/ 85968 h 112763"/>
                <a:gd name="connsiteX11" fmla="*/ 22921 w 43253"/>
                <a:gd name="connsiteY11" fmla="*/ 91799 h 112763"/>
                <a:gd name="connsiteX12" fmla="*/ 21627 w 43253"/>
                <a:gd name="connsiteY12" fmla="*/ 98973 h 112763"/>
                <a:gd name="connsiteX13" fmla="*/ 21725 w 43253"/>
                <a:gd name="connsiteY13" fmla="*/ 99690 h 112763"/>
                <a:gd name="connsiteX14" fmla="*/ 26261 w 43253"/>
                <a:gd name="connsiteY14" fmla="*/ 112490 h 112763"/>
                <a:gd name="connsiteX15" fmla="*/ 34497 w 43253"/>
                <a:gd name="connsiteY15" fmla="*/ 108854 h 112763"/>
                <a:gd name="connsiteX16" fmla="*/ 35643 w 43253"/>
                <a:gd name="connsiteY16" fmla="*/ 106582 h 112763"/>
                <a:gd name="connsiteX17" fmla="*/ 39645 w 43253"/>
                <a:gd name="connsiteY17" fmla="*/ 102088 h 112763"/>
                <a:gd name="connsiteX18" fmla="*/ 43253 w 43253"/>
                <a:gd name="connsiteY18" fmla="*/ 95850 h 112763"/>
                <a:gd name="connsiteX19" fmla="*/ 39645 w 43253"/>
                <a:gd name="connsiteY19" fmla="*/ 76087 h 112763"/>
                <a:gd name="connsiteX20" fmla="*/ 29911 w 43253"/>
                <a:gd name="connsiteY20" fmla="*/ 65727 h 112763"/>
                <a:gd name="connsiteX21" fmla="*/ 29806 w 43253"/>
                <a:gd name="connsiteY21" fmla="*/ 65650 h 112763"/>
                <a:gd name="connsiteX22" fmla="*/ 21627 w 43253"/>
                <a:gd name="connsiteY22" fmla="*/ 56317 h 112763"/>
                <a:gd name="connsiteX23" fmla="*/ 21170 w 43253"/>
                <a:gd name="connsiteY23" fmla="*/ 51176 h 112763"/>
                <a:gd name="connsiteX24" fmla="*/ 21627 w 43253"/>
                <a:gd name="connsiteY24" fmla="*/ 37075 h 112763"/>
                <a:gd name="connsiteX25" fmla="*/ 25706 w 43253"/>
                <a:gd name="connsiteY25" fmla="*/ 31293 h 112763"/>
                <a:gd name="connsiteX26" fmla="*/ 25748 w 43253"/>
                <a:gd name="connsiteY26" fmla="*/ 30316 h 112763"/>
                <a:gd name="connsiteX27" fmla="*/ 25748 w 43253"/>
                <a:gd name="connsiteY27" fmla="*/ 30316 h 112763"/>
                <a:gd name="connsiteX28" fmla="*/ 20825 w 43253"/>
                <a:gd name="connsiteY28" fmla="*/ 17403 h 112763"/>
                <a:gd name="connsiteX29" fmla="*/ 16478 w 43253"/>
                <a:gd name="connsiteY29" fmla="*/ 6389 h 112763"/>
                <a:gd name="connsiteX30" fmla="*/ 9530 w 43253"/>
                <a:gd name="connsiteY30" fmla="*/ 1291 h 112763"/>
                <a:gd name="connsiteX31" fmla="*/ 8756 w 43253"/>
                <a:gd name="connsiteY31" fmla="*/ 1185 h 112763"/>
                <a:gd name="connsiteX32" fmla="*/ 4353 w 43253"/>
                <a:gd name="connsiteY32" fmla="*/ 32 h 112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3253" h="112763">
                  <a:moveTo>
                    <a:pt x="4353" y="32"/>
                  </a:moveTo>
                  <a:cubicBezTo>
                    <a:pt x="3749" y="-151"/>
                    <a:pt x="3214" y="496"/>
                    <a:pt x="3517" y="1058"/>
                  </a:cubicBezTo>
                  <a:cubicBezTo>
                    <a:pt x="6245" y="6115"/>
                    <a:pt x="8243" y="10539"/>
                    <a:pt x="8243" y="12628"/>
                  </a:cubicBezTo>
                  <a:cubicBezTo>
                    <a:pt x="8243" y="16285"/>
                    <a:pt x="7005" y="22973"/>
                    <a:pt x="5978" y="28515"/>
                  </a:cubicBezTo>
                  <a:cubicBezTo>
                    <a:pt x="5253" y="32440"/>
                    <a:pt x="4635" y="35781"/>
                    <a:pt x="4635" y="37075"/>
                  </a:cubicBezTo>
                  <a:cubicBezTo>
                    <a:pt x="4635" y="38277"/>
                    <a:pt x="5092" y="39867"/>
                    <a:pt x="5570" y="41513"/>
                  </a:cubicBezTo>
                  <a:cubicBezTo>
                    <a:pt x="6330" y="44143"/>
                    <a:pt x="7132" y="46921"/>
                    <a:pt x="6182" y="48517"/>
                  </a:cubicBezTo>
                  <a:cubicBezTo>
                    <a:pt x="5915" y="48961"/>
                    <a:pt x="5563" y="49530"/>
                    <a:pt x="5155" y="50177"/>
                  </a:cubicBezTo>
                  <a:cubicBezTo>
                    <a:pt x="3186" y="53321"/>
                    <a:pt x="0" y="58413"/>
                    <a:pt x="0" y="61001"/>
                  </a:cubicBezTo>
                  <a:cubicBezTo>
                    <a:pt x="0" y="64124"/>
                    <a:pt x="2574" y="73485"/>
                    <a:pt x="11330" y="76087"/>
                  </a:cubicBezTo>
                  <a:cubicBezTo>
                    <a:pt x="20079" y="78682"/>
                    <a:pt x="24201" y="82325"/>
                    <a:pt x="24201" y="85968"/>
                  </a:cubicBezTo>
                  <a:cubicBezTo>
                    <a:pt x="24201" y="87614"/>
                    <a:pt x="23568" y="89689"/>
                    <a:pt x="22921" y="91799"/>
                  </a:cubicBezTo>
                  <a:cubicBezTo>
                    <a:pt x="22140" y="94359"/>
                    <a:pt x="21345" y="96975"/>
                    <a:pt x="21627" y="98973"/>
                  </a:cubicBezTo>
                  <a:cubicBezTo>
                    <a:pt x="21655" y="99191"/>
                    <a:pt x="21690" y="99430"/>
                    <a:pt x="21725" y="99690"/>
                  </a:cubicBezTo>
                  <a:cubicBezTo>
                    <a:pt x="22274" y="103656"/>
                    <a:pt x="23357" y="111513"/>
                    <a:pt x="26261" y="112490"/>
                  </a:cubicBezTo>
                  <a:cubicBezTo>
                    <a:pt x="29349" y="113531"/>
                    <a:pt x="32950" y="111449"/>
                    <a:pt x="34497" y="108854"/>
                  </a:cubicBezTo>
                  <a:cubicBezTo>
                    <a:pt x="34905" y="108165"/>
                    <a:pt x="35271" y="107377"/>
                    <a:pt x="35643" y="106582"/>
                  </a:cubicBezTo>
                  <a:cubicBezTo>
                    <a:pt x="36691" y="104353"/>
                    <a:pt x="37746" y="102088"/>
                    <a:pt x="39645" y="102088"/>
                  </a:cubicBezTo>
                  <a:cubicBezTo>
                    <a:pt x="42219" y="102088"/>
                    <a:pt x="43253" y="99486"/>
                    <a:pt x="43253" y="95850"/>
                  </a:cubicBezTo>
                  <a:cubicBezTo>
                    <a:pt x="43253" y="92207"/>
                    <a:pt x="42219" y="79723"/>
                    <a:pt x="39645" y="76087"/>
                  </a:cubicBezTo>
                  <a:cubicBezTo>
                    <a:pt x="37599" y="73189"/>
                    <a:pt x="32338" y="68006"/>
                    <a:pt x="29911" y="65727"/>
                  </a:cubicBezTo>
                  <a:cubicBezTo>
                    <a:pt x="29876" y="65692"/>
                    <a:pt x="29848" y="65671"/>
                    <a:pt x="29806" y="65650"/>
                  </a:cubicBezTo>
                  <a:cubicBezTo>
                    <a:pt x="27042" y="63892"/>
                    <a:pt x="21627" y="59623"/>
                    <a:pt x="21627" y="56317"/>
                  </a:cubicBezTo>
                  <a:cubicBezTo>
                    <a:pt x="21627" y="55122"/>
                    <a:pt x="21409" y="53272"/>
                    <a:pt x="21170" y="51176"/>
                  </a:cubicBezTo>
                  <a:cubicBezTo>
                    <a:pt x="20572" y="45992"/>
                    <a:pt x="19791" y="39297"/>
                    <a:pt x="21627" y="37075"/>
                  </a:cubicBezTo>
                  <a:cubicBezTo>
                    <a:pt x="22400" y="36139"/>
                    <a:pt x="23926" y="33945"/>
                    <a:pt x="25706" y="31293"/>
                  </a:cubicBezTo>
                  <a:cubicBezTo>
                    <a:pt x="25896" y="31012"/>
                    <a:pt x="25748" y="30654"/>
                    <a:pt x="25748" y="30316"/>
                  </a:cubicBezTo>
                  <a:lnTo>
                    <a:pt x="25748" y="30316"/>
                  </a:lnTo>
                  <a:cubicBezTo>
                    <a:pt x="25748" y="29430"/>
                    <a:pt x="23258" y="23353"/>
                    <a:pt x="20825" y="17403"/>
                  </a:cubicBezTo>
                  <a:cubicBezTo>
                    <a:pt x="18968" y="12867"/>
                    <a:pt x="17147" y="8415"/>
                    <a:pt x="16478" y="6389"/>
                  </a:cubicBezTo>
                  <a:cubicBezTo>
                    <a:pt x="15044" y="2050"/>
                    <a:pt x="12730" y="1734"/>
                    <a:pt x="9530" y="1291"/>
                  </a:cubicBezTo>
                  <a:cubicBezTo>
                    <a:pt x="9277" y="1262"/>
                    <a:pt x="9016" y="1227"/>
                    <a:pt x="8756" y="1185"/>
                  </a:cubicBezTo>
                  <a:cubicBezTo>
                    <a:pt x="7877" y="1058"/>
                    <a:pt x="6288" y="622"/>
                    <a:pt x="4353" y="3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0" name="Freihandform: Form 155">
              <a:extLst>
                <a:ext uri="{FF2B5EF4-FFF2-40B4-BE49-F238E27FC236}">
                  <a16:creationId xmlns:a16="http://schemas.microsoft.com/office/drawing/2014/main" id="{00A8AEE4-7B97-3D49-BACE-4E77BD69061A}"/>
                </a:ext>
              </a:extLst>
            </p:cNvPr>
            <p:cNvSpPr/>
            <p:nvPr/>
          </p:nvSpPr>
          <p:spPr>
            <a:xfrm>
              <a:off x="6495865" y="4613187"/>
              <a:ext cx="167815" cy="169466"/>
            </a:xfrm>
            <a:custGeom>
              <a:avLst/>
              <a:gdLst>
                <a:gd name="connsiteX0" fmla="*/ 17259 w 167815"/>
                <a:gd name="connsiteY0" fmla="*/ 161198 h 169466"/>
                <a:gd name="connsiteX1" fmla="*/ 17618 w 167815"/>
                <a:gd name="connsiteY1" fmla="*/ 161430 h 169466"/>
                <a:gd name="connsiteX2" fmla="*/ 18413 w 167815"/>
                <a:gd name="connsiteY2" fmla="*/ 161648 h 169466"/>
                <a:gd name="connsiteX3" fmla="*/ 18595 w 167815"/>
                <a:gd name="connsiteY3" fmla="*/ 161669 h 169466"/>
                <a:gd name="connsiteX4" fmla="*/ 37556 w 167815"/>
                <a:gd name="connsiteY4" fmla="*/ 161669 h 169466"/>
                <a:gd name="connsiteX5" fmla="*/ 46650 w 167815"/>
                <a:gd name="connsiteY5" fmla="*/ 167183 h 169466"/>
                <a:gd name="connsiteX6" fmla="*/ 47093 w 167815"/>
                <a:gd name="connsiteY6" fmla="*/ 167429 h 169466"/>
                <a:gd name="connsiteX7" fmla="*/ 60625 w 167815"/>
                <a:gd name="connsiteY7" fmla="*/ 169454 h 169466"/>
                <a:gd name="connsiteX8" fmla="*/ 60822 w 167815"/>
                <a:gd name="connsiteY8" fmla="*/ 169461 h 169466"/>
                <a:gd name="connsiteX9" fmla="*/ 76449 w 167815"/>
                <a:gd name="connsiteY9" fmla="*/ 167422 h 169466"/>
                <a:gd name="connsiteX10" fmla="*/ 76843 w 167815"/>
                <a:gd name="connsiteY10" fmla="*/ 167232 h 169466"/>
                <a:gd name="connsiteX11" fmla="*/ 93673 w 167815"/>
                <a:gd name="connsiteY11" fmla="*/ 150226 h 169466"/>
                <a:gd name="connsiteX12" fmla="*/ 109526 w 167815"/>
                <a:gd name="connsiteY12" fmla="*/ 136273 h 169466"/>
                <a:gd name="connsiteX13" fmla="*/ 109765 w 167815"/>
                <a:gd name="connsiteY13" fmla="*/ 136146 h 169466"/>
                <a:gd name="connsiteX14" fmla="*/ 121988 w 167815"/>
                <a:gd name="connsiteY14" fmla="*/ 132545 h 169466"/>
                <a:gd name="connsiteX15" fmla="*/ 120406 w 167815"/>
                <a:gd name="connsiteY15" fmla="*/ 126321 h 169466"/>
                <a:gd name="connsiteX16" fmla="*/ 118387 w 167815"/>
                <a:gd name="connsiteY16" fmla="*/ 122663 h 169466"/>
                <a:gd name="connsiteX17" fmla="*/ 151337 w 167815"/>
                <a:gd name="connsiteY17" fmla="*/ 113816 h 169466"/>
                <a:gd name="connsiteX18" fmla="*/ 162647 w 167815"/>
                <a:gd name="connsiteY18" fmla="*/ 108858 h 169466"/>
                <a:gd name="connsiteX19" fmla="*/ 162822 w 167815"/>
                <a:gd name="connsiteY19" fmla="*/ 107852 h 169466"/>
                <a:gd name="connsiteX20" fmla="*/ 159573 w 167815"/>
                <a:gd name="connsiteY20" fmla="*/ 98737 h 169466"/>
                <a:gd name="connsiteX21" fmla="*/ 164728 w 167815"/>
                <a:gd name="connsiteY21" fmla="*/ 87913 h 169466"/>
                <a:gd name="connsiteX22" fmla="*/ 165755 w 167815"/>
                <a:gd name="connsiteY22" fmla="*/ 86253 h 169466"/>
                <a:gd name="connsiteX23" fmla="*/ 165143 w 167815"/>
                <a:gd name="connsiteY23" fmla="*/ 79248 h 169466"/>
                <a:gd name="connsiteX24" fmla="*/ 165143 w 167815"/>
                <a:gd name="connsiteY24" fmla="*/ 79248 h 169466"/>
                <a:gd name="connsiteX25" fmla="*/ 164208 w 167815"/>
                <a:gd name="connsiteY25" fmla="*/ 74811 h 169466"/>
                <a:gd name="connsiteX26" fmla="*/ 165551 w 167815"/>
                <a:gd name="connsiteY26" fmla="*/ 66251 h 169466"/>
                <a:gd name="connsiteX27" fmla="*/ 167816 w 167815"/>
                <a:gd name="connsiteY27" fmla="*/ 50364 h 169466"/>
                <a:gd name="connsiteX28" fmla="*/ 162379 w 167815"/>
                <a:gd name="connsiteY28" fmla="*/ 37493 h 169466"/>
                <a:gd name="connsiteX29" fmla="*/ 161978 w 167815"/>
                <a:gd name="connsiteY29" fmla="*/ 37163 h 169466"/>
                <a:gd name="connsiteX30" fmla="*/ 158019 w 167815"/>
                <a:gd name="connsiteY30" fmla="*/ 35890 h 169466"/>
                <a:gd name="connsiteX31" fmla="*/ 158019 w 167815"/>
                <a:gd name="connsiteY31" fmla="*/ 35890 h 169466"/>
                <a:gd name="connsiteX32" fmla="*/ 158019 w 167815"/>
                <a:gd name="connsiteY32" fmla="*/ 35890 h 169466"/>
                <a:gd name="connsiteX33" fmla="*/ 146702 w 167815"/>
                <a:gd name="connsiteY33" fmla="*/ 32683 h 169466"/>
                <a:gd name="connsiteX34" fmla="*/ 127650 w 167815"/>
                <a:gd name="connsiteY34" fmla="*/ 20199 h 169466"/>
                <a:gd name="connsiteX35" fmla="*/ 127650 w 167815"/>
                <a:gd name="connsiteY35" fmla="*/ 20199 h 169466"/>
                <a:gd name="connsiteX36" fmla="*/ 127439 w 167815"/>
                <a:gd name="connsiteY36" fmla="*/ 20283 h 169466"/>
                <a:gd name="connsiteX37" fmla="*/ 127650 w 167815"/>
                <a:gd name="connsiteY37" fmla="*/ 24355 h 169466"/>
                <a:gd name="connsiteX38" fmla="*/ 116784 w 167815"/>
                <a:gd name="connsiteY38" fmla="*/ 25066 h 169466"/>
                <a:gd name="connsiteX39" fmla="*/ 116784 w 167815"/>
                <a:gd name="connsiteY39" fmla="*/ 25066 h 169466"/>
                <a:gd name="connsiteX40" fmla="*/ 111692 w 167815"/>
                <a:gd name="connsiteY40" fmla="*/ 24355 h 169466"/>
                <a:gd name="connsiteX41" fmla="*/ 102380 w 167815"/>
                <a:gd name="connsiteY41" fmla="*/ 26346 h 169466"/>
                <a:gd name="connsiteX42" fmla="*/ 100369 w 167815"/>
                <a:gd name="connsiteY42" fmla="*/ 26958 h 169466"/>
                <a:gd name="connsiteX43" fmla="*/ 97795 w 167815"/>
                <a:gd name="connsiteY43" fmla="*/ 36839 h 169466"/>
                <a:gd name="connsiteX44" fmla="*/ 97795 w 167815"/>
                <a:gd name="connsiteY44" fmla="*/ 51925 h 169466"/>
                <a:gd name="connsiteX45" fmla="*/ 95221 w 167815"/>
                <a:gd name="connsiteY45" fmla="*/ 63368 h 169466"/>
                <a:gd name="connsiteX46" fmla="*/ 92646 w 167815"/>
                <a:gd name="connsiteY46" fmla="*/ 73770 h 169466"/>
                <a:gd name="connsiteX47" fmla="*/ 97605 w 167815"/>
                <a:gd name="connsiteY47" fmla="*/ 78355 h 169466"/>
                <a:gd name="connsiteX48" fmla="*/ 102422 w 167815"/>
                <a:gd name="connsiteY48" fmla="*/ 81569 h 169466"/>
                <a:gd name="connsiteX49" fmla="*/ 107986 w 167815"/>
                <a:gd name="connsiteY49" fmla="*/ 83820 h 169466"/>
                <a:gd name="connsiteX50" fmla="*/ 111692 w 167815"/>
                <a:gd name="connsiteY50" fmla="*/ 84692 h 169466"/>
                <a:gd name="connsiteX51" fmla="*/ 106748 w 167815"/>
                <a:gd name="connsiteY51" fmla="*/ 98526 h 169466"/>
                <a:gd name="connsiteX52" fmla="*/ 106248 w 167815"/>
                <a:gd name="connsiteY52" fmla="*/ 98723 h 169466"/>
                <a:gd name="connsiteX53" fmla="*/ 97443 w 167815"/>
                <a:gd name="connsiteY53" fmla="*/ 91753 h 169466"/>
                <a:gd name="connsiteX54" fmla="*/ 97443 w 167815"/>
                <a:gd name="connsiteY54" fmla="*/ 91753 h 169466"/>
                <a:gd name="connsiteX55" fmla="*/ 97436 w 167815"/>
                <a:gd name="connsiteY55" fmla="*/ 91753 h 169466"/>
                <a:gd name="connsiteX56" fmla="*/ 92646 w 167815"/>
                <a:gd name="connsiteY56" fmla="*/ 86774 h 169466"/>
                <a:gd name="connsiteX57" fmla="*/ 85360 w 167815"/>
                <a:gd name="connsiteY57" fmla="*/ 81147 h 169466"/>
                <a:gd name="connsiteX58" fmla="*/ 85360 w 167815"/>
                <a:gd name="connsiteY58" fmla="*/ 81147 h 169466"/>
                <a:gd name="connsiteX59" fmla="*/ 85360 w 167815"/>
                <a:gd name="connsiteY59" fmla="*/ 81147 h 169466"/>
                <a:gd name="connsiteX60" fmla="*/ 81830 w 167815"/>
                <a:gd name="connsiteY60" fmla="*/ 78454 h 169466"/>
                <a:gd name="connsiteX61" fmla="*/ 76435 w 167815"/>
                <a:gd name="connsiteY61" fmla="*/ 76864 h 169466"/>
                <a:gd name="connsiteX62" fmla="*/ 76435 w 167815"/>
                <a:gd name="connsiteY62" fmla="*/ 76864 h 169466"/>
                <a:gd name="connsiteX63" fmla="*/ 75654 w 167815"/>
                <a:gd name="connsiteY63" fmla="*/ 76892 h 169466"/>
                <a:gd name="connsiteX64" fmla="*/ 60723 w 167815"/>
                <a:gd name="connsiteY64" fmla="*/ 76892 h 169466"/>
                <a:gd name="connsiteX65" fmla="*/ 52839 w 167815"/>
                <a:gd name="connsiteY65" fmla="*/ 71371 h 169466"/>
                <a:gd name="connsiteX66" fmla="*/ 52832 w 167815"/>
                <a:gd name="connsiteY66" fmla="*/ 71371 h 169466"/>
                <a:gd name="connsiteX67" fmla="*/ 52481 w 167815"/>
                <a:gd name="connsiteY67" fmla="*/ 70647 h 169466"/>
                <a:gd name="connsiteX68" fmla="*/ 40581 w 167815"/>
                <a:gd name="connsiteY68" fmla="*/ 67342 h 169466"/>
                <a:gd name="connsiteX69" fmla="*/ 37556 w 167815"/>
                <a:gd name="connsiteY69" fmla="*/ 67011 h 169466"/>
                <a:gd name="connsiteX70" fmla="*/ 33133 w 167815"/>
                <a:gd name="connsiteY70" fmla="*/ 63677 h 169466"/>
                <a:gd name="connsiteX71" fmla="*/ 32542 w 167815"/>
                <a:gd name="connsiteY71" fmla="*/ 63368 h 169466"/>
                <a:gd name="connsiteX72" fmla="*/ 30531 w 167815"/>
                <a:gd name="connsiteY72" fmla="*/ 63368 h 169466"/>
                <a:gd name="connsiteX73" fmla="*/ 29827 w 167815"/>
                <a:gd name="connsiteY73" fmla="*/ 64071 h 169466"/>
                <a:gd name="connsiteX74" fmla="*/ 29827 w 167815"/>
                <a:gd name="connsiteY74" fmla="*/ 91788 h 169466"/>
                <a:gd name="connsiteX75" fmla="*/ 29124 w 167815"/>
                <a:gd name="connsiteY75" fmla="*/ 92492 h 169466"/>
                <a:gd name="connsiteX76" fmla="*/ 1702 w 167815"/>
                <a:gd name="connsiteY76" fmla="*/ 92492 h 169466"/>
                <a:gd name="connsiteX77" fmla="*/ 999 w 167815"/>
                <a:gd name="connsiteY77" fmla="*/ 93195 h 169466"/>
                <a:gd name="connsiteX78" fmla="*/ 999 w 167815"/>
                <a:gd name="connsiteY78" fmla="*/ 141132 h 169466"/>
                <a:gd name="connsiteX79" fmla="*/ 1160 w 167815"/>
                <a:gd name="connsiteY79" fmla="*/ 141582 h 169466"/>
                <a:gd name="connsiteX80" fmla="*/ 17259 w 167815"/>
                <a:gd name="connsiteY80" fmla="*/ 161198 h 169466"/>
                <a:gd name="connsiteX81" fmla="*/ 5169 w 167815"/>
                <a:gd name="connsiteY81" fmla="*/ 63058 h 169466"/>
                <a:gd name="connsiteX82" fmla="*/ 4726 w 167815"/>
                <a:gd name="connsiteY82" fmla="*/ 57840 h 169466"/>
                <a:gd name="connsiteX83" fmla="*/ 3587 w 167815"/>
                <a:gd name="connsiteY83" fmla="*/ 48908 h 169466"/>
                <a:gd name="connsiteX84" fmla="*/ 4726 w 167815"/>
                <a:gd name="connsiteY84" fmla="*/ 57840 h 169466"/>
                <a:gd name="connsiteX85" fmla="*/ 5169 w 167815"/>
                <a:gd name="connsiteY85" fmla="*/ 63058 h 169466"/>
                <a:gd name="connsiteX86" fmla="*/ 2258 w 167815"/>
                <a:gd name="connsiteY86" fmla="*/ 47318 h 169466"/>
                <a:gd name="connsiteX87" fmla="*/ 0 w 167815"/>
                <a:gd name="connsiteY87" fmla="*/ 38921 h 169466"/>
                <a:gd name="connsiteX88" fmla="*/ 0 w 167815"/>
                <a:gd name="connsiteY88" fmla="*/ 38921 h 169466"/>
                <a:gd name="connsiteX89" fmla="*/ 0 w 167815"/>
                <a:gd name="connsiteY89" fmla="*/ 38921 h 169466"/>
                <a:gd name="connsiteX90" fmla="*/ 0 w 167815"/>
                <a:gd name="connsiteY90" fmla="*/ 38921 h 169466"/>
                <a:gd name="connsiteX91" fmla="*/ 2258 w 167815"/>
                <a:gd name="connsiteY91" fmla="*/ 47318 h 169466"/>
                <a:gd name="connsiteX92" fmla="*/ 117818 w 167815"/>
                <a:gd name="connsiteY92" fmla="*/ 3270 h 169466"/>
                <a:gd name="connsiteX93" fmla="*/ 117846 w 167815"/>
                <a:gd name="connsiteY93" fmla="*/ 3299 h 169466"/>
                <a:gd name="connsiteX94" fmla="*/ 115476 w 167815"/>
                <a:gd name="connsiteY94" fmla="*/ 63 h 169466"/>
                <a:gd name="connsiteX95" fmla="*/ 115314 w 167815"/>
                <a:gd name="connsiteY95" fmla="*/ 7 h 169466"/>
                <a:gd name="connsiteX96" fmla="*/ 115314 w 167815"/>
                <a:gd name="connsiteY96" fmla="*/ 7 h 169466"/>
                <a:gd name="connsiteX97" fmla="*/ 115229 w 167815"/>
                <a:gd name="connsiteY97" fmla="*/ 253 h 169466"/>
                <a:gd name="connsiteX98" fmla="*/ 117818 w 167815"/>
                <a:gd name="connsiteY98" fmla="*/ 3270 h 169466"/>
                <a:gd name="connsiteX99" fmla="*/ 117818 w 167815"/>
                <a:gd name="connsiteY99" fmla="*/ 3270 h 169466"/>
                <a:gd name="connsiteX100" fmla="*/ 117818 w 167815"/>
                <a:gd name="connsiteY100" fmla="*/ 3270 h 169466"/>
                <a:gd name="connsiteX101" fmla="*/ 117818 w 167815"/>
                <a:gd name="connsiteY101" fmla="*/ 3270 h 169466"/>
                <a:gd name="connsiteX102" fmla="*/ 117818 w 167815"/>
                <a:gd name="connsiteY102" fmla="*/ 3270 h 169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167815" h="169466">
                  <a:moveTo>
                    <a:pt x="17259" y="161198"/>
                  </a:moveTo>
                  <a:cubicBezTo>
                    <a:pt x="17350" y="161310"/>
                    <a:pt x="17477" y="161388"/>
                    <a:pt x="17618" y="161430"/>
                  </a:cubicBezTo>
                  <a:lnTo>
                    <a:pt x="18413" y="161648"/>
                  </a:lnTo>
                  <a:cubicBezTo>
                    <a:pt x="18476" y="161662"/>
                    <a:pt x="18532" y="161669"/>
                    <a:pt x="18595" y="161669"/>
                  </a:cubicBezTo>
                  <a:lnTo>
                    <a:pt x="37556" y="161669"/>
                  </a:lnTo>
                  <a:cubicBezTo>
                    <a:pt x="41129" y="161669"/>
                    <a:pt x="44991" y="165220"/>
                    <a:pt x="46650" y="167183"/>
                  </a:cubicBezTo>
                  <a:cubicBezTo>
                    <a:pt x="46763" y="167316"/>
                    <a:pt x="46917" y="167408"/>
                    <a:pt x="47093" y="167429"/>
                  </a:cubicBezTo>
                  <a:lnTo>
                    <a:pt x="60625" y="169454"/>
                  </a:lnTo>
                  <a:cubicBezTo>
                    <a:pt x="60688" y="169468"/>
                    <a:pt x="60751" y="169468"/>
                    <a:pt x="60822" y="169461"/>
                  </a:cubicBezTo>
                  <a:lnTo>
                    <a:pt x="76449" y="167422"/>
                  </a:lnTo>
                  <a:cubicBezTo>
                    <a:pt x="76604" y="167401"/>
                    <a:pt x="76738" y="167337"/>
                    <a:pt x="76843" y="167232"/>
                  </a:cubicBezTo>
                  <a:cubicBezTo>
                    <a:pt x="81548" y="162661"/>
                    <a:pt x="91233" y="153110"/>
                    <a:pt x="93673" y="150226"/>
                  </a:cubicBezTo>
                  <a:cubicBezTo>
                    <a:pt x="96121" y="147335"/>
                    <a:pt x="105193" y="139775"/>
                    <a:pt x="109526" y="136273"/>
                  </a:cubicBezTo>
                  <a:cubicBezTo>
                    <a:pt x="109596" y="136209"/>
                    <a:pt x="109673" y="136174"/>
                    <a:pt x="109765" y="136146"/>
                  </a:cubicBezTo>
                  <a:cubicBezTo>
                    <a:pt x="112740" y="135260"/>
                    <a:pt x="119147" y="133361"/>
                    <a:pt x="121988" y="132545"/>
                  </a:cubicBezTo>
                  <a:cubicBezTo>
                    <a:pt x="124274" y="131884"/>
                    <a:pt x="122213" y="128930"/>
                    <a:pt x="120406" y="126321"/>
                  </a:cubicBezTo>
                  <a:cubicBezTo>
                    <a:pt x="119351" y="124816"/>
                    <a:pt x="118387" y="123423"/>
                    <a:pt x="118387" y="122663"/>
                  </a:cubicBezTo>
                  <a:cubicBezTo>
                    <a:pt x="118387" y="120582"/>
                    <a:pt x="141554" y="115377"/>
                    <a:pt x="151337" y="113816"/>
                  </a:cubicBezTo>
                  <a:cubicBezTo>
                    <a:pt x="155255" y="113197"/>
                    <a:pt x="159250" y="111150"/>
                    <a:pt x="162647" y="108858"/>
                  </a:cubicBezTo>
                  <a:cubicBezTo>
                    <a:pt x="162977" y="108633"/>
                    <a:pt x="163047" y="108182"/>
                    <a:pt x="162822" y="107852"/>
                  </a:cubicBezTo>
                  <a:cubicBezTo>
                    <a:pt x="160431" y="104399"/>
                    <a:pt x="159573" y="100530"/>
                    <a:pt x="159573" y="98737"/>
                  </a:cubicBezTo>
                  <a:cubicBezTo>
                    <a:pt x="159573" y="96149"/>
                    <a:pt x="162759" y="91057"/>
                    <a:pt x="164728" y="87913"/>
                  </a:cubicBezTo>
                  <a:cubicBezTo>
                    <a:pt x="165136" y="87259"/>
                    <a:pt x="165488" y="86697"/>
                    <a:pt x="165755" y="86253"/>
                  </a:cubicBezTo>
                  <a:cubicBezTo>
                    <a:pt x="166705" y="84657"/>
                    <a:pt x="165903" y="81872"/>
                    <a:pt x="165143" y="79248"/>
                  </a:cubicBezTo>
                  <a:lnTo>
                    <a:pt x="165143" y="79248"/>
                  </a:lnTo>
                  <a:cubicBezTo>
                    <a:pt x="164665" y="77603"/>
                    <a:pt x="164208" y="76013"/>
                    <a:pt x="164208" y="74811"/>
                  </a:cubicBezTo>
                  <a:cubicBezTo>
                    <a:pt x="164208" y="73517"/>
                    <a:pt x="164827" y="70169"/>
                    <a:pt x="165551" y="66251"/>
                  </a:cubicBezTo>
                  <a:cubicBezTo>
                    <a:pt x="166578" y="60709"/>
                    <a:pt x="167816" y="54021"/>
                    <a:pt x="167816" y="50364"/>
                  </a:cubicBezTo>
                  <a:cubicBezTo>
                    <a:pt x="167816" y="48092"/>
                    <a:pt x="165467" y="43085"/>
                    <a:pt x="162379" y="37493"/>
                  </a:cubicBezTo>
                  <a:cubicBezTo>
                    <a:pt x="162295" y="37338"/>
                    <a:pt x="162147" y="37219"/>
                    <a:pt x="161978" y="37163"/>
                  </a:cubicBezTo>
                  <a:cubicBezTo>
                    <a:pt x="160713" y="36762"/>
                    <a:pt x="159369" y="36326"/>
                    <a:pt x="158019" y="35890"/>
                  </a:cubicBezTo>
                  <a:lnTo>
                    <a:pt x="158019" y="35890"/>
                  </a:lnTo>
                  <a:lnTo>
                    <a:pt x="158019" y="35890"/>
                  </a:lnTo>
                  <a:cubicBezTo>
                    <a:pt x="153082" y="34300"/>
                    <a:pt x="148074" y="32683"/>
                    <a:pt x="146702" y="32683"/>
                  </a:cubicBezTo>
                  <a:cubicBezTo>
                    <a:pt x="144642" y="32683"/>
                    <a:pt x="132285" y="27478"/>
                    <a:pt x="127650" y="20199"/>
                  </a:cubicBezTo>
                  <a:lnTo>
                    <a:pt x="127650" y="20199"/>
                  </a:lnTo>
                  <a:cubicBezTo>
                    <a:pt x="127594" y="20086"/>
                    <a:pt x="127411" y="20164"/>
                    <a:pt x="127439" y="20283"/>
                  </a:cubicBezTo>
                  <a:cubicBezTo>
                    <a:pt x="127910" y="21992"/>
                    <a:pt x="128044" y="23441"/>
                    <a:pt x="127650" y="24355"/>
                  </a:cubicBezTo>
                  <a:cubicBezTo>
                    <a:pt x="126581" y="26887"/>
                    <a:pt x="121292" y="25903"/>
                    <a:pt x="116784" y="25066"/>
                  </a:cubicBezTo>
                  <a:lnTo>
                    <a:pt x="116784" y="25066"/>
                  </a:lnTo>
                  <a:cubicBezTo>
                    <a:pt x="114794" y="24700"/>
                    <a:pt x="112951" y="24355"/>
                    <a:pt x="111692" y="24355"/>
                  </a:cubicBezTo>
                  <a:cubicBezTo>
                    <a:pt x="108583" y="24355"/>
                    <a:pt x="104891" y="25544"/>
                    <a:pt x="102380" y="26346"/>
                  </a:cubicBezTo>
                  <a:cubicBezTo>
                    <a:pt x="101564" y="26606"/>
                    <a:pt x="100875" y="26831"/>
                    <a:pt x="100369" y="26958"/>
                  </a:cubicBezTo>
                  <a:cubicBezTo>
                    <a:pt x="98308" y="27478"/>
                    <a:pt x="97795" y="35278"/>
                    <a:pt x="97795" y="36839"/>
                  </a:cubicBezTo>
                  <a:lnTo>
                    <a:pt x="97795" y="51925"/>
                  </a:lnTo>
                  <a:cubicBezTo>
                    <a:pt x="97795" y="55568"/>
                    <a:pt x="96247" y="60766"/>
                    <a:pt x="95221" y="63368"/>
                  </a:cubicBezTo>
                  <a:cubicBezTo>
                    <a:pt x="94187" y="65970"/>
                    <a:pt x="92646" y="70647"/>
                    <a:pt x="92646" y="73770"/>
                  </a:cubicBezTo>
                  <a:cubicBezTo>
                    <a:pt x="92646" y="75633"/>
                    <a:pt x="95024" y="76942"/>
                    <a:pt x="97605" y="78355"/>
                  </a:cubicBezTo>
                  <a:cubicBezTo>
                    <a:pt x="99349" y="79305"/>
                    <a:pt x="101177" y="80310"/>
                    <a:pt x="102422" y="81569"/>
                  </a:cubicBezTo>
                  <a:cubicBezTo>
                    <a:pt x="104279" y="83447"/>
                    <a:pt x="106129" y="83630"/>
                    <a:pt x="107986" y="83820"/>
                  </a:cubicBezTo>
                  <a:cubicBezTo>
                    <a:pt x="109224" y="83946"/>
                    <a:pt x="110454" y="84066"/>
                    <a:pt x="111692" y="84692"/>
                  </a:cubicBezTo>
                  <a:cubicBezTo>
                    <a:pt x="114737" y="86232"/>
                    <a:pt x="111776" y="93343"/>
                    <a:pt x="106748" y="98526"/>
                  </a:cubicBezTo>
                  <a:cubicBezTo>
                    <a:pt x="106621" y="98660"/>
                    <a:pt x="106438" y="98737"/>
                    <a:pt x="106248" y="98723"/>
                  </a:cubicBezTo>
                  <a:cubicBezTo>
                    <a:pt x="103534" y="98505"/>
                    <a:pt x="100601" y="95249"/>
                    <a:pt x="97443" y="91753"/>
                  </a:cubicBezTo>
                  <a:lnTo>
                    <a:pt x="97443" y="91753"/>
                  </a:lnTo>
                  <a:lnTo>
                    <a:pt x="97436" y="91753"/>
                  </a:lnTo>
                  <a:cubicBezTo>
                    <a:pt x="95896" y="90044"/>
                    <a:pt x="94292" y="88272"/>
                    <a:pt x="92646" y="86774"/>
                  </a:cubicBezTo>
                  <a:cubicBezTo>
                    <a:pt x="89721" y="84115"/>
                    <a:pt x="87287" y="82463"/>
                    <a:pt x="85360" y="81147"/>
                  </a:cubicBezTo>
                  <a:lnTo>
                    <a:pt x="85360" y="81147"/>
                  </a:lnTo>
                  <a:lnTo>
                    <a:pt x="85360" y="81147"/>
                  </a:lnTo>
                  <a:cubicBezTo>
                    <a:pt x="83897" y="80149"/>
                    <a:pt x="82723" y="79347"/>
                    <a:pt x="81830" y="78454"/>
                  </a:cubicBezTo>
                  <a:cubicBezTo>
                    <a:pt x="80092" y="76695"/>
                    <a:pt x="77982" y="76794"/>
                    <a:pt x="76435" y="76864"/>
                  </a:cubicBezTo>
                  <a:lnTo>
                    <a:pt x="76435" y="76864"/>
                  </a:lnTo>
                  <a:cubicBezTo>
                    <a:pt x="76154" y="76878"/>
                    <a:pt x="75894" y="76892"/>
                    <a:pt x="75654" y="76892"/>
                  </a:cubicBezTo>
                  <a:lnTo>
                    <a:pt x="60723" y="76892"/>
                  </a:lnTo>
                  <a:cubicBezTo>
                    <a:pt x="55498" y="76892"/>
                    <a:pt x="54218" y="74234"/>
                    <a:pt x="52839" y="71371"/>
                  </a:cubicBezTo>
                  <a:lnTo>
                    <a:pt x="52832" y="71371"/>
                  </a:lnTo>
                  <a:cubicBezTo>
                    <a:pt x="52720" y="71132"/>
                    <a:pt x="52600" y="70893"/>
                    <a:pt x="52481" y="70647"/>
                  </a:cubicBezTo>
                  <a:cubicBezTo>
                    <a:pt x="51306" y="68277"/>
                    <a:pt x="44773" y="67707"/>
                    <a:pt x="40581" y="67342"/>
                  </a:cubicBezTo>
                  <a:cubicBezTo>
                    <a:pt x="39258" y="67229"/>
                    <a:pt x="38168" y="67131"/>
                    <a:pt x="37556" y="67011"/>
                  </a:cubicBezTo>
                  <a:cubicBezTo>
                    <a:pt x="35679" y="66631"/>
                    <a:pt x="33949" y="64788"/>
                    <a:pt x="33133" y="63677"/>
                  </a:cubicBezTo>
                  <a:cubicBezTo>
                    <a:pt x="32999" y="63487"/>
                    <a:pt x="32774" y="63368"/>
                    <a:pt x="32542" y="63368"/>
                  </a:cubicBezTo>
                  <a:lnTo>
                    <a:pt x="30531" y="63368"/>
                  </a:lnTo>
                  <a:cubicBezTo>
                    <a:pt x="30144" y="63368"/>
                    <a:pt x="29827" y="63684"/>
                    <a:pt x="29827" y="64071"/>
                  </a:cubicBezTo>
                  <a:lnTo>
                    <a:pt x="29827" y="91788"/>
                  </a:lnTo>
                  <a:cubicBezTo>
                    <a:pt x="29827" y="92182"/>
                    <a:pt x="29518" y="92492"/>
                    <a:pt x="29124" y="92492"/>
                  </a:cubicBezTo>
                  <a:lnTo>
                    <a:pt x="1702" y="92492"/>
                  </a:lnTo>
                  <a:cubicBezTo>
                    <a:pt x="1315" y="92492"/>
                    <a:pt x="999" y="92808"/>
                    <a:pt x="999" y="93195"/>
                  </a:cubicBezTo>
                  <a:lnTo>
                    <a:pt x="999" y="141132"/>
                  </a:lnTo>
                  <a:cubicBezTo>
                    <a:pt x="999" y="141294"/>
                    <a:pt x="1055" y="141456"/>
                    <a:pt x="1160" y="141582"/>
                  </a:cubicBezTo>
                  <a:lnTo>
                    <a:pt x="17259" y="161198"/>
                  </a:lnTo>
                  <a:close/>
                  <a:moveTo>
                    <a:pt x="5169" y="63058"/>
                  </a:moveTo>
                  <a:cubicBezTo>
                    <a:pt x="4712" y="62292"/>
                    <a:pt x="4719" y="60224"/>
                    <a:pt x="4726" y="57840"/>
                  </a:cubicBezTo>
                  <a:cubicBezTo>
                    <a:pt x="4740" y="54583"/>
                    <a:pt x="4755" y="50743"/>
                    <a:pt x="3587" y="48908"/>
                  </a:cubicBezTo>
                  <a:cubicBezTo>
                    <a:pt x="4755" y="50743"/>
                    <a:pt x="4740" y="54583"/>
                    <a:pt x="4726" y="57840"/>
                  </a:cubicBezTo>
                  <a:cubicBezTo>
                    <a:pt x="4719" y="60224"/>
                    <a:pt x="4712" y="62292"/>
                    <a:pt x="5169" y="63058"/>
                  </a:cubicBezTo>
                  <a:close/>
                  <a:moveTo>
                    <a:pt x="2258" y="47318"/>
                  </a:moveTo>
                  <a:cubicBezTo>
                    <a:pt x="1104" y="45483"/>
                    <a:pt x="415" y="42170"/>
                    <a:pt x="0" y="38921"/>
                  </a:cubicBezTo>
                  <a:cubicBezTo>
                    <a:pt x="0" y="38921"/>
                    <a:pt x="0" y="38921"/>
                    <a:pt x="0" y="38921"/>
                  </a:cubicBezTo>
                  <a:lnTo>
                    <a:pt x="0" y="38921"/>
                  </a:lnTo>
                  <a:cubicBezTo>
                    <a:pt x="0" y="38921"/>
                    <a:pt x="0" y="38921"/>
                    <a:pt x="0" y="38921"/>
                  </a:cubicBezTo>
                  <a:cubicBezTo>
                    <a:pt x="415" y="42170"/>
                    <a:pt x="1104" y="45483"/>
                    <a:pt x="2258" y="47318"/>
                  </a:cubicBezTo>
                  <a:close/>
                  <a:moveTo>
                    <a:pt x="117818" y="3270"/>
                  </a:moveTo>
                  <a:lnTo>
                    <a:pt x="117846" y="3299"/>
                  </a:lnTo>
                  <a:lnTo>
                    <a:pt x="115476" y="63"/>
                  </a:lnTo>
                  <a:cubicBezTo>
                    <a:pt x="115433" y="14"/>
                    <a:pt x="115370" y="-14"/>
                    <a:pt x="115314" y="7"/>
                  </a:cubicBezTo>
                  <a:lnTo>
                    <a:pt x="115314" y="7"/>
                  </a:lnTo>
                  <a:cubicBezTo>
                    <a:pt x="115202" y="35"/>
                    <a:pt x="115159" y="162"/>
                    <a:pt x="115229" y="253"/>
                  </a:cubicBezTo>
                  <a:cubicBezTo>
                    <a:pt x="116059" y="1266"/>
                    <a:pt x="116953" y="2286"/>
                    <a:pt x="117818" y="3270"/>
                  </a:cubicBezTo>
                  <a:lnTo>
                    <a:pt x="117818" y="3270"/>
                  </a:lnTo>
                  <a:lnTo>
                    <a:pt x="117818" y="3270"/>
                  </a:lnTo>
                  <a:lnTo>
                    <a:pt x="117818" y="3270"/>
                  </a:lnTo>
                  <a:lnTo>
                    <a:pt x="117818" y="327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1" name="Freihandform: Form 156">
              <a:extLst>
                <a:ext uri="{FF2B5EF4-FFF2-40B4-BE49-F238E27FC236}">
                  <a16:creationId xmlns:a16="http://schemas.microsoft.com/office/drawing/2014/main" id="{D0BE48BA-89A3-934F-8CB9-1699D648DB1B}"/>
                </a:ext>
              </a:extLst>
            </p:cNvPr>
            <p:cNvSpPr/>
            <p:nvPr/>
          </p:nvSpPr>
          <p:spPr>
            <a:xfrm>
              <a:off x="6416007" y="4848717"/>
              <a:ext cx="239028" cy="212774"/>
            </a:xfrm>
            <a:custGeom>
              <a:avLst/>
              <a:gdLst>
                <a:gd name="connsiteX0" fmla="*/ 2594 w 239028"/>
                <a:gd name="connsiteY0" fmla="*/ 100742 h 212774"/>
                <a:gd name="connsiteX1" fmla="*/ 709 w 239028"/>
                <a:gd name="connsiteY1" fmla="*/ 103942 h 212774"/>
                <a:gd name="connsiteX2" fmla="*/ 13 w 239028"/>
                <a:gd name="connsiteY2" fmla="*/ 104905 h 212774"/>
                <a:gd name="connsiteX3" fmla="*/ 1567 w 239028"/>
                <a:gd name="connsiteY3" fmla="*/ 111305 h 212774"/>
                <a:gd name="connsiteX4" fmla="*/ 6462 w 239028"/>
                <a:gd name="connsiteY4" fmla="*/ 124042 h 212774"/>
                <a:gd name="connsiteX5" fmla="*/ 6462 w 239028"/>
                <a:gd name="connsiteY5" fmla="*/ 124042 h 212774"/>
                <a:gd name="connsiteX6" fmla="*/ 8262 w 239028"/>
                <a:gd name="connsiteY6" fmla="*/ 128986 h 212774"/>
                <a:gd name="connsiteX7" fmla="*/ 10836 w 239028"/>
                <a:gd name="connsiteY7" fmla="*/ 134191 h 212774"/>
                <a:gd name="connsiteX8" fmla="*/ 10836 w 239028"/>
                <a:gd name="connsiteY8" fmla="*/ 134191 h 212774"/>
                <a:gd name="connsiteX9" fmla="*/ 13410 w 239028"/>
                <a:gd name="connsiteY9" fmla="*/ 139388 h 212774"/>
                <a:gd name="connsiteX10" fmla="*/ 17532 w 239028"/>
                <a:gd name="connsiteY10" fmla="*/ 150831 h 212774"/>
                <a:gd name="connsiteX11" fmla="*/ 19572 w 239028"/>
                <a:gd name="connsiteY11" fmla="*/ 153876 h 212774"/>
                <a:gd name="connsiteX12" fmla="*/ 24741 w 239028"/>
                <a:gd name="connsiteY12" fmla="*/ 163315 h 212774"/>
                <a:gd name="connsiteX13" fmla="*/ 24741 w 239028"/>
                <a:gd name="connsiteY13" fmla="*/ 173372 h 212774"/>
                <a:gd name="connsiteX14" fmla="*/ 24459 w 239028"/>
                <a:gd name="connsiteY14" fmla="*/ 173927 h 212774"/>
                <a:gd name="connsiteX15" fmla="*/ 21048 w 239028"/>
                <a:gd name="connsiteY15" fmla="*/ 176516 h 212774"/>
                <a:gd name="connsiteX16" fmla="*/ 20816 w 239028"/>
                <a:gd name="connsiteY16" fmla="*/ 177338 h 212774"/>
                <a:gd name="connsiteX17" fmla="*/ 29840 w 239028"/>
                <a:gd name="connsiteY17" fmla="*/ 200125 h 212774"/>
                <a:gd name="connsiteX18" fmla="*/ 29973 w 239028"/>
                <a:gd name="connsiteY18" fmla="*/ 200337 h 212774"/>
                <a:gd name="connsiteX19" fmla="*/ 37098 w 239028"/>
                <a:gd name="connsiteY19" fmla="*/ 208565 h 212774"/>
                <a:gd name="connsiteX20" fmla="*/ 49968 w 239028"/>
                <a:gd name="connsiteY20" fmla="*/ 212729 h 212774"/>
                <a:gd name="connsiteX21" fmla="*/ 56277 w 239028"/>
                <a:gd name="connsiteY21" fmla="*/ 210541 h 212774"/>
                <a:gd name="connsiteX22" fmla="*/ 60778 w 239028"/>
                <a:gd name="connsiteY22" fmla="*/ 208565 h 212774"/>
                <a:gd name="connsiteX23" fmla="*/ 67846 w 239028"/>
                <a:gd name="connsiteY23" fmla="*/ 207102 h 212774"/>
                <a:gd name="connsiteX24" fmla="*/ 70561 w 239028"/>
                <a:gd name="connsiteY24" fmla="*/ 206483 h 212774"/>
                <a:gd name="connsiteX25" fmla="*/ 78916 w 239028"/>
                <a:gd name="connsiteY25" fmla="*/ 203621 h 212774"/>
                <a:gd name="connsiteX26" fmla="*/ 82405 w 239028"/>
                <a:gd name="connsiteY26" fmla="*/ 202327 h 212774"/>
                <a:gd name="connsiteX27" fmla="*/ 98876 w 239028"/>
                <a:gd name="connsiteY27" fmla="*/ 200245 h 212774"/>
                <a:gd name="connsiteX28" fmla="*/ 117331 w 239028"/>
                <a:gd name="connsiteY28" fmla="*/ 200245 h 212774"/>
                <a:gd name="connsiteX29" fmla="*/ 117486 w 239028"/>
                <a:gd name="connsiteY29" fmla="*/ 200231 h 212774"/>
                <a:gd name="connsiteX30" fmla="*/ 131313 w 239028"/>
                <a:gd name="connsiteY30" fmla="*/ 196602 h 212774"/>
                <a:gd name="connsiteX31" fmla="*/ 138592 w 239028"/>
                <a:gd name="connsiteY31" fmla="*/ 195392 h 212774"/>
                <a:gd name="connsiteX32" fmla="*/ 138592 w 239028"/>
                <a:gd name="connsiteY32" fmla="*/ 195392 h 212774"/>
                <a:gd name="connsiteX33" fmla="*/ 149331 w 239028"/>
                <a:gd name="connsiteY33" fmla="*/ 194007 h 212774"/>
                <a:gd name="connsiteX34" fmla="*/ 179194 w 239028"/>
                <a:gd name="connsiteY34" fmla="*/ 171642 h 212774"/>
                <a:gd name="connsiteX35" fmla="*/ 202361 w 239028"/>
                <a:gd name="connsiteY35" fmla="*/ 145633 h 212774"/>
                <a:gd name="connsiteX36" fmla="*/ 220386 w 239028"/>
                <a:gd name="connsiteY36" fmla="*/ 115982 h 212774"/>
                <a:gd name="connsiteX37" fmla="*/ 232961 w 239028"/>
                <a:gd name="connsiteY37" fmla="*/ 97753 h 212774"/>
                <a:gd name="connsiteX38" fmla="*/ 237892 w 239028"/>
                <a:gd name="connsiteY38" fmla="*/ 89981 h 212774"/>
                <a:gd name="connsiteX39" fmla="*/ 238011 w 239028"/>
                <a:gd name="connsiteY39" fmla="*/ 76478 h 212774"/>
                <a:gd name="connsiteX40" fmla="*/ 237329 w 239028"/>
                <a:gd name="connsiteY40" fmla="*/ 75936 h 212774"/>
                <a:gd name="connsiteX41" fmla="*/ 230380 w 239028"/>
                <a:gd name="connsiteY41" fmla="*/ 75936 h 212774"/>
                <a:gd name="connsiteX42" fmla="*/ 229986 w 239028"/>
                <a:gd name="connsiteY42" fmla="*/ 76056 h 212774"/>
                <a:gd name="connsiteX43" fmla="*/ 222440 w 239028"/>
                <a:gd name="connsiteY43" fmla="*/ 82174 h 212774"/>
                <a:gd name="connsiteX44" fmla="*/ 211335 w 239028"/>
                <a:gd name="connsiteY44" fmla="*/ 82259 h 212774"/>
                <a:gd name="connsiteX45" fmla="*/ 210990 w 239028"/>
                <a:gd name="connsiteY45" fmla="*/ 81984 h 212774"/>
                <a:gd name="connsiteX46" fmla="*/ 205659 w 239028"/>
                <a:gd name="connsiteY46" fmla="*/ 73664 h 212774"/>
                <a:gd name="connsiteX47" fmla="*/ 205617 w 239028"/>
                <a:gd name="connsiteY47" fmla="*/ 72989 h 212774"/>
                <a:gd name="connsiteX48" fmla="*/ 211117 w 239028"/>
                <a:gd name="connsiteY48" fmla="*/ 62932 h 212774"/>
                <a:gd name="connsiteX49" fmla="*/ 222440 w 239028"/>
                <a:gd name="connsiteY49" fmla="*/ 57734 h 212774"/>
                <a:gd name="connsiteX50" fmla="*/ 222559 w 239028"/>
                <a:gd name="connsiteY50" fmla="*/ 52762 h 212774"/>
                <a:gd name="connsiteX51" fmla="*/ 222510 w 239028"/>
                <a:gd name="connsiteY51" fmla="*/ 52277 h 212774"/>
                <a:gd name="connsiteX52" fmla="*/ 225534 w 239028"/>
                <a:gd name="connsiteY52" fmla="*/ 37964 h 212774"/>
                <a:gd name="connsiteX53" fmla="*/ 222440 w 239028"/>
                <a:gd name="connsiteY53" fmla="*/ 21845 h 212774"/>
                <a:gd name="connsiteX54" fmla="*/ 220485 w 239028"/>
                <a:gd name="connsiteY54" fmla="*/ 16612 h 212774"/>
                <a:gd name="connsiteX55" fmla="*/ 220485 w 239028"/>
                <a:gd name="connsiteY55" fmla="*/ 16612 h 212774"/>
                <a:gd name="connsiteX56" fmla="*/ 215752 w 239028"/>
                <a:gd name="connsiteY56" fmla="*/ 3636 h 212774"/>
                <a:gd name="connsiteX57" fmla="*/ 205455 w 239028"/>
                <a:gd name="connsiteY57" fmla="*/ 0 h 212774"/>
                <a:gd name="connsiteX58" fmla="*/ 187429 w 239028"/>
                <a:gd name="connsiteY58" fmla="*/ 0 h 212774"/>
                <a:gd name="connsiteX59" fmla="*/ 172829 w 239028"/>
                <a:gd name="connsiteY59" fmla="*/ 7729 h 212774"/>
                <a:gd name="connsiteX60" fmla="*/ 171985 w 239028"/>
                <a:gd name="connsiteY60" fmla="*/ 8320 h 212774"/>
                <a:gd name="connsiteX61" fmla="*/ 152426 w 239028"/>
                <a:gd name="connsiteY61" fmla="*/ 30165 h 212774"/>
                <a:gd name="connsiteX62" fmla="*/ 142123 w 239028"/>
                <a:gd name="connsiteY62" fmla="*/ 40567 h 212774"/>
                <a:gd name="connsiteX63" fmla="*/ 136876 w 239028"/>
                <a:gd name="connsiteY63" fmla="*/ 48971 h 212774"/>
                <a:gd name="connsiteX64" fmla="*/ 135434 w 239028"/>
                <a:gd name="connsiteY64" fmla="*/ 52530 h 212774"/>
                <a:gd name="connsiteX65" fmla="*/ 120060 w 239028"/>
                <a:gd name="connsiteY65" fmla="*/ 57516 h 212774"/>
                <a:gd name="connsiteX66" fmla="*/ 117415 w 239028"/>
                <a:gd name="connsiteY66" fmla="*/ 57734 h 212774"/>
                <a:gd name="connsiteX67" fmla="*/ 107112 w 239028"/>
                <a:gd name="connsiteY67" fmla="*/ 54991 h 212774"/>
                <a:gd name="connsiteX68" fmla="*/ 98876 w 239028"/>
                <a:gd name="connsiteY68" fmla="*/ 52530 h 212774"/>
                <a:gd name="connsiteX69" fmla="*/ 83882 w 239028"/>
                <a:gd name="connsiteY69" fmla="*/ 65421 h 212774"/>
                <a:gd name="connsiteX70" fmla="*/ 82405 w 239028"/>
                <a:gd name="connsiteY70" fmla="*/ 67095 h 212774"/>
                <a:gd name="connsiteX71" fmla="*/ 65926 w 239028"/>
                <a:gd name="connsiteY71" fmla="*/ 75936 h 212774"/>
                <a:gd name="connsiteX72" fmla="*/ 61186 w 239028"/>
                <a:gd name="connsiteY72" fmla="*/ 66174 h 212774"/>
                <a:gd name="connsiteX73" fmla="*/ 57691 w 239028"/>
                <a:gd name="connsiteY73" fmla="*/ 52530 h 212774"/>
                <a:gd name="connsiteX74" fmla="*/ 52064 w 239028"/>
                <a:gd name="connsiteY74" fmla="*/ 45244 h 212774"/>
                <a:gd name="connsiteX75" fmla="*/ 50995 w 239028"/>
                <a:gd name="connsiteY75" fmla="*/ 45792 h 212774"/>
                <a:gd name="connsiteX76" fmla="*/ 50995 w 239028"/>
                <a:gd name="connsiteY76" fmla="*/ 105608 h 212774"/>
                <a:gd name="connsiteX77" fmla="*/ 50538 w 239028"/>
                <a:gd name="connsiteY77" fmla="*/ 106270 h 212774"/>
                <a:gd name="connsiteX78" fmla="*/ 26795 w 239028"/>
                <a:gd name="connsiteY78" fmla="*/ 111305 h 212774"/>
                <a:gd name="connsiteX79" fmla="*/ 14388 w 239028"/>
                <a:gd name="connsiteY79" fmla="*/ 109259 h 212774"/>
                <a:gd name="connsiteX80" fmla="*/ 13769 w 239028"/>
                <a:gd name="connsiteY80" fmla="*/ 108787 h 212774"/>
                <a:gd name="connsiteX81" fmla="*/ 5688 w 239028"/>
                <a:gd name="connsiteY81" fmla="*/ 97780 h 212774"/>
                <a:gd name="connsiteX82" fmla="*/ 2594 w 239028"/>
                <a:gd name="connsiteY82" fmla="*/ 100742 h 212774"/>
                <a:gd name="connsiteX83" fmla="*/ 180572 w 239028"/>
                <a:gd name="connsiteY83" fmla="*/ 110264 h 212774"/>
                <a:gd name="connsiteX84" fmla="*/ 180888 w 239028"/>
                <a:gd name="connsiteY84" fmla="*/ 110342 h 212774"/>
                <a:gd name="connsiteX85" fmla="*/ 186403 w 239028"/>
                <a:gd name="connsiteY85" fmla="*/ 118584 h 212774"/>
                <a:gd name="connsiteX86" fmla="*/ 180741 w 239028"/>
                <a:gd name="connsiteY86" fmla="*/ 126904 h 212774"/>
                <a:gd name="connsiteX87" fmla="*/ 177386 w 239028"/>
                <a:gd name="connsiteY87" fmla="*/ 129436 h 212774"/>
                <a:gd name="connsiteX88" fmla="*/ 170958 w 239028"/>
                <a:gd name="connsiteY88" fmla="*/ 134711 h 212774"/>
                <a:gd name="connsiteX89" fmla="*/ 166618 w 239028"/>
                <a:gd name="connsiteY89" fmla="*/ 140563 h 212774"/>
                <a:gd name="connsiteX90" fmla="*/ 165859 w 239028"/>
                <a:gd name="connsiteY90" fmla="*/ 140795 h 212774"/>
                <a:gd name="connsiteX91" fmla="*/ 157574 w 239028"/>
                <a:gd name="connsiteY91" fmla="*/ 134711 h 212774"/>
                <a:gd name="connsiteX92" fmla="*/ 153312 w 239028"/>
                <a:gd name="connsiteY92" fmla="*/ 127453 h 212774"/>
                <a:gd name="connsiteX93" fmla="*/ 153453 w 239028"/>
                <a:gd name="connsiteY93" fmla="*/ 126496 h 212774"/>
                <a:gd name="connsiteX94" fmla="*/ 163236 w 239028"/>
                <a:gd name="connsiteY94" fmla="*/ 118584 h 212774"/>
                <a:gd name="connsiteX95" fmla="*/ 173335 w 239028"/>
                <a:gd name="connsiteY95" fmla="*/ 110419 h 212774"/>
                <a:gd name="connsiteX96" fmla="*/ 173778 w 239028"/>
                <a:gd name="connsiteY96" fmla="*/ 110264 h 212774"/>
                <a:gd name="connsiteX97" fmla="*/ 180572 w 239028"/>
                <a:gd name="connsiteY97" fmla="*/ 110264 h 21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239028" h="212774">
                  <a:moveTo>
                    <a:pt x="2594" y="100742"/>
                  </a:moveTo>
                  <a:cubicBezTo>
                    <a:pt x="2284" y="102120"/>
                    <a:pt x="1975" y="103541"/>
                    <a:pt x="709" y="103942"/>
                  </a:cubicBezTo>
                  <a:cubicBezTo>
                    <a:pt x="280" y="104075"/>
                    <a:pt x="-72" y="104462"/>
                    <a:pt x="13" y="104905"/>
                  </a:cubicBezTo>
                  <a:cubicBezTo>
                    <a:pt x="652" y="108218"/>
                    <a:pt x="1229" y="110792"/>
                    <a:pt x="1567" y="111305"/>
                  </a:cubicBezTo>
                  <a:cubicBezTo>
                    <a:pt x="2277" y="112374"/>
                    <a:pt x="4690" y="119098"/>
                    <a:pt x="6462" y="124042"/>
                  </a:cubicBezTo>
                  <a:lnTo>
                    <a:pt x="6462" y="124042"/>
                  </a:lnTo>
                  <a:cubicBezTo>
                    <a:pt x="7264" y="126292"/>
                    <a:pt x="7939" y="128177"/>
                    <a:pt x="8262" y="128986"/>
                  </a:cubicBezTo>
                  <a:cubicBezTo>
                    <a:pt x="8776" y="130287"/>
                    <a:pt x="9809" y="132235"/>
                    <a:pt x="10836" y="134191"/>
                  </a:cubicBezTo>
                  <a:lnTo>
                    <a:pt x="10836" y="134191"/>
                  </a:lnTo>
                  <a:cubicBezTo>
                    <a:pt x="11863" y="136139"/>
                    <a:pt x="12897" y="138087"/>
                    <a:pt x="13410" y="139388"/>
                  </a:cubicBezTo>
                  <a:cubicBezTo>
                    <a:pt x="14437" y="141990"/>
                    <a:pt x="17018" y="149270"/>
                    <a:pt x="17532" y="150831"/>
                  </a:cubicBezTo>
                  <a:cubicBezTo>
                    <a:pt x="17701" y="151344"/>
                    <a:pt x="18531" y="152470"/>
                    <a:pt x="19572" y="153876"/>
                  </a:cubicBezTo>
                  <a:cubicBezTo>
                    <a:pt x="21709" y="156774"/>
                    <a:pt x="24741" y="160867"/>
                    <a:pt x="24741" y="163315"/>
                  </a:cubicBezTo>
                  <a:lnTo>
                    <a:pt x="24741" y="173372"/>
                  </a:lnTo>
                  <a:cubicBezTo>
                    <a:pt x="24741" y="173590"/>
                    <a:pt x="24635" y="173794"/>
                    <a:pt x="24459" y="173927"/>
                  </a:cubicBezTo>
                  <a:lnTo>
                    <a:pt x="21048" y="176516"/>
                  </a:lnTo>
                  <a:cubicBezTo>
                    <a:pt x="20795" y="176705"/>
                    <a:pt x="20697" y="177043"/>
                    <a:pt x="20816" y="177338"/>
                  </a:cubicBezTo>
                  <a:lnTo>
                    <a:pt x="29840" y="200125"/>
                  </a:lnTo>
                  <a:cubicBezTo>
                    <a:pt x="29868" y="200203"/>
                    <a:pt x="29917" y="200273"/>
                    <a:pt x="29973" y="200337"/>
                  </a:cubicBezTo>
                  <a:cubicBezTo>
                    <a:pt x="31894" y="202461"/>
                    <a:pt x="35874" y="206927"/>
                    <a:pt x="37098" y="208565"/>
                  </a:cubicBezTo>
                  <a:cubicBezTo>
                    <a:pt x="38638" y="210647"/>
                    <a:pt x="46874" y="212208"/>
                    <a:pt x="49968" y="212729"/>
                  </a:cubicBezTo>
                  <a:cubicBezTo>
                    <a:pt x="51755" y="213031"/>
                    <a:pt x="54055" y="211765"/>
                    <a:pt x="56277" y="210541"/>
                  </a:cubicBezTo>
                  <a:cubicBezTo>
                    <a:pt x="57902" y="209655"/>
                    <a:pt x="59477" y="208783"/>
                    <a:pt x="60778" y="208565"/>
                  </a:cubicBezTo>
                  <a:cubicBezTo>
                    <a:pt x="63191" y="208157"/>
                    <a:pt x="64977" y="207756"/>
                    <a:pt x="67846" y="207102"/>
                  </a:cubicBezTo>
                  <a:cubicBezTo>
                    <a:pt x="68655" y="206919"/>
                    <a:pt x="69541" y="206715"/>
                    <a:pt x="70561" y="206483"/>
                  </a:cubicBezTo>
                  <a:cubicBezTo>
                    <a:pt x="73430" y="205844"/>
                    <a:pt x="76504" y="204599"/>
                    <a:pt x="78916" y="203621"/>
                  </a:cubicBezTo>
                  <a:cubicBezTo>
                    <a:pt x="80393" y="203023"/>
                    <a:pt x="81617" y="202524"/>
                    <a:pt x="82405" y="202327"/>
                  </a:cubicBezTo>
                  <a:cubicBezTo>
                    <a:pt x="84458" y="201806"/>
                    <a:pt x="96302" y="200245"/>
                    <a:pt x="98876" y="200245"/>
                  </a:cubicBezTo>
                  <a:lnTo>
                    <a:pt x="117331" y="200245"/>
                  </a:lnTo>
                  <a:cubicBezTo>
                    <a:pt x="117387" y="200245"/>
                    <a:pt x="117436" y="200238"/>
                    <a:pt x="117486" y="200231"/>
                  </a:cubicBezTo>
                  <a:cubicBezTo>
                    <a:pt x="121297" y="199352"/>
                    <a:pt x="129266" y="197432"/>
                    <a:pt x="131313" y="196602"/>
                  </a:cubicBezTo>
                  <a:cubicBezTo>
                    <a:pt x="132733" y="196032"/>
                    <a:pt x="135104" y="195772"/>
                    <a:pt x="138592" y="195392"/>
                  </a:cubicBezTo>
                  <a:lnTo>
                    <a:pt x="138592" y="195392"/>
                  </a:lnTo>
                  <a:cubicBezTo>
                    <a:pt x="141412" y="195090"/>
                    <a:pt x="144957" y="194703"/>
                    <a:pt x="149331" y="194007"/>
                  </a:cubicBezTo>
                  <a:cubicBezTo>
                    <a:pt x="157159" y="192755"/>
                    <a:pt x="172505" y="178576"/>
                    <a:pt x="179194" y="171642"/>
                  </a:cubicBezTo>
                  <a:cubicBezTo>
                    <a:pt x="186571" y="163666"/>
                    <a:pt x="201538" y="147293"/>
                    <a:pt x="202361" y="145633"/>
                  </a:cubicBezTo>
                  <a:cubicBezTo>
                    <a:pt x="203394" y="143552"/>
                    <a:pt x="215752" y="119625"/>
                    <a:pt x="220386" y="115982"/>
                  </a:cubicBezTo>
                  <a:cubicBezTo>
                    <a:pt x="223403" y="113612"/>
                    <a:pt x="228840" y="104596"/>
                    <a:pt x="232961" y="97753"/>
                  </a:cubicBezTo>
                  <a:cubicBezTo>
                    <a:pt x="235163" y="94102"/>
                    <a:pt x="236991" y="91064"/>
                    <a:pt x="237892" y="89981"/>
                  </a:cubicBezTo>
                  <a:cubicBezTo>
                    <a:pt x="239854" y="87597"/>
                    <a:pt x="238855" y="80310"/>
                    <a:pt x="238011" y="76478"/>
                  </a:cubicBezTo>
                  <a:cubicBezTo>
                    <a:pt x="237941" y="76154"/>
                    <a:pt x="237659" y="75936"/>
                    <a:pt x="237329" y="75936"/>
                  </a:cubicBezTo>
                  <a:lnTo>
                    <a:pt x="230380" y="75936"/>
                  </a:lnTo>
                  <a:cubicBezTo>
                    <a:pt x="230239" y="75936"/>
                    <a:pt x="230106" y="75978"/>
                    <a:pt x="229986" y="76056"/>
                  </a:cubicBezTo>
                  <a:cubicBezTo>
                    <a:pt x="228355" y="77174"/>
                    <a:pt x="224824" y="79769"/>
                    <a:pt x="222440" y="82174"/>
                  </a:cubicBezTo>
                  <a:cubicBezTo>
                    <a:pt x="220035" y="84607"/>
                    <a:pt x="214169" y="83293"/>
                    <a:pt x="211335" y="82259"/>
                  </a:cubicBezTo>
                  <a:cubicBezTo>
                    <a:pt x="211194" y="82209"/>
                    <a:pt x="211074" y="82111"/>
                    <a:pt x="210990" y="81984"/>
                  </a:cubicBezTo>
                  <a:lnTo>
                    <a:pt x="205659" y="73664"/>
                  </a:lnTo>
                  <a:cubicBezTo>
                    <a:pt x="205532" y="73460"/>
                    <a:pt x="205511" y="73207"/>
                    <a:pt x="205617" y="72989"/>
                  </a:cubicBezTo>
                  <a:cubicBezTo>
                    <a:pt x="207052" y="69923"/>
                    <a:pt x="209928" y="64134"/>
                    <a:pt x="211117" y="62932"/>
                  </a:cubicBezTo>
                  <a:cubicBezTo>
                    <a:pt x="212664" y="61371"/>
                    <a:pt x="219866" y="57734"/>
                    <a:pt x="222440" y="57734"/>
                  </a:cubicBezTo>
                  <a:cubicBezTo>
                    <a:pt x="224416" y="57734"/>
                    <a:pt x="223396" y="54555"/>
                    <a:pt x="222559" y="52762"/>
                  </a:cubicBezTo>
                  <a:cubicBezTo>
                    <a:pt x="222482" y="52614"/>
                    <a:pt x="222468" y="52445"/>
                    <a:pt x="222510" y="52277"/>
                  </a:cubicBezTo>
                  <a:cubicBezTo>
                    <a:pt x="223558" y="48197"/>
                    <a:pt x="225534" y="40004"/>
                    <a:pt x="225534" y="37964"/>
                  </a:cubicBezTo>
                  <a:cubicBezTo>
                    <a:pt x="225534" y="35369"/>
                    <a:pt x="222960" y="23406"/>
                    <a:pt x="222440" y="21845"/>
                  </a:cubicBezTo>
                  <a:cubicBezTo>
                    <a:pt x="222264" y="21303"/>
                    <a:pt x="221469" y="19207"/>
                    <a:pt x="220485" y="16612"/>
                  </a:cubicBezTo>
                  <a:lnTo>
                    <a:pt x="220485" y="16612"/>
                  </a:lnTo>
                  <a:cubicBezTo>
                    <a:pt x="218628" y="11703"/>
                    <a:pt x="216089" y="5000"/>
                    <a:pt x="215752" y="3636"/>
                  </a:cubicBezTo>
                  <a:cubicBezTo>
                    <a:pt x="215238" y="1561"/>
                    <a:pt x="207509" y="0"/>
                    <a:pt x="205455" y="0"/>
                  </a:cubicBezTo>
                  <a:lnTo>
                    <a:pt x="187429" y="0"/>
                  </a:lnTo>
                  <a:cubicBezTo>
                    <a:pt x="183786" y="0"/>
                    <a:pt x="175719" y="5697"/>
                    <a:pt x="172829" y="7729"/>
                  </a:cubicBezTo>
                  <a:cubicBezTo>
                    <a:pt x="172456" y="7997"/>
                    <a:pt x="172168" y="8201"/>
                    <a:pt x="171985" y="8320"/>
                  </a:cubicBezTo>
                  <a:cubicBezTo>
                    <a:pt x="170445" y="9361"/>
                    <a:pt x="155513" y="24960"/>
                    <a:pt x="152426" y="30165"/>
                  </a:cubicBezTo>
                  <a:cubicBezTo>
                    <a:pt x="149331" y="35369"/>
                    <a:pt x="144696" y="40567"/>
                    <a:pt x="142123" y="40567"/>
                  </a:cubicBezTo>
                  <a:cubicBezTo>
                    <a:pt x="140146" y="40567"/>
                    <a:pt x="138472" y="44864"/>
                    <a:pt x="136876" y="48971"/>
                  </a:cubicBezTo>
                  <a:cubicBezTo>
                    <a:pt x="136390" y="50216"/>
                    <a:pt x="135912" y="51447"/>
                    <a:pt x="135434" y="52530"/>
                  </a:cubicBezTo>
                  <a:cubicBezTo>
                    <a:pt x="133683" y="56511"/>
                    <a:pt x="125602" y="57109"/>
                    <a:pt x="120060" y="57516"/>
                  </a:cubicBezTo>
                  <a:cubicBezTo>
                    <a:pt x="119082" y="57587"/>
                    <a:pt x="118182" y="57657"/>
                    <a:pt x="117415" y="57734"/>
                  </a:cubicBezTo>
                  <a:cubicBezTo>
                    <a:pt x="114623" y="58016"/>
                    <a:pt x="110783" y="56468"/>
                    <a:pt x="107112" y="54991"/>
                  </a:cubicBezTo>
                  <a:cubicBezTo>
                    <a:pt x="103996" y="53732"/>
                    <a:pt x="101007" y="52530"/>
                    <a:pt x="98876" y="52530"/>
                  </a:cubicBezTo>
                  <a:cubicBezTo>
                    <a:pt x="95029" y="52530"/>
                    <a:pt x="87286" y="61483"/>
                    <a:pt x="83882" y="65421"/>
                  </a:cubicBezTo>
                  <a:cubicBezTo>
                    <a:pt x="83178" y="66230"/>
                    <a:pt x="82665" y="66828"/>
                    <a:pt x="82405" y="67095"/>
                  </a:cubicBezTo>
                  <a:cubicBezTo>
                    <a:pt x="80857" y="68657"/>
                    <a:pt x="71075" y="75936"/>
                    <a:pt x="65926" y="75936"/>
                  </a:cubicBezTo>
                  <a:cubicBezTo>
                    <a:pt x="62916" y="75936"/>
                    <a:pt x="62192" y="71850"/>
                    <a:pt x="61186" y="66174"/>
                  </a:cubicBezTo>
                  <a:cubicBezTo>
                    <a:pt x="60476" y="62137"/>
                    <a:pt x="59618" y="57284"/>
                    <a:pt x="57691" y="52530"/>
                  </a:cubicBezTo>
                  <a:cubicBezTo>
                    <a:pt x="56418" y="49386"/>
                    <a:pt x="54378" y="47016"/>
                    <a:pt x="52064" y="45244"/>
                  </a:cubicBezTo>
                  <a:cubicBezTo>
                    <a:pt x="51621" y="44899"/>
                    <a:pt x="50995" y="45230"/>
                    <a:pt x="50995" y="45792"/>
                  </a:cubicBezTo>
                  <a:lnTo>
                    <a:pt x="50995" y="105608"/>
                  </a:lnTo>
                  <a:cubicBezTo>
                    <a:pt x="50995" y="105904"/>
                    <a:pt x="50812" y="106171"/>
                    <a:pt x="50538" y="106270"/>
                  </a:cubicBezTo>
                  <a:cubicBezTo>
                    <a:pt x="44173" y="108555"/>
                    <a:pt x="31218" y="112522"/>
                    <a:pt x="26795" y="111305"/>
                  </a:cubicBezTo>
                  <a:cubicBezTo>
                    <a:pt x="22532" y="110130"/>
                    <a:pt x="17026" y="109477"/>
                    <a:pt x="14388" y="109259"/>
                  </a:cubicBezTo>
                  <a:cubicBezTo>
                    <a:pt x="14107" y="109237"/>
                    <a:pt x="13868" y="109055"/>
                    <a:pt x="13769" y="108787"/>
                  </a:cubicBezTo>
                  <a:cubicBezTo>
                    <a:pt x="12454" y="105193"/>
                    <a:pt x="9247" y="98582"/>
                    <a:pt x="5688" y="97780"/>
                  </a:cubicBezTo>
                  <a:cubicBezTo>
                    <a:pt x="3360" y="97260"/>
                    <a:pt x="2980" y="98969"/>
                    <a:pt x="2594" y="100742"/>
                  </a:cubicBezTo>
                  <a:close/>
                  <a:moveTo>
                    <a:pt x="180572" y="110264"/>
                  </a:moveTo>
                  <a:cubicBezTo>
                    <a:pt x="180685" y="110264"/>
                    <a:pt x="180790" y="110285"/>
                    <a:pt x="180888" y="110342"/>
                  </a:cubicBezTo>
                  <a:cubicBezTo>
                    <a:pt x="183012" y="111474"/>
                    <a:pt x="187408" y="115033"/>
                    <a:pt x="186403" y="118584"/>
                  </a:cubicBezTo>
                  <a:cubicBezTo>
                    <a:pt x="185376" y="122227"/>
                    <a:pt x="183315" y="124830"/>
                    <a:pt x="180741" y="126904"/>
                  </a:cubicBezTo>
                  <a:cubicBezTo>
                    <a:pt x="179904" y="127587"/>
                    <a:pt x="178687" y="128480"/>
                    <a:pt x="177386" y="129436"/>
                  </a:cubicBezTo>
                  <a:cubicBezTo>
                    <a:pt x="174692" y="131420"/>
                    <a:pt x="171654" y="133656"/>
                    <a:pt x="170958" y="134711"/>
                  </a:cubicBezTo>
                  <a:cubicBezTo>
                    <a:pt x="170198" y="135865"/>
                    <a:pt x="167913" y="138882"/>
                    <a:pt x="166618" y="140563"/>
                  </a:cubicBezTo>
                  <a:cubicBezTo>
                    <a:pt x="166443" y="140795"/>
                    <a:pt x="166140" y="140893"/>
                    <a:pt x="165859" y="140795"/>
                  </a:cubicBezTo>
                  <a:cubicBezTo>
                    <a:pt x="163475" y="139965"/>
                    <a:pt x="159114" y="137820"/>
                    <a:pt x="157574" y="134711"/>
                  </a:cubicBezTo>
                  <a:cubicBezTo>
                    <a:pt x="156125" y="131792"/>
                    <a:pt x="154318" y="128930"/>
                    <a:pt x="153312" y="127453"/>
                  </a:cubicBezTo>
                  <a:cubicBezTo>
                    <a:pt x="153101" y="127143"/>
                    <a:pt x="153164" y="126729"/>
                    <a:pt x="153453" y="126496"/>
                  </a:cubicBezTo>
                  <a:lnTo>
                    <a:pt x="163236" y="118584"/>
                  </a:lnTo>
                  <a:lnTo>
                    <a:pt x="173335" y="110419"/>
                  </a:lnTo>
                  <a:cubicBezTo>
                    <a:pt x="173462" y="110320"/>
                    <a:pt x="173616" y="110264"/>
                    <a:pt x="173778" y="110264"/>
                  </a:cubicBezTo>
                  <a:lnTo>
                    <a:pt x="180572" y="11026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2" name="Freihandform: Form 157">
              <a:extLst>
                <a:ext uri="{FF2B5EF4-FFF2-40B4-BE49-F238E27FC236}">
                  <a16:creationId xmlns:a16="http://schemas.microsoft.com/office/drawing/2014/main" id="{48E18138-FDE9-9F4C-A857-FE61A5F898BD}"/>
                </a:ext>
              </a:extLst>
            </p:cNvPr>
            <p:cNvSpPr/>
            <p:nvPr/>
          </p:nvSpPr>
          <p:spPr>
            <a:xfrm>
              <a:off x="6569194" y="4958981"/>
              <a:ext cx="33362" cy="30568"/>
            </a:xfrm>
            <a:custGeom>
              <a:avLst/>
              <a:gdLst>
                <a:gd name="connsiteX0" fmla="*/ 33215 w 33362"/>
                <a:gd name="connsiteY0" fmla="*/ 8320 h 30568"/>
                <a:gd name="connsiteX1" fmla="*/ 27701 w 33362"/>
                <a:gd name="connsiteY1" fmla="*/ 78 h 30568"/>
                <a:gd name="connsiteX2" fmla="*/ 27385 w 33362"/>
                <a:gd name="connsiteY2" fmla="*/ 0 h 30568"/>
                <a:gd name="connsiteX3" fmla="*/ 20591 w 33362"/>
                <a:gd name="connsiteY3" fmla="*/ 0 h 30568"/>
                <a:gd name="connsiteX4" fmla="*/ 20148 w 33362"/>
                <a:gd name="connsiteY4" fmla="*/ 155 h 30568"/>
                <a:gd name="connsiteX5" fmla="*/ 10048 w 33362"/>
                <a:gd name="connsiteY5" fmla="*/ 8320 h 30568"/>
                <a:gd name="connsiteX6" fmla="*/ 265 w 33362"/>
                <a:gd name="connsiteY6" fmla="*/ 16232 h 30568"/>
                <a:gd name="connsiteX7" fmla="*/ 125 w 33362"/>
                <a:gd name="connsiteY7" fmla="*/ 17189 h 30568"/>
                <a:gd name="connsiteX8" fmla="*/ 4387 w 33362"/>
                <a:gd name="connsiteY8" fmla="*/ 24447 h 30568"/>
                <a:gd name="connsiteX9" fmla="*/ 12672 w 33362"/>
                <a:gd name="connsiteY9" fmla="*/ 30531 h 30568"/>
                <a:gd name="connsiteX10" fmla="*/ 13431 w 33362"/>
                <a:gd name="connsiteY10" fmla="*/ 30298 h 30568"/>
                <a:gd name="connsiteX11" fmla="*/ 17771 w 33362"/>
                <a:gd name="connsiteY11" fmla="*/ 24447 h 30568"/>
                <a:gd name="connsiteX12" fmla="*/ 27554 w 33362"/>
                <a:gd name="connsiteY12" fmla="*/ 16640 h 30568"/>
                <a:gd name="connsiteX13" fmla="*/ 33215 w 33362"/>
                <a:gd name="connsiteY13" fmla="*/ 8320 h 3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362" h="30568">
                  <a:moveTo>
                    <a:pt x="33215" y="8320"/>
                  </a:moveTo>
                  <a:cubicBezTo>
                    <a:pt x="34221" y="4761"/>
                    <a:pt x="29825" y="1210"/>
                    <a:pt x="27701" y="78"/>
                  </a:cubicBezTo>
                  <a:cubicBezTo>
                    <a:pt x="27603" y="21"/>
                    <a:pt x="27497" y="0"/>
                    <a:pt x="27385" y="0"/>
                  </a:cubicBezTo>
                  <a:lnTo>
                    <a:pt x="20591" y="0"/>
                  </a:lnTo>
                  <a:cubicBezTo>
                    <a:pt x="20429" y="0"/>
                    <a:pt x="20274" y="56"/>
                    <a:pt x="20148" y="155"/>
                  </a:cubicBezTo>
                  <a:lnTo>
                    <a:pt x="10048" y="8320"/>
                  </a:lnTo>
                  <a:lnTo>
                    <a:pt x="265" y="16232"/>
                  </a:lnTo>
                  <a:cubicBezTo>
                    <a:pt x="-23" y="16464"/>
                    <a:pt x="-86" y="16879"/>
                    <a:pt x="125" y="17189"/>
                  </a:cubicBezTo>
                  <a:cubicBezTo>
                    <a:pt x="1130" y="18666"/>
                    <a:pt x="2938" y="21528"/>
                    <a:pt x="4387" y="24447"/>
                  </a:cubicBezTo>
                  <a:cubicBezTo>
                    <a:pt x="5927" y="27556"/>
                    <a:pt x="10288" y="29701"/>
                    <a:pt x="12672" y="30531"/>
                  </a:cubicBezTo>
                  <a:cubicBezTo>
                    <a:pt x="12953" y="30629"/>
                    <a:pt x="13255" y="30531"/>
                    <a:pt x="13431" y="30298"/>
                  </a:cubicBezTo>
                  <a:cubicBezTo>
                    <a:pt x="14725" y="28618"/>
                    <a:pt x="17011" y="25601"/>
                    <a:pt x="17771" y="24447"/>
                  </a:cubicBezTo>
                  <a:cubicBezTo>
                    <a:pt x="18798" y="22886"/>
                    <a:pt x="24980" y="18722"/>
                    <a:pt x="27554" y="16640"/>
                  </a:cubicBezTo>
                  <a:cubicBezTo>
                    <a:pt x="30128" y="14566"/>
                    <a:pt x="32189" y="11963"/>
                    <a:pt x="33215" y="832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3" name="Freihandform: Form 158">
              <a:extLst>
                <a:ext uri="{FF2B5EF4-FFF2-40B4-BE49-F238E27FC236}">
                  <a16:creationId xmlns:a16="http://schemas.microsoft.com/office/drawing/2014/main" id="{A0CD7A99-B006-CA43-9544-D69DDD996983}"/>
                </a:ext>
              </a:extLst>
            </p:cNvPr>
            <p:cNvSpPr/>
            <p:nvPr/>
          </p:nvSpPr>
          <p:spPr>
            <a:xfrm>
              <a:off x="6621089" y="4906113"/>
              <a:ext cx="25548" cy="25819"/>
            </a:xfrm>
            <a:custGeom>
              <a:avLst/>
              <a:gdLst>
                <a:gd name="connsiteX0" fmla="*/ 25087 w 25548"/>
                <a:gd name="connsiteY0" fmla="*/ 17499 h 25819"/>
                <a:gd name="connsiteX1" fmla="*/ 19200 w 25548"/>
                <a:gd name="connsiteY1" fmla="*/ 374 h 25819"/>
                <a:gd name="connsiteX2" fmla="*/ 18321 w 25548"/>
                <a:gd name="connsiteY2" fmla="*/ 50 h 25819"/>
                <a:gd name="connsiteX3" fmla="*/ 7279 w 25548"/>
                <a:gd name="connsiteY3" fmla="*/ 4411 h 25819"/>
                <a:gd name="connsiteX4" fmla="*/ 6942 w 25548"/>
                <a:gd name="connsiteY4" fmla="*/ 4692 h 25819"/>
                <a:gd name="connsiteX5" fmla="*/ 106 w 25548"/>
                <a:gd name="connsiteY5" fmla="*/ 15544 h 25819"/>
                <a:gd name="connsiteX6" fmla="*/ 127 w 25548"/>
                <a:gd name="connsiteY6" fmla="*/ 16325 h 25819"/>
                <a:gd name="connsiteX7" fmla="*/ 4881 w 25548"/>
                <a:gd name="connsiteY7" fmla="*/ 23048 h 25819"/>
                <a:gd name="connsiteX8" fmla="*/ 5205 w 25548"/>
                <a:gd name="connsiteY8" fmla="*/ 23294 h 25819"/>
                <a:gd name="connsiteX9" fmla="*/ 13757 w 25548"/>
                <a:gd name="connsiteY9" fmla="*/ 25819 h 25819"/>
                <a:gd name="connsiteX10" fmla="*/ 25087 w 25548"/>
                <a:gd name="connsiteY10" fmla="*/ 17499 h 2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548" h="25819">
                  <a:moveTo>
                    <a:pt x="25087" y="17499"/>
                  </a:moveTo>
                  <a:cubicBezTo>
                    <a:pt x="27078" y="16698"/>
                    <a:pt x="22161" y="6085"/>
                    <a:pt x="19200" y="374"/>
                  </a:cubicBezTo>
                  <a:cubicBezTo>
                    <a:pt x="19032" y="57"/>
                    <a:pt x="18652" y="-83"/>
                    <a:pt x="18321" y="50"/>
                  </a:cubicBezTo>
                  <a:lnTo>
                    <a:pt x="7279" y="4411"/>
                  </a:lnTo>
                  <a:cubicBezTo>
                    <a:pt x="7139" y="4467"/>
                    <a:pt x="7019" y="4566"/>
                    <a:pt x="6942" y="4692"/>
                  </a:cubicBezTo>
                  <a:lnTo>
                    <a:pt x="106" y="15544"/>
                  </a:lnTo>
                  <a:cubicBezTo>
                    <a:pt x="-42" y="15783"/>
                    <a:pt x="-35" y="16093"/>
                    <a:pt x="127" y="16325"/>
                  </a:cubicBezTo>
                  <a:lnTo>
                    <a:pt x="4881" y="23048"/>
                  </a:lnTo>
                  <a:cubicBezTo>
                    <a:pt x="4959" y="23161"/>
                    <a:pt x="5071" y="23245"/>
                    <a:pt x="5205" y="23294"/>
                  </a:cubicBezTo>
                  <a:cubicBezTo>
                    <a:pt x="7511" y="24188"/>
                    <a:pt x="12153" y="25819"/>
                    <a:pt x="13757" y="25819"/>
                  </a:cubicBezTo>
                  <a:cubicBezTo>
                    <a:pt x="15818" y="25819"/>
                    <a:pt x="22513" y="18540"/>
                    <a:pt x="25087" y="17499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4" name="Freihandform: Form 159">
              <a:extLst>
                <a:ext uri="{FF2B5EF4-FFF2-40B4-BE49-F238E27FC236}">
                  <a16:creationId xmlns:a16="http://schemas.microsoft.com/office/drawing/2014/main" id="{F741E226-F3D1-9142-95B5-1C0014FFF4C6}"/>
                </a:ext>
              </a:extLst>
            </p:cNvPr>
            <p:cNvSpPr/>
            <p:nvPr/>
          </p:nvSpPr>
          <p:spPr>
            <a:xfrm>
              <a:off x="6444327" y="4760607"/>
              <a:ext cx="159563" cy="164046"/>
            </a:xfrm>
            <a:custGeom>
              <a:avLst/>
              <a:gdLst>
                <a:gd name="connsiteX0" fmla="*/ 0 w 159563"/>
                <a:gd name="connsiteY0" fmla="*/ 15845 h 164046"/>
                <a:gd name="connsiteX1" fmla="*/ 0 w 159563"/>
                <a:gd name="connsiteY1" fmla="*/ 15845 h 164046"/>
                <a:gd name="connsiteX2" fmla="*/ 0 w 159563"/>
                <a:gd name="connsiteY2" fmla="*/ 15845 h 164046"/>
                <a:gd name="connsiteX3" fmla="*/ 0 w 159563"/>
                <a:gd name="connsiteY3" fmla="*/ 15845 h 164046"/>
                <a:gd name="connsiteX4" fmla="*/ 8672 w 159563"/>
                <a:gd name="connsiteY4" fmla="*/ 19010 h 164046"/>
                <a:gd name="connsiteX5" fmla="*/ 13405 w 159563"/>
                <a:gd name="connsiteY5" fmla="*/ 21015 h 164046"/>
                <a:gd name="connsiteX6" fmla="*/ 39083 w 159563"/>
                <a:gd name="connsiteY6" fmla="*/ 21493 h 164046"/>
                <a:gd name="connsiteX7" fmla="*/ 48936 w 159563"/>
                <a:gd name="connsiteY7" fmla="*/ 21015 h 164046"/>
                <a:gd name="connsiteX8" fmla="*/ 70042 w 159563"/>
                <a:gd name="connsiteY8" fmla="*/ 15290 h 164046"/>
                <a:gd name="connsiteX9" fmla="*/ 70042 w 159563"/>
                <a:gd name="connsiteY9" fmla="*/ 15290 h 164046"/>
                <a:gd name="connsiteX10" fmla="*/ 70042 w 159563"/>
                <a:gd name="connsiteY10" fmla="*/ 15290 h 164046"/>
                <a:gd name="connsiteX11" fmla="*/ 70042 w 159563"/>
                <a:gd name="connsiteY11" fmla="*/ 15290 h 164046"/>
                <a:gd name="connsiteX12" fmla="*/ 48936 w 159563"/>
                <a:gd name="connsiteY12" fmla="*/ 21015 h 164046"/>
                <a:gd name="connsiteX13" fmla="*/ 39083 w 159563"/>
                <a:gd name="connsiteY13" fmla="*/ 21493 h 164046"/>
                <a:gd name="connsiteX14" fmla="*/ 13405 w 159563"/>
                <a:gd name="connsiteY14" fmla="*/ 21015 h 164046"/>
                <a:gd name="connsiteX15" fmla="*/ 8679 w 159563"/>
                <a:gd name="connsiteY15" fmla="*/ 19010 h 164046"/>
                <a:gd name="connsiteX16" fmla="*/ 8672 w 159563"/>
                <a:gd name="connsiteY16" fmla="*/ 19010 h 164046"/>
                <a:gd name="connsiteX17" fmla="*/ 0 w 159563"/>
                <a:gd name="connsiteY17" fmla="*/ 15845 h 164046"/>
                <a:gd name="connsiteX18" fmla="*/ 22984 w 159563"/>
                <a:gd name="connsiteY18" fmla="*/ 132798 h 164046"/>
                <a:gd name="connsiteX19" fmla="*/ 22674 w 159563"/>
                <a:gd name="connsiteY19" fmla="*/ 132214 h 164046"/>
                <a:gd name="connsiteX20" fmla="*/ 22674 w 159563"/>
                <a:gd name="connsiteY20" fmla="*/ 84129 h 164046"/>
                <a:gd name="connsiteX21" fmla="*/ 23378 w 159563"/>
                <a:gd name="connsiteY21" fmla="*/ 83426 h 164046"/>
                <a:gd name="connsiteX22" fmla="*/ 33815 w 159563"/>
                <a:gd name="connsiteY22" fmla="*/ 83426 h 164046"/>
                <a:gd name="connsiteX23" fmla="*/ 34518 w 159563"/>
                <a:gd name="connsiteY23" fmla="*/ 82723 h 164046"/>
                <a:gd name="connsiteX24" fmla="*/ 34518 w 159563"/>
                <a:gd name="connsiteY24" fmla="*/ 29419 h 164046"/>
                <a:gd name="connsiteX25" fmla="*/ 35116 w 159563"/>
                <a:gd name="connsiteY25" fmla="*/ 28723 h 164046"/>
                <a:gd name="connsiteX26" fmla="*/ 72131 w 159563"/>
                <a:gd name="connsiteY26" fmla="*/ 23167 h 164046"/>
                <a:gd name="connsiteX27" fmla="*/ 72848 w 159563"/>
                <a:gd name="connsiteY27" fmla="*/ 23526 h 164046"/>
                <a:gd name="connsiteX28" fmla="*/ 75450 w 159563"/>
                <a:gd name="connsiteY28" fmla="*/ 28343 h 164046"/>
                <a:gd name="connsiteX29" fmla="*/ 76224 w 159563"/>
                <a:gd name="connsiteY29" fmla="*/ 28695 h 164046"/>
                <a:gd name="connsiteX30" fmla="*/ 96008 w 159563"/>
                <a:gd name="connsiteY30" fmla="*/ 19861 h 164046"/>
                <a:gd name="connsiteX31" fmla="*/ 97865 w 159563"/>
                <a:gd name="connsiteY31" fmla="*/ 19390 h 164046"/>
                <a:gd name="connsiteX32" fmla="*/ 98188 w 159563"/>
                <a:gd name="connsiteY32" fmla="*/ 19763 h 164046"/>
                <a:gd name="connsiteX33" fmla="*/ 98631 w 159563"/>
                <a:gd name="connsiteY33" fmla="*/ 20009 h 164046"/>
                <a:gd name="connsiteX34" fmla="*/ 102936 w 159563"/>
                <a:gd name="connsiteY34" fmla="*/ 20656 h 164046"/>
                <a:gd name="connsiteX35" fmla="*/ 103442 w 159563"/>
                <a:gd name="connsiteY35" fmla="*/ 21001 h 164046"/>
                <a:gd name="connsiteX36" fmla="*/ 127193 w 159563"/>
                <a:gd name="connsiteY36" fmla="*/ 58459 h 164046"/>
                <a:gd name="connsiteX37" fmla="*/ 141610 w 159563"/>
                <a:gd name="connsiteY37" fmla="*/ 77708 h 164046"/>
                <a:gd name="connsiteX38" fmla="*/ 146822 w 159563"/>
                <a:gd name="connsiteY38" fmla="*/ 80402 h 164046"/>
                <a:gd name="connsiteX39" fmla="*/ 159453 w 159563"/>
                <a:gd name="connsiteY39" fmla="*/ 87386 h 164046"/>
                <a:gd name="connsiteX40" fmla="*/ 159116 w 159563"/>
                <a:gd name="connsiteY40" fmla="*/ 88110 h 164046"/>
                <a:gd name="connsiteX41" fmla="*/ 159116 w 159563"/>
                <a:gd name="connsiteY41" fmla="*/ 88110 h 164046"/>
                <a:gd name="connsiteX42" fmla="*/ 144508 w 159563"/>
                <a:gd name="connsiteY42" fmla="*/ 95840 h 164046"/>
                <a:gd name="connsiteX43" fmla="*/ 144508 w 159563"/>
                <a:gd name="connsiteY43" fmla="*/ 95840 h 164046"/>
                <a:gd name="connsiteX44" fmla="*/ 143664 w 159563"/>
                <a:gd name="connsiteY44" fmla="*/ 96430 h 164046"/>
                <a:gd name="connsiteX45" fmla="*/ 124105 w 159563"/>
                <a:gd name="connsiteY45" fmla="*/ 118275 h 164046"/>
                <a:gd name="connsiteX46" fmla="*/ 113802 w 159563"/>
                <a:gd name="connsiteY46" fmla="*/ 128677 h 164046"/>
                <a:gd name="connsiteX47" fmla="*/ 108555 w 159563"/>
                <a:gd name="connsiteY47" fmla="*/ 137081 h 164046"/>
                <a:gd name="connsiteX48" fmla="*/ 108555 w 159563"/>
                <a:gd name="connsiteY48" fmla="*/ 137081 h 164046"/>
                <a:gd name="connsiteX49" fmla="*/ 107113 w 159563"/>
                <a:gd name="connsiteY49" fmla="*/ 140640 h 164046"/>
                <a:gd name="connsiteX50" fmla="*/ 91739 w 159563"/>
                <a:gd name="connsiteY50" fmla="*/ 145626 h 164046"/>
                <a:gd name="connsiteX51" fmla="*/ 89095 w 159563"/>
                <a:gd name="connsiteY51" fmla="*/ 145844 h 164046"/>
                <a:gd name="connsiteX52" fmla="*/ 78791 w 159563"/>
                <a:gd name="connsiteY52" fmla="*/ 143102 h 164046"/>
                <a:gd name="connsiteX53" fmla="*/ 70555 w 159563"/>
                <a:gd name="connsiteY53" fmla="*/ 140640 h 164046"/>
                <a:gd name="connsiteX54" fmla="*/ 55561 w 159563"/>
                <a:gd name="connsiteY54" fmla="*/ 153532 h 164046"/>
                <a:gd name="connsiteX55" fmla="*/ 55561 w 159563"/>
                <a:gd name="connsiteY55" fmla="*/ 153532 h 164046"/>
                <a:gd name="connsiteX56" fmla="*/ 54084 w 159563"/>
                <a:gd name="connsiteY56" fmla="*/ 155205 h 164046"/>
                <a:gd name="connsiteX57" fmla="*/ 37606 w 159563"/>
                <a:gd name="connsiteY57" fmla="*/ 164046 h 164046"/>
                <a:gd name="connsiteX58" fmla="*/ 32872 w 159563"/>
                <a:gd name="connsiteY58" fmla="*/ 154284 h 164046"/>
                <a:gd name="connsiteX59" fmla="*/ 29370 w 159563"/>
                <a:gd name="connsiteY59" fmla="*/ 140640 h 164046"/>
                <a:gd name="connsiteX60" fmla="*/ 22984 w 159563"/>
                <a:gd name="connsiteY60" fmla="*/ 132798 h 164046"/>
                <a:gd name="connsiteX61" fmla="*/ 89095 w 159563"/>
                <a:gd name="connsiteY61" fmla="*/ 14249 h 164046"/>
                <a:gd name="connsiteX62" fmla="*/ 90424 w 159563"/>
                <a:gd name="connsiteY62" fmla="*/ 14404 h 164046"/>
                <a:gd name="connsiteX63" fmla="*/ 90375 w 159563"/>
                <a:gd name="connsiteY63" fmla="*/ 14565 h 164046"/>
                <a:gd name="connsiteX64" fmla="*/ 89088 w 159563"/>
                <a:gd name="connsiteY64" fmla="*/ 14319 h 164046"/>
                <a:gd name="connsiteX65" fmla="*/ 89095 w 159563"/>
                <a:gd name="connsiteY65" fmla="*/ 14249 h 164046"/>
                <a:gd name="connsiteX66" fmla="*/ 89095 w 159563"/>
                <a:gd name="connsiteY66" fmla="*/ 14249 h 164046"/>
                <a:gd name="connsiteX67" fmla="*/ 57488 w 159563"/>
                <a:gd name="connsiteY67" fmla="*/ 0 h 164046"/>
                <a:gd name="connsiteX68" fmla="*/ 57488 w 159563"/>
                <a:gd name="connsiteY68" fmla="*/ 0 h 164046"/>
                <a:gd name="connsiteX69" fmla="*/ 68059 w 159563"/>
                <a:gd name="connsiteY69" fmla="*/ 12878 h 164046"/>
                <a:gd name="connsiteX70" fmla="*/ 68059 w 159563"/>
                <a:gd name="connsiteY70" fmla="*/ 12878 h 164046"/>
                <a:gd name="connsiteX71" fmla="*/ 68059 w 159563"/>
                <a:gd name="connsiteY71" fmla="*/ 12878 h 164046"/>
                <a:gd name="connsiteX72" fmla="*/ 68059 w 159563"/>
                <a:gd name="connsiteY72" fmla="*/ 12878 h 164046"/>
                <a:gd name="connsiteX73" fmla="*/ 57488 w 159563"/>
                <a:gd name="connsiteY73" fmla="*/ 0 h 164046"/>
                <a:gd name="connsiteX74" fmla="*/ 57488 w 159563"/>
                <a:gd name="connsiteY74" fmla="*/ 0 h 164046"/>
                <a:gd name="connsiteX75" fmla="*/ 57488 w 159563"/>
                <a:gd name="connsiteY75" fmla="*/ 0 h 16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159563" h="164046">
                  <a:moveTo>
                    <a:pt x="0" y="15845"/>
                  </a:moveTo>
                  <a:cubicBezTo>
                    <a:pt x="0" y="15845"/>
                    <a:pt x="0" y="15845"/>
                    <a:pt x="0" y="15845"/>
                  </a:cubicBezTo>
                  <a:lnTo>
                    <a:pt x="0" y="15845"/>
                  </a:lnTo>
                  <a:cubicBezTo>
                    <a:pt x="0" y="15845"/>
                    <a:pt x="0" y="15845"/>
                    <a:pt x="0" y="15845"/>
                  </a:cubicBezTo>
                  <a:cubicBezTo>
                    <a:pt x="3045" y="16521"/>
                    <a:pt x="5753" y="17716"/>
                    <a:pt x="8672" y="19010"/>
                  </a:cubicBezTo>
                  <a:cubicBezTo>
                    <a:pt x="10170" y="19671"/>
                    <a:pt x="11724" y="20361"/>
                    <a:pt x="13405" y="21015"/>
                  </a:cubicBezTo>
                  <a:cubicBezTo>
                    <a:pt x="18124" y="22843"/>
                    <a:pt x="29750" y="22091"/>
                    <a:pt x="39083" y="21493"/>
                  </a:cubicBezTo>
                  <a:cubicBezTo>
                    <a:pt x="42993" y="21240"/>
                    <a:pt x="46502" y="21015"/>
                    <a:pt x="48936" y="21015"/>
                  </a:cubicBezTo>
                  <a:cubicBezTo>
                    <a:pt x="55526" y="21015"/>
                    <a:pt x="65752" y="17196"/>
                    <a:pt x="70042" y="15290"/>
                  </a:cubicBezTo>
                  <a:cubicBezTo>
                    <a:pt x="70042" y="15290"/>
                    <a:pt x="70042" y="15290"/>
                    <a:pt x="70042" y="15290"/>
                  </a:cubicBezTo>
                  <a:lnTo>
                    <a:pt x="70042" y="15290"/>
                  </a:lnTo>
                  <a:cubicBezTo>
                    <a:pt x="70042" y="15290"/>
                    <a:pt x="70042" y="15290"/>
                    <a:pt x="70042" y="15290"/>
                  </a:cubicBezTo>
                  <a:cubicBezTo>
                    <a:pt x="65752" y="17196"/>
                    <a:pt x="55526" y="21015"/>
                    <a:pt x="48936" y="21015"/>
                  </a:cubicBezTo>
                  <a:cubicBezTo>
                    <a:pt x="46502" y="21015"/>
                    <a:pt x="42993" y="21240"/>
                    <a:pt x="39083" y="21493"/>
                  </a:cubicBezTo>
                  <a:cubicBezTo>
                    <a:pt x="29750" y="22091"/>
                    <a:pt x="18124" y="22843"/>
                    <a:pt x="13405" y="21015"/>
                  </a:cubicBezTo>
                  <a:cubicBezTo>
                    <a:pt x="11724" y="20361"/>
                    <a:pt x="10170" y="19671"/>
                    <a:pt x="8679" y="19010"/>
                  </a:cubicBezTo>
                  <a:lnTo>
                    <a:pt x="8672" y="19010"/>
                  </a:lnTo>
                  <a:cubicBezTo>
                    <a:pt x="5753" y="17716"/>
                    <a:pt x="3045" y="16521"/>
                    <a:pt x="0" y="15845"/>
                  </a:cubicBezTo>
                  <a:close/>
                  <a:moveTo>
                    <a:pt x="22984" y="132798"/>
                  </a:moveTo>
                  <a:cubicBezTo>
                    <a:pt x="22794" y="132665"/>
                    <a:pt x="22674" y="132447"/>
                    <a:pt x="22674" y="132214"/>
                  </a:cubicBezTo>
                  <a:lnTo>
                    <a:pt x="22674" y="84129"/>
                  </a:lnTo>
                  <a:cubicBezTo>
                    <a:pt x="22674" y="83743"/>
                    <a:pt x="22991" y="83426"/>
                    <a:pt x="23378" y="83426"/>
                  </a:cubicBezTo>
                  <a:lnTo>
                    <a:pt x="33815" y="83426"/>
                  </a:lnTo>
                  <a:cubicBezTo>
                    <a:pt x="34202" y="83426"/>
                    <a:pt x="34518" y="83110"/>
                    <a:pt x="34518" y="82723"/>
                  </a:cubicBezTo>
                  <a:lnTo>
                    <a:pt x="34518" y="29419"/>
                  </a:lnTo>
                  <a:cubicBezTo>
                    <a:pt x="34518" y="29075"/>
                    <a:pt x="34771" y="28779"/>
                    <a:pt x="35116" y="28723"/>
                  </a:cubicBezTo>
                  <a:lnTo>
                    <a:pt x="72131" y="23167"/>
                  </a:lnTo>
                  <a:cubicBezTo>
                    <a:pt x="72419" y="23125"/>
                    <a:pt x="72708" y="23265"/>
                    <a:pt x="72848" y="23526"/>
                  </a:cubicBezTo>
                  <a:lnTo>
                    <a:pt x="75450" y="28343"/>
                  </a:lnTo>
                  <a:cubicBezTo>
                    <a:pt x="75605" y="28624"/>
                    <a:pt x="75915" y="28765"/>
                    <a:pt x="76224" y="28695"/>
                  </a:cubicBezTo>
                  <a:cubicBezTo>
                    <a:pt x="82716" y="27190"/>
                    <a:pt x="93589" y="23765"/>
                    <a:pt x="96008" y="19861"/>
                  </a:cubicBezTo>
                  <a:cubicBezTo>
                    <a:pt x="96353" y="19299"/>
                    <a:pt x="97422" y="18898"/>
                    <a:pt x="97865" y="19390"/>
                  </a:cubicBezTo>
                  <a:cubicBezTo>
                    <a:pt x="97978" y="19517"/>
                    <a:pt x="98083" y="19643"/>
                    <a:pt x="98188" y="19763"/>
                  </a:cubicBezTo>
                  <a:cubicBezTo>
                    <a:pt x="98301" y="19897"/>
                    <a:pt x="98456" y="19988"/>
                    <a:pt x="98631" y="20009"/>
                  </a:cubicBezTo>
                  <a:lnTo>
                    <a:pt x="102936" y="20656"/>
                  </a:lnTo>
                  <a:cubicBezTo>
                    <a:pt x="103154" y="20691"/>
                    <a:pt x="103336" y="20811"/>
                    <a:pt x="103442" y="21001"/>
                  </a:cubicBezTo>
                  <a:cubicBezTo>
                    <a:pt x="111502" y="35060"/>
                    <a:pt x="124379" y="56686"/>
                    <a:pt x="127193" y="58459"/>
                  </a:cubicBezTo>
                  <a:cubicBezTo>
                    <a:pt x="131307" y="61061"/>
                    <a:pt x="140577" y="74586"/>
                    <a:pt x="141610" y="77708"/>
                  </a:cubicBezTo>
                  <a:cubicBezTo>
                    <a:pt x="141962" y="78777"/>
                    <a:pt x="144065" y="79474"/>
                    <a:pt x="146822" y="80402"/>
                  </a:cubicBezTo>
                  <a:cubicBezTo>
                    <a:pt x="150760" y="81717"/>
                    <a:pt x="156035" y="83475"/>
                    <a:pt x="159453" y="87386"/>
                  </a:cubicBezTo>
                  <a:cubicBezTo>
                    <a:pt x="159707" y="87674"/>
                    <a:pt x="159495" y="88110"/>
                    <a:pt x="159116" y="88110"/>
                  </a:cubicBezTo>
                  <a:lnTo>
                    <a:pt x="159116" y="88110"/>
                  </a:lnTo>
                  <a:cubicBezTo>
                    <a:pt x="155473" y="88110"/>
                    <a:pt x="147399" y="93807"/>
                    <a:pt x="144508" y="95840"/>
                  </a:cubicBezTo>
                  <a:lnTo>
                    <a:pt x="144508" y="95840"/>
                  </a:lnTo>
                  <a:cubicBezTo>
                    <a:pt x="144135" y="96107"/>
                    <a:pt x="143847" y="96311"/>
                    <a:pt x="143664" y="96430"/>
                  </a:cubicBezTo>
                  <a:cubicBezTo>
                    <a:pt x="142124" y="97471"/>
                    <a:pt x="127193" y="113071"/>
                    <a:pt x="124105" y="118275"/>
                  </a:cubicBezTo>
                  <a:cubicBezTo>
                    <a:pt x="121011" y="123479"/>
                    <a:pt x="116376" y="128677"/>
                    <a:pt x="113802" y="128677"/>
                  </a:cubicBezTo>
                  <a:cubicBezTo>
                    <a:pt x="111826" y="128677"/>
                    <a:pt x="110151" y="132974"/>
                    <a:pt x="108555" y="137081"/>
                  </a:cubicBezTo>
                  <a:lnTo>
                    <a:pt x="108555" y="137081"/>
                  </a:lnTo>
                  <a:cubicBezTo>
                    <a:pt x="108070" y="138326"/>
                    <a:pt x="107592" y="139557"/>
                    <a:pt x="107113" y="140640"/>
                  </a:cubicBezTo>
                  <a:cubicBezTo>
                    <a:pt x="105362" y="144621"/>
                    <a:pt x="97281" y="145219"/>
                    <a:pt x="91739" y="145626"/>
                  </a:cubicBezTo>
                  <a:cubicBezTo>
                    <a:pt x="90761" y="145697"/>
                    <a:pt x="89861" y="145760"/>
                    <a:pt x="89095" y="145844"/>
                  </a:cubicBezTo>
                  <a:cubicBezTo>
                    <a:pt x="86303" y="146126"/>
                    <a:pt x="82463" y="144579"/>
                    <a:pt x="78791" y="143102"/>
                  </a:cubicBezTo>
                  <a:cubicBezTo>
                    <a:pt x="75675" y="141843"/>
                    <a:pt x="72686" y="140640"/>
                    <a:pt x="70555" y="140640"/>
                  </a:cubicBezTo>
                  <a:cubicBezTo>
                    <a:pt x="66708" y="140640"/>
                    <a:pt x="58965" y="149593"/>
                    <a:pt x="55561" y="153532"/>
                  </a:cubicBezTo>
                  <a:lnTo>
                    <a:pt x="55561" y="153532"/>
                  </a:lnTo>
                  <a:cubicBezTo>
                    <a:pt x="54858" y="154340"/>
                    <a:pt x="54344" y="154938"/>
                    <a:pt x="54084" y="155205"/>
                  </a:cubicBezTo>
                  <a:cubicBezTo>
                    <a:pt x="52537" y="156767"/>
                    <a:pt x="42754" y="164046"/>
                    <a:pt x="37606" y="164046"/>
                  </a:cubicBezTo>
                  <a:cubicBezTo>
                    <a:pt x="34596" y="164046"/>
                    <a:pt x="33871" y="159960"/>
                    <a:pt x="32872" y="154284"/>
                  </a:cubicBezTo>
                  <a:cubicBezTo>
                    <a:pt x="32155" y="150247"/>
                    <a:pt x="31297" y="145394"/>
                    <a:pt x="29370" y="140640"/>
                  </a:cubicBezTo>
                  <a:cubicBezTo>
                    <a:pt x="27956" y="137159"/>
                    <a:pt x="25607" y="134620"/>
                    <a:pt x="22984" y="132798"/>
                  </a:cubicBezTo>
                  <a:close/>
                  <a:moveTo>
                    <a:pt x="89095" y="14249"/>
                  </a:moveTo>
                  <a:cubicBezTo>
                    <a:pt x="89531" y="14249"/>
                    <a:pt x="89981" y="14305"/>
                    <a:pt x="90424" y="14404"/>
                  </a:cubicBezTo>
                  <a:cubicBezTo>
                    <a:pt x="90600" y="14439"/>
                    <a:pt x="90551" y="14601"/>
                    <a:pt x="90375" y="14565"/>
                  </a:cubicBezTo>
                  <a:cubicBezTo>
                    <a:pt x="89960" y="14481"/>
                    <a:pt x="89531" y="14397"/>
                    <a:pt x="89088" y="14319"/>
                  </a:cubicBezTo>
                  <a:cubicBezTo>
                    <a:pt x="89045" y="14312"/>
                    <a:pt x="89052" y="14249"/>
                    <a:pt x="89095" y="14249"/>
                  </a:cubicBezTo>
                  <a:lnTo>
                    <a:pt x="89095" y="14249"/>
                  </a:lnTo>
                  <a:close/>
                  <a:moveTo>
                    <a:pt x="57488" y="0"/>
                  </a:moveTo>
                  <a:cubicBezTo>
                    <a:pt x="57488" y="0"/>
                    <a:pt x="57488" y="0"/>
                    <a:pt x="57488" y="0"/>
                  </a:cubicBezTo>
                  <a:lnTo>
                    <a:pt x="68059" y="12878"/>
                  </a:lnTo>
                  <a:cubicBezTo>
                    <a:pt x="68059" y="12878"/>
                    <a:pt x="68059" y="12878"/>
                    <a:pt x="68059" y="12878"/>
                  </a:cubicBezTo>
                  <a:lnTo>
                    <a:pt x="68059" y="12878"/>
                  </a:lnTo>
                  <a:cubicBezTo>
                    <a:pt x="68059" y="12878"/>
                    <a:pt x="68059" y="12878"/>
                    <a:pt x="68059" y="12878"/>
                  </a:cubicBezTo>
                  <a:lnTo>
                    <a:pt x="57488" y="0"/>
                  </a:lnTo>
                  <a:cubicBezTo>
                    <a:pt x="57488" y="0"/>
                    <a:pt x="57488" y="0"/>
                    <a:pt x="57488" y="0"/>
                  </a:cubicBezTo>
                  <a:lnTo>
                    <a:pt x="57488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5" name="Freihandform: Form 160">
              <a:extLst>
                <a:ext uri="{FF2B5EF4-FFF2-40B4-BE49-F238E27FC236}">
                  <a16:creationId xmlns:a16="http://schemas.microsoft.com/office/drawing/2014/main" id="{98F9BB83-E4FA-1047-B8A5-130BC86F6975}"/>
                </a:ext>
              </a:extLst>
            </p:cNvPr>
            <p:cNvSpPr/>
            <p:nvPr/>
          </p:nvSpPr>
          <p:spPr>
            <a:xfrm>
              <a:off x="6539802" y="4746575"/>
              <a:ext cx="114837" cy="105921"/>
            </a:xfrm>
            <a:custGeom>
              <a:avLst/>
              <a:gdLst>
                <a:gd name="connsiteX0" fmla="*/ 34 w 114837"/>
                <a:gd name="connsiteY0" fmla="*/ 32676 h 105921"/>
                <a:gd name="connsiteX1" fmla="*/ 1005 w 114837"/>
                <a:gd name="connsiteY1" fmla="*/ 32022 h 105921"/>
                <a:gd name="connsiteX2" fmla="*/ 2714 w 114837"/>
                <a:gd name="connsiteY2" fmla="*/ 33795 h 105921"/>
                <a:gd name="connsiteX3" fmla="*/ 3157 w 114837"/>
                <a:gd name="connsiteY3" fmla="*/ 34041 h 105921"/>
                <a:gd name="connsiteX4" fmla="*/ 16689 w 114837"/>
                <a:gd name="connsiteY4" fmla="*/ 36066 h 105921"/>
                <a:gd name="connsiteX5" fmla="*/ 16886 w 114837"/>
                <a:gd name="connsiteY5" fmla="*/ 36073 h 105921"/>
                <a:gd name="connsiteX6" fmla="*/ 32513 w 114837"/>
                <a:gd name="connsiteY6" fmla="*/ 34034 h 105921"/>
                <a:gd name="connsiteX7" fmla="*/ 32907 w 114837"/>
                <a:gd name="connsiteY7" fmla="*/ 33844 h 105921"/>
                <a:gd name="connsiteX8" fmla="*/ 49737 w 114837"/>
                <a:gd name="connsiteY8" fmla="*/ 16838 h 105921"/>
                <a:gd name="connsiteX9" fmla="*/ 65590 w 114837"/>
                <a:gd name="connsiteY9" fmla="*/ 2885 h 105921"/>
                <a:gd name="connsiteX10" fmla="*/ 65829 w 114837"/>
                <a:gd name="connsiteY10" fmla="*/ 2758 h 105921"/>
                <a:gd name="connsiteX11" fmla="*/ 75070 w 114837"/>
                <a:gd name="connsiteY11" fmla="*/ 29 h 105921"/>
                <a:gd name="connsiteX12" fmla="*/ 75956 w 114837"/>
                <a:gd name="connsiteY12" fmla="*/ 521 h 105921"/>
                <a:gd name="connsiteX13" fmla="*/ 79086 w 114837"/>
                <a:gd name="connsiteY13" fmla="*/ 4875 h 105921"/>
                <a:gd name="connsiteX14" fmla="*/ 101219 w 114837"/>
                <a:gd name="connsiteY14" fmla="*/ 11641 h 105921"/>
                <a:gd name="connsiteX15" fmla="*/ 107521 w 114837"/>
                <a:gd name="connsiteY15" fmla="*/ 14391 h 105921"/>
                <a:gd name="connsiteX16" fmla="*/ 114610 w 114837"/>
                <a:gd name="connsiteY16" fmla="*/ 22563 h 105921"/>
                <a:gd name="connsiteX17" fmla="*/ 114631 w 114837"/>
                <a:gd name="connsiteY17" fmla="*/ 55330 h 105921"/>
                <a:gd name="connsiteX18" fmla="*/ 114631 w 114837"/>
                <a:gd name="connsiteY18" fmla="*/ 55330 h 105921"/>
                <a:gd name="connsiteX19" fmla="*/ 114631 w 114837"/>
                <a:gd name="connsiteY19" fmla="*/ 55330 h 105921"/>
                <a:gd name="connsiteX20" fmla="*/ 114610 w 114837"/>
                <a:gd name="connsiteY20" fmla="*/ 56891 h 105921"/>
                <a:gd name="connsiteX21" fmla="*/ 112036 w 114837"/>
                <a:gd name="connsiteY21" fmla="*/ 78736 h 105921"/>
                <a:gd name="connsiteX22" fmla="*/ 106388 w 114837"/>
                <a:gd name="connsiteY22" fmla="*/ 86768 h 105921"/>
                <a:gd name="connsiteX23" fmla="*/ 99679 w 114837"/>
                <a:gd name="connsiteY23" fmla="*/ 96417 h 105921"/>
                <a:gd name="connsiteX24" fmla="*/ 92280 w 114837"/>
                <a:gd name="connsiteY24" fmla="*/ 105855 h 105921"/>
                <a:gd name="connsiteX25" fmla="*/ 91957 w 114837"/>
                <a:gd name="connsiteY25" fmla="*/ 105778 h 105921"/>
                <a:gd name="connsiteX26" fmla="*/ 91957 w 114837"/>
                <a:gd name="connsiteY26" fmla="*/ 105778 h 105921"/>
                <a:gd name="connsiteX27" fmla="*/ 81660 w 114837"/>
                <a:gd name="connsiteY27" fmla="*/ 102142 h 105921"/>
                <a:gd name="connsiteX28" fmla="*/ 64922 w 114837"/>
                <a:gd name="connsiteY28" fmla="*/ 102142 h 105921"/>
                <a:gd name="connsiteX29" fmla="*/ 64359 w 114837"/>
                <a:gd name="connsiteY29" fmla="*/ 101868 h 105921"/>
                <a:gd name="connsiteX30" fmla="*/ 51348 w 114837"/>
                <a:gd name="connsiteY30" fmla="*/ 94434 h 105921"/>
                <a:gd name="connsiteX31" fmla="*/ 46136 w 114837"/>
                <a:gd name="connsiteY31" fmla="*/ 91740 h 105921"/>
                <a:gd name="connsiteX32" fmla="*/ 31718 w 114837"/>
                <a:gd name="connsiteY32" fmla="*/ 72491 h 105921"/>
                <a:gd name="connsiteX33" fmla="*/ 7968 w 114837"/>
                <a:gd name="connsiteY33" fmla="*/ 35033 h 105921"/>
                <a:gd name="connsiteX34" fmla="*/ 7461 w 114837"/>
                <a:gd name="connsiteY34" fmla="*/ 34688 h 105921"/>
                <a:gd name="connsiteX35" fmla="*/ 3157 w 114837"/>
                <a:gd name="connsiteY35" fmla="*/ 34048 h 105921"/>
                <a:gd name="connsiteX36" fmla="*/ 2707 w 114837"/>
                <a:gd name="connsiteY36" fmla="*/ 33795 h 105921"/>
                <a:gd name="connsiteX37" fmla="*/ 1863 w 114837"/>
                <a:gd name="connsiteY37" fmla="*/ 32859 h 105921"/>
                <a:gd name="connsiteX38" fmla="*/ 879 w 114837"/>
                <a:gd name="connsiteY38" fmla="*/ 33169 h 105921"/>
                <a:gd name="connsiteX39" fmla="*/ 879 w 114837"/>
                <a:gd name="connsiteY39" fmla="*/ 33169 h 105921"/>
                <a:gd name="connsiteX40" fmla="*/ 189 w 114837"/>
                <a:gd name="connsiteY40" fmla="*/ 33148 h 105921"/>
                <a:gd name="connsiteX41" fmla="*/ 34 w 114837"/>
                <a:gd name="connsiteY41" fmla="*/ 32676 h 10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14837" h="105921">
                  <a:moveTo>
                    <a:pt x="34" y="32676"/>
                  </a:moveTo>
                  <a:cubicBezTo>
                    <a:pt x="-162" y="32058"/>
                    <a:pt x="527" y="31579"/>
                    <a:pt x="1005" y="32022"/>
                  </a:cubicBezTo>
                  <a:cubicBezTo>
                    <a:pt x="1694" y="32662"/>
                    <a:pt x="2278" y="33281"/>
                    <a:pt x="2714" y="33795"/>
                  </a:cubicBezTo>
                  <a:cubicBezTo>
                    <a:pt x="2827" y="33928"/>
                    <a:pt x="2981" y="34020"/>
                    <a:pt x="3157" y="34041"/>
                  </a:cubicBezTo>
                  <a:lnTo>
                    <a:pt x="16689" y="36066"/>
                  </a:lnTo>
                  <a:cubicBezTo>
                    <a:pt x="16752" y="36081"/>
                    <a:pt x="16815" y="36081"/>
                    <a:pt x="16886" y="36073"/>
                  </a:cubicBezTo>
                  <a:lnTo>
                    <a:pt x="32513" y="34034"/>
                  </a:lnTo>
                  <a:cubicBezTo>
                    <a:pt x="32668" y="34013"/>
                    <a:pt x="32801" y="33949"/>
                    <a:pt x="32907" y="33844"/>
                  </a:cubicBezTo>
                  <a:cubicBezTo>
                    <a:pt x="37612" y="29273"/>
                    <a:pt x="47297" y="19722"/>
                    <a:pt x="49737" y="16838"/>
                  </a:cubicBezTo>
                  <a:cubicBezTo>
                    <a:pt x="52184" y="13948"/>
                    <a:pt x="61257" y="6387"/>
                    <a:pt x="65590" y="2885"/>
                  </a:cubicBezTo>
                  <a:cubicBezTo>
                    <a:pt x="65660" y="2821"/>
                    <a:pt x="65744" y="2786"/>
                    <a:pt x="65829" y="2758"/>
                  </a:cubicBezTo>
                  <a:cubicBezTo>
                    <a:pt x="67995" y="2118"/>
                    <a:pt x="71969" y="936"/>
                    <a:pt x="75070" y="29"/>
                  </a:cubicBezTo>
                  <a:cubicBezTo>
                    <a:pt x="75450" y="-84"/>
                    <a:pt x="75844" y="142"/>
                    <a:pt x="75956" y="521"/>
                  </a:cubicBezTo>
                  <a:cubicBezTo>
                    <a:pt x="76646" y="2842"/>
                    <a:pt x="77672" y="4875"/>
                    <a:pt x="79086" y="4875"/>
                  </a:cubicBezTo>
                  <a:cubicBezTo>
                    <a:pt x="82174" y="4875"/>
                    <a:pt x="96591" y="6436"/>
                    <a:pt x="101219" y="11641"/>
                  </a:cubicBezTo>
                  <a:cubicBezTo>
                    <a:pt x="103006" y="13638"/>
                    <a:pt x="105319" y="14025"/>
                    <a:pt x="107521" y="14391"/>
                  </a:cubicBezTo>
                  <a:cubicBezTo>
                    <a:pt x="111051" y="14974"/>
                    <a:pt x="114293" y="15516"/>
                    <a:pt x="114610" y="22563"/>
                  </a:cubicBezTo>
                  <a:cubicBezTo>
                    <a:pt x="115053" y="32409"/>
                    <a:pt x="114730" y="49964"/>
                    <a:pt x="114631" y="55330"/>
                  </a:cubicBezTo>
                  <a:lnTo>
                    <a:pt x="114631" y="55330"/>
                  </a:lnTo>
                  <a:lnTo>
                    <a:pt x="114631" y="55330"/>
                  </a:lnTo>
                  <a:cubicBezTo>
                    <a:pt x="114617" y="56195"/>
                    <a:pt x="114610" y="56744"/>
                    <a:pt x="114610" y="56891"/>
                  </a:cubicBezTo>
                  <a:cubicBezTo>
                    <a:pt x="114610" y="57932"/>
                    <a:pt x="113576" y="76134"/>
                    <a:pt x="112036" y="78736"/>
                  </a:cubicBezTo>
                  <a:cubicBezTo>
                    <a:pt x="111333" y="79924"/>
                    <a:pt x="108906" y="83272"/>
                    <a:pt x="106388" y="86768"/>
                  </a:cubicBezTo>
                  <a:cubicBezTo>
                    <a:pt x="103385" y="90931"/>
                    <a:pt x="100235" y="95285"/>
                    <a:pt x="99679" y="96417"/>
                  </a:cubicBezTo>
                  <a:cubicBezTo>
                    <a:pt x="99067" y="97648"/>
                    <a:pt x="95396" y="102163"/>
                    <a:pt x="92280" y="105855"/>
                  </a:cubicBezTo>
                  <a:cubicBezTo>
                    <a:pt x="92182" y="105968"/>
                    <a:pt x="91992" y="105933"/>
                    <a:pt x="91957" y="105778"/>
                  </a:cubicBezTo>
                  <a:lnTo>
                    <a:pt x="91957" y="105778"/>
                  </a:lnTo>
                  <a:cubicBezTo>
                    <a:pt x="91443" y="103703"/>
                    <a:pt x="83714" y="102142"/>
                    <a:pt x="81660" y="102142"/>
                  </a:cubicBezTo>
                  <a:lnTo>
                    <a:pt x="64922" y="102142"/>
                  </a:lnTo>
                  <a:cubicBezTo>
                    <a:pt x="64696" y="102142"/>
                    <a:pt x="64492" y="102037"/>
                    <a:pt x="64359" y="101868"/>
                  </a:cubicBezTo>
                  <a:cubicBezTo>
                    <a:pt x="60955" y="97641"/>
                    <a:pt x="55434" y="95798"/>
                    <a:pt x="51348" y="94434"/>
                  </a:cubicBezTo>
                  <a:cubicBezTo>
                    <a:pt x="48591" y="93512"/>
                    <a:pt x="46488" y="92809"/>
                    <a:pt x="46136" y="91740"/>
                  </a:cubicBezTo>
                  <a:cubicBezTo>
                    <a:pt x="45102" y="88617"/>
                    <a:pt x="35833" y="75093"/>
                    <a:pt x="31718" y="72491"/>
                  </a:cubicBezTo>
                  <a:cubicBezTo>
                    <a:pt x="28905" y="70718"/>
                    <a:pt x="16028" y="49092"/>
                    <a:pt x="7968" y="35033"/>
                  </a:cubicBezTo>
                  <a:cubicBezTo>
                    <a:pt x="7862" y="34843"/>
                    <a:pt x="7679" y="34723"/>
                    <a:pt x="7461" y="34688"/>
                  </a:cubicBezTo>
                  <a:lnTo>
                    <a:pt x="3157" y="34048"/>
                  </a:lnTo>
                  <a:cubicBezTo>
                    <a:pt x="2981" y="34020"/>
                    <a:pt x="2827" y="33928"/>
                    <a:pt x="2707" y="33795"/>
                  </a:cubicBezTo>
                  <a:cubicBezTo>
                    <a:pt x="2475" y="33513"/>
                    <a:pt x="2187" y="33197"/>
                    <a:pt x="1863" y="32859"/>
                  </a:cubicBezTo>
                  <a:cubicBezTo>
                    <a:pt x="1582" y="32571"/>
                    <a:pt x="1012" y="32782"/>
                    <a:pt x="879" y="33169"/>
                  </a:cubicBezTo>
                  <a:lnTo>
                    <a:pt x="879" y="33169"/>
                  </a:lnTo>
                  <a:cubicBezTo>
                    <a:pt x="766" y="33506"/>
                    <a:pt x="295" y="33492"/>
                    <a:pt x="189" y="33148"/>
                  </a:cubicBezTo>
                  <a:lnTo>
                    <a:pt x="34" y="3267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6" name="Freihandform: Form 161">
              <a:extLst>
                <a:ext uri="{FF2B5EF4-FFF2-40B4-BE49-F238E27FC236}">
                  <a16:creationId xmlns:a16="http://schemas.microsoft.com/office/drawing/2014/main" id="{7BFCD0AC-8CDC-E548-B5F2-89DFCED93ECC}"/>
                </a:ext>
              </a:extLst>
            </p:cNvPr>
            <p:cNvSpPr/>
            <p:nvPr/>
          </p:nvSpPr>
          <p:spPr>
            <a:xfrm>
              <a:off x="6604358" y="4650923"/>
              <a:ext cx="167442" cy="273064"/>
            </a:xfrm>
            <a:custGeom>
              <a:avLst/>
              <a:gdLst>
                <a:gd name="connsiteX0" fmla="*/ 1273 w 167442"/>
                <a:gd name="connsiteY0" fmla="*/ 98410 h 273064"/>
                <a:gd name="connsiteX1" fmla="*/ 1034 w 167442"/>
                <a:gd name="connsiteY1" fmla="*/ 98537 h 273064"/>
                <a:gd name="connsiteX2" fmla="*/ 0 w 167442"/>
                <a:gd name="connsiteY2" fmla="*/ 99380 h 273064"/>
                <a:gd name="connsiteX3" fmla="*/ 1034 w 167442"/>
                <a:gd name="connsiteY3" fmla="*/ 98537 h 273064"/>
                <a:gd name="connsiteX4" fmla="*/ 1273 w 167442"/>
                <a:gd name="connsiteY4" fmla="*/ 98410 h 273064"/>
                <a:gd name="connsiteX5" fmla="*/ 10514 w 167442"/>
                <a:gd name="connsiteY5" fmla="*/ 95681 h 273064"/>
                <a:gd name="connsiteX6" fmla="*/ 11401 w 167442"/>
                <a:gd name="connsiteY6" fmla="*/ 96173 h 273064"/>
                <a:gd name="connsiteX7" fmla="*/ 14530 w 167442"/>
                <a:gd name="connsiteY7" fmla="*/ 100527 h 273064"/>
                <a:gd name="connsiteX8" fmla="*/ 36663 w 167442"/>
                <a:gd name="connsiteY8" fmla="*/ 107293 h 273064"/>
                <a:gd name="connsiteX9" fmla="*/ 42965 w 167442"/>
                <a:gd name="connsiteY9" fmla="*/ 110043 h 273064"/>
                <a:gd name="connsiteX10" fmla="*/ 50054 w 167442"/>
                <a:gd name="connsiteY10" fmla="*/ 118215 h 273064"/>
                <a:gd name="connsiteX11" fmla="*/ 50075 w 167442"/>
                <a:gd name="connsiteY11" fmla="*/ 150982 h 273064"/>
                <a:gd name="connsiteX12" fmla="*/ 50075 w 167442"/>
                <a:gd name="connsiteY12" fmla="*/ 150982 h 273064"/>
                <a:gd name="connsiteX13" fmla="*/ 50075 w 167442"/>
                <a:gd name="connsiteY13" fmla="*/ 150982 h 273064"/>
                <a:gd name="connsiteX14" fmla="*/ 50054 w 167442"/>
                <a:gd name="connsiteY14" fmla="*/ 152543 h 273064"/>
                <a:gd name="connsiteX15" fmla="*/ 47480 w 167442"/>
                <a:gd name="connsiteY15" fmla="*/ 174388 h 273064"/>
                <a:gd name="connsiteX16" fmla="*/ 41833 w 167442"/>
                <a:gd name="connsiteY16" fmla="*/ 182420 h 273064"/>
                <a:gd name="connsiteX17" fmla="*/ 35123 w 167442"/>
                <a:gd name="connsiteY17" fmla="*/ 192069 h 273064"/>
                <a:gd name="connsiteX18" fmla="*/ 28716 w 167442"/>
                <a:gd name="connsiteY18" fmla="*/ 200326 h 273064"/>
                <a:gd name="connsiteX19" fmla="*/ 28596 w 167442"/>
                <a:gd name="connsiteY19" fmla="*/ 201029 h 273064"/>
                <a:gd name="connsiteX20" fmla="*/ 28941 w 167442"/>
                <a:gd name="connsiteY20" fmla="*/ 201951 h 273064"/>
                <a:gd name="connsiteX21" fmla="*/ 37697 w 167442"/>
                <a:gd name="connsiteY21" fmla="*/ 233163 h 273064"/>
                <a:gd name="connsiteX22" fmla="*/ 34652 w 167442"/>
                <a:gd name="connsiteY22" fmla="*/ 250113 h 273064"/>
                <a:gd name="connsiteX23" fmla="*/ 34687 w 167442"/>
                <a:gd name="connsiteY23" fmla="*/ 250528 h 273064"/>
                <a:gd name="connsiteX24" fmla="*/ 43640 w 167442"/>
                <a:gd name="connsiteY24" fmla="*/ 272633 h 273064"/>
                <a:gd name="connsiteX25" fmla="*/ 44477 w 167442"/>
                <a:gd name="connsiteY25" fmla="*/ 273034 h 273064"/>
                <a:gd name="connsiteX26" fmla="*/ 49541 w 167442"/>
                <a:gd name="connsiteY26" fmla="*/ 269566 h 273064"/>
                <a:gd name="connsiteX27" fmla="*/ 49470 w 167442"/>
                <a:gd name="connsiteY27" fmla="*/ 266479 h 273064"/>
                <a:gd name="connsiteX28" fmla="*/ 49541 w 167442"/>
                <a:gd name="connsiteY28" fmla="*/ 253446 h 273064"/>
                <a:gd name="connsiteX29" fmla="*/ 54886 w 167442"/>
                <a:gd name="connsiteY29" fmla="*/ 249888 h 273064"/>
                <a:gd name="connsiteX30" fmla="*/ 54886 w 167442"/>
                <a:gd name="connsiteY30" fmla="*/ 249888 h 273064"/>
                <a:gd name="connsiteX31" fmla="*/ 54886 w 167442"/>
                <a:gd name="connsiteY31" fmla="*/ 249888 h 273064"/>
                <a:gd name="connsiteX32" fmla="*/ 59317 w 167442"/>
                <a:gd name="connsiteY32" fmla="*/ 247201 h 273064"/>
                <a:gd name="connsiteX33" fmla="*/ 70239 w 167442"/>
                <a:gd name="connsiteY33" fmla="*/ 244529 h 273064"/>
                <a:gd name="connsiteX34" fmla="*/ 70239 w 167442"/>
                <a:gd name="connsiteY34" fmla="*/ 244529 h 273064"/>
                <a:gd name="connsiteX35" fmla="*/ 75795 w 167442"/>
                <a:gd name="connsiteY35" fmla="*/ 243565 h 273064"/>
                <a:gd name="connsiteX36" fmla="*/ 84868 w 167442"/>
                <a:gd name="connsiteY36" fmla="*/ 236391 h 273064"/>
                <a:gd name="connsiteX37" fmla="*/ 84868 w 167442"/>
                <a:gd name="connsiteY37" fmla="*/ 236391 h 273064"/>
                <a:gd name="connsiteX38" fmla="*/ 88152 w 167442"/>
                <a:gd name="connsiteY38" fmla="*/ 233163 h 273064"/>
                <a:gd name="connsiteX39" fmla="*/ 88476 w 167442"/>
                <a:gd name="connsiteY39" fmla="*/ 227227 h 273064"/>
                <a:gd name="connsiteX40" fmla="*/ 88152 w 167442"/>
                <a:gd name="connsiteY40" fmla="*/ 223275 h 273064"/>
                <a:gd name="connsiteX41" fmla="*/ 88265 w 167442"/>
                <a:gd name="connsiteY41" fmla="*/ 203779 h 273064"/>
                <a:gd name="connsiteX42" fmla="*/ 88265 w 167442"/>
                <a:gd name="connsiteY42" fmla="*/ 203779 h 273064"/>
                <a:gd name="connsiteX43" fmla="*/ 88152 w 167442"/>
                <a:gd name="connsiteY43" fmla="*/ 201951 h 273064"/>
                <a:gd name="connsiteX44" fmla="*/ 86886 w 167442"/>
                <a:gd name="connsiteY44" fmla="*/ 195396 h 273064"/>
                <a:gd name="connsiteX45" fmla="*/ 85065 w 167442"/>
                <a:gd name="connsiteY45" fmla="*/ 186351 h 273064"/>
                <a:gd name="connsiteX46" fmla="*/ 78883 w 167442"/>
                <a:gd name="connsiteY46" fmla="*/ 174908 h 273064"/>
                <a:gd name="connsiteX47" fmla="*/ 79952 w 167442"/>
                <a:gd name="connsiteY47" fmla="*/ 160962 h 273064"/>
                <a:gd name="connsiteX48" fmla="*/ 80430 w 167442"/>
                <a:gd name="connsiteY48" fmla="*/ 159823 h 273064"/>
                <a:gd name="connsiteX49" fmla="*/ 109779 w 167442"/>
                <a:gd name="connsiteY49" fmla="*/ 132773 h 273064"/>
                <a:gd name="connsiteX50" fmla="*/ 132735 w 167442"/>
                <a:gd name="connsiteY50" fmla="*/ 120487 h 273064"/>
                <a:gd name="connsiteX51" fmla="*/ 132735 w 167442"/>
                <a:gd name="connsiteY51" fmla="*/ 120487 h 273064"/>
                <a:gd name="connsiteX52" fmla="*/ 146329 w 167442"/>
                <a:gd name="connsiteY52" fmla="*/ 113531 h 273064"/>
                <a:gd name="connsiteX53" fmla="*/ 164426 w 167442"/>
                <a:gd name="connsiteY53" fmla="*/ 91651 h 273064"/>
                <a:gd name="connsiteX54" fmla="*/ 165896 w 167442"/>
                <a:gd name="connsiteY54" fmla="*/ 89084 h 273064"/>
                <a:gd name="connsiteX55" fmla="*/ 167443 w 167442"/>
                <a:gd name="connsiteY55" fmla="*/ 80349 h 273064"/>
                <a:gd name="connsiteX56" fmla="*/ 167408 w 167442"/>
                <a:gd name="connsiteY56" fmla="*/ 80145 h 273064"/>
                <a:gd name="connsiteX57" fmla="*/ 161774 w 167442"/>
                <a:gd name="connsiteY57" fmla="*/ 57878 h 273064"/>
                <a:gd name="connsiteX58" fmla="*/ 161844 w 167442"/>
                <a:gd name="connsiteY58" fmla="*/ 52266 h 273064"/>
                <a:gd name="connsiteX59" fmla="*/ 161774 w 167442"/>
                <a:gd name="connsiteY59" fmla="*/ 22509 h 273064"/>
                <a:gd name="connsiteX60" fmla="*/ 157470 w 167442"/>
                <a:gd name="connsiteY60" fmla="*/ 16714 h 273064"/>
                <a:gd name="connsiteX61" fmla="*/ 157371 w 167442"/>
                <a:gd name="connsiteY61" fmla="*/ 16812 h 273064"/>
                <a:gd name="connsiteX62" fmla="*/ 157371 w 167442"/>
                <a:gd name="connsiteY62" fmla="*/ 16812 h 273064"/>
                <a:gd name="connsiteX63" fmla="*/ 157231 w 167442"/>
                <a:gd name="connsiteY63" fmla="*/ 17684 h 273064"/>
                <a:gd name="connsiteX64" fmla="*/ 144789 w 167442"/>
                <a:gd name="connsiteY64" fmla="*/ 26673 h 273064"/>
                <a:gd name="connsiteX65" fmla="*/ 143242 w 167442"/>
                <a:gd name="connsiteY65" fmla="*/ 27264 h 273064"/>
                <a:gd name="connsiteX66" fmla="*/ 130885 w 167442"/>
                <a:gd name="connsiteY66" fmla="*/ 30316 h 273064"/>
                <a:gd name="connsiteX67" fmla="*/ 125969 w 167442"/>
                <a:gd name="connsiteY67" fmla="*/ 30731 h 273064"/>
                <a:gd name="connsiteX68" fmla="*/ 121616 w 167442"/>
                <a:gd name="connsiteY68" fmla="*/ 33952 h 273064"/>
                <a:gd name="connsiteX69" fmla="*/ 98090 w 167442"/>
                <a:gd name="connsiteY69" fmla="*/ 35710 h 273064"/>
                <a:gd name="connsiteX70" fmla="*/ 95361 w 167442"/>
                <a:gd name="connsiteY70" fmla="*/ 35513 h 273064"/>
                <a:gd name="connsiteX71" fmla="*/ 76822 w 167442"/>
                <a:gd name="connsiteY71" fmla="*/ 30316 h 273064"/>
                <a:gd name="connsiteX72" fmla="*/ 71906 w 167442"/>
                <a:gd name="connsiteY72" fmla="*/ 17403 h 273064"/>
                <a:gd name="connsiteX73" fmla="*/ 71906 w 167442"/>
                <a:gd name="connsiteY73" fmla="*/ 17403 h 273064"/>
                <a:gd name="connsiteX74" fmla="*/ 67559 w 167442"/>
                <a:gd name="connsiteY74" fmla="*/ 6389 h 273064"/>
                <a:gd name="connsiteX75" fmla="*/ 60611 w 167442"/>
                <a:gd name="connsiteY75" fmla="*/ 1291 h 273064"/>
                <a:gd name="connsiteX76" fmla="*/ 59837 w 167442"/>
                <a:gd name="connsiteY76" fmla="*/ 1185 h 273064"/>
                <a:gd name="connsiteX77" fmla="*/ 55434 w 167442"/>
                <a:gd name="connsiteY77" fmla="*/ 32 h 273064"/>
                <a:gd name="connsiteX78" fmla="*/ 54598 w 167442"/>
                <a:gd name="connsiteY78" fmla="*/ 1058 h 273064"/>
                <a:gd name="connsiteX79" fmla="*/ 59324 w 167442"/>
                <a:gd name="connsiteY79" fmla="*/ 12628 h 273064"/>
                <a:gd name="connsiteX80" fmla="*/ 57059 w 167442"/>
                <a:gd name="connsiteY80" fmla="*/ 28515 h 273064"/>
                <a:gd name="connsiteX81" fmla="*/ 55716 w 167442"/>
                <a:gd name="connsiteY81" fmla="*/ 37075 h 273064"/>
                <a:gd name="connsiteX82" fmla="*/ 56651 w 167442"/>
                <a:gd name="connsiteY82" fmla="*/ 41513 h 273064"/>
                <a:gd name="connsiteX83" fmla="*/ 56651 w 167442"/>
                <a:gd name="connsiteY83" fmla="*/ 41513 h 273064"/>
                <a:gd name="connsiteX84" fmla="*/ 57263 w 167442"/>
                <a:gd name="connsiteY84" fmla="*/ 48517 h 273064"/>
                <a:gd name="connsiteX85" fmla="*/ 56236 w 167442"/>
                <a:gd name="connsiteY85" fmla="*/ 50177 h 273064"/>
                <a:gd name="connsiteX86" fmla="*/ 51081 w 167442"/>
                <a:gd name="connsiteY86" fmla="*/ 61001 h 273064"/>
                <a:gd name="connsiteX87" fmla="*/ 54330 w 167442"/>
                <a:gd name="connsiteY87" fmla="*/ 70116 h 273064"/>
                <a:gd name="connsiteX88" fmla="*/ 54155 w 167442"/>
                <a:gd name="connsiteY88" fmla="*/ 71122 h 273064"/>
                <a:gd name="connsiteX89" fmla="*/ 42845 w 167442"/>
                <a:gd name="connsiteY89" fmla="*/ 76080 h 273064"/>
                <a:gd name="connsiteX90" fmla="*/ 9895 w 167442"/>
                <a:gd name="connsiteY90" fmla="*/ 84928 h 273064"/>
                <a:gd name="connsiteX91" fmla="*/ 11914 w 167442"/>
                <a:gd name="connsiteY91" fmla="*/ 88585 h 273064"/>
                <a:gd name="connsiteX92" fmla="*/ 13496 w 167442"/>
                <a:gd name="connsiteY92" fmla="*/ 94809 h 273064"/>
                <a:gd name="connsiteX93" fmla="*/ 1273 w 167442"/>
                <a:gd name="connsiteY93" fmla="*/ 98410 h 273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167442" h="273064">
                  <a:moveTo>
                    <a:pt x="1273" y="98410"/>
                  </a:moveTo>
                  <a:cubicBezTo>
                    <a:pt x="1181" y="98438"/>
                    <a:pt x="1104" y="98480"/>
                    <a:pt x="1034" y="98537"/>
                  </a:cubicBezTo>
                  <a:cubicBezTo>
                    <a:pt x="710" y="98797"/>
                    <a:pt x="366" y="99078"/>
                    <a:pt x="0" y="99380"/>
                  </a:cubicBezTo>
                  <a:cubicBezTo>
                    <a:pt x="366" y="99078"/>
                    <a:pt x="710" y="98797"/>
                    <a:pt x="1034" y="98537"/>
                  </a:cubicBezTo>
                  <a:cubicBezTo>
                    <a:pt x="1104" y="98480"/>
                    <a:pt x="1181" y="98438"/>
                    <a:pt x="1273" y="98410"/>
                  </a:cubicBezTo>
                  <a:cubicBezTo>
                    <a:pt x="3439" y="97770"/>
                    <a:pt x="7413" y="96588"/>
                    <a:pt x="10514" y="95681"/>
                  </a:cubicBezTo>
                  <a:cubicBezTo>
                    <a:pt x="10894" y="95568"/>
                    <a:pt x="11288" y="95794"/>
                    <a:pt x="11401" y="96173"/>
                  </a:cubicBezTo>
                  <a:cubicBezTo>
                    <a:pt x="12090" y="98494"/>
                    <a:pt x="13117" y="100527"/>
                    <a:pt x="14530" y="100527"/>
                  </a:cubicBezTo>
                  <a:cubicBezTo>
                    <a:pt x="17618" y="100527"/>
                    <a:pt x="32035" y="102088"/>
                    <a:pt x="36663" y="107293"/>
                  </a:cubicBezTo>
                  <a:cubicBezTo>
                    <a:pt x="38450" y="109290"/>
                    <a:pt x="40764" y="109677"/>
                    <a:pt x="42965" y="110043"/>
                  </a:cubicBezTo>
                  <a:cubicBezTo>
                    <a:pt x="46495" y="110633"/>
                    <a:pt x="49738" y="111168"/>
                    <a:pt x="50054" y="118215"/>
                  </a:cubicBezTo>
                  <a:cubicBezTo>
                    <a:pt x="50497" y="128061"/>
                    <a:pt x="50174" y="145616"/>
                    <a:pt x="50075" y="150982"/>
                  </a:cubicBezTo>
                  <a:lnTo>
                    <a:pt x="50075" y="150982"/>
                  </a:lnTo>
                  <a:lnTo>
                    <a:pt x="50075" y="150982"/>
                  </a:lnTo>
                  <a:cubicBezTo>
                    <a:pt x="50061" y="151847"/>
                    <a:pt x="50054" y="152396"/>
                    <a:pt x="50054" y="152543"/>
                  </a:cubicBezTo>
                  <a:cubicBezTo>
                    <a:pt x="50054" y="153584"/>
                    <a:pt x="49020" y="171786"/>
                    <a:pt x="47480" y="174388"/>
                  </a:cubicBezTo>
                  <a:cubicBezTo>
                    <a:pt x="46777" y="175576"/>
                    <a:pt x="44350" y="178924"/>
                    <a:pt x="41833" y="182420"/>
                  </a:cubicBezTo>
                  <a:cubicBezTo>
                    <a:pt x="38829" y="186583"/>
                    <a:pt x="35679" y="190937"/>
                    <a:pt x="35123" y="192069"/>
                  </a:cubicBezTo>
                  <a:cubicBezTo>
                    <a:pt x="34574" y="193173"/>
                    <a:pt x="31571" y="196908"/>
                    <a:pt x="28716" y="200326"/>
                  </a:cubicBezTo>
                  <a:cubicBezTo>
                    <a:pt x="28547" y="200523"/>
                    <a:pt x="28505" y="200790"/>
                    <a:pt x="28596" y="201029"/>
                  </a:cubicBezTo>
                  <a:lnTo>
                    <a:pt x="28941" y="201951"/>
                  </a:lnTo>
                  <a:cubicBezTo>
                    <a:pt x="31860" y="211319"/>
                    <a:pt x="37697" y="230667"/>
                    <a:pt x="37697" y="233163"/>
                  </a:cubicBezTo>
                  <a:cubicBezTo>
                    <a:pt x="37697" y="235618"/>
                    <a:pt x="35700" y="245352"/>
                    <a:pt x="34652" y="250113"/>
                  </a:cubicBezTo>
                  <a:cubicBezTo>
                    <a:pt x="34624" y="250253"/>
                    <a:pt x="34638" y="250394"/>
                    <a:pt x="34687" y="250528"/>
                  </a:cubicBezTo>
                  <a:lnTo>
                    <a:pt x="43640" y="272633"/>
                  </a:lnTo>
                  <a:cubicBezTo>
                    <a:pt x="43774" y="272963"/>
                    <a:pt x="44132" y="273139"/>
                    <a:pt x="44477" y="273034"/>
                  </a:cubicBezTo>
                  <a:cubicBezTo>
                    <a:pt x="46460" y="272401"/>
                    <a:pt x="49541" y="271071"/>
                    <a:pt x="49541" y="269566"/>
                  </a:cubicBezTo>
                  <a:cubicBezTo>
                    <a:pt x="49541" y="269067"/>
                    <a:pt x="49505" y="267928"/>
                    <a:pt x="49470" y="266479"/>
                  </a:cubicBezTo>
                  <a:cubicBezTo>
                    <a:pt x="49351" y="261914"/>
                    <a:pt x="49147" y="254234"/>
                    <a:pt x="49541" y="253446"/>
                  </a:cubicBezTo>
                  <a:cubicBezTo>
                    <a:pt x="49857" y="252807"/>
                    <a:pt x="52319" y="251372"/>
                    <a:pt x="54886" y="249888"/>
                  </a:cubicBezTo>
                  <a:lnTo>
                    <a:pt x="54886" y="249888"/>
                  </a:lnTo>
                  <a:lnTo>
                    <a:pt x="54886" y="249888"/>
                  </a:lnTo>
                  <a:cubicBezTo>
                    <a:pt x="56489" y="248953"/>
                    <a:pt x="58135" y="248003"/>
                    <a:pt x="59317" y="247201"/>
                  </a:cubicBezTo>
                  <a:cubicBezTo>
                    <a:pt x="61356" y="245830"/>
                    <a:pt x="66075" y="245140"/>
                    <a:pt x="70239" y="244529"/>
                  </a:cubicBezTo>
                  <a:lnTo>
                    <a:pt x="70239" y="244529"/>
                  </a:lnTo>
                  <a:cubicBezTo>
                    <a:pt x="72391" y="244212"/>
                    <a:pt x="74389" y="243917"/>
                    <a:pt x="75795" y="243565"/>
                  </a:cubicBezTo>
                  <a:cubicBezTo>
                    <a:pt x="78664" y="242841"/>
                    <a:pt x="82041" y="239331"/>
                    <a:pt x="84868" y="236391"/>
                  </a:cubicBezTo>
                  <a:lnTo>
                    <a:pt x="84868" y="236391"/>
                  </a:lnTo>
                  <a:cubicBezTo>
                    <a:pt x="86091" y="235118"/>
                    <a:pt x="87217" y="233951"/>
                    <a:pt x="88152" y="233163"/>
                  </a:cubicBezTo>
                  <a:cubicBezTo>
                    <a:pt x="89917" y="231672"/>
                    <a:pt x="89165" y="229344"/>
                    <a:pt x="88476" y="227227"/>
                  </a:cubicBezTo>
                  <a:cubicBezTo>
                    <a:pt x="87962" y="225638"/>
                    <a:pt x="87491" y="224168"/>
                    <a:pt x="88152" y="223275"/>
                  </a:cubicBezTo>
                  <a:cubicBezTo>
                    <a:pt x="89439" y="221545"/>
                    <a:pt x="88581" y="208660"/>
                    <a:pt x="88265" y="203779"/>
                  </a:cubicBezTo>
                  <a:lnTo>
                    <a:pt x="88265" y="203779"/>
                  </a:lnTo>
                  <a:cubicBezTo>
                    <a:pt x="88194" y="202788"/>
                    <a:pt x="88152" y="202126"/>
                    <a:pt x="88152" y="201951"/>
                  </a:cubicBezTo>
                  <a:cubicBezTo>
                    <a:pt x="88152" y="201402"/>
                    <a:pt x="87582" y="198687"/>
                    <a:pt x="86886" y="195396"/>
                  </a:cubicBezTo>
                  <a:cubicBezTo>
                    <a:pt x="86267" y="192456"/>
                    <a:pt x="85550" y="189052"/>
                    <a:pt x="85065" y="186351"/>
                  </a:cubicBezTo>
                  <a:cubicBezTo>
                    <a:pt x="84031" y="180626"/>
                    <a:pt x="83004" y="179065"/>
                    <a:pt x="78883" y="174908"/>
                  </a:cubicBezTo>
                  <a:cubicBezTo>
                    <a:pt x="75366" y="171350"/>
                    <a:pt x="78608" y="164007"/>
                    <a:pt x="79952" y="160962"/>
                  </a:cubicBezTo>
                  <a:cubicBezTo>
                    <a:pt x="80184" y="160442"/>
                    <a:pt x="80353" y="160048"/>
                    <a:pt x="80430" y="159823"/>
                  </a:cubicBezTo>
                  <a:cubicBezTo>
                    <a:pt x="80943" y="158261"/>
                    <a:pt x="106684" y="135376"/>
                    <a:pt x="109779" y="132773"/>
                  </a:cubicBezTo>
                  <a:cubicBezTo>
                    <a:pt x="111832" y="131043"/>
                    <a:pt x="122593" y="125614"/>
                    <a:pt x="132735" y="120487"/>
                  </a:cubicBezTo>
                  <a:lnTo>
                    <a:pt x="132735" y="120487"/>
                  </a:lnTo>
                  <a:cubicBezTo>
                    <a:pt x="137806" y="117927"/>
                    <a:pt x="142729" y="115437"/>
                    <a:pt x="146329" y="113531"/>
                  </a:cubicBezTo>
                  <a:cubicBezTo>
                    <a:pt x="155100" y="108889"/>
                    <a:pt x="161500" y="97067"/>
                    <a:pt x="164426" y="91651"/>
                  </a:cubicBezTo>
                  <a:cubicBezTo>
                    <a:pt x="165108" y="90392"/>
                    <a:pt x="165607" y="89478"/>
                    <a:pt x="165896" y="89084"/>
                  </a:cubicBezTo>
                  <a:cubicBezTo>
                    <a:pt x="167112" y="87445"/>
                    <a:pt x="167429" y="82649"/>
                    <a:pt x="167443" y="80349"/>
                  </a:cubicBezTo>
                  <a:cubicBezTo>
                    <a:pt x="167443" y="80279"/>
                    <a:pt x="167429" y="80215"/>
                    <a:pt x="167408" y="80145"/>
                  </a:cubicBezTo>
                  <a:cubicBezTo>
                    <a:pt x="165509" y="74033"/>
                    <a:pt x="161774" y="61191"/>
                    <a:pt x="161774" y="57878"/>
                  </a:cubicBezTo>
                  <a:cubicBezTo>
                    <a:pt x="161774" y="56908"/>
                    <a:pt x="161802" y="54889"/>
                    <a:pt x="161844" y="52266"/>
                  </a:cubicBezTo>
                  <a:cubicBezTo>
                    <a:pt x="161964" y="43644"/>
                    <a:pt x="162168" y="28494"/>
                    <a:pt x="161774" y="22509"/>
                  </a:cubicBezTo>
                  <a:cubicBezTo>
                    <a:pt x="161605" y="19865"/>
                    <a:pt x="159819" y="18001"/>
                    <a:pt x="157470" y="16714"/>
                  </a:cubicBezTo>
                  <a:cubicBezTo>
                    <a:pt x="157400" y="16679"/>
                    <a:pt x="157336" y="16749"/>
                    <a:pt x="157371" y="16812"/>
                  </a:cubicBezTo>
                  <a:lnTo>
                    <a:pt x="157371" y="16812"/>
                  </a:lnTo>
                  <a:cubicBezTo>
                    <a:pt x="157540" y="17101"/>
                    <a:pt x="157484" y="17467"/>
                    <a:pt x="157231" y="17684"/>
                  </a:cubicBezTo>
                  <a:cubicBezTo>
                    <a:pt x="154129" y="20413"/>
                    <a:pt x="147926" y="25484"/>
                    <a:pt x="144789" y="26673"/>
                  </a:cubicBezTo>
                  <a:cubicBezTo>
                    <a:pt x="144276" y="26863"/>
                    <a:pt x="143762" y="27067"/>
                    <a:pt x="143242" y="27264"/>
                  </a:cubicBezTo>
                  <a:cubicBezTo>
                    <a:pt x="139522" y="28712"/>
                    <a:pt x="135400" y="30316"/>
                    <a:pt x="130885" y="30316"/>
                  </a:cubicBezTo>
                  <a:cubicBezTo>
                    <a:pt x="128388" y="30316"/>
                    <a:pt x="127101" y="30316"/>
                    <a:pt x="125969" y="30731"/>
                  </a:cubicBezTo>
                  <a:cubicBezTo>
                    <a:pt x="124766" y="31174"/>
                    <a:pt x="123740" y="32081"/>
                    <a:pt x="121616" y="33952"/>
                  </a:cubicBezTo>
                  <a:cubicBezTo>
                    <a:pt x="117944" y="37201"/>
                    <a:pt x="106086" y="36308"/>
                    <a:pt x="98090" y="35710"/>
                  </a:cubicBezTo>
                  <a:cubicBezTo>
                    <a:pt x="97112" y="35640"/>
                    <a:pt x="96198" y="35570"/>
                    <a:pt x="95361" y="35513"/>
                  </a:cubicBezTo>
                  <a:cubicBezTo>
                    <a:pt x="87639" y="34993"/>
                    <a:pt x="76822" y="31870"/>
                    <a:pt x="76822" y="30316"/>
                  </a:cubicBezTo>
                  <a:cubicBezTo>
                    <a:pt x="76822" y="29430"/>
                    <a:pt x="74339" y="23346"/>
                    <a:pt x="71906" y="17403"/>
                  </a:cubicBezTo>
                  <a:lnTo>
                    <a:pt x="71906" y="17403"/>
                  </a:lnTo>
                  <a:cubicBezTo>
                    <a:pt x="70049" y="12867"/>
                    <a:pt x="68227" y="8415"/>
                    <a:pt x="67559" y="6389"/>
                  </a:cubicBezTo>
                  <a:cubicBezTo>
                    <a:pt x="66125" y="2050"/>
                    <a:pt x="63811" y="1734"/>
                    <a:pt x="60611" y="1291"/>
                  </a:cubicBezTo>
                  <a:cubicBezTo>
                    <a:pt x="60358" y="1262"/>
                    <a:pt x="60097" y="1227"/>
                    <a:pt x="59837" y="1185"/>
                  </a:cubicBezTo>
                  <a:cubicBezTo>
                    <a:pt x="58958" y="1058"/>
                    <a:pt x="57369" y="622"/>
                    <a:pt x="55434" y="32"/>
                  </a:cubicBezTo>
                  <a:cubicBezTo>
                    <a:pt x="54830" y="-151"/>
                    <a:pt x="54295" y="496"/>
                    <a:pt x="54598" y="1058"/>
                  </a:cubicBezTo>
                  <a:cubicBezTo>
                    <a:pt x="57326" y="6115"/>
                    <a:pt x="59324" y="10532"/>
                    <a:pt x="59324" y="12628"/>
                  </a:cubicBezTo>
                  <a:cubicBezTo>
                    <a:pt x="59324" y="16285"/>
                    <a:pt x="58086" y="22973"/>
                    <a:pt x="57059" y="28515"/>
                  </a:cubicBezTo>
                  <a:cubicBezTo>
                    <a:pt x="56334" y="32433"/>
                    <a:pt x="55716" y="35781"/>
                    <a:pt x="55716" y="37075"/>
                  </a:cubicBezTo>
                  <a:cubicBezTo>
                    <a:pt x="55716" y="38277"/>
                    <a:pt x="56173" y="39867"/>
                    <a:pt x="56651" y="41513"/>
                  </a:cubicBezTo>
                  <a:lnTo>
                    <a:pt x="56651" y="41513"/>
                  </a:lnTo>
                  <a:cubicBezTo>
                    <a:pt x="57411" y="44136"/>
                    <a:pt x="58213" y="46921"/>
                    <a:pt x="57263" y="48517"/>
                  </a:cubicBezTo>
                  <a:cubicBezTo>
                    <a:pt x="56996" y="48961"/>
                    <a:pt x="56644" y="49530"/>
                    <a:pt x="56236" y="50177"/>
                  </a:cubicBezTo>
                  <a:cubicBezTo>
                    <a:pt x="54267" y="53321"/>
                    <a:pt x="51081" y="58413"/>
                    <a:pt x="51081" y="61001"/>
                  </a:cubicBezTo>
                  <a:cubicBezTo>
                    <a:pt x="51081" y="62795"/>
                    <a:pt x="51939" y="66663"/>
                    <a:pt x="54330" y="70116"/>
                  </a:cubicBezTo>
                  <a:cubicBezTo>
                    <a:pt x="54555" y="70446"/>
                    <a:pt x="54485" y="70897"/>
                    <a:pt x="54155" y="71122"/>
                  </a:cubicBezTo>
                  <a:cubicBezTo>
                    <a:pt x="50757" y="73414"/>
                    <a:pt x="46763" y="75461"/>
                    <a:pt x="42845" y="76080"/>
                  </a:cubicBezTo>
                  <a:cubicBezTo>
                    <a:pt x="33062" y="77641"/>
                    <a:pt x="9895" y="82846"/>
                    <a:pt x="9895" y="84928"/>
                  </a:cubicBezTo>
                  <a:cubicBezTo>
                    <a:pt x="9895" y="85687"/>
                    <a:pt x="10859" y="87080"/>
                    <a:pt x="11914" y="88585"/>
                  </a:cubicBezTo>
                  <a:cubicBezTo>
                    <a:pt x="13721" y="91194"/>
                    <a:pt x="15782" y="94148"/>
                    <a:pt x="13496" y="94809"/>
                  </a:cubicBezTo>
                  <a:cubicBezTo>
                    <a:pt x="10655" y="95625"/>
                    <a:pt x="4248" y="97524"/>
                    <a:pt x="1273" y="9841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7" name="Freihandform: Form 162">
              <a:extLst>
                <a:ext uri="{FF2B5EF4-FFF2-40B4-BE49-F238E27FC236}">
                  <a16:creationId xmlns:a16="http://schemas.microsoft.com/office/drawing/2014/main" id="{57BF25FD-594E-384E-9451-F197152D0CC9}"/>
                </a:ext>
              </a:extLst>
            </p:cNvPr>
            <p:cNvSpPr/>
            <p:nvPr/>
          </p:nvSpPr>
          <p:spPr>
            <a:xfrm>
              <a:off x="6807805" y="4695809"/>
              <a:ext cx="105064" cy="208271"/>
            </a:xfrm>
            <a:custGeom>
              <a:avLst/>
              <a:gdLst>
                <a:gd name="connsiteX0" fmla="*/ 66966 w 105064"/>
                <a:gd name="connsiteY0" fmla="*/ 32234 h 208271"/>
                <a:gd name="connsiteX1" fmla="*/ 82924 w 105064"/>
                <a:gd name="connsiteY1" fmla="*/ 2154 h 208271"/>
                <a:gd name="connsiteX2" fmla="*/ 82952 w 105064"/>
                <a:gd name="connsiteY2" fmla="*/ 1971 h 208271"/>
                <a:gd name="connsiteX3" fmla="*/ 89528 w 105064"/>
                <a:gd name="connsiteY3" fmla="*/ 1992 h 208271"/>
                <a:gd name="connsiteX4" fmla="*/ 89676 w 105064"/>
                <a:gd name="connsiteY4" fmla="*/ 2168 h 208271"/>
                <a:gd name="connsiteX5" fmla="*/ 99916 w 105064"/>
                <a:gd name="connsiteY5" fmla="*/ 19237 h 208271"/>
                <a:gd name="connsiteX6" fmla="*/ 101977 w 105064"/>
                <a:gd name="connsiteY6" fmla="*/ 32234 h 208271"/>
                <a:gd name="connsiteX7" fmla="*/ 105064 w 105064"/>
                <a:gd name="connsiteY7" fmla="*/ 50443 h 208271"/>
                <a:gd name="connsiteX8" fmla="*/ 100514 w 105064"/>
                <a:gd name="connsiteY8" fmla="*/ 55837 h 208271"/>
                <a:gd name="connsiteX9" fmla="*/ 99579 w 105064"/>
                <a:gd name="connsiteY9" fmla="*/ 55570 h 208271"/>
                <a:gd name="connsiteX10" fmla="*/ 94255 w 105064"/>
                <a:gd name="connsiteY10" fmla="*/ 50443 h 208271"/>
                <a:gd name="connsiteX11" fmla="*/ 96829 w 105064"/>
                <a:gd name="connsiteY11" fmla="*/ 63968 h 208271"/>
                <a:gd name="connsiteX12" fmla="*/ 89620 w 105064"/>
                <a:gd name="connsiteY12" fmla="*/ 85292 h 208271"/>
                <a:gd name="connsiteX13" fmla="*/ 80350 w 105064"/>
                <a:gd name="connsiteY13" fmla="*/ 113375 h 208271"/>
                <a:gd name="connsiteX14" fmla="*/ 75202 w 105064"/>
                <a:gd name="connsiteY14" fmla="*/ 134699 h 208271"/>
                <a:gd name="connsiteX15" fmla="*/ 69540 w 105064"/>
                <a:gd name="connsiteY15" fmla="*/ 151346 h 208271"/>
                <a:gd name="connsiteX16" fmla="*/ 63358 w 105064"/>
                <a:gd name="connsiteY16" fmla="*/ 178909 h 208271"/>
                <a:gd name="connsiteX17" fmla="*/ 55636 w 105064"/>
                <a:gd name="connsiteY17" fmla="*/ 198158 h 208271"/>
                <a:gd name="connsiteX18" fmla="*/ 38131 w 105064"/>
                <a:gd name="connsiteY18" fmla="*/ 203876 h 208271"/>
                <a:gd name="connsiteX19" fmla="*/ 31435 w 105064"/>
                <a:gd name="connsiteY19" fmla="*/ 208040 h 208271"/>
                <a:gd name="connsiteX20" fmla="*/ 20625 w 105064"/>
                <a:gd name="connsiteY20" fmla="*/ 208040 h 208271"/>
                <a:gd name="connsiteX21" fmla="*/ 11876 w 105064"/>
                <a:gd name="connsiteY21" fmla="*/ 198158 h 208271"/>
                <a:gd name="connsiteX22" fmla="*/ 7755 w 105064"/>
                <a:gd name="connsiteY22" fmla="*/ 184113 h 208271"/>
                <a:gd name="connsiteX23" fmla="*/ 5181 w 105064"/>
                <a:gd name="connsiteY23" fmla="*/ 171109 h 208271"/>
                <a:gd name="connsiteX24" fmla="*/ 33 w 105064"/>
                <a:gd name="connsiteY24" fmla="*/ 155503 h 208271"/>
                <a:gd name="connsiteX25" fmla="*/ 7755 w 105064"/>
                <a:gd name="connsiteY25" fmla="*/ 134699 h 208271"/>
                <a:gd name="connsiteX26" fmla="*/ 17538 w 105064"/>
                <a:gd name="connsiteY26" fmla="*/ 115457 h 208271"/>
                <a:gd name="connsiteX27" fmla="*/ 11876 w 105064"/>
                <a:gd name="connsiteY27" fmla="*/ 96214 h 208271"/>
                <a:gd name="connsiteX28" fmla="*/ 7755 w 105064"/>
                <a:gd name="connsiteY28" fmla="*/ 77485 h 208271"/>
                <a:gd name="connsiteX29" fmla="*/ 17538 w 105064"/>
                <a:gd name="connsiteY29" fmla="*/ 61365 h 208271"/>
                <a:gd name="connsiteX30" fmla="*/ 43279 w 105064"/>
                <a:gd name="connsiteY30" fmla="*/ 50443 h 208271"/>
                <a:gd name="connsiteX31" fmla="*/ 66966 w 105064"/>
                <a:gd name="connsiteY31" fmla="*/ 32234 h 20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5064" h="208271">
                  <a:moveTo>
                    <a:pt x="66966" y="32234"/>
                  </a:moveTo>
                  <a:cubicBezTo>
                    <a:pt x="75117" y="24519"/>
                    <a:pt x="82762" y="5080"/>
                    <a:pt x="82924" y="2154"/>
                  </a:cubicBezTo>
                  <a:cubicBezTo>
                    <a:pt x="82924" y="2091"/>
                    <a:pt x="82931" y="2035"/>
                    <a:pt x="82952" y="1971"/>
                  </a:cubicBezTo>
                  <a:cubicBezTo>
                    <a:pt x="84035" y="-1580"/>
                    <a:pt x="87721" y="452"/>
                    <a:pt x="89528" y="1992"/>
                  </a:cubicBezTo>
                  <a:cubicBezTo>
                    <a:pt x="89592" y="2042"/>
                    <a:pt x="89634" y="2105"/>
                    <a:pt x="89676" y="2168"/>
                  </a:cubicBezTo>
                  <a:cubicBezTo>
                    <a:pt x="92103" y="6374"/>
                    <a:pt x="97461" y="15517"/>
                    <a:pt x="99916" y="19237"/>
                  </a:cubicBezTo>
                  <a:cubicBezTo>
                    <a:pt x="103004" y="23914"/>
                    <a:pt x="101977" y="26517"/>
                    <a:pt x="101977" y="32234"/>
                  </a:cubicBezTo>
                  <a:cubicBezTo>
                    <a:pt x="101977" y="37959"/>
                    <a:pt x="105064" y="47320"/>
                    <a:pt x="105064" y="50443"/>
                  </a:cubicBezTo>
                  <a:cubicBezTo>
                    <a:pt x="105064" y="52672"/>
                    <a:pt x="102321" y="54789"/>
                    <a:pt x="100514" y="55837"/>
                  </a:cubicBezTo>
                  <a:cubicBezTo>
                    <a:pt x="100183" y="56027"/>
                    <a:pt x="99769" y="55894"/>
                    <a:pt x="99579" y="55570"/>
                  </a:cubicBezTo>
                  <a:cubicBezTo>
                    <a:pt x="98397" y="53559"/>
                    <a:pt x="96111" y="50443"/>
                    <a:pt x="94255" y="50443"/>
                  </a:cubicBezTo>
                  <a:cubicBezTo>
                    <a:pt x="91673" y="50443"/>
                    <a:pt x="97855" y="57722"/>
                    <a:pt x="96829" y="63968"/>
                  </a:cubicBezTo>
                  <a:cubicBezTo>
                    <a:pt x="95795" y="70206"/>
                    <a:pt x="93221" y="77485"/>
                    <a:pt x="89620" y="85292"/>
                  </a:cubicBezTo>
                  <a:cubicBezTo>
                    <a:pt x="86012" y="93091"/>
                    <a:pt x="82924" y="107136"/>
                    <a:pt x="80350" y="113375"/>
                  </a:cubicBezTo>
                  <a:cubicBezTo>
                    <a:pt x="77776" y="119620"/>
                    <a:pt x="76229" y="126899"/>
                    <a:pt x="75202" y="134699"/>
                  </a:cubicBezTo>
                  <a:cubicBezTo>
                    <a:pt x="74175" y="142506"/>
                    <a:pt x="71081" y="148223"/>
                    <a:pt x="69540" y="151346"/>
                  </a:cubicBezTo>
                  <a:cubicBezTo>
                    <a:pt x="67993" y="154469"/>
                    <a:pt x="63872" y="173711"/>
                    <a:pt x="63358" y="178909"/>
                  </a:cubicBezTo>
                  <a:cubicBezTo>
                    <a:pt x="62845" y="184113"/>
                    <a:pt x="57697" y="198158"/>
                    <a:pt x="55636" y="198158"/>
                  </a:cubicBezTo>
                  <a:cubicBezTo>
                    <a:pt x="53575" y="198158"/>
                    <a:pt x="43279" y="203356"/>
                    <a:pt x="38131" y="203876"/>
                  </a:cubicBezTo>
                  <a:cubicBezTo>
                    <a:pt x="32983" y="204397"/>
                    <a:pt x="34530" y="208040"/>
                    <a:pt x="31435" y="208040"/>
                  </a:cubicBezTo>
                  <a:cubicBezTo>
                    <a:pt x="28348" y="208040"/>
                    <a:pt x="25774" y="208560"/>
                    <a:pt x="20625" y="208040"/>
                  </a:cubicBezTo>
                  <a:cubicBezTo>
                    <a:pt x="15477" y="207519"/>
                    <a:pt x="11876" y="200753"/>
                    <a:pt x="11876" y="198158"/>
                  </a:cubicBezTo>
                  <a:cubicBezTo>
                    <a:pt x="11876" y="195556"/>
                    <a:pt x="7755" y="187756"/>
                    <a:pt x="7755" y="184113"/>
                  </a:cubicBezTo>
                  <a:cubicBezTo>
                    <a:pt x="7755" y="180470"/>
                    <a:pt x="7755" y="174752"/>
                    <a:pt x="5181" y="171109"/>
                  </a:cubicBezTo>
                  <a:cubicBezTo>
                    <a:pt x="2607" y="167466"/>
                    <a:pt x="546" y="158625"/>
                    <a:pt x="33" y="155503"/>
                  </a:cubicBezTo>
                  <a:cubicBezTo>
                    <a:pt x="-481" y="152387"/>
                    <a:pt x="5181" y="138342"/>
                    <a:pt x="7755" y="134699"/>
                  </a:cubicBezTo>
                  <a:cubicBezTo>
                    <a:pt x="10329" y="131063"/>
                    <a:pt x="17538" y="120661"/>
                    <a:pt x="17538" y="115457"/>
                  </a:cubicBezTo>
                  <a:cubicBezTo>
                    <a:pt x="17538" y="110252"/>
                    <a:pt x="13930" y="102973"/>
                    <a:pt x="11876" y="96214"/>
                  </a:cubicBezTo>
                  <a:cubicBezTo>
                    <a:pt x="9816" y="89448"/>
                    <a:pt x="7755" y="82690"/>
                    <a:pt x="7755" y="77485"/>
                  </a:cubicBezTo>
                  <a:cubicBezTo>
                    <a:pt x="7755" y="72288"/>
                    <a:pt x="14964" y="65001"/>
                    <a:pt x="17538" y="61365"/>
                  </a:cubicBezTo>
                  <a:cubicBezTo>
                    <a:pt x="20112" y="57722"/>
                    <a:pt x="36591" y="55120"/>
                    <a:pt x="43279" y="50443"/>
                  </a:cubicBezTo>
                  <a:cubicBezTo>
                    <a:pt x="49974" y="45759"/>
                    <a:pt x="58724" y="40041"/>
                    <a:pt x="66966" y="3223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8" name="Freihandform: Form 163">
              <a:extLst>
                <a:ext uri="{FF2B5EF4-FFF2-40B4-BE49-F238E27FC236}">
                  <a16:creationId xmlns:a16="http://schemas.microsoft.com/office/drawing/2014/main" id="{14D59A27-CABF-A743-82B7-AB3F9486AA24}"/>
                </a:ext>
              </a:extLst>
            </p:cNvPr>
            <p:cNvSpPr/>
            <p:nvPr/>
          </p:nvSpPr>
          <p:spPr>
            <a:xfrm>
              <a:off x="6537121" y="4014260"/>
              <a:ext cx="178732" cy="164361"/>
            </a:xfrm>
            <a:custGeom>
              <a:avLst/>
              <a:gdLst>
                <a:gd name="connsiteX0" fmla="*/ 2827 w 178732"/>
                <a:gd name="connsiteY0" fmla="*/ 164361 h 164361"/>
                <a:gd name="connsiteX1" fmla="*/ 2124 w 178732"/>
                <a:gd name="connsiteY1" fmla="*/ 163658 h 164361"/>
                <a:gd name="connsiteX2" fmla="*/ 2124 w 178732"/>
                <a:gd name="connsiteY2" fmla="*/ 41698 h 164361"/>
                <a:gd name="connsiteX3" fmla="*/ 2068 w 178732"/>
                <a:gd name="connsiteY3" fmla="*/ 41416 h 164361"/>
                <a:gd name="connsiteX4" fmla="*/ 0 w 178732"/>
                <a:gd name="connsiteY4" fmla="*/ 34573 h 164361"/>
                <a:gd name="connsiteX5" fmla="*/ 0 w 178732"/>
                <a:gd name="connsiteY5" fmla="*/ 21161 h 164361"/>
                <a:gd name="connsiteX6" fmla="*/ 2124 w 178732"/>
                <a:gd name="connsiteY6" fmla="*/ 8277 h 164361"/>
                <a:gd name="connsiteX7" fmla="*/ 4508 w 178732"/>
                <a:gd name="connsiteY7" fmla="*/ 611 h 164361"/>
                <a:gd name="connsiteX8" fmla="*/ 5296 w 178732"/>
                <a:gd name="connsiteY8" fmla="*/ 6 h 164361"/>
                <a:gd name="connsiteX9" fmla="*/ 39272 w 178732"/>
                <a:gd name="connsiteY9" fmla="*/ 7798 h 164361"/>
                <a:gd name="connsiteX10" fmla="*/ 71118 w 178732"/>
                <a:gd name="connsiteY10" fmla="*/ 15232 h 164361"/>
                <a:gd name="connsiteX11" fmla="*/ 91816 w 178732"/>
                <a:gd name="connsiteY11" fmla="*/ 4085 h 164361"/>
                <a:gd name="connsiteX12" fmla="*/ 115166 w 178732"/>
                <a:gd name="connsiteY12" fmla="*/ 10984 h 164361"/>
                <a:gd name="connsiteX13" fmla="*/ 138516 w 178732"/>
                <a:gd name="connsiteY13" fmla="*/ 10984 h 164361"/>
                <a:gd name="connsiteX14" fmla="*/ 142258 w 178732"/>
                <a:gd name="connsiteY14" fmla="*/ 10984 h 164361"/>
                <a:gd name="connsiteX15" fmla="*/ 142926 w 178732"/>
                <a:gd name="connsiteY15" fmla="*/ 11463 h 164361"/>
                <a:gd name="connsiteX16" fmla="*/ 152230 w 178732"/>
                <a:gd name="connsiteY16" fmla="*/ 38849 h 164361"/>
                <a:gd name="connsiteX17" fmla="*/ 152202 w 178732"/>
                <a:gd name="connsiteY17" fmla="*/ 39363 h 164361"/>
                <a:gd name="connsiteX18" fmla="*/ 145415 w 178732"/>
                <a:gd name="connsiteY18" fmla="*/ 56629 h 164361"/>
                <a:gd name="connsiteX19" fmla="*/ 142940 w 178732"/>
                <a:gd name="connsiteY19" fmla="*/ 67650 h 164361"/>
                <a:gd name="connsiteX20" fmla="*/ 142110 w 178732"/>
                <a:gd name="connsiteY20" fmla="*/ 68135 h 164361"/>
                <a:gd name="connsiteX21" fmla="*/ 131617 w 178732"/>
                <a:gd name="connsiteY21" fmla="*/ 61404 h 164361"/>
                <a:gd name="connsiteX22" fmla="*/ 127509 w 178732"/>
                <a:gd name="connsiteY22" fmla="*/ 54434 h 164361"/>
                <a:gd name="connsiteX23" fmla="*/ 124190 w 178732"/>
                <a:gd name="connsiteY23" fmla="*/ 48667 h 164361"/>
                <a:gd name="connsiteX24" fmla="*/ 118486 w 178732"/>
                <a:gd name="connsiteY24" fmla="*/ 35691 h 164361"/>
                <a:gd name="connsiteX25" fmla="*/ 118036 w 178732"/>
                <a:gd name="connsiteY25" fmla="*/ 35326 h 164361"/>
                <a:gd name="connsiteX26" fmla="*/ 118352 w 178732"/>
                <a:gd name="connsiteY26" fmla="*/ 43892 h 164361"/>
                <a:gd name="connsiteX27" fmla="*/ 131617 w 178732"/>
                <a:gd name="connsiteY27" fmla="*/ 75203 h 164361"/>
                <a:gd name="connsiteX28" fmla="*/ 149663 w 178732"/>
                <a:gd name="connsiteY28" fmla="*/ 112879 h 164361"/>
                <a:gd name="connsiteX29" fmla="*/ 161781 w 178732"/>
                <a:gd name="connsiteY29" fmla="*/ 134478 h 164361"/>
                <a:gd name="connsiteX30" fmla="*/ 161866 w 178732"/>
                <a:gd name="connsiteY30" fmla="*/ 134822 h 164361"/>
                <a:gd name="connsiteX31" fmla="*/ 161866 w 178732"/>
                <a:gd name="connsiteY31" fmla="*/ 143958 h 164361"/>
                <a:gd name="connsiteX32" fmla="*/ 162013 w 178732"/>
                <a:gd name="connsiteY32" fmla="*/ 144380 h 164361"/>
                <a:gd name="connsiteX33" fmla="*/ 171909 w 178732"/>
                <a:gd name="connsiteY33" fmla="*/ 157406 h 164361"/>
                <a:gd name="connsiteX34" fmla="*/ 172007 w 178732"/>
                <a:gd name="connsiteY34" fmla="*/ 157511 h 164361"/>
                <a:gd name="connsiteX35" fmla="*/ 178492 w 178732"/>
                <a:gd name="connsiteY35" fmla="*/ 163123 h 164361"/>
                <a:gd name="connsiteX36" fmla="*/ 178028 w 178732"/>
                <a:gd name="connsiteY36" fmla="*/ 164361 h 164361"/>
                <a:gd name="connsiteX37" fmla="*/ 2827 w 178732"/>
                <a:gd name="connsiteY37" fmla="*/ 164361 h 164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8732" h="164361">
                  <a:moveTo>
                    <a:pt x="2827" y="164361"/>
                  </a:moveTo>
                  <a:cubicBezTo>
                    <a:pt x="2440" y="164361"/>
                    <a:pt x="2124" y="164045"/>
                    <a:pt x="2124" y="163658"/>
                  </a:cubicBezTo>
                  <a:lnTo>
                    <a:pt x="2124" y="41698"/>
                  </a:lnTo>
                  <a:cubicBezTo>
                    <a:pt x="2124" y="41606"/>
                    <a:pt x="2103" y="41508"/>
                    <a:pt x="2068" y="41416"/>
                  </a:cubicBezTo>
                  <a:cubicBezTo>
                    <a:pt x="1343" y="39750"/>
                    <a:pt x="0" y="36247"/>
                    <a:pt x="0" y="34573"/>
                  </a:cubicBezTo>
                  <a:lnTo>
                    <a:pt x="0" y="21161"/>
                  </a:lnTo>
                  <a:cubicBezTo>
                    <a:pt x="0" y="17940"/>
                    <a:pt x="1062" y="9887"/>
                    <a:pt x="2124" y="8277"/>
                  </a:cubicBezTo>
                  <a:cubicBezTo>
                    <a:pt x="2919" y="7074"/>
                    <a:pt x="4009" y="3768"/>
                    <a:pt x="4508" y="611"/>
                  </a:cubicBezTo>
                  <a:cubicBezTo>
                    <a:pt x="4571" y="231"/>
                    <a:pt x="4916" y="-44"/>
                    <a:pt x="5296" y="6"/>
                  </a:cubicBezTo>
                  <a:cubicBezTo>
                    <a:pt x="15649" y="1300"/>
                    <a:pt x="32035" y="4176"/>
                    <a:pt x="39272" y="7798"/>
                  </a:cubicBezTo>
                  <a:cubicBezTo>
                    <a:pt x="49892" y="13108"/>
                    <a:pt x="68467" y="17356"/>
                    <a:pt x="71118" y="15232"/>
                  </a:cubicBezTo>
                  <a:cubicBezTo>
                    <a:pt x="73770" y="13108"/>
                    <a:pt x="86507" y="4085"/>
                    <a:pt x="91816" y="4085"/>
                  </a:cubicBezTo>
                  <a:cubicBezTo>
                    <a:pt x="97119" y="4085"/>
                    <a:pt x="113042" y="9395"/>
                    <a:pt x="115166" y="10984"/>
                  </a:cubicBezTo>
                  <a:cubicBezTo>
                    <a:pt x="116868" y="12257"/>
                    <a:pt x="131441" y="11519"/>
                    <a:pt x="138516" y="10984"/>
                  </a:cubicBezTo>
                  <a:lnTo>
                    <a:pt x="142258" y="10984"/>
                  </a:lnTo>
                  <a:cubicBezTo>
                    <a:pt x="142560" y="10984"/>
                    <a:pt x="142827" y="11174"/>
                    <a:pt x="142926" y="11463"/>
                  </a:cubicBezTo>
                  <a:lnTo>
                    <a:pt x="152230" y="38849"/>
                  </a:lnTo>
                  <a:cubicBezTo>
                    <a:pt x="152287" y="39018"/>
                    <a:pt x="152280" y="39201"/>
                    <a:pt x="152202" y="39363"/>
                  </a:cubicBezTo>
                  <a:cubicBezTo>
                    <a:pt x="149874" y="44581"/>
                    <a:pt x="145415" y="54955"/>
                    <a:pt x="145415" y="56629"/>
                  </a:cubicBezTo>
                  <a:cubicBezTo>
                    <a:pt x="145415" y="58218"/>
                    <a:pt x="143868" y="64274"/>
                    <a:pt x="142940" y="67650"/>
                  </a:cubicBezTo>
                  <a:cubicBezTo>
                    <a:pt x="142841" y="68015"/>
                    <a:pt x="142476" y="68233"/>
                    <a:pt x="142110" y="68135"/>
                  </a:cubicBezTo>
                  <a:cubicBezTo>
                    <a:pt x="138910" y="67270"/>
                    <a:pt x="133199" y="64963"/>
                    <a:pt x="131617" y="61404"/>
                  </a:cubicBezTo>
                  <a:cubicBezTo>
                    <a:pt x="130555" y="59013"/>
                    <a:pt x="128965" y="56629"/>
                    <a:pt x="127509" y="54434"/>
                  </a:cubicBezTo>
                  <a:cubicBezTo>
                    <a:pt x="126046" y="52247"/>
                    <a:pt x="124717" y="50257"/>
                    <a:pt x="124190" y="48667"/>
                  </a:cubicBezTo>
                  <a:cubicBezTo>
                    <a:pt x="123367" y="46192"/>
                    <a:pt x="120132" y="39166"/>
                    <a:pt x="118486" y="35691"/>
                  </a:cubicBezTo>
                  <a:cubicBezTo>
                    <a:pt x="118402" y="35502"/>
                    <a:pt x="118240" y="35361"/>
                    <a:pt x="118036" y="35326"/>
                  </a:cubicBezTo>
                  <a:cubicBezTo>
                    <a:pt x="116137" y="34988"/>
                    <a:pt x="113928" y="36254"/>
                    <a:pt x="118352" y="43892"/>
                  </a:cubicBezTo>
                  <a:cubicBezTo>
                    <a:pt x="123022" y="51959"/>
                    <a:pt x="129141" y="68128"/>
                    <a:pt x="131617" y="75203"/>
                  </a:cubicBezTo>
                  <a:lnTo>
                    <a:pt x="149663" y="112879"/>
                  </a:lnTo>
                  <a:lnTo>
                    <a:pt x="161781" y="134478"/>
                  </a:lnTo>
                  <a:cubicBezTo>
                    <a:pt x="161838" y="134583"/>
                    <a:pt x="161866" y="134703"/>
                    <a:pt x="161866" y="134822"/>
                  </a:cubicBezTo>
                  <a:lnTo>
                    <a:pt x="161866" y="143958"/>
                  </a:lnTo>
                  <a:cubicBezTo>
                    <a:pt x="161866" y="144113"/>
                    <a:pt x="161922" y="144261"/>
                    <a:pt x="162013" y="144380"/>
                  </a:cubicBezTo>
                  <a:lnTo>
                    <a:pt x="171909" y="157406"/>
                  </a:lnTo>
                  <a:cubicBezTo>
                    <a:pt x="171937" y="157441"/>
                    <a:pt x="171972" y="157476"/>
                    <a:pt x="172007" y="157511"/>
                  </a:cubicBezTo>
                  <a:lnTo>
                    <a:pt x="178492" y="163123"/>
                  </a:lnTo>
                  <a:cubicBezTo>
                    <a:pt x="178977" y="163552"/>
                    <a:pt x="178682" y="164361"/>
                    <a:pt x="178028" y="164361"/>
                  </a:cubicBezTo>
                  <a:lnTo>
                    <a:pt x="2827" y="16436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9" name="Freihandform: Form 164">
              <a:extLst>
                <a:ext uri="{FF2B5EF4-FFF2-40B4-BE49-F238E27FC236}">
                  <a16:creationId xmlns:a16="http://schemas.microsoft.com/office/drawing/2014/main" id="{6DD93BEF-F939-4E48-A97A-6CF462247F2A}"/>
                </a:ext>
              </a:extLst>
            </p:cNvPr>
            <p:cNvSpPr/>
            <p:nvPr/>
          </p:nvSpPr>
          <p:spPr>
            <a:xfrm>
              <a:off x="6496259" y="4177925"/>
              <a:ext cx="244376" cy="213692"/>
            </a:xfrm>
            <a:custGeom>
              <a:avLst/>
              <a:gdLst>
                <a:gd name="connsiteX0" fmla="*/ 25474 w 244376"/>
                <a:gd name="connsiteY0" fmla="*/ 40025 h 213692"/>
                <a:gd name="connsiteX1" fmla="*/ 25903 w 244376"/>
                <a:gd name="connsiteY1" fmla="*/ 39167 h 213692"/>
                <a:gd name="connsiteX2" fmla="*/ 26008 w 244376"/>
                <a:gd name="connsiteY2" fmla="*/ 38801 h 213692"/>
                <a:gd name="connsiteX3" fmla="*/ 26008 w 244376"/>
                <a:gd name="connsiteY3" fmla="*/ 32619 h 213692"/>
                <a:gd name="connsiteX4" fmla="*/ 26712 w 244376"/>
                <a:gd name="connsiteY4" fmla="*/ 31916 h 213692"/>
                <a:gd name="connsiteX5" fmla="*/ 42283 w 244376"/>
                <a:gd name="connsiteY5" fmla="*/ 31916 h 213692"/>
                <a:gd name="connsiteX6" fmla="*/ 42986 w 244376"/>
                <a:gd name="connsiteY6" fmla="*/ 31213 h 213692"/>
                <a:gd name="connsiteX7" fmla="*/ 42986 w 244376"/>
                <a:gd name="connsiteY7" fmla="*/ 0 h 213692"/>
                <a:gd name="connsiteX8" fmla="*/ 43689 w 244376"/>
                <a:gd name="connsiteY8" fmla="*/ 696 h 213692"/>
                <a:gd name="connsiteX9" fmla="*/ 218890 w 244376"/>
                <a:gd name="connsiteY9" fmla="*/ 696 h 213692"/>
                <a:gd name="connsiteX10" fmla="*/ 218890 w 244376"/>
                <a:gd name="connsiteY10" fmla="*/ 696 h 213692"/>
                <a:gd name="connsiteX11" fmla="*/ 219882 w 244376"/>
                <a:gd name="connsiteY11" fmla="*/ 886 h 213692"/>
                <a:gd name="connsiteX12" fmla="*/ 224488 w 244376"/>
                <a:gd name="connsiteY12" fmla="*/ 7061 h 213692"/>
                <a:gd name="connsiteX13" fmla="*/ 225881 w 244376"/>
                <a:gd name="connsiteY13" fmla="*/ 10979 h 213692"/>
                <a:gd name="connsiteX14" fmla="*/ 225881 w 244376"/>
                <a:gd name="connsiteY14" fmla="*/ 10979 h 213692"/>
                <a:gd name="connsiteX15" fmla="*/ 227674 w 244376"/>
                <a:gd name="connsiteY15" fmla="*/ 16085 h 213692"/>
                <a:gd name="connsiteX16" fmla="*/ 228068 w 244376"/>
                <a:gd name="connsiteY16" fmla="*/ 22365 h 213692"/>
                <a:gd name="connsiteX17" fmla="*/ 228068 w 244376"/>
                <a:gd name="connsiteY17" fmla="*/ 22365 h 213692"/>
                <a:gd name="connsiteX18" fmla="*/ 227674 w 244376"/>
                <a:gd name="connsiteY18" fmla="*/ 26170 h 213692"/>
                <a:gd name="connsiteX19" fmla="*/ 227674 w 244376"/>
                <a:gd name="connsiteY19" fmla="*/ 36783 h 213692"/>
                <a:gd name="connsiteX20" fmla="*/ 228870 w 244376"/>
                <a:gd name="connsiteY20" fmla="*/ 45427 h 213692"/>
                <a:gd name="connsiteX21" fmla="*/ 228870 w 244376"/>
                <a:gd name="connsiteY21" fmla="*/ 45427 h 213692"/>
                <a:gd name="connsiteX22" fmla="*/ 229263 w 244376"/>
                <a:gd name="connsiteY22" fmla="*/ 47396 h 213692"/>
                <a:gd name="connsiteX23" fmla="*/ 232337 w 244376"/>
                <a:gd name="connsiteY23" fmla="*/ 51777 h 213692"/>
                <a:gd name="connsiteX24" fmla="*/ 235635 w 244376"/>
                <a:gd name="connsiteY24" fmla="*/ 53768 h 213692"/>
                <a:gd name="connsiteX25" fmla="*/ 244124 w 244376"/>
                <a:gd name="connsiteY25" fmla="*/ 66505 h 213692"/>
                <a:gd name="connsiteX26" fmla="*/ 242725 w 244376"/>
                <a:gd name="connsiteY26" fmla="*/ 68024 h 213692"/>
                <a:gd name="connsiteX27" fmla="*/ 241473 w 244376"/>
                <a:gd name="connsiteY27" fmla="*/ 69691 h 213692"/>
                <a:gd name="connsiteX28" fmla="*/ 236339 w 244376"/>
                <a:gd name="connsiteY28" fmla="*/ 72293 h 213692"/>
                <a:gd name="connsiteX29" fmla="*/ 234573 w 244376"/>
                <a:gd name="connsiteY29" fmla="*/ 72870 h 213692"/>
                <a:gd name="connsiteX30" fmla="*/ 229925 w 244376"/>
                <a:gd name="connsiteY30" fmla="*/ 75036 h 213692"/>
                <a:gd name="connsiteX31" fmla="*/ 226085 w 244376"/>
                <a:gd name="connsiteY31" fmla="*/ 77645 h 213692"/>
                <a:gd name="connsiteX32" fmla="*/ 223208 w 244376"/>
                <a:gd name="connsiteY32" fmla="*/ 82111 h 213692"/>
                <a:gd name="connsiteX33" fmla="*/ 223426 w 244376"/>
                <a:gd name="connsiteY33" fmla="*/ 85079 h 213692"/>
                <a:gd name="connsiteX34" fmla="*/ 221295 w 244376"/>
                <a:gd name="connsiteY34" fmla="*/ 90108 h 213692"/>
                <a:gd name="connsiteX35" fmla="*/ 221295 w 244376"/>
                <a:gd name="connsiteY35" fmla="*/ 90108 h 213692"/>
                <a:gd name="connsiteX36" fmla="*/ 219185 w 244376"/>
                <a:gd name="connsiteY36" fmla="*/ 94102 h 213692"/>
                <a:gd name="connsiteX37" fmla="*/ 218524 w 244376"/>
                <a:gd name="connsiteY37" fmla="*/ 95411 h 213692"/>
                <a:gd name="connsiteX38" fmla="*/ 217111 w 244376"/>
                <a:gd name="connsiteY38" fmla="*/ 98709 h 213692"/>
                <a:gd name="connsiteX39" fmla="*/ 217033 w 244376"/>
                <a:gd name="connsiteY39" fmla="*/ 100952 h 213692"/>
                <a:gd name="connsiteX40" fmla="*/ 217061 w 244376"/>
                <a:gd name="connsiteY40" fmla="*/ 103126 h 213692"/>
                <a:gd name="connsiteX41" fmla="*/ 217061 w 244376"/>
                <a:gd name="connsiteY41" fmla="*/ 110553 h 213692"/>
                <a:gd name="connsiteX42" fmla="*/ 216899 w 244376"/>
                <a:gd name="connsiteY42" fmla="*/ 114273 h 213692"/>
                <a:gd name="connsiteX43" fmla="*/ 216899 w 244376"/>
                <a:gd name="connsiteY43" fmla="*/ 114273 h 213692"/>
                <a:gd name="connsiteX44" fmla="*/ 217061 w 244376"/>
                <a:gd name="connsiteY44" fmla="*/ 117452 h 213692"/>
                <a:gd name="connsiteX45" fmla="*/ 215191 w 244376"/>
                <a:gd name="connsiteY45" fmla="*/ 125005 h 213692"/>
                <a:gd name="connsiteX46" fmla="*/ 213875 w 244376"/>
                <a:gd name="connsiteY46" fmla="*/ 129127 h 213692"/>
                <a:gd name="connsiteX47" fmla="*/ 213312 w 244376"/>
                <a:gd name="connsiteY47" fmla="*/ 131694 h 213692"/>
                <a:gd name="connsiteX48" fmla="*/ 213312 w 244376"/>
                <a:gd name="connsiteY48" fmla="*/ 131694 h 213692"/>
                <a:gd name="connsiteX49" fmla="*/ 211751 w 244376"/>
                <a:gd name="connsiteY49" fmla="*/ 138678 h 213692"/>
                <a:gd name="connsiteX50" fmla="*/ 210246 w 244376"/>
                <a:gd name="connsiteY50" fmla="*/ 142011 h 213692"/>
                <a:gd name="connsiteX51" fmla="*/ 209627 w 244376"/>
                <a:gd name="connsiteY51" fmla="*/ 142926 h 213692"/>
                <a:gd name="connsiteX52" fmla="*/ 207510 w 244376"/>
                <a:gd name="connsiteY52" fmla="*/ 146112 h 213692"/>
                <a:gd name="connsiteX53" fmla="*/ 205780 w 244376"/>
                <a:gd name="connsiteY53" fmla="*/ 148756 h 213692"/>
                <a:gd name="connsiteX54" fmla="*/ 205780 w 244376"/>
                <a:gd name="connsiteY54" fmla="*/ 148756 h 213692"/>
                <a:gd name="connsiteX55" fmla="*/ 203790 w 244376"/>
                <a:gd name="connsiteY55" fmla="*/ 151949 h 213692"/>
                <a:gd name="connsiteX56" fmla="*/ 203122 w 244376"/>
                <a:gd name="connsiteY56" fmla="*/ 152849 h 213692"/>
                <a:gd name="connsiteX57" fmla="*/ 203122 w 244376"/>
                <a:gd name="connsiteY57" fmla="*/ 152849 h 213692"/>
                <a:gd name="connsiteX58" fmla="*/ 203122 w 244376"/>
                <a:gd name="connsiteY58" fmla="*/ 152849 h 213692"/>
                <a:gd name="connsiteX59" fmla="*/ 198487 w 244376"/>
                <a:gd name="connsiteY59" fmla="*/ 158314 h 213692"/>
                <a:gd name="connsiteX60" fmla="*/ 196883 w 244376"/>
                <a:gd name="connsiteY60" fmla="*/ 162035 h 213692"/>
                <a:gd name="connsiteX61" fmla="*/ 195301 w 244376"/>
                <a:gd name="connsiteY61" fmla="*/ 166810 h 213692"/>
                <a:gd name="connsiteX62" fmla="*/ 192769 w 244376"/>
                <a:gd name="connsiteY62" fmla="*/ 169370 h 213692"/>
                <a:gd name="connsiteX63" fmla="*/ 189464 w 244376"/>
                <a:gd name="connsiteY63" fmla="*/ 171051 h 213692"/>
                <a:gd name="connsiteX64" fmla="*/ 186489 w 244376"/>
                <a:gd name="connsiteY64" fmla="*/ 174075 h 213692"/>
                <a:gd name="connsiteX65" fmla="*/ 185750 w 244376"/>
                <a:gd name="connsiteY65" fmla="*/ 175826 h 213692"/>
                <a:gd name="connsiteX66" fmla="*/ 184618 w 244376"/>
                <a:gd name="connsiteY66" fmla="*/ 179596 h 213692"/>
                <a:gd name="connsiteX67" fmla="*/ 182564 w 244376"/>
                <a:gd name="connsiteY67" fmla="*/ 186974 h 213692"/>
                <a:gd name="connsiteX68" fmla="*/ 180278 w 244376"/>
                <a:gd name="connsiteY68" fmla="*/ 189421 h 213692"/>
                <a:gd name="connsiteX69" fmla="*/ 178850 w 244376"/>
                <a:gd name="connsiteY69" fmla="*/ 188036 h 213692"/>
                <a:gd name="connsiteX70" fmla="*/ 176333 w 244376"/>
                <a:gd name="connsiteY70" fmla="*/ 187368 h 213692"/>
                <a:gd name="connsiteX71" fmla="*/ 175137 w 244376"/>
                <a:gd name="connsiteY71" fmla="*/ 186974 h 213692"/>
                <a:gd name="connsiteX72" fmla="*/ 169827 w 244376"/>
                <a:gd name="connsiteY72" fmla="*/ 181671 h 213692"/>
                <a:gd name="connsiteX73" fmla="*/ 168259 w 244376"/>
                <a:gd name="connsiteY73" fmla="*/ 178344 h 213692"/>
                <a:gd name="connsiteX74" fmla="*/ 167176 w 244376"/>
                <a:gd name="connsiteY74" fmla="*/ 175826 h 213692"/>
                <a:gd name="connsiteX75" fmla="*/ 166880 w 244376"/>
                <a:gd name="connsiteY75" fmla="*/ 169258 h 213692"/>
                <a:gd name="connsiteX76" fmla="*/ 166880 w 244376"/>
                <a:gd name="connsiteY76" fmla="*/ 169258 h 213692"/>
                <a:gd name="connsiteX77" fmla="*/ 167176 w 244376"/>
                <a:gd name="connsiteY77" fmla="*/ 166810 h 213692"/>
                <a:gd name="connsiteX78" fmla="*/ 167176 w 244376"/>
                <a:gd name="connsiteY78" fmla="*/ 158314 h 213692"/>
                <a:gd name="connsiteX79" fmla="*/ 164904 w 244376"/>
                <a:gd name="connsiteY79" fmla="*/ 154193 h 213692"/>
                <a:gd name="connsiteX80" fmla="*/ 164517 w 244376"/>
                <a:gd name="connsiteY80" fmla="*/ 154073 h 213692"/>
                <a:gd name="connsiteX81" fmla="*/ 160340 w 244376"/>
                <a:gd name="connsiteY81" fmla="*/ 155065 h 213692"/>
                <a:gd name="connsiteX82" fmla="*/ 156028 w 244376"/>
                <a:gd name="connsiteY82" fmla="*/ 156725 h 213692"/>
                <a:gd name="connsiteX83" fmla="*/ 153490 w 244376"/>
                <a:gd name="connsiteY83" fmla="*/ 161134 h 213692"/>
                <a:gd name="connsiteX84" fmla="*/ 153904 w 244376"/>
                <a:gd name="connsiteY84" fmla="*/ 163624 h 213692"/>
                <a:gd name="connsiteX85" fmla="*/ 153904 w 244376"/>
                <a:gd name="connsiteY85" fmla="*/ 167872 h 213692"/>
                <a:gd name="connsiteX86" fmla="*/ 153904 w 244376"/>
                <a:gd name="connsiteY86" fmla="*/ 172113 h 213692"/>
                <a:gd name="connsiteX87" fmla="*/ 151337 w 244376"/>
                <a:gd name="connsiteY87" fmla="*/ 175763 h 213692"/>
                <a:gd name="connsiteX88" fmla="*/ 151190 w 244376"/>
                <a:gd name="connsiteY88" fmla="*/ 175918 h 213692"/>
                <a:gd name="connsiteX89" fmla="*/ 146477 w 244376"/>
                <a:gd name="connsiteY89" fmla="*/ 183260 h 213692"/>
                <a:gd name="connsiteX90" fmla="*/ 143910 w 244376"/>
                <a:gd name="connsiteY90" fmla="*/ 186580 h 213692"/>
                <a:gd name="connsiteX91" fmla="*/ 142764 w 244376"/>
                <a:gd name="connsiteY91" fmla="*/ 188036 h 213692"/>
                <a:gd name="connsiteX92" fmla="*/ 133741 w 244376"/>
                <a:gd name="connsiteY92" fmla="*/ 194408 h 213692"/>
                <a:gd name="connsiteX93" fmla="*/ 129598 w 244376"/>
                <a:gd name="connsiteY93" fmla="*/ 193683 h 213692"/>
                <a:gd name="connsiteX94" fmla="*/ 128965 w 244376"/>
                <a:gd name="connsiteY94" fmla="*/ 193346 h 213692"/>
                <a:gd name="connsiteX95" fmla="*/ 126243 w 244376"/>
                <a:gd name="connsiteY95" fmla="*/ 190891 h 213692"/>
                <a:gd name="connsiteX96" fmla="*/ 126243 w 244376"/>
                <a:gd name="connsiteY96" fmla="*/ 190891 h 213692"/>
                <a:gd name="connsiteX97" fmla="*/ 123128 w 244376"/>
                <a:gd name="connsiteY97" fmla="*/ 188036 h 213692"/>
                <a:gd name="connsiteX98" fmla="*/ 113042 w 244376"/>
                <a:gd name="connsiteY98" fmla="*/ 190160 h 213692"/>
                <a:gd name="connsiteX99" fmla="*/ 105608 w 244376"/>
                <a:gd name="connsiteY99" fmla="*/ 195997 h 213692"/>
                <a:gd name="connsiteX100" fmla="*/ 99243 w 244376"/>
                <a:gd name="connsiteY100" fmla="*/ 197249 h 213692"/>
                <a:gd name="connsiteX101" fmla="*/ 93406 w 244376"/>
                <a:gd name="connsiteY101" fmla="*/ 198121 h 213692"/>
                <a:gd name="connsiteX102" fmla="*/ 87716 w 244376"/>
                <a:gd name="connsiteY102" fmla="*/ 197875 h 213692"/>
                <a:gd name="connsiteX103" fmla="*/ 84910 w 244376"/>
                <a:gd name="connsiteY103" fmla="*/ 195997 h 213692"/>
                <a:gd name="connsiteX104" fmla="*/ 79009 w 244376"/>
                <a:gd name="connsiteY104" fmla="*/ 194879 h 213692"/>
                <a:gd name="connsiteX105" fmla="*/ 65984 w 244376"/>
                <a:gd name="connsiteY105" fmla="*/ 193381 h 213692"/>
                <a:gd name="connsiteX106" fmla="*/ 65668 w 244376"/>
                <a:gd name="connsiteY106" fmla="*/ 193226 h 213692"/>
                <a:gd name="connsiteX107" fmla="*/ 63930 w 244376"/>
                <a:gd name="connsiteY107" fmla="*/ 190258 h 213692"/>
                <a:gd name="connsiteX108" fmla="*/ 62095 w 244376"/>
                <a:gd name="connsiteY108" fmla="*/ 184322 h 213692"/>
                <a:gd name="connsiteX109" fmla="*/ 57179 w 244376"/>
                <a:gd name="connsiteY109" fmla="*/ 182325 h 213692"/>
                <a:gd name="connsiteX110" fmla="*/ 52010 w 244376"/>
                <a:gd name="connsiteY110" fmla="*/ 184322 h 213692"/>
                <a:gd name="connsiteX111" fmla="*/ 45954 w 244376"/>
                <a:gd name="connsiteY111" fmla="*/ 187747 h 213692"/>
                <a:gd name="connsiteX112" fmla="*/ 43520 w 244376"/>
                <a:gd name="connsiteY112" fmla="*/ 191222 h 213692"/>
                <a:gd name="connsiteX113" fmla="*/ 39906 w 244376"/>
                <a:gd name="connsiteY113" fmla="*/ 198480 h 213692"/>
                <a:gd name="connsiteX114" fmla="*/ 38211 w 244376"/>
                <a:gd name="connsiteY114" fmla="*/ 202897 h 213692"/>
                <a:gd name="connsiteX115" fmla="*/ 37071 w 244376"/>
                <a:gd name="connsiteY115" fmla="*/ 204866 h 213692"/>
                <a:gd name="connsiteX116" fmla="*/ 33435 w 244376"/>
                <a:gd name="connsiteY116" fmla="*/ 211920 h 213692"/>
                <a:gd name="connsiteX117" fmla="*/ 29180 w 244376"/>
                <a:gd name="connsiteY117" fmla="*/ 213024 h 213692"/>
                <a:gd name="connsiteX118" fmla="*/ 25474 w 244376"/>
                <a:gd name="connsiteY118" fmla="*/ 211920 h 213692"/>
                <a:gd name="connsiteX119" fmla="*/ 21324 w 244376"/>
                <a:gd name="connsiteY119" fmla="*/ 207468 h 213692"/>
                <a:gd name="connsiteX120" fmla="*/ 20698 w 244376"/>
                <a:gd name="connsiteY120" fmla="*/ 205548 h 213692"/>
                <a:gd name="connsiteX121" fmla="*/ 18201 w 244376"/>
                <a:gd name="connsiteY121" fmla="*/ 194316 h 213692"/>
                <a:gd name="connsiteX122" fmla="*/ 18047 w 244376"/>
                <a:gd name="connsiteY122" fmla="*/ 193346 h 213692"/>
                <a:gd name="connsiteX123" fmla="*/ 14861 w 244376"/>
                <a:gd name="connsiteY123" fmla="*/ 186974 h 213692"/>
                <a:gd name="connsiteX124" fmla="*/ 14692 w 244376"/>
                <a:gd name="connsiteY124" fmla="*/ 183921 h 213692"/>
                <a:gd name="connsiteX125" fmla="*/ 14861 w 244376"/>
                <a:gd name="connsiteY125" fmla="*/ 180609 h 213692"/>
                <a:gd name="connsiteX126" fmla="*/ 13665 w 244376"/>
                <a:gd name="connsiteY126" fmla="*/ 178506 h 213692"/>
                <a:gd name="connsiteX127" fmla="*/ 13665 w 244376"/>
                <a:gd name="connsiteY127" fmla="*/ 178506 h 213692"/>
                <a:gd name="connsiteX128" fmla="*/ 9551 w 244376"/>
                <a:gd name="connsiteY128" fmla="*/ 172113 h 213692"/>
                <a:gd name="connsiteX129" fmla="*/ 7526 w 244376"/>
                <a:gd name="connsiteY129" fmla="*/ 167098 h 213692"/>
                <a:gd name="connsiteX130" fmla="*/ 6372 w 244376"/>
                <a:gd name="connsiteY130" fmla="*/ 163624 h 213692"/>
                <a:gd name="connsiteX131" fmla="*/ 6154 w 244376"/>
                <a:gd name="connsiteY131" fmla="*/ 157147 h 213692"/>
                <a:gd name="connsiteX132" fmla="*/ 6077 w 244376"/>
                <a:gd name="connsiteY132" fmla="*/ 156352 h 213692"/>
                <a:gd name="connsiteX133" fmla="*/ 0 w 244376"/>
                <a:gd name="connsiteY133" fmla="*/ 146112 h 213692"/>
                <a:gd name="connsiteX134" fmla="*/ 0 w 244376"/>
                <a:gd name="connsiteY134" fmla="*/ 136554 h 213692"/>
                <a:gd name="connsiteX135" fmla="*/ 2518 w 244376"/>
                <a:gd name="connsiteY135" fmla="*/ 130351 h 213692"/>
                <a:gd name="connsiteX136" fmla="*/ 2680 w 244376"/>
                <a:gd name="connsiteY136" fmla="*/ 129978 h 213692"/>
                <a:gd name="connsiteX137" fmla="*/ 6372 w 244376"/>
                <a:gd name="connsiteY137" fmla="*/ 117979 h 213692"/>
                <a:gd name="connsiteX138" fmla="*/ 6773 w 244376"/>
                <a:gd name="connsiteY138" fmla="*/ 112733 h 213692"/>
                <a:gd name="connsiteX139" fmla="*/ 6372 w 244376"/>
                <a:gd name="connsiteY139" fmla="*/ 108429 h 213692"/>
                <a:gd name="connsiteX140" fmla="*/ 9488 w 244376"/>
                <a:gd name="connsiteY140" fmla="*/ 105158 h 213692"/>
                <a:gd name="connsiteX141" fmla="*/ 12737 w 244376"/>
                <a:gd name="connsiteY141" fmla="*/ 102064 h 213692"/>
                <a:gd name="connsiteX142" fmla="*/ 24573 w 244376"/>
                <a:gd name="connsiteY142" fmla="*/ 101818 h 213692"/>
                <a:gd name="connsiteX143" fmla="*/ 25474 w 244376"/>
                <a:gd name="connsiteY143" fmla="*/ 101128 h 213692"/>
                <a:gd name="connsiteX144" fmla="*/ 25474 w 244376"/>
                <a:gd name="connsiteY144" fmla="*/ 40025 h 213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244376" h="213692">
                  <a:moveTo>
                    <a:pt x="25474" y="40025"/>
                  </a:moveTo>
                  <a:cubicBezTo>
                    <a:pt x="25474" y="39709"/>
                    <a:pt x="25734" y="39441"/>
                    <a:pt x="25903" y="39167"/>
                  </a:cubicBezTo>
                  <a:cubicBezTo>
                    <a:pt x="25966" y="39062"/>
                    <a:pt x="26008" y="38935"/>
                    <a:pt x="26008" y="38801"/>
                  </a:cubicBezTo>
                  <a:lnTo>
                    <a:pt x="26008" y="32619"/>
                  </a:lnTo>
                  <a:cubicBezTo>
                    <a:pt x="26008" y="32233"/>
                    <a:pt x="26318" y="31916"/>
                    <a:pt x="26712" y="31916"/>
                  </a:cubicBezTo>
                  <a:lnTo>
                    <a:pt x="42283" y="31916"/>
                  </a:lnTo>
                  <a:cubicBezTo>
                    <a:pt x="42669" y="31916"/>
                    <a:pt x="42986" y="31607"/>
                    <a:pt x="42986" y="31213"/>
                  </a:cubicBezTo>
                  <a:lnTo>
                    <a:pt x="42986" y="0"/>
                  </a:lnTo>
                  <a:cubicBezTo>
                    <a:pt x="42993" y="387"/>
                    <a:pt x="43302" y="696"/>
                    <a:pt x="43689" y="696"/>
                  </a:cubicBezTo>
                  <a:lnTo>
                    <a:pt x="218890" y="696"/>
                  </a:lnTo>
                  <a:lnTo>
                    <a:pt x="218890" y="696"/>
                  </a:lnTo>
                  <a:cubicBezTo>
                    <a:pt x="219227" y="696"/>
                    <a:pt x="219656" y="640"/>
                    <a:pt x="219882" y="886"/>
                  </a:cubicBezTo>
                  <a:cubicBezTo>
                    <a:pt x="221429" y="2525"/>
                    <a:pt x="223764" y="5247"/>
                    <a:pt x="224488" y="7061"/>
                  </a:cubicBezTo>
                  <a:cubicBezTo>
                    <a:pt x="225023" y="8390"/>
                    <a:pt x="225416" y="9586"/>
                    <a:pt x="225881" y="10979"/>
                  </a:cubicBezTo>
                  <a:lnTo>
                    <a:pt x="225881" y="10979"/>
                  </a:lnTo>
                  <a:cubicBezTo>
                    <a:pt x="226345" y="12371"/>
                    <a:pt x="226879" y="13961"/>
                    <a:pt x="227674" y="16085"/>
                  </a:cubicBezTo>
                  <a:cubicBezTo>
                    <a:pt x="228694" y="18799"/>
                    <a:pt x="228405" y="20431"/>
                    <a:pt x="228068" y="22365"/>
                  </a:cubicBezTo>
                  <a:lnTo>
                    <a:pt x="228068" y="22365"/>
                  </a:lnTo>
                  <a:cubicBezTo>
                    <a:pt x="227878" y="23455"/>
                    <a:pt x="227674" y="24637"/>
                    <a:pt x="227674" y="26170"/>
                  </a:cubicBezTo>
                  <a:lnTo>
                    <a:pt x="227674" y="36783"/>
                  </a:lnTo>
                  <a:cubicBezTo>
                    <a:pt x="227674" y="39540"/>
                    <a:pt x="228075" y="41502"/>
                    <a:pt x="228870" y="45427"/>
                  </a:cubicBezTo>
                  <a:lnTo>
                    <a:pt x="228870" y="45427"/>
                  </a:lnTo>
                  <a:cubicBezTo>
                    <a:pt x="228989" y="46031"/>
                    <a:pt x="229123" y="46685"/>
                    <a:pt x="229263" y="47396"/>
                  </a:cubicBezTo>
                  <a:cubicBezTo>
                    <a:pt x="229939" y="50765"/>
                    <a:pt x="230825" y="51144"/>
                    <a:pt x="232337" y="51777"/>
                  </a:cubicBezTo>
                  <a:cubicBezTo>
                    <a:pt x="233202" y="52150"/>
                    <a:pt x="234278" y="52600"/>
                    <a:pt x="235635" y="53768"/>
                  </a:cubicBezTo>
                  <a:cubicBezTo>
                    <a:pt x="239349" y="56954"/>
                    <a:pt x="245721" y="65443"/>
                    <a:pt x="244124" y="66505"/>
                  </a:cubicBezTo>
                  <a:cubicBezTo>
                    <a:pt x="243259" y="67081"/>
                    <a:pt x="243020" y="67503"/>
                    <a:pt x="242725" y="68024"/>
                  </a:cubicBezTo>
                  <a:cubicBezTo>
                    <a:pt x="242486" y="68460"/>
                    <a:pt x="242197" y="68966"/>
                    <a:pt x="241473" y="69691"/>
                  </a:cubicBezTo>
                  <a:cubicBezTo>
                    <a:pt x="240102" y="71055"/>
                    <a:pt x="239518" y="71252"/>
                    <a:pt x="236339" y="72293"/>
                  </a:cubicBezTo>
                  <a:cubicBezTo>
                    <a:pt x="235825" y="72462"/>
                    <a:pt x="235242" y="72651"/>
                    <a:pt x="234573" y="72870"/>
                  </a:cubicBezTo>
                  <a:cubicBezTo>
                    <a:pt x="231465" y="73910"/>
                    <a:pt x="231282" y="74044"/>
                    <a:pt x="229925" y="75036"/>
                  </a:cubicBezTo>
                  <a:cubicBezTo>
                    <a:pt x="229193" y="75570"/>
                    <a:pt x="228124" y="76351"/>
                    <a:pt x="226085" y="77645"/>
                  </a:cubicBezTo>
                  <a:cubicBezTo>
                    <a:pt x="222399" y="79994"/>
                    <a:pt x="222730" y="80859"/>
                    <a:pt x="223208" y="82111"/>
                  </a:cubicBezTo>
                  <a:cubicBezTo>
                    <a:pt x="223489" y="82842"/>
                    <a:pt x="223820" y="83707"/>
                    <a:pt x="223426" y="85079"/>
                  </a:cubicBezTo>
                  <a:cubicBezTo>
                    <a:pt x="222737" y="87498"/>
                    <a:pt x="222273" y="88342"/>
                    <a:pt x="221295" y="90108"/>
                  </a:cubicBezTo>
                  <a:lnTo>
                    <a:pt x="221295" y="90108"/>
                  </a:lnTo>
                  <a:cubicBezTo>
                    <a:pt x="220775" y="91050"/>
                    <a:pt x="220106" y="92253"/>
                    <a:pt x="219185" y="94102"/>
                  </a:cubicBezTo>
                  <a:cubicBezTo>
                    <a:pt x="218939" y="94595"/>
                    <a:pt x="218721" y="95024"/>
                    <a:pt x="218524" y="95411"/>
                  </a:cubicBezTo>
                  <a:cubicBezTo>
                    <a:pt x="217638" y="97169"/>
                    <a:pt x="217258" y="97914"/>
                    <a:pt x="217111" y="98709"/>
                  </a:cubicBezTo>
                  <a:cubicBezTo>
                    <a:pt x="216998" y="99293"/>
                    <a:pt x="217012" y="99898"/>
                    <a:pt x="217033" y="100952"/>
                  </a:cubicBezTo>
                  <a:cubicBezTo>
                    <a:pt x="217047" y="101522"/>
                    <a:pt x="217061" y="102226"/>
                    <a:pt x="217061" y="103126"/>
                  </a:cubicBezTo>
                  <a:lnTo>
                    <a:pt x="217061" y="110553"/>
                  </a:lnTo>
                  <a:cubicBezTo>
                    <a:pt x="217061" y="112297"/>
                    <a:pt x="216970" y="113415"/>
                    <a:pt x="216899" y="114273"/>
                  </a:cubicBezTo>
                  <a:lnTo>
                    <a:pt x="216899" y="114273"/>
                  </a:lnTo>
                  <a:cubicBezTo>
                    <a:pt x="216801" y="115504"/>
                    <a:pt x="216745" y="116200"/>
                    <a:pt x="217061" y="117452"/>
                  </a:cubicBezTo>
                  <a:cubicBezTo>
                    <a:pt x="217399" y="118809"/>
                    <a:pt x="216224" y="122108"/>
                    <a:pt x="215191" y="125005"/>
                  </a:cubicBezTo>
                  <a:cubicBezTo>
                    <a:pt x="214607" y="126651"/>
                    <a:pt x="214065" y="128170"/>
                    <a:pt x="213875" y="129127"/>
                  </a:cubicBezTo>
                  <a:cubicBezTo>
                    <a:pt x="213643" y="130280"/>
                    <a:pt x="213516" y="130829"/>
                    <a:pt x="213312" y="131694"/>
                  </a:cubicBezTo>
                  <a:lnTo>
                    <a:pt x="213312" y="131694"/>
                  </a:lnTo>
                  <a:cubicBezTo>
                    <a:pt x="213045" y="132819"/>
                    <a:pt x="212651" y="134479"/>
                    <a:pt x="211751" y="138678"/>
                  </a:cubicBezTo>
                  <a:cubicBezTo>
                    <a:pt x="211083" y="141357"/>
                    <a:pt x="210626" y="141709"/>
                    <a:pt x="210246" y="142011"/>
                  </a:cubicBezTo>
                  <a:cubicBezTo>
                    <a:pt x="210021" y="142180"/>
                    <a:pt x="209824" y="142335"/>
                    <a:pt x="209627" y="142926"/>
                  </a:cubicBezTo>
                  <a:cubicBezTo>
                    <a:pt x="209100" y="144515"/>
                    <a:pt x="208572" y="145050"/>
                    <a:pt x="207510" y="146112"/>
                  </a:cubicBezTo>
                  <a:cubicBezTo>
                    <a:pt x="206954" y="146660"/>
                    <a:pt x="206406" y="147638"/>
                    <a:pt x="205780" y="148756"/>
                  </a:cubicBezTo>
                  <a:lnTo>
                    <a:pt x="205780" y="148756"/>
                  </a:lnTo>
                  <a:cubicBezTo>
                    <a:pt x="205203" y="149783"/>
                    <a:pt x="204556" y="150929"/>
                    <a:pt x="203790" y="151949"/>
                  </a:cubicBezTo>
                  <a:cubicBezTo>
                    <a:pt x="203558" y="152259"/>
                    <a:pt x="203340" y="152554"/>
                    <a:pt x="203122" y="152849"/>
                  </a:cubicBezTo>
                  <a:lnTo>
                    <a:pt x="203122" y="152849"/>
                  </a:lnTo>
                  <a:lnTo>
                    <a:pt x="203122" y="152849"/>
                  </a:lnTo>
                  <a:cubicBezTo>
                    <a:pt x="201856" y="154558"/>
                    <a:pt x="200751" y="156049"/>
                    <a:pt x="198487" y="158314"/>
                  </a:cubicBezTo>
                  <a:cubicBezTo>
                    <a:pt x="197136" y="159664"/>
                    <a:pt x="197024" y="160740"/>
                    <a:pt x="196883" y="162035"/>
                  </a:cubicBezTo>
                  <a:cubicBezTo>
                    <a:pt x="196757" y="163279"/>
                    <a:pt x="196602" y="164721"/>
                    <a:pt x="195301" y="166810"/>
                  </a:cubicBezTo>
                  <a:cubicBezTo>
                    <a:pt x="193824" y="169173"/>
                    <a:pt x="193500" y="169229"/>
                    <a:pt x="192769" y="169370"/>
                  </a:cubicBezTo>
                  <a:cubicBezTo>
                    <a:pt x="192185" y="169483"/>
                    <a:pt x="191348" y="169637"/>
                    <a:pt x="189464" y="171051"/>
                  </a:cubicBezTo>
                  <a:cubicBezTo>
                    <a:pt x="186693" y="173133"/>
                    <a:pt x="186636" y="173400"/>
                    <a:pt x="186489" y="174075"/>
                  </a:cubicBezTo>
                  <a:cubicBezTo>
                    <a:pt x="186404" y="174434"/>
                    <a:pt x="186299" y="174905"/>
                    <a:pt x="185750" y="175826"/>
                  </a:cubicBezTo>
                  <a:cubicBezTo>
                    <a:pt x="185018" y="177043"/>
                    <a:pt x="184850" y="178147"/>
                    <a:pt x="184618" y="179596"/>
                  </a:cubicBezTo>
                  <a:cubicBezTo>
                    <a:pt x="184351" y="181312"/>
                    <a:pt x="184006" y="183520"/>
                    <a:pt x="182564" y="186974"/>
                  </a:cubicBezTo>
                  <a:cubicBezTo>
                    <a:pt x="180932" y="190898"/>
                    <a:pt x="180707" y="190392"/>
                    <a:pt x="180278" y="189421"/>
                  </a:cubicBezTo>
                  <a:cubicBezTo>
                    <a:pt x="180011" y="188816"/>
                    <a:pt x="179666" y="188036"/>
                    <a:pt x="178850" y="188036"/>
                  </a:cubicBezTo>
                  <a:cubicBezTo>
                    <a:pt x="177606" y="188036"/>
                    <a:pt x="176909" y="187670"/>
                    <a:pt x="176333" y="187368"/>
                  </a:cubicBezTo>
                  <a:cubicBezTo>
                    <a:pt x="175925" y="187157"/>
                    <a:pt x="175573" y="186974"/>
                    <a:pt x="175137" y="186974"/>
                  </a:cubicBezTo>
                  <a:cubicBezTo>
                    <a:pt x="174075" y="186974"/>
                    <a:pt x="171951" y="184322"/>
                    <a:pt x="169827" y="181671"/>
                  </a:cubicBezTo>
                  <a:cubicBezTo>
                    <a:pt x="168681" y="180236"/>
                    <a:pt x="168463" y="179266"/>
                    <a:pt x="168259" y="178344"/>
                  </a:cubicBezTo>
                  <a:cubicBezTo>
                    <a:pt x="168076" y="177563"/>
                    <a:pt x="167907" y="176811"/>
                    <a:pt x="167176" y="175826"/>
                  </a:cubicBezTo>
                  <a:cubicBezTo>
                    <a:pt x="166050" y="174335"/>
                    <a:pt x="166508" y="171529"/>
                    <a:pt x="166880" y="169258"/>
                  </a:cubicBezTo>
                  <a:lnTo>
                    <a:pt x="166880" y="169258"/>
                  </a:lnTo>
                  <a:cubicBezTo>
                    <a:pt x="167035" y="168301"/>
                    <a:pt x="167176" y="167436"/>
                    <a:pt x="167176" y="166810"/>
                  </a:cubicBezTo>
                  <a:lnTo>
                    <a:pt x="167176" y="158314"/>
                  </a:lnTo>
                  <a:cubicBezTo>
                    <a:pt x="167176" y="154910"/>
                    <a:pt x="166283" y="154629"/>
                    <a:pt x="164904" y="154193"/>
                  </a:cubicBezTo>
                  <a:cubicBezTo>
                    <a:pt x="164777" y="154157"/>
                    <a:pt x="164651" y="154115"/>
                    <a:pt x="164517" y="154073"/>
                  </a:cubicBezTo>
                  <a:cubicBezTo>
                    <a:pt x="163519" y="153736"/>
                    <a:pt x="162302" y="154242"/>
                    <a:pt x="160340" y="155065"/>
                  </a:cubicBezTo>
                  <a:cubicBezTo>
                    <a:pt x="159193" y="155550"/>
                    <a:pt x="157794" y="156134"/>
                    <a:pt x="156028" y="156725"/>
                  </a:cubicBezTo>
                  <a:cubicBezTo>
                    <a:pt x="152624" y="157857"/>
                    <a:pt x="152997" y="159263"/>
                    <a:pt x="153490" y="161134"/>
                  </a:cubicBezTo>
                  <a:cubicBezTo>
                    <a:pt x="153686" y="161880"/>
                    <a:pt x="153904" y="162710"/>
                    <a:pt x="153904" y="163624"/>
                  </a:cubicBezTo>
                  <a:lnTo>
                    <a:pt x="153904" y="167872"/>
                  </a:lnTo>
                  <a:lnTo>
                    <a:pt x="153904" y="172113"/>
                  </a:lnTo>
                  <a:cubicBezTo>
                    <a:pt x="153904" y="173351"/>
                    <a:pt x="152245" y="175018"/>
                    <a:pt x="151337" y="175763"/>
                  </a:cubicBezTo>
                  <a:cubicBezTo>
                    <a:pt x="151281" y="175805"/>
                    <a:pt x="151232" y="175862"/>
                    <a:pt x="151190" y="175918"/>
                  </a:cubicBezTo>
                  <a:cubicBezTo>
                    <a:pt x="150099" y="177556"/>
                    <a:pt x="147729" y="181179"/>
                    <a:pt x="146477" y="183260"/>
                  </a:cubicBezTo>
                  <a:cubicBezTo>
                    <a:pt x="145556" y="184801"/>
                    <a:pt x="144628" y="185799"/>
                    <a:pt x="143910" y="186580"/>
                  </a:cubicBezTo>
                  <a:cubicBezTo>
                    <a:pt x="143397" y="187143"/>
                    <a:pt x="142982" y="187593"/>
                    <a:pt x="142764" y="188036"/>
                  </a:cubicBezTo>
                  <a:cubicBezTo>
                    <a:pt x="142229" y="189098"/>
                    <a:pt x="136392" y="193346"/>
                    <a:pt x="133741" y="194408"/>
                  </a:cubicBezTo>
                  <a:cubicBezTo>
                    <a:pt x="131778" y="195188"/>
                    <a:pt x="130400" y="194239"/>
                    <a:pt x="129598" y="193683"/>
                  </a:cubicBezTo>
                  <a:cubicBezTo>
                    <a:pt x="129317" y="193486"/>
                    <a:pt x="129099" y="193346"/>
                    <a:pt x="128965" y="193346"/>
                  </a:cubicBezTo>
                  <a:cubicBezTo>
                    <a:pt x="128698" y="193346"/>
                    <a:pt x="127502" y="192150"/>
                    <a:pt x="126243" y="190891"/>
                  </a:cubicBezTo>
                  <a:lnTo>
                    <a:pt x="126243" y="190891"/>
                  </a:lnTo>
                  <a:cubicBezTo>
                    <a:pt x="124984" y="189625"/>
                    <a:pt x="123655" y="188303"/>
                    <a:pt x="123128" y="188036"/>
                  </a:cubicBezTo>
                  <a:cubicBezTo>
                    <a:pt x="122066" y="187508"/>
                    <a:pt x="114104" y="188563"/>
                    <a:pt x="113042" y="190160"/>
                  </a:cubicBezTo>
                  <a:cubicBezTo>
                    <a:pt x="111980" y="191749"/>
                    <a:pt x="110918" y="193346"/>
                    <a:pt x="105608" y="195997"/>
                  </a:cubicBezTo>
                  <a:cubicBezTo>
                    <a:pt x="102823" y="197390"/>
                    <a:pt x="101058" y="197319"/>
                    <a:pt x="99243" y="197249"/>
                  </a:cubicBezTo>
                  <a:cubicBezTo>
                    <a:pt x="97605" y="197179"/>
                    <a:pt x="95924" y="197115"/>
                    <a:pt x="93406" y="198121"/>
                  </a:cubicBezTo>
                  <a:cubicBezTo>
                    <a:pt x="89770" y="199570"/>
                    <a:pt x="89123" y="199035"/>
                    <a:pt x="87716" y="197875"/>
                  </a:cubicBezTo>
                  <a:cubicBezTo>
                    <a:pt x="87062" y="197333"/>
                    <a:pt x="86253" y="196665"/>
                    <a:pt x="84910" y="195997"/>
                  </a:cubicBezTo>
                  <a:cubicBezTo>
                    <a:pt x="82863" y="194970"/>
                    <a:pt x="81436" y="194935"/>
                    <a:pt x="79009" y="194879"/>
                  </a:cubicBezTo>
                  <a:cubicBezTo>
                    <a:pt x="76435" y="194809"/>
                    <a:pt x="72736" y="194717"/>
                    <a:pt x="65984" y="193381"/>
                  </a:cubicBezTo>
                  <a:cubicBezTo>
                    <a:pt x="65872" y="193353"/>
                    <a:pt x="65759" y="193304"/>
                    <a:pt x="65668" y="193226"/>
                  </a:cubicBezTo>
                  <a:cubicBezTo>
                    <a:pt x="64134" y="191918"/>
                    <a:pt x="64071" y="191405"/>
                    <a:pt x="63930" y="190258"/>
                  </a:cubicBezTo>
                  <a:cubicBezTo>
                    <a:pt x="63804" y="189196"/>
                    <a:pt x="63607" y="187600"/>
                    <a:pt x="62095" y="184322"/>
                  </a:cubicBezTo>
                  <a:cubicBezTo>
                    <a:pt x="60189" y="180194"/>
                    <a:pt x="59043" y="181003"/>
                    <a:pt x="57179" y="182325"/>
                  </a:cubicBezTo>
                  <a:cubicBezTo>
                    <a:pt x="55927" y="183204"/>
                    <a:pt x="54359" y="184322"/>
                    <a:pt x="52010" y="184322"/>
                  </a:cubicBezTo>
                  <a:cubicBezTo>
                    <a:pt x="47987" y="184322"/>
                    <a:pt x="47241" y="185581"/>
                    <a:pt x="45954" y="187747"/>
                  </a:cubicBezTo>
                  <a:cubicBezTo>
                    <a:pt x="45370" y="188732"/>
                    <a:pt x="44674" y="189899"/>
                    <a:pt x="43520" y="191222"/>
                  </a:cubicBezTo>
                  <a:cubicBezTo>
                    <a:pt x="41263" y="193796"/>
                    <a:pt x="40574" y="196173"/>
                    <a:pt x="39906" y="198480"/>
                  </a:cubicBezTo>
                  <a:cubicBezTo>
                    <a:pt x="39470" y="199971"/>
                    <a:pt x="39048" y="201434"/>
                    <a:pt x="38211" y="202897"/>
                  </a:cubicBezTo>
                  <a:cubicBezTo>
                    <a:pt x="37796" y="203621"/>
                    <a:pt x="37423" y="204268"/>
                    <a:pt x="37071" y="204866"/>
                  </a:cubicBezTo>
                  <a:cubicBezTo>
                    <a:pt x="35651" y="207313"/>
                    <a:pt x="34715" y="208931"/>
                    <a:pt x="33435" y="211920"/>
                  </a:cubicBezTo>
                  <a:cubicBezTo>
                    <a:pt x="32394" y="214346"/>
                    <a:pt x="31121" y="213826"/>
                    <a:pt x="29180" y="213024"/>
                  </a:cubicBezTo>
                  <a:cubicBezTo>
                    <a:pt x="28153" y="212602"/>
                    <a:pt x="26944" y="212103"/>
                    <a:pt x="25474" y="211920"/>
                  </a:cubicBezTo>
                  <a:cubicBezTo>
                    <a:pt x="22344" y="211526"/>
                    <a:pt x="21809" y="209409"/>
                    <a:pt x="21324" y="207468"/>
                  </a:cubicBezTo>
                  <a:cubicBezTo>
                    <a:pt x="21148" y="206779"/>
                    <a:pt x="20980" y="206111"/>
                    <a:pt x="20698" y="205548"/>
                  </a:cubicBezTo>
                  <a:cubicBezTo>
                    <a:pt x="19735" y="203621"/>
                    <a:pt x="18771" y="197762"/>
                    <a:pt x="18201" y="194316"/>
                  </a:cubicBezTo>
                  <a:cubicBezTo>
                    <a:pt x="18145" y="193965"/>
                    <a:pt x="18096" y="193634"/>
                    <a:pt x="18047" y="193346"/>
                  </a:cubicBezTo>
                  <a:cubicBezTo>
                    <a:pt x="17512" y="190160"/>
                    <a:pt x="16985" y="189098"/>
                    <a:pt x="14861" y="186974"/>
                  </a:cubicBezTo>
                  <a:cubicBezTo>
                    <a:pt x="13771" y="185891"/>
                    <a:pt x="14214" y="184941"/>
                    <a:pt x="14692" y="183921"/>
                  </a:cubicBezTo>
                  <a:cubicBezTo>
                    <a:pt x="15149" y="182944"/>
                    <a:pt x="15634" y="181903"/>
                    <a:pt x="14861" y="180609"/>
                  </a:cubicBezTo>
                  <a:cubicBezTo>
                    <a:pt x="14404" y="179849"/>
                    <a:pt x="14038" y="179174"/>
                    <a:pt x="13665" y="178506"/>
                  </a:cubicBezTo>
                  <a:lnTo>
                    <a:pt x="13665" y="178506"/>
                  </a:lnTo>
                  <a:cubicBezTo>
                    <a:pt x="12751" y="176825"/>
                    <a:pt x="11829" y="175144"/>
                    <a:pt x="9551" y="172113"/>
                  </a:cubicBezTo>
                  <a:cubicBezTo>
                    <a:pt x="7793" y="169764"/>
                    <a:pt x="7652" y="168392"/>
                    <a:pt x="7526" y="167098"/>
                  </a:cubicBezTo>
                  <a:cubicBezTo>
                    <a:pt x="7420" y="166043"/>
                    <a:pt x="7314" y="165045"/>
                    <a:pt x="6372" y="163624"/>
                  </a:cubicBezTo>
                  <a:cubicBezTo>
                    <a:pt x="4839" y="161331"/>
                    <a:pt x="5493" y="158581"/>
                    <a:pt x="6154" y="157147"/>
                  </a:cubicBezTo>
                  <a:cubicBezTo>
                    <a:pt x="6273" y="156886"/>
                    <a:pt x="6252" y="156577"/>
                    <a:pt x="6077" y="156352"/>
                  </a:cubicBezTo>
                  <a:cubicBezTo>
                    <a:pt x="3875" y="153560"/>
                    <a:pt x="0" y="148137"/>
                    <a:pt x="0" y="146112"/>
                  </a:cubicBezTo>
                  <a:lnTo>
                    <a:pt x="0" y="136554"/>
                  </a:lnTo>
                  <a:cubicBezTo>
                    <a:pt x="0" y="134134"/>
                    <a:pt x="1603" y="131511"/>
                    <a:pt x="2518" y="130351"/>
                  </a:cubicBezTo>
                  <a:cubicBezTo>
                    <a:pt x="2609" y="130245"/>
                    <a:pt x="2658" y="130119"/>
                    <a:pt x="2680" y="129978"/>
                  </a:cubicBezTo>
                  <a:cubicBezTo>
                    <a:pt x="3059" y="126714"/>
                    <a:pt x="4290" y="120061"/>
                    <a:pt x="6372" y="117979"/>
                  </a:cubicBezTo>
                  <a:cubicBezTo>
                    <a:pt x="7877" y="116474"/>
                    <a:pt x="7328" y="114632"/>
                    <a:pt x="6773" y="112733"/>
                  </a:cubicBezTo>
                  <a:cubicBezTo>
                    <a:pt x="6344" y="111284"/>
                    <a:pt x="5908" y="109807"/>
                    <a:pt x="6372" y="108429"/>
                  </a:cubicBezTo>
                  <a:cubicBezTo>
                    <a:pt x="6920" y="106783"/>
                    <a:pt x="8179" y="105988"/>
                    <a:pt x="9488" y="105158"/>
                  </a:cubicBezTo>
                  <a:cubicBezTo>
                    <a:pt x="10711" y="104392"/>
                    <a:pt x="11970" y="103597"/>
                    <a:pt x="12737" y="102064"/>
                  </a:cubicBezTo>
                  <a:cubicBezTo>
                    <a:pt x="13918" y="99708"/>
                    <a:pt x="20635" y="100798"/>
                    <a:pt x="24573" y="101818"/>
                  </a:cubicBezTo>
                  <a:cubicBezTo>
                    <a:pt x="25031" y="101937"/>
                    <a:pt x="25474" y="101592"/>
                    <a:pt x="25474" y="101128"/>
                  </a:cubicBezTo>
                  <a:lnTo>
                    <a:pt x="25474" y="4002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0" name="Freihandform: Form 165">
              <a:extLst>
                <a:ext uri="{FF2B5EF4-FFF2-40B4-BE49-F238E27FC236}">
                  <a16:creationId xmlns:a16="http://schemas.microsoft.com/office/drawing/2014/main" id="{790F3386-9CF0-E44D-876B-C15DCB3A3732}"/>
                </a:ext>
              </a:extLst>
            </p:cNvPr>
            <p:cNvSpPr/>
            <p:nvPr/>
          </p:nvSpPr>
          <p:spPr>
            <a:xfrm>
              <a:off x="6795259" y="4339890"/>
              <a:ext cx="94900" cy="54020"/>
            </a:xfrm>
            <a:custGeom>
              <a:avLst/>
              <a:gdLst>
                <a:gd name="connsiteX0" fmla="*/ 94900 w 94900"/>
                <a:gd name="connsiteY0" fmla="*/ 31037 h 54020"/>
                <a:gd name="connsiteX1" fmla="*/ 94900 w 94900"/>
                <a:gd name="connsiteY1" fmla="*/ 2813 h 54020"/>
                <a:gd name="connsiteX2" fmla="*/ 94204 w 94900"/>
                <a:gd name="connsiteY2" fmla="*/ 2131 h 54020"/>
                <a:gd name="connsiteX3" fmla="*/ 67837 w 94900"/>
                <a:gd name="connsiteY3" fmla="*/ 7947 h 54020"/>
                <a:gd name="connsiteX4" fmla="*/ 51387 w 94900"/>
                <a:gd name="connsiteY4" fmla="*/ 11133 h 54020"/>
                <a:gd name="connsiteX5" fmla="*/ 29626 w 94900"/>
                <a:gd name="connsiteY5" fmla="*/ 16970 h 54020"/>
                <a:gd name="connsiteX6" fmla="*/ 11052 w 94900"/>
                <a:gd name="connsiteY6" fmla="*/ 2110 h 54020"/>
                <a:gd name="connsiteX7" fmla="*/ 4743 w 94900"/>
                <a:gd name="connsiteY7" fmla="*/ 2018 h 54020"/>
                <a:gd name="connsiteX8" fmla="*/ 4652 w 94900"/>
                <a:gd name="connsiteY8" fmla="*/ 2222 h 54020"/>
                <a:gd name="connsiteX9" fmla="*/ 24 w 94900"/>
                <a:gd name="connsiteY9" fmla="*/ 19186 h 54020"/>
                <a:gd name="connsiteX10" fmla="*/ 250 w 94900"/>
                <a:gd name="connsiteY10" fmla="*/ 19910 h 54020"/>
                <a:gd name="connsiteX11" fmla="*/ 11052 w 94900"/>
                <a:gd name="connsiteY11" fmla="*/ 29173 h 54020"/>
                <a:gd name="connsiteX12" fmla="*/ 39177 w 94900"/>
                <a:gd name="connsiteY12" fmla="*/ 43506 h 54020"/>
                <a:gd name="connsiteX13" fmla="*/ 74835 w 94900"/>
                <a:gd name="connsiteY13" fmla="*/ 53992 h 54020"/>
                <a:gd name="connsiteX14" fmla="*/ 75566 w 94900"/>
                <a:gd name="connsiteY14" fmla="*/ 53774 h 54020"/>
                <a:gd name="connsiteX15" fmla="*/ 94732 w 94900"/>
                <a:gd name="connsiteY15" fmla="*/ 31494 h 54020"/>
                <a:gd name="connsiteX16" fmla="*/ 94900 w 94900"/>
                <a:gd name="connsiteY16" fmla="*/ 31037 h 54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4900" h="54020">
                  <a:moveTo>
                    <a:pt x="94900" y="31037"/>
                  </a:moveTo>
                  <a:lnTo>
                    <a:pt x="94900" y="2813"/>
                  </a:lnTo>
                  <a:cubicBezTo>
                    <a:pt x="94900" y="2426"/>
                    <a:pt x="94591" y="2110"/>
                    <a:pt x="94204" y="2131"/>
                  </a:cubicBezTo>
                  <a:cubicBezTo>
                    <a:pt x="88212" y="2447"/>
                    <a:pt x="71909" y="6421"/>
                    <a:pt x="67837" y="7947"/>
                  </a:cubicBezTo>
                  <a:cubicBezTo>
                    <a:pt x="63589" y="9537"/>
                    <a:pt x="54566" y="11133"/>
                    <a:pt x="51387" y="11133"/>
                  </a:cubicBezTo>
                  <a:cubicBezTo>
                    <a:pt x="48201" y="11133"/>
                    <a:pt x="33867" y="17498"/>
                    <a:pt x="29626" y="16970"/>
                  </a:cubicBezTo>
                  <a:cubicBezTo>
                    <a:pt x="25379" y="16436"/>
                    <a:pt x="14231" y="6885"/>
                    <a:pt x="11052" y="2110"/>
                  </a:cubicBezTo>
                  <a:cubicBezTo>
                    <a:pt x="8548" y="-1639"/>
                    <a:pt x="5848" y="436"/>
                    <a:pt x="4743" y="2018"/>
                  </a:cubicBezTo>
                  <a:cubicBezTo>
                    <a:pt x="4701" y="2081"/>
                    <a:pt x="4673" y="2145"/>
                    <a:pt x="4652" y="2222"/>
                  </a:cubicBezTo>
                  <a:lnTo>
                    <a:pt x="24" y="19186"/>
                  </a:lnTo>
                  <a:cubicBezTo>
                    <a:pt x="-46" y="19453"/>
                    <a:pt x="38" y="19735"/>
                    <a:pt x="250" y="19910"/>
                  </a:cubicBezTo>
                  <a:cubicBezTo>
                    <a:pt x="3548" y="22667"/>
                    <a:pt x="9822" y="27949"/>
                    <a:pt x="11052" y="29173"/>
                  </a:cubicBezTo>
                  <a:cubicBezTo>
                    <a:pt x="12642" y="30769"/>
                    <a:pt x="34929" y="42444"/>
                    <a:pt x="39177" y="43506"/>
                  </a:cubicBezTo>
                  <a:cubicBezTo>
                    <a:pt x="42532" y="44343"/>
                    <a:pt x="64067" y="50764"/>
                    <a:pt x="74835" y="53992"/>
                  </a:cubicBezTo>
                  <a:cubicBezTo>
                    <a:pt x="75102" y="54070"/>
                    <a:pt x="75383" y="53985"/>
                    <a:pt x="75566" y="53774"/>
                  </a:cubicBezTo>
                  <a:lnTo>
                    <a:pt x="94732" y="31494"/>
                  </a:lnTo>
                  <a:cubicBezTo>
                    <a:pt x="94844" y="31367"/>
                    <a:pt x="94900" y="31205"/>
                    <a:pt x="94900" y="31037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1" name="Freihandform: Form 166">
              <a:extLst>
                <a:ext uri="{FF2B5EF4-FFF2-40B4-BE49-F238E27FC236}">
                  <a16:creationId xmlns:a16="http://schemas.microsoft.com/office/drawing/2014/main" id="{A52AC0D0-71A1-8345-812F-C5483EE22B90}"/>
                </a:ext>
              </a:extLst>
            </p:cNvPr>
            <p:cNvSpPr/>
            <p:nvPr/>
          </p:nvSpPr>
          <p:spPr>
            <a:xfrm>
              <a:off x="3747817" y="4192210"/>
              <a:ext cx="18914" cy="21788"/>
            </a:xfrm>
            <a:custGeom>
              <a:avLst/>
              <a:gdLst>
                <a:gd name="connsiteX0" fmla="*/ 7206 w 18914"/>
                <a:gd name="connsiteY0" fmla="*/ 2236 h 21788"/>
                <a:gd name="connsiteX1" fmla="*/ 6899 w 18914"/>
                <a:gd name="connsiteY1" fmla="*/ 2186 h 21788"/>
                <a:gd name="connsiteX2" fmla="*/ 5790 w 18914"/>
                <a:gd name="connsiteY2" fmla="*/ 1406 h 21788"/>
                <a:gd name="connsiteX3" fmla="*/ 5080 w 18914"/>
                <a:gd name="connsiteY3" fmla="*/ 1103 h 21788"/>
                <a:gd name="connsiteX4" fmla="*/ 4374 w 18914"/>
                <a:gd name="connsiteY4" fmla="*/ 484 h 21788"/>
                <a:gd name="connsiteX5" fmla="*/ 3577 w 18914"/>
                <a:gd name="connsiteY5" fmla="*/ 6 h 21788"/>
                <a:gd name="connsiteX6" fmla="*/ 2695 w 18914"/>
                <a:gd name="connsiteY6" fmla="*/ 6 h 21788"/>
                <a:gd name="connsiteX7" fmla="*/ 2357 w 18914"/>
                <a:gd name="connsiteY7" fmla="*/ 379 h 21788"/>
                <a:gd name="connsiteX8" fmla="*/ 2357 w 18914"/>
                <a:gd name="connsiteY8" fmla="*/ 1708 h 21788"/>
                <a:gd name="connsiteX9" fmla="*/ 2507 w 18914"/>
                <a:gd name="connsiteY9" fmla="*/ 2278 h 21788"/>
                <a:gd name="connsiteX10" fmla="*/ 3011 w 18914"/>
                <a:gd name="connsiteY10" fmla="*/ 2988 h 21788"/>
                <a:gd name="connsiteX11" fmla="*/ 3046 w 18914"/>
                <a:gd name="connsiteY11" fmla="*/ 3016 h 21788"/>
                <a:gd name="connsiteX12" fmla="*/ 3259 w 18914"/>
                <a:gd name="connsiteY12" fmla="*/ 3509 h 21788"/>
                <a:gd name="connsiteX13" fmla="*/ 3259 w 18914"/>
                <a:gd name="connsiteY13" fmla="*/ 3952 h 21788"/>
                <a:gd name="connsiteX14" fmla="*/ 3259 w 18914"/>
                <a:gd name="connsiteY14" fmla="*/ 4324 h 21788"/>
                <a:gd name="connsiteX15" fmla="*/ 3046 w 18914"/>
                <a:gd name="connsiteY15" fmla="*/ 4732 h 21788"/>
                <a:gd name="connsiteX16" fmla="*/ 2695 w 18914"/>
                <a:gd name="connsiteY16" fmla="*/ 5302 h 21788"/>
                <a:gd name="connsiteX17" fmla="*/ 2357 w 18914"/>
                <a:gd name="connsiteY17" fmla="*/ 5794 h 21788"/>
                <a:gd name="connsiteX18" fmla="*/ 2336 w 18914"/>
                <a:gd name="connsiteY18" fmla="*/ 5816 h 21788"/>
                <a:gd name="connsiteX19" fmla="*/ 1952 w 18914"/>
                <a:gd name="connsiteY19" fmla="*/ 6237 h 21788"/>
                <a:gd name="connsiteX20" fmla="*/ 1630 w 18914"/>
                <a:gd name="connsiteY20" fmla="*/ 6448 h 21788"/>
                <a:gd name="connsiteX21" fmla="*/ 1225 w 18914"/>
                <a:gd name="connsiteY21" fmla="*/ 6603 h 21788"/>
                <a:gd name="connsiteX22" fmla="*/ 820 w 18914"/>
                <a:gd name="connsiteY22" fmla="*/ 7117 h 21788"/>
                <a:gd name="connsiteX23" fmla="*/ 481 w 18914"/>
                <a:gd name="connsiteY23" fmla="*/ 7581 h 21788"/>
                <a:gd name="connsiteX24" fmla="*/ 93 w 18914"/>
                <a:gd name="connsiteY24" fmla="*/ 7933 h 21788"/>
                <a:gd name="connsiteX25" fmla="*/ 5 w 18914"/>
                <a:gd name="connsiteY25" fmla="*/ 8516 h 21788"/>
                <a:gd name="connsiteX26" fmla="*/ 93 w 18914"/>
                <a:gd name="connsiteY26" fmla="*/ 9241 h 21788"/>
                <a:gd name="connsiteX27" fmla="*/ 481 w 18914"/>
                <a:gd name="connsiteY27" fmla="*/ 9824 h 21788"/>
                <a:gd name="connsiteX28" fmla="*/ 1066 w 18914"/>
                <a:gd name="connsiteY28" fmla="*/ 10556 h 21788"/>
                <a:gd name="connsiteX29" fmla="*/ 1739 w 18914"/>
                <a:gd name="connsiteY29" fmla="*/ 12673 h 21788"/>
                <a:gd name="connsiteX30" fmla="*/ 1952 w 18914"/>
                <a:gd name="connsiteY30" fmla="*/ 13151 h 21788"/>
                <a:gd name="connsiteX31" fmla="*/ 2110 w 18914"/>
                <a:gd name="connsiteY31" fmla="*/ 13756 h 21788"/>
                <a:gd name="connsiteX32" fmla="*/ 2357 w 18914"/>
                <a:gd name="connsiteY32" fmla="*/ 14536 h 21788"/>
                <a:gd name="connsiteX33" fmla="*/ 2515 w 18914"/>
                <a:gd name="connsiteY33" fmla="*/ 15226 h 21788"/>
                <a:gd name="connsiteX34" fmla="*/ 2215 w 18914"/>
                <a:gd name="connsiteY34" fmla="*/ 16660 h 21788"/>
                <a:gd name="connsiteX35" fmla="*/ 1952 w 18914"/>
                <a:gd name="connsiteY35" fmla="*/ 18145 h 21788"/>
                <a:gd name="connsiteX36" fmla="*/ 2215 w 18914"/>
                <a:gd name="connsiteY36" fmla="*/ 19291 h 21788"/>
                <a:gd name="connsiteX37" fmla="*/ 2515 w 18914"/>
                <a:gd name="connsiteY37" fmla="*/ 19720 h 21788"/>
                <a:gd name="connsiteX38" fmla="*/ 2975 w 18914"/>
                <a:gd name="connsiteY38" fmla="*/ 20001 h 21788"/>
                <a:gd name="connsiteX39" fmla="*/ 3648 w 18914"/>
                <a:gd name="connsiteY39" fmla="*/ 20247 h 21788"/>
                <a:gd name="connsiteX40" fmla="*/ 4074 w 18914"/>
                <a:gd name="connsiteY40" fmla="*/ 20606 h 21788"/>
                <a:gd name="connsiteX41" fmla="*/ 4675 w 18914"/>
                <a:gd name="connsiteY41" fmla="*/ 20866 h 21788"/>
                <a:gd name="connsiteX42" fmla="*/ 5189 w 18914"/>
                <a:gd name="connsiteY42" fmla="*/ 21183 h 21788"/>
                <a:gd name="connsiteX43" fmla="*/ 5807 w 18914"/>
                <a:gd name="connsiteY43" fmla="*/ 21788 h 21788"/>
                <a:gd name="connsiteX44" fmla="*/ 6581 w 18914"/>
                <a:gd name="connsiteY44" fmla="*/ 20972 h 21788"/>
                <a:gd name="connsiteX45" fmla="*/ 6783 w 18914"/>
                <a:gd name="connsiteY45" fmla="*/ 20866 h 21788"/>
                <a:gd name="connsiteX46" fmla="*/ 6802 w 18914"/>
                <a:gd name="connsiteY46" fmla="*/ 20866 h 21788"/>
                <a:gd name="connsiteX47" fmla="*/ 7026 w 18914"/>
                <a:gd name="connsiteY47" fmla="*/ 20641 h 21788"/>
                <a:gd name="connsiteX48" fmla="*/ 7040 w 18914"/>
                <a:gd name="connsiteY48" fmla="*/ 20571 h 21788"/>
                <a:gd name="connsiteX49" fmla="*/ 7087 w 18914"/>
                <a:gd name="connsiteY49" fmla="*/ 20430 h 21788"/>
                <a:gd name="connsiteX50" fmla="*/ 7275 w 18914"/>
                <a:gd name="connsiteY50" fmla="*/ 20100 h 21788"/>
                <a:gd name="connsiteX51" fmla="*/ 7329 w 18914"/>
                <a:gd name="connsiteY51" fmla="*/ 20036 h 21788"/>
                <a:gd name="connsiteX52" fmla="*/ 7689 w 18914"/>
                <a:gd name="connsiteY52" fmla="*/ 19319 h 21788"/>
                <a:gd name="connsiteX53" fmla="*/ 7808 w 18914"/>
                <a:gd name="connsiteY53" fmla="*/ 19045 h 21788"/>
                <a:gd name="connsiteX54" fmla="*/ 8409 w 18914"/>
                <a:gd name="connsiteY54" fmla="*/ 18320 h 21788"/>
                <a:gd name="connsiteX55" fmla="*/ 9399 w 18914"/>
                <a:gd name="connsiteY55" fmla="*/ 17786 h 21788"/>
                <a:gd name="connsiteX56" fmla="*/ 11203 w 18914"/>
                <a:gd name="connsiteY56" fmla="*/ 16499 h 21788"/>
                <a:gd name="connsiteX57" fmla="*/ 12724 w 18914"/>
                <a:gd name="connsiteY57" fmla="*/ 16288 h 21788"/>
                <a:gd name="connsiteX58" fmla="*/ 14900 w 18914"/>
                <a:gd name="connsiteY58" fmla="*/ 15493 h 21788"/>
                <a:gd name="connsiteX59" fmla="*/ 16508 w 18914"/>
                <a:gd name="connsiteY59" fmla="*/ 14677 h 21788"/>
                <a:gd name="connsiteX60" fmla="*/ 18667 w 18914"/>
                <a:gd name="connsiteY60" fmla="*/ 13017 h 21788"/>
                <a:gd name="connsiteX61" fmla="*/ 18881 w 18914"/>
                <a:gd name="connsiteY61" fmla="*/ 11969 h 21788"/>
                <a:gd name="connsiteX62" fmla="*/ 17782 w 18914"/>
                <a:gd name="connsiteY62" fmla="*/ 11386 h 21788"/>
                <a:gd name="connsiteX63" fmla="*/ 16404 w 18914"/>
                <a:gd name="connsiteY63" fmla="*/ 10127 h 21788"/>
                <a:gd name="connsiteX64" fmla="*/ 15998 w 18914"/>
                <a:gd name="connsiteY64" fmla="*/ 8572 h 21788"/>
                <a:gd name="connsiteX65" fmla="*/ 14900 w 18914"/>
                <a:gd name="connsiteY65" fmla="*/ 8572 h 21788"/>
                <a:gd name="connsiteX66" fmla="*/ 14725 w 18914"/>
                <a:gd name="connsiteY66" fmla="*/ 7229 h 21788"/>
                <a:gd name="connsiteX67" fmla="*/ 14244 w 18914"/>
                <a:gd name="connsiteY67" fmla="*/ 5914 h 21788"/>
                <a:gd name="connsiteX68" fmla="*/ 12423 w 18914"/>
                <a:gd name="connsiteY68" fmla="*/ 4324 h 21788"/>
                <a:gd name="connsiteX69" fmla="*/ 9115 w 18914"/>
                <a:gd name="connsiteY69" fmla="*/ 2679 h 21788"/>
                <a:gd name="connsiteX70" fmla="*/ 7206 w 18914"/>
                <a:gd name="connsiteY70" fmla="*/ 2236 h 2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8914" h="21788">
                  <a:moveTo>
                    <a:pt x="7206" y="2236"/>
                  </a:moveTo>
                  <a:cubicBezTo>
                    <a:pt x="7081" y="2236"/>
                    <a:pt x="6982" y="2215"/>
                    <a:pt x="6899" y="2186"/>
                  </a:cubicBezTo>
                  <a:cubicBezTo>
                    <a:pt x="6476" y="2039"/>
                    <a:pt x="6184" y="1617"/>
                    <a:pt x="5790" y="1406"/>
                  </a:cubicBezTo>
                  <a:cubicBezTo>
                    <a:pt x="5598" y="1300"/>
                    <a:pt x="5222" y="1209"/>
                    <a:pt x="5080" y="1103"/>
                  </a:cubicBezTo>
                  <a:cubicBezTo>
                    <a:pt x="4938" y="998"/>
                    <a:pt x="4692" y="731"/>
                    <a:pt x="4374" y="484"/>
                  </a:cubicBezTo>
                  <a:cubicBezTo>
                    <a:pt x="4057" y="238"/>
                    <a:pt x="3877" y="6"/>
                    <a:pt x="3577" y="6"/>
                  </a:cubicBezTo>
                  <a:cubicBezTo>
                    <a:pt x="3276" y="6"/>
                    <a:pt x="2925" y="-8"/>
                    <a:pt x="2695" y="6"/>
                  </a:cubicBezTo>
                  <a:cubicBezTo>
                    <a:pt x="2465" y="20"/>
                    <a:pt x="2357" y="217"/>
                    <a:pt x="2357" y="379"/>
                  </a:cubicBezTo>
                  <a:lnTo>
                    <a:pt x="2357" y="1708"/>
                  </a:lnTo>
                  <a:cubicBezTo>
                    <a:pt x="2357" y="1863"/>
                    <a:pt x="2426" y="2081"/>
                    <a:pt x="2507" y="2278"/>
                  </a:cubicBezTo>
                  <a:cubicBezTo>
                    <a:pt x="2617" y="2552"/>
                    <a:pt x="2785" y="2798"/>
                    <a:pt x="3011" y="2988"/>
                  </a:cubicBezTo>
                  <a:cubicBezTo>
                    <a:pt x="3024" y="2995"/>
                    <a:pt x="3035" y="3009"/>
                    <a:pt x="3046" y="3016"/>
                  </a:cubicBezTo>
                  <a:cubicBezTo>
                    <a:pt x="3167" y="3101"/>
                    <a:pt x="3155" y="3298"/>
                    <a:pt x="3259" y="3509"/>
                  </a:cubicBezTo>
                  <a:cubicBezTo>
                    <a:pt x="3363" y="3727"/>
                    <a:pt x="3259" y="3797"/>
                    <a:pt x="3259" y="3952"/>
                  </a:cubicBezTo>
                  <a:cubicBezTo>
                    <a:pt x="3259" y="4114"/>
                    <a:pt x="3330" y="4198"/>
                    <a:pt x="3259" y="4324"/>
                  </a:cubicBezTo>
                  <a:cubicBezTo>
                    <a:pt x="3188" y="4451"/>
                    <a:pt x="3155" y="4592"/>
                    <a:pt x="3046" y="4732"/>
                  </a:cubicBezTo>
                  <a:cubicBezTo>
                    <a:pt x="2937" y="4873"/>
                    <a:pt x="2833" y="5049"/>
                    <a:pt x="2695" y="5302"/>
                  </a:cubicBezTo>
                  <a:cubicBezTo>
                    <a:pt x="2557" y="5548"/>
                    <a:pt x="2515" y="5598"/>
                    <a:pt x="2357" y="5794"/>
                  </a:cubicBezTo>
                  <a:lnTo>
                    <a:pt x="2336" y="5816"/>
                  </a:lnTo>
                  <a:cubicBezTo>
                    <a:pt x="2190" y="5991"/>
                    <a:pt x="2103" y="6097"/>
                    <a:pt x="1952" y="6237"/>
                  </a:cubicBezTo>
                  <a:cubicBezTo>
                    <a:pt x="1825" y="6350"/>
                    <a:pt x="1684" y="6420"/>
                    <a:pt x="1630" y="6448"/>
                  </a:cubicBezTo>
                  <a:cubicBezTo>
                    <a:pt x="1548" y="6470"/>
                    <a:pt x="1352" y="6533"/>
                    <a:pt x="1225" y="6603"/>
                  </a:cubicBezTo>
                  <a:cubicBezTo>
                    <a:pt x="1066" y="6695"/>
                    <a:pt x="957" y="6906"/>
                    <a:pt x="820" y="7117"/>
                  </a:cubicBezTo>
                  <a:cubicBezTo>
                    <a:pt x="682" y="7335"/>
                    <a:pt x="481" y="7461"/>
                    <a:pt x="481" y="7581"/>
                  </a:cubicBezTo>
                  <a:cubicBezTo>
                    <a:pt x="481" y="7700"/>
                    <a:pt x="218" y="7778"/>
                    <a:pt x="93" y="7933"/>
                  </a:cubicBezTo>
                  <a:cubicBezTo>
                    <a:pt x="-32" y="8094"/>
                    <a:pt x="5" y="8340"/>
                    <a:pt x="5" y="8516"/>
                  </a:cubicBezTo>
                  <a:cubicBezTo>
                    <a:pt x="5" y="8699"/>
                    <a:pt x="22" y="8980"/>
                    <a:pt x="93" y="9241"/>
                  </a:cubicBezTo>
                  <a:cubicBezTo>
                    <a:pt x="164" y="9508"/>
                    <a:pt x="285" y="9564"/>
                    <a:pt x="481" y="9824"/>
                  </a:cubicBezTo>
                  <a:cubicBezTo>
                    <a:pt x="678" y="10092"/>
                    <a:pt x="853" y="10127"/>
                    <a:pt x="1066" y="10556"/>
                  </a:cubicBezTo>
                  <a:cubicBezTo>
                    <a:pt x="1279" y="10978"/>
                    <a:pt x="1630" y="12602"/>
                    <a:pt x="1739" y="12673"/>
                  </a:cubicBezTo>
                  <a:cubicBezTo>
                    <a:pt x="1847" y="12750"/>
                    <a:pt x="1860" y="13017"/>
                    <a:pt x="1952" y="13151"/>
                  </a:cubicBezTo>
                  <a:cubicBezTo>
                    <a:pt x="2043" y="13292"/>
                    <a:pt x="1952" y="13489"/>
                    <a:pt x="2110" y="13756"/>
                  </a:cubicBezTo>
                  <a:cubicBezTo>
                    <a:pt x="2269" y="14016"/>
                    <a:pt x="2215" y="14234"/>
                    <a:pt x="2357" y="14536"/>
                  </a:cubicBezTo>
                  <a:cubicBezTo>
                    <a:pt x="2499" y="14839"/>
                    <a:pt x="2515" y="15085"/>
                    <a:pt x="2515" y="15226"/>
                  </a:cubicBezTo>
                  <a:cubicBezTo>
                    <a:pt x="2515" y="15367"/>
                    <a:pt x="2302" y="16267"/>
                    <a:pt x="2215" y="16660"/>
                  </a:cubicBezTo>
                  <a:cubicBezTo>
                    <a:pt x="2127" y="17047"/>
                    <a:pt x="1952" y="17786"/>
                    <a:pt x="1952" y="18145"/>
                  </a:cubicBezTo>
                  <a:cubicBezTo>
                    <a:pt x="1952" y="18496"/>
                    <a:pt x="2198" y="19045"/>
                    <a:pt x="2215" y="19291"/>
                  </a:cubicBezTo>
                  <a:cubicBezTo>
                    <a:pt x="2231" y="19537"/>
                    <a:pt x="2411" y="19720"/>
                    <a:pt x="2515" y="19720"/>
                  </a:cubicBezTo>
                  <a:cubicBezTo>
                    <a:pt x="2620" y="19720"/>
                    <a:pt x="2783" y="19931"/>
                    <a:pt x="2975" y="20001"/>
                  </a:cubicBezTo>
                  <a:cubicBezTo>
                    <a:pt x="3167" y="20072"/>
                    <a:pt x="3435" y="20247"/>
                    <a:pt x="3648" y="20247"/>
                  </a:cubicBezTo>
                  <a:cubicBezTo>
                    <a:pt x="3861" y="20247"/>
                    <a:pt x="3965" y="20515"/>
                    <a:pt x="4074" y="20606"/>
                  </a:cubicBezTo>
                  <a:cubicBezTo>
                    <a:pt x="4182" y="20697"/>
                    <a:pt x="4533" y="20866"/>
                    <a:pt x="4675" y="20866"/>
                  </a:cubicBezTo>
                  <a:cubicBezTo>
                    <a:pt x="4817" y="20866"/>
                    <a:pt x="5009" y="21084"/>
                    <a:pt x="5189" y="21183"/>
                  </a:cubicBezTo>
                  <a:cubicBezTo>
                    <a:pt x="5369" y="21288"/>
                    <a:pt x="5577" y="21809"/>
                    <a:pt x="5807" y="21788"/>
                  </a:cubicBezTo>
                  <a:cubicBezTo>
                    <a:pt x="5971" y="21774"/>
                    <a:pt x="6355" y="21288"/>
                    <a:pt x="6581" y="20972"/>
                  </a:cubicBezTo>
                  <a:cubicBezTo>
                    <a:pt x="6628" y="20908"/>
                    <a:pt x="6703" y="20866"/>
                    <a:pt x="6783" y="20866"/>
                  </a:cubicBezTo>
                  <a:lnTo>
                    <a:pt x="6802" y="20866"/>
                  </a:lnTo>
                  <a:cubicBezTo>
                    <a:pt x="6926" y="20866"/>
                    <a:pt x="7026" y="20768"/>
                    <a:pt x="7026" y="20641"/>
                  </a:cubicBezTo>
                  <a:cubicBezTo>
                    <a:pt x="7026" y="20620"/>
                    <a:pt x="7031" y="20592"/>
                    <a:pt x="7040" y="20571"/>
                  </a:cubicBezTo>
                  <a:lnTo>
                    <a:pt x="7087" y="20430"/>
                  </a:lnTo>
                  <a:cubicBezTo>
                    <a:pt x="7130" y="20311"/>
                    <a:pt x="7194" y="20198"/>
                    <a:pt x="7275" y="20100"/>
                  </a:cubicBezTo>
                  <a:lnTo>
                    <a:pt x="7329" y="20036"/>
                  </a:lnTo>
                  <a:cubicBezTo>
                    <a:pt x="7503" y="19825"/>
                    <a:pt x="7610" y="19572"/>
                    <a:pt x="7689" y="19319"/>
                  </a:cubicBezTo>
                  <a:cubicBezTo>
                    <a:pt x="7723" y="19207"/>
                    <a:pt x="7764" y="19101"/>
                    <a:pt x="7808" y="19045"/>
                  </a:cubicBezTo>
                  <a:cubicBezTo>
                    <a:pt x="7933" y="18890"/>
                    <a:pt x="8159" y="18475"/>
                    <a:pt x="8409" y="18320"/>
                  </a:cubicBezTo>
                  <a:cubicBezTo>
                    <a:pt x="8660" y="18159"/>
                    <a:pt x="9148" y="18004"/>
                    <a:pt x="9399" y="17786"/>
                  </a:cubicBezTo>
                  <a:cubicBezTo>
                    <a:pt x="9650" y="17575"/>
                    <a:pt x="10285" y="17244"/>
                    <a:pt x="11203" y="16499"/>
                  </a:cubicBezTo>
                  <a:cubicBezTo>
                    <a:pt x="12122" y="15753"/>
                    <a:pt x="11947" y="16091"/>
                    <a:pt x="12724" y="16288"/>
                  </a:cubicBezTo>
                  <a:cubicBezTo>
                    <a:pt x="13501" y="16478"/>
                    <a:pt x="14583" y="15718"/>
                    <a:pt x="14900" y="15493"/>
                  </a:cubicBezTo>
                  <a:cubicBezTo>
                    <a:pt x="15218" y="15261"/>
                    <a:pt x="16404" y="14867"/>
                    <a:pt x="16508" y="14677"/>
                  </a:cubicBezTo>
                  <a:cubicBezTo>
                    <a:pt x="16612" y="14487"/>
                    <a:pt x="18509" y="13172"/>
                    <a:pt x="18667" y="13017"/>
                  </a:cubicBezTo>
                  <a:cubicBezTo>
                    <a:pt x="18826" y="12856"/>
                    <a:pt x="18985" y="12145"/>
                    <a:pt x="18881" y="11969"/>
                  </a:cubicBezTo>
                  <a:cubicBezTo>
                    <a:pt x="18776" y="11794"/>
                    <a:pt x="18012" y="11526"/>
                    <a:pt x="17782" y="11386"/>
                  </a:cubicBezTo>
                  <a:cubicBezTo>
                    <a:pt x="17553" y="11245"/>
                    <a:pt x="16671" y="10415"/>
                    <a:pt x="16404" y="10127"/>
                  </a:cubicBezTo>
                  <a:cubicBezTo>
                    <a:pt x="16136" y="9845"/>
                    <a:pt x="16174" y="8819"/>
                    <a:pt x="15998" y="8572"/>
                  </a:cubicBezTo>
                  <a:cubicBezTo>
                    <a:pt x="15823" y="8319"/>
                    <a:pt x="15235" y="8622"/>
                    <a:pt x="14900" y="8572"/>
                  </a:cubicBezTo>
                  <a:cubicBezTo>
                    <a:pt x="14566" y="8516"/>
                    <a:pt x="14704" y="7721"/>
                    <a:pt x="14725" y="7229"/>
                  </a:cubicBezTo>
                  <a:cubicBezTo>
                    <a:pt x="14746" y="6737"/>
                    <a:pt x="14495" y="6413"/>
                    <a:pt x="14244" y="5914"/>
                  </a:cubicBezTo>
                  <a:cubicBezTo>
                    <a:pt x="13994" y="5422"/>
                    <a:pt x="12778" y="4557"/>
                    <a:pt x="12423" y="4324"/>
                  </a:cubicBezTo>
                  <a:cubicBezTo>
                    <a:pt x="12068" y="4093"/>
                    <a:pt x="9520" y="2855"/>
                    <a:pt x="9115" y="2679"/>
                  </a:cubicBezTo>
                  <a:cubicBezTo>
                    <a:pt x="8710" y="2503"/>
                    <a:pt x="7737" y="2250"/>
                    <a:pt x="7206" y="223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2" name="Freihandform: Form 167">
              <a:extLst>
                <a:ext uri="{FF2B5EF4-FFF2-40B4-BE49-F238E27FC236}">
                  <a16:creationId xmlns:a16="http://schemas.microsoft.com/office/drawing/2014/main" id="{D94FB036-313F-E944-8B66-5C406AAA79A3}"/>
                </a:ext>
              </a:extLst>
            </p:cNvPr>
            <p:cNvSpPr/>
            <p:nvPr/>
          </p:nvSpPr>
          <p:spPr>
            <a:xfrm>
              <a:off x="3738144" y="4179705"/>
              <a:ext cx="10831" cy="7237"/>
            </a:xfrm>
            <a:custGeom>
              <a:avLst/>
              <a:gdLst>
                <a:gd name="connsiteX0" fmla="*/ 4206 w 10831"/>
                <a:gd name="connsiteY0" fmla="*/ 1871 h 7237"/>
                <a:gd name="connsiteX1" fmla="*/ 3651 w 10831"/>
                <a:gd name="connsiteY1" fmla="*/ 2054 h 7237"/>
                <a:gd name="connsiteX2" fmla="*/ 3283 w 10831"/>
                <a:gd name="connsiteY2" fmla="*/ 2054 h 7237"/>
                <a:gd name="connsiteX3" fmla="*/ 3083 w 10831"/>
                <a:gd name="connsiteY3" fmla="*/ 1871 h 7237"/>
                <a:gd name="connsiteX4" fmla="*/ 2761 w 10831"/>
                <a:gd name="connsiteY4" fmla="*/ 1716 h 7237"/>
                <a:gd name="connsiteX5" fmla="*/ 2535 w 10831"/>
                <a:gd name="connsiteY5" fmla="*/ 1350 h 7237"/>
                <a:gd name="connsiteX6" fmla="*/ 2302 w 10831"/>
                <a:gd name="connsiteY6" fmla="*/ 795 h 7237"/>
                <a:gd name="connsiteX7" fmla="*/ 1909 w 10831"/>
                <a:gd name="connsiteY7" fmla="*/ 366 h 7237"/>
                <a:gd name="connsiteX8" fmla="*/ 1542 w 10831"/>
                <a:gd name="connsiteY8" fmla="*/ 70 h 7237"/>
                <a:gd name="connsiteX9" fmla="*/ 1295 w 10831"/>
                <a:gd name="connsiteY9" fmla="*/ 0 h 7237"/>
                <a:gd name="connsiteX10" fmla="*/ 1092 w 10831"/>
                <a:gd name="connsiteY10" fmla="*/ 42 h 7237"/>
                <a:gd name="connsiteX11" fmla="*/ 850 w 10831"/>
                <a:gd name="connsiteY11" fmla="*/ 70 h 7237"/>
                <a:gd name="connsiteX12" fmla="*/ 561 w 10831"/>
                <a:gd name="connsiteY12" fmla="*/ 120 h 7237"/>
                <a:gd name="connsiteX13" fmla="*/ 426 w 10831"/>
                <a:gd name="connsiteY13" fmla="*/ 169 h 7237"/>
                <a:gd name="connsiteX14" fmla="*/ 276 w 10831"/>
                <a:gd name="connsiteY14" fmla="*/ 309 h 7237"/>
                <a:gd name="connsiteX15" fmla="*/ 96 w 10831"/>
                <a:gd name="connsiteY15" fmla="*/ 556 h 7237"/>
                <a:gd name="connsiteX16" fmla="*/ 96 w 10831"/>
                <a:gd name="connsiteY16" fmla="*/ 795 h 7237"/>
                <a:gd name="connsiteX17" fmla="*/ 0 w 10831"/>
                <a:gd name="connsiteY17" fmla="*/ 1146 h 7237"/>
                <a:gd name="connsiteX18" fmla="*/ 0 w 10831"/>
                <a:gd name="connsiteY18" fmla="*/ 1716 h 7237"/>
                <a:gd name="connsiteX19" fmla="*/ 96 w 10831"/>
                <a:gd name="connsiteY19" fmla="*/ 2265 h 7237"/>
                <a:gd name="connsiteX20" fmla="*/ 180 w 10831"/>
                <a:gd name="connsiteY20" fmla="*/ 2433 h 7237"/>
                <a:gd name="connsiteX21" fmla="*/ 426 w 10831"/>
                <a:gd name="connsiteY21" fmla="*/ 2834 h 7237"/>
                <a:gd name="connsiteX22" fmla="*/ 594 w 10831"/>
                <a:gd name="connsiteY22" fmla="*/ 3094 h 7237"/>
                <a:gd name="connsiteX23" fmla="*/ 773 w 10831"/>
                <a:gd name="connsiteY23" fmla="*/ 3270 h 7237"/>
                <a:gd name="connsiteX24" fmla="*/ 973 w 10831"/>
                <a:gd name="connsiteY24" fmla="*/ 3446 h 7237"/>
                <a:gd name="connsiteX25" fmla="*/ 1295 w 10831"/>
                <a:gd name="connsiteY25" fmla="*/ 3594 h 7237"/>
                <a:gd name="connsiteX26" fmla="*/ 1625 w 10831"/>
                <a:gd name="connsiteY26" fmla="*/ 3721 h 7237"/>
                <a:gd name="connsiteX27" fmla="*/ 1947 w 10831"/>
                <a:gd name="connsiteY27" fmla="*/ 3896 h 7237"/>
                <a:gd name="connsiteX28" fmla="*/ 2180 w 10831"/>
                <a:gd name="connsiteY28" fmla="*/ 4030 h 7237"/>
                <a:gd name="connsiteX29" fmla="*/ 2761 w 10831"/>
                <a:gd name="connsiteY29" fmla="*/ 3721 h 7237"/>
                <a:gd name="connsiteX30" fmla="*/ 3083 w 10831"/>
                <a:gd name="connsiteY30" fmla="*/ 3784 h 7237"/>
                <a:gd name="connsiteX31" fmla="*/ 3283 w 10831"/>
                <a:gd name="connsiteY31" fmla="*/ 4030 h 7237"/>
                <a:gd name="connsiteX32" fmla="*/ 3471 w 10831"/>
                <a:gd name="connsiteY32" fmla="*/ 4417 h 7237"/>
                <a:gd name="connsiteX33" fmla="*/ 3592 w 10831"/>
                <a:gd name="connsiteY33" fmla="*/ 4881 h 7237"/>
                <a:gd name="connsiteX34" fmla="*/ 3651 w 10831"/>
                <a:gd name="connsiteY34" fmla="*/ 5507 h 7237"/>
                <a:gd name="connsiteX35" fmla="*/ 3592 w 10831"/>
                <a:gd name="connsiteY35" fmla="*/ 5936 h 7237"/>
                <a:gd name="connsiteX36" fmla="*/ 3592 w 10831"/>
                <a:gd name="connsiteY36" fmla="*/ 6435 h 7237"/>
                <a:gd name="connsiteX37" fmla="*/ 3851 w 10831"/>
                <a:gd name="connsiteY37" fmla="*/ 6899 h 7237"/>
                <a:gd name="connsiteX38" fmla="*/ 4624 w 10831"/>
                <a:gd name="connsiteY38" fmla="*/ 7223 h 7237"/>
                <a:gd name="connsiteX39" fmla="*/ 4741 w 10831"/>
                <a:gd name="connsiteY39" fmla="*/ 7237 h 7237"/>
                <a:gd name="connsiteX40" fmla="*/ 5284 w 10831"/>
                <a:gd name="connsiteY40" fmla="*/ 7167 h 7237"/>
                <a:gd name="connsiteX41" fmla="*/ 5948 w 10831"/>
                <a:gd name="connsiteY41" fmla="*/ 7167 h 7237"/>
                <a:gd name="connsiteX42" fmla="*/ 6232 w 10831"/>
                <a:gd name="connsiteY42" fmla="*/ 7082 h 7237"/>
                <a:gd name="connsiteX43" fmla="*/ 6968 w 10831"/>
                <a:gd name="connsiteY43" fmla="*/ 6703 h 7237"/>
                <a:gd name="connsiteX44" fmla="*/ 7373 w 10831"/>
                <a:gd name="connsiteY44" fmla="*/ 6597 h 7237"/>
                <a:gd name="connsiteX45" fmla="*/ 7940 w 10831"/>
                <a:gd name="connsiteY45" fmla="*/ 6597 h 7237"/>
                <a:gd name="connsiteX46" fmla="*/ 8450 w 10831"/>
                <a:gd name="connsiteY46" fmla="*/ 6597 h 7237"/>
                <a:gd name="connsiteX47" fmla="*/ 8676 w 10831"/>
                <a:gd name="connsiteY47" fmla="*/ 6456 h 7237"/>
                <a:gd name="connsiteX48" fmla="*/ 9018 w 10831"/>
                <a:gd name="connsiteY48" fmla="*/ 6330 h 7237"/>
                <a:gd name="connsiteX49" fmla="*/ 9704 w 10831"/>
                <a:gd name="connsiteY49" fmla="*/ 6056 h 7237"/>
                <a:gd name="connsiteX50" fmla="*/ 10058 w 10831"/>
                <a:gd name="connsiteY50" fmla="*/ 5830 h 7237"/>
                <a:gd name="connsiteX51" fmla="*/ 10522 w 10831"/>
                <a:gd name="connsiteY51" fmla="*/ 5507 h 7237"/>
                <a:gd name="connsiteX52" fmla="*/ 10794 w 10831"/>
                <a:gd name="connsiteY52" fmla="*/ 5183 h 7237"/>
                <a:gd name="connsiteX53" fmla="*/ 10794 w 10831"/>
                <a:gd name="connsiteY53" fmla="*/ 4586 h 7237"/>
                <a:gd name="connsiteX54" fmla="*/ 10630 w 10831"/>
                <a:gd name="connsiteY54" fmla="*/ 4030 h 7237"/>
                <a:gd name="connsiteX55" fmla="*/ 10355 w 10831"/>
                <a:gd name="connsiteY55" fmla="*/ 3784 h 7237"/>
                <a:gd name="connsiteX56" fmla="*/ 9941 w 10831"/>
                <a:gd name="connsiteY56" fmla="*/ 3594 h 7237"/>
                <a:gd name="connsiteX57" fmla="*/ 9644 w 10831"/>
                <a:gd name="connsiteY57" fmla="*/ 3524 h 7237"/>
                <a:gd name="connsiteX58" fmla="*/ 9173 w 10831"/>
                <a:gd name="connsiteY58" fmla="*/ 3270 h 7237"/>
                <a:gd name="connsiteX59" fmla="*/ 8909 w 10831"/>
                <a:gd name="connsiteY59" fmla="*/ 3200 h 7237"/>
                <a:gd name="connsiteX60" fmla="*/ 8329 w 10831"/>
                <a:gd name="connsiteY60" fmla="*/ 2834 h 7237"/>
                <a:gd name="connsiteX61" fmla="*/ 7845 w 10831"/>
                <a:gd name="connsiteY61" fmla="*/ 2560 h 7237"/>
                <a:gd name="connsiteX62" fmla="*/ 7289 w 10831"/>
                <a:gd name="connsiteY62" fmla="*/ 2054 h 7237"/>
                <a:gd name="connsiteX63" fmla="*/ 6800 w 10831"/>
                <a:gd name="connsiteY63" fmla="*/ 1639 h 7237"/>
                <a:gd name="connsiteX64" fmla="*/ 6148 w 10831"/>
                <a:gd name="connsiteY64" fmla="*/ 1350 h 7237"/>
                <a:gd name="connsiteX65" fmla="*/ 5481 w 10831"/>
                <a:gd name="connsiteY65" fmla="*/ 1400 h 7237"/>
                <a:gd name="connsiteX66" fmla="*/ 4323 w 10831"/>
                <a:gd name="connsiteY66" fmla="*/ 1822 h 7237"/>
                <a:gd name="connsiteX67" fmla="*/ 4206 w 10831"/>
                <a:gd name="connsiteY67" fmla="*/ 1871 h 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0831" h="7237">
                  <a:moveTo>
                    <a:pt x="4206" y="1871"/>
                  </a:moveTo>
                  <a:cubicBezTo>
                    <a:pt x="3839" y="2012"/>
                    <a:pt x="3877" y="2004"/>
                    <a:pt x="3651" y="2054"/>
                  </a:cubicBezTo>
                  <a:cubicBezTo>
                    <a:pt x="3546" y="2075"/>
                    <a:pt x="3341" y="2082"/>
                    <a:pt x="3283" y="2054"/>
                  </a:cubicBezTo>
                  <a:cubicBezTo>
                    <a:pt x="3225" y="2019"/>
                    <a:pt x="3083" y="1983"/>
                    <a:pt x="3083" y="1871"/>
                  </a:cubicBezTo>
                  <a:cubicBezTo>
                    <a:pt x="3083" y="1765"/>
                    <a:pt x="2940" y="1871"/>
                    <a:pt x="2761" y="1716"/>
                  </a:cubicBezTo>
                  <a:cubicBezTo>
                    <a:pt x="2582" y="1561"/>
                    <a:pt x="2632" y="1449"/>
                    <a:pt x="2535" y="1350"/>
                  </a:cubicBezTo>
                  <a:cubicBezTo>
                    <a:pt x="2440" y="1252"/>
                    <a:pt x="2348" y="893"/>
                    <a:pt x="2302" y="795"/>
                  </a:cubicBezTo>
                  <a:cubicBezTo>
                    <a:pt x="2255" y="696"/>
                    <a:pt x="1947" y="478"/>
                    <a:pt x="1909" y="366"/>
                  </a:cubicBezTo>
                  <a:cubicBezTo>
                    <a:pt x="1871" y="260"/>
                    <a:pt x="1625" y="70"/>
                    <a:pt x="1542" y="70"/>
                  </a:cubicBezTo>
                  <a:cubicBezTo>
                    <a:pt x="1458" y="70"/>
                    <a:pt x="1366" y="0"/>
                    <a:pt x="1295" y="0"/>
                  </a:cubicBezTo>
                  <a:cubicBezTo>
                    <a:pt x="1259" y="0"/>
                    <a:pt x="1172" y="21"/>
                    <a:pt x="1092" y="42"/>
                  </a:cubicBezTo>
                  <a:cubicBezTo>
                    <a:pt x="1013" y="56"/>
                    <a:pt x="932" y="70"/>
                    <a:pt x="850" y="70"/>
                  </a:cubicBezTo>
                  <a:cubicBezTo>
                    <a:pt x="752" y="70"/>
                    <a:pt x="655" y="84"/>
                    <a:pt x="561" y="120"/>
                  </a:cubicBezTo>
                  <a:lnTo>
                    <a:pt x="426" y="169"/>
                  </a:lnTo>
                  <a:cubicBezTo>
                    <a:pt x="259" y="225"/>
                    <a:pt x="322" y="253"/>
                    <a:pt x="276" y="309"/>
                  </a:cubicBezTo>
                  <a:cubicBezTo>
                    <a:pt x="230" y="366"/>
                    <a:pt x="180" y="450"/>
                    <a:pt x="96" y="556"/>
                  </a:cubicBezTo>
                  <a:cubicBezTo>
                    <a:pt x="13" y="661"/>
                    <a:pt x="96" y="675"/>
                    <a:pt x="96" y="795"/>
                  </a:cubicBezTo>
                  <a:cubicBezTo>
                    <a:pt x="96" y="907"/>
                    <a:pt x="0" y="964"/>
                    <a:pt x="0" y="1146"/>
                  </a:cubicBezTo>
                  <a:lnTo>
                    <a:pt x="0" y="1716"/>
                  </a:lnTo>
                  <a:cubicBezTo>
                    <a:pt x="8" y="1906"/>
                    <a:pt x="51" y="1927"/>
                    <a:pt x="96" y="2265"/>
                  </a:cubicBezTo>
                  <a:cubicBezTo>
                    <a:pt x="121" y="2384"/>
                    <a:pt x="134" y="2370"/>
                    <a:pt x="180" y="2433"/>
                  </a:cubicBezTo>
                  <a:cubicBezTo>
                    <a:pt x="226" y="2497"/>
                    <a:pt x="368" y="2680"/>
                    <a:pt x="426" y="2834"/>
                  </a:cubicBezTo>
                  <a:cubicBezTo>
                    <a:pt x="485" y="2989"/>
                    <a:pt x="501" y="2940"/>
                    <a:pt x="594" y="3094"/>
                  </a:cubicBezTo>
                  <a:cubicBezTo>
                    <a:pt x="685" y="3242"/>
                    <a:pt x="702" y="3200"/>
                    <a:pt x="773" y="3270"/>
                  </a:cubicBezTo>
                  <a:cubicBezTo>
                    <a:pt x="844" y="3341"/>
                    <a:pt x="877" y="3390"/>
                    <a:pt x="973" y="3446"/>
                  </a:cubicBezTo>
                  <a:cubicBezTo>
                    <a:pt x="1070" y="3502"/>
                    <a:pt x="1161" y="3524"/>
                    <a:pt x="1295" y="3594"/>
                  </a:cubicBezTo>
                  <a:cubicBezTo>
                    <a:pt x="1428" y="3664"/>
                    <a:pt x="1508" y="3594"/>
                    <a:pt x="1625" y="3721"/>
                  </a:cubicBezTo>
                  <a:cubicBezTo>
                    <a:pt x="1742" y="3854"/>
                    <a:pt x="1805" y="3784"/>
                    <a:pt x="1947" y="3896"/>
                  </a:cubicBezTo>
                  <a:cubicBezTo>
                    <a:pt x="2089" y="4016"/>
                    <a:pt x="2026" y="3953"/>
                    <a:pt x="2180" y="4030"/>
                  </a:cubicBezTo>
                  <a:cubicBezTo>
                    <a:pt x="2335" y="4100"/>
                    <a:pt x="2302" y="4030"/>
                    <a:pt x="2761" y="3721"/>
                  </a:cubicBezTo>
                  <a:cubicBezTo>
                    <a:pt x="2995" y="3524"/>
                    <a:pt x="2962" y="3706"/>
                    <a:pt x="3083" y="3784"/>
                  </a:cubicBezTo>
                  <a:cubicBezTo>
                    <a:pt x="3204" y="3854"/>
                    <a:pt x="3225" y="3882"/>
                    <a:pt x="3283" y="4030"/>
                  </a:cubicBezTo>
                  <a:cubicBezTo>
                    <a:pt x="3341" y="4171"/>
                    <a:pt x="3354" y="4164"/>
                    <a:pt x="3471" y="4417"/>
                  </a:cubicBezTo>
                  <a:cubicBezTo>
                    <a:pt x="3588" y="4677"/>
                    <a:pt x="3592" y="4691"/>
                    <a:pt x="3592" y="4881"/>
                  </a:cubicBezTo>
                  <a:cubicBezTo>
                    <a:pt x="3592" y="5078"/>
                    <a:pt x="3651" y="5310"/>
                    <a:pt x="3651" y="5507"/>
                  </a:cubicBezTo>
                  <a:cubicBezTo>
                    <a:pt x="3651" y="5711"/>
                    <a:pt x="3651" y="5760"/>
                    <a:pt x="3592" y="5936"/>
                  </a:cubicBezTo>
                  <a:cubicBezTo>
                    <a:pt x="3534" y="6112"/>
                    <a:pt x="3592" y="6210"/>
                    <a:pt x="3592" y="6435"/>
                  </a:cubicBezTo>
                  <a:cubicBezTo>
                    <a:pt x="3592" y="6660"/>
                    <a:pt x="3651" y="6597"/>
                    <a:pt x="3851" y="6899"/>
                  </a:cubicBezTo>
                  <a:cubicBezTo>
                    <a:pt x="4005" y="7125"/>
                    <a:pt x="4356" y="7160"/>
                    <a:pt x="4624" y="7223"/>
                  </a:cubicBezTo>
                  <a:cubicBezTo>
                    <a:pt x="4670" y="7230"/>
                    <a:pt x="4710" y="7237"/>
                    <a:pt x="4741" y="7237"/>
                  </a:cubicBezTo>
                  <a:cubicBezTo>
                    <a:pt x="4896" y="7237"/>
                    <a:pt x="5167" y="7167"/>
                    <a:pt x="5284" y="7167"/>
                  </a:cubicBezTo>
                  <a:cubicBezTo>
                    <a:pt x="5401" y="7167"/>
                    <a:pt x="5676" y="7181"/>
                    <a:pt x="5948" y="7167"/>
                  </a:cubicBezTo>
                  <a:cubicBezTo>
                    <a:pt x="6219" y="7153"/>
                    <a:pt x="6148" y="7125"/>
                    <a:pt x="6232" y="7082"/>
                  </a:cubicBezTo>
                  <a:cubicBezTo>
                    <a:pt x="6316" y="7047"/>
                    <a:pt x="6579" y="6942"/>
                    <a:pt x="6968" y="6703"/>
                  </a:cubicBezTo>
                  <a:cubicBezTo>
                    <a:pt x="7134" y="6618"/>
                    <a:pt x="7289" y="6597"/>
                    <a:pt x="7373" y="6597"/>
                  </a:cubicBezTo>
                  <a:lnTo>
                    <a:pt x="7940" y="6597"/>
                  </a:lnTo>
                  <a:cubicBezTo>
                    <a:pt x="8037" y="6597"/>
                    <a:pt x="8329" y="6625"/>
                    <a:pt x="8450" y="6597"/>
                  </a:cubicBezTo>
                  <a:cubicBezTo>
                    <a:pt x="8571" y="6576"/>
                    <a:pt x="8554" y="6527"/>
                    <a:pt x="8676" y="6456"/>
                  </a:cubicBezTo>
                  <a:cubicBezTo>
                    <a:pt x="8797" y="6386"/>
                    <a:pt x="8909" y="6365"/>
                    <a:pt x="9018" y="6330"/>
                  </a:cubicBezTo>
                  <a:cubicBezTo>
                    <a:pt x="9127" y="6295"/>
                    <a:pt x="9561" y="6119"/>
                    <a:pt x="9704" y="6056"/>
                  </a:cubicBezTo>
                  <a:cubicBezTo>
                    <a:pt x="9846" y="5992"/>
                    <a:pt x="9941" y="5880"/>
                    <a:pt x="10058" y="5830"/>
                  </a:cubicBezTo>
                  <a:cubicBezTo>
                    <a:pt x="10175" y="5788"/>
                    <a:pt x="10355" y="5655"/>
                    <a:pt x="10522" y="5507"/>
                  </a:cubicBezTo>
                  <a:cubicBezTo>
                    <a:pt x="10689" y="5366"/>
                    <a:pt x="10723" y="5240"/>
                    <a:pt x="10794" y="5183"/>
                  </a:cubicBezTo>
                  <a:cubicBezTo>
                    <a:pt x="10865" y="5120"/>
                    <a:pt x="10818" y="4726"/>
                    <a:pt x="10794" y="4586"/>
                  </a:cubicBezTo>
                  <a:cubicBezTo>
                    <a:pt x="10768" y="4445"/>
                    <a:pt x="10701" y="4206"/>
                    <a:pt x="10630" y="4030"/>
                  </a:cubicBezTo>
                  <a:cubicBezTo>
                    <a:pt x="10559" y="3847"/>
                    <a:pt x="10426" y="3854"/>
                    <a:pt x="10355" y="3784"/>
                  </a:cubicBezTo>
                  <a:cubicBezTo>
                    <a:pt x="10284" y="3706"/>
                    <a:pt x="10058" y="3636"/>
                    <a:pt x="9941" y="3594"/>
                  </a:cubicBezTo>
                  <a:cubicBezTo>
                    <a:pt x="9824" y="3545"/>
                    <a:pt x="9741" y="3545"/>
                    <a:pt x="9644" y="3524"/>
                  </a:cubicBezTo>
                  <a:cubicBezTo>
                    <a:pt x="9549" y="3502"/>
                    <a:pt x="9265" y="3298"/>
                    <a:pt x="9173" y="3270"/>
                  </a:cubicBezTo>
                  <a:cubicBezTo>
                    <a:pt x="9081" y="3249"/>
                    <a:pt x="8968" y="3228"/>
                    <a:pt x="8909" y="3200"/>
                  </a:cubicBezTo>
                  <a:cubicBezTo>
                    <a:pt x="8851" y="3172"/>
                    <a:pt x="8471" y="2905"/>
                    <a:pt x="8329" y="2834"/>
                  </a:cubicBezTo>
                  <a:cubicBezTo>
                    <a:pt x="8187" y="2764"/>
                    <a:pt x="7928" y="2616"/>
                    <a:pt x="7845" y="2560"/>
                  </a:cubicBezTo>
                  <a:cubicBezTo>
                    <a:pt x="7761" y="2504"/>
                    <a:pt x="7452" y="2208"/>
                    <a:pt x="7289" y="2054"/>
                  </a:cubicBezTo>
                  <a:cubicBezTo>
                    <a:pt x="7126" y="1899"/>
                    <a:pt x="6968" y="1751"/>
                    <a:pt x="6800" y="1639"/>
                  </a:cubicBezTo>
                  <a:cubicBezTo>
                    <a:pt x="6633" y="1519"/>
                    <a:pt x="6290" y="1385"/>
                    <a:pt x="6148" y="1350"/>
                  </a:cubicBezTo>
                  <a:cubicBezTo>
                    <a:pt x="6051" y="1322"/>
                    <a:pt x="5851" y="1336"/>
                    <a:pt x="5481" y="1400"/>
                  </a:cubicBezTo>
                  <a:cubicBezTo>
                    <a:pt x="5075" y="1477"/>
                    <a:pt x="4704" y="1667"/>
                    <a:pt x="4323" y="1822"/>
                  </a:cubicBezTo>
                  <a:cubicBezTo>
                    <a:pt x="4287" y="1843"/>
                    <a:pt x="4249" y="1857"/>
                    <a:pt x="4206" y="187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3" name="Freihandform: Form 168">
              <a:extLst>
                <a:ext uri="{FF2B5EF4-FFF2-40B4-BE49-F238E27FC236}">
                  <a16:creationId xmlns:a16="http://schemas.microsoft.com/office/drawing/2014/main" id="{5D8BE6DC-685E-8943-B888-A91419667C1F}"/>
                </a:ext>
              </a:extLst>
            </p:cNvPr>
            <p:cNvSpPr/>
            <p:nvPr/>
          </p:nvSpPr>
          <p:spPr>
            <a:xfrm>
              <a:off x="3732466" y="4181373"/>
              <a:ext cx="3834" cy="3056"/>
            </a:xfrm>
            <a:custGeom>
              <a:avLst/>
              <a:gdLst>
                <a:gd name="connsiteX0" fmla="*/ 1800 w 3834"/>
                <a:gd name="connsiteY0" fmla="*/ 48 h 3056"/>
                <a:gd name="connsiteX1" fmla="*/ 1776 w 3834"/>
                <a:gd name="connsiteY1" fmla="*/ 48 h 3056"/>
                <a:gd name="connsiteX2" fmla="*/ 1016 w 3834"/>
                <a:gd name="connsiteY2" fmla="*/ 13 h 3056"/>
                <a:gd name="connsiteX3" fmla="*/ 335 w 3834"/>
                <a:gd name="connsiteY3" fmla="*/ 48 h 3056"/>
                <a:gd name="connsiteX4" fmla="*/ 1 w 3834"/>
                <a:gd name="connsiteY4" fmla="*/ 646 h 3056"/>
                <a:gd name="connsiteX5" fmla="*/ 335 w 3834"/>
                <a:gd name="connsiteY5" fmla="*/ 976 h 3056"/>
                <a:gd name="connsiteX6" fmla="*/ 774 w 3834"/>
                <a:gd name="connsiteY6" fmla="*/ 1426 h 3056"/>
                <a:gd name="connsiteX7" fmla="*/ 1037 w 3834"/>
                <a:gd name="connsiteY7" fmla="*/ 1820 h 3056"/>
                <a:gd name="connsiteX8" fmla="*/ 983 w 3834"/>
                <a:gd name="connsiteY8" fmla="*/ 2348 h 3056"/>
                <a:gd name="connsiteX9" fmla="*/ 1330 w 3834"/>
                <a:gd name="connsiteY9" fmla="*/ 2903 h 3056"/>
                <a:gd name="connsiteX10" fmla="*/ 1672 w 3834"/>
                <a:gd name="connsiteY10" fmla="*/ 3037 h 3056"/>
                <a:gd name="connsiteX11" fmla="*/ 2415 w 3834"/>
                <a:gd name="connsiteY11" fmla="*/ 2988 h 3056"/>
                <a:gd name="connsiteX12" fmla="*/ 2958 w 3834"/>
                <a:gd name="connsiteY12" fmla="*/ 2763 h 3056"/>
                <a:gd name="connsiteX13" fmla="*/ 3752 w 3834"/>
                <a:gd name="connsiteY13" fmla="*/ 2235 h 3056"/>
                <a:gd name="connsiteX14" fmla="*/ 3752 w 3834"/>
                <a:gd name="connsiteY14" fmla="*/ 1602 h 3056"/>
                <a:gd name="connsiteX15" fmla="*/ 3322 w 3834"/>
                <a:gd name="connsiteY15" fmla="*/ 1061 h 3056"/>
                <a:gd name="connsiteX16" fmla="*/ 2579 w 3834"/>
                <a:gd name="connsiteY16" fmla="*/ 322 h 3056"/>
                <a:gd name="connsiteX17" fmla="*/ 1800 w 3834"/>
                <a:gd name="connsiteY17" fmla="*/ 48 h 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34" h="3056">
                  <a:moveTo>
                    <a:pt x="1800" y="48"/>
                  </a:moveTo>
                  <a:lnTo>
                    <a:pt x="1776" y="48"/>
                  </a:lnTo>
                  <a:cubicBezTo>
                    <a:pt x="1641" y="48"/>
                    <a:pt x="1300" y="41"/>
                    <a:pt x="1016" y="13"/>
                  </a:cubicBezTo>
                  <a:cubicBezTo>
                    <a:pt x="661" y="-15"/>
                    <a:pt x="578" y="6"/>
                    <a:pt x="335" y="48"/>
                  </a:cubicBezTo>
                  <a:cubicBezTo>
                    <a:pt x="93" y="90"/>
                    <a:pt x="-12" y="470"/>
                    <a:pt x="1" y="646"/>
                  </a:cubicBezTo>
                  <a:cubicBezTo>
                    <a:pt x="14" y="829"/>
                    <a:pt x="122" y="822"/>
                    <a:pt x="335" y="976"/>
                  </a:cubicBezTo>
                  <a:cubicBezTo>
                    <a:pt x="548" y="1131"/>
                    <a:pt x="611" y="1272"/>
                    <a:pt x="774" y="1426"/>
                  </a:cubicBezTo>
                  <a:cubicBezTo>
                    <a:pt x="936" y="1581"/>
                    <a:pt x="983" y="1602"/>
                    <a:pt x="1037" y="1820"/>
                  </a:cubicBezTo>
                  <a:cubicBezTo>
                    <a:pt x="1091" y="2038"/>
                    <a:pt x="983" y="2278"/>
                    <a:pt x="983" y="2348"/>
                  </a:cubicBezTo>
                  <a:cubicBezTo>
                    <a:pt x="983" y="2411"/>
                    <a:pt x="1166" y="2763"/>
                    <a:pt x="1330" y="2903"/>
                  </a:cubicBezTo>
                  <a:cubicBezTo>
                    <a:pt x="1492" y="3044"/>
                    <a:pt x="1476" y="2988"/>
                    <a:pt x="1672" y="3037"/>
                  </a:cubicBezTo>
                  <a:cubicBezTo>
                    <a:pt x="1868" y="3093"/>
                    <a:pt x="2131" y="3016"/>
                    <a:pt x="2415" y="2988"/>
                  </a:cubicBezTo>
                  <a:cubicBezTo>
                    <a:pt x="2700" y="2953"/>
                    <a:pt x="2745" y="2847"/>
                    <a:pt x="2958" y="2763"/>
                  </a:cubicBezTo>
                  <a:cubicBezTo>
                    <a:pt x="3172" y="2671"/>
                    <a:pt x="3598" y="2404"/>
                    <a:pt x="3752" y="2235"/>
                  </a:cubicBezTo>
                  <a:cubicBezTo>
                    <a:pt x="3907" y="2066"/>
                    <a:pt x="3807" y="1778"/>
                    <a:pt x="3752" y="1602"/>
                  </a:cubicBezTo>
                  <a:cubicBezTo>
                    <a:pt x="3698" y="1426"/>
                    <a:pt x="3409" y="1166"/>
                    <a:pt x="3322" y="1061"/>
                  </a:cubicBezTo>
                  <a:cubicBezTo>
                    <a:pt x="3234" y="955"/>
                    <a:pt x="2821" y="533"/>
                    <a:pt x="2579" y="322"/>
                  </a:cubicBezTo>
                  <a:cubicBezTo>
                    <a:pt x="2341" y="111"/>
                    <a:pt x="2195" y="97"/>
                    <a:pt x="1800" y="4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4" name="Freihandform: Form 169">
              <a:extLst>
                <a:ext uri="{FF2B5EF4-FFF2-40B4-BE49-F238E27FC236}">
                  <a16:creationId xmlns:a16="http://schemas.microsoft.com/office/drawing/2014/main" id="{DBE9DAE0-8C40-6841-986F-453B9C516E89}"/>
                </a:ext>
              </a:extLst>
            </p:cNvPr>
            <p:cNvSpPr/>
            <p:nvPr/>
          </p:nvSpPr>
          <p:spPr>
            <a:xfrm>
              <a:off x="3728662" y="4176493"/>
              <a:ext cx="9053" cy="2642"/>
            </a:xfrm>
            <a:custGeom>
              <a:avLst/>
              <a:gdLst>
                <a:gd name="connsiteX0" fmla="*/ 8688 w 9053"/>
                <a:gd name="connsiteY0" fmla="*/ 1643 h 2642"/>
                <a:gd name="connsiteX1" fmla="*/ 9000 w 9053"/>
                <a:gd name="connsiteY1" fmla="*/ 1278 h 2642"/>
                <a:gd name="connsiteX2" fmla="*/ 8906 w 9053"/>
                <a:gd name="connsiteY2" fmla="*/ 1010 h 2642"/>
                <a:gd name="connsiteX3" fmla="*/ 8517 w 9053"/>
                <a:gd name="connsiteY3" fmla="*/ 1137 h 2642"/>
                <a:gd name="connsiteX4" fmla="*/ 8250 w 9053"/>
                <a:gd name="connsiteY4" fmla="*/ 1081 h 2642"/>
                <a:gd name="connsiteX5" fmla="*/ 8592 w 9053"/>
                <a:gd name="connsiteY5" fmla="*/ 933 h 2642"/>
                <a:gd name="connsiteX6" fmla="*/ 8387 w 9053"/>
                <a:gd name="connsiteY6" fmla="*/ 736 h 2642"/>
                <a:gd name="connsiteX7" fmla="*/ 8041 w 9053"/>
                <a:gd name="connsiteY7" fmla="*/ 821 h 2642"/>
                <a:gd name="connsiteX8" fmla="*/ 7715 w 9053"/>
                <a:gd name="connsiteY8" fmla="*/ 821 h 2642"/>
                <a:gd name="connsiteX9" fmla="*/ 7456 w 9053"/>
                <a:gd name="connsiteY9" fmla="*/ 884 h 2642"/>
                <a:gd name="connsiteX10" fmla="*/ 7068 w 9053"/>
                <a:gd name="connsiteY10" fmla="*/ 933 h 2642"/>
                <a:gd name="connsiteX11" fmla="*/ 6688 w 9053"/>
                <a:gd name="connsiteY11" fmla="*/ 933 h 2642"/>
                <a:gd name="connsiteX12" fmla="*/ 6211 w 9053"/>
                <a:gd name="connsiteY12" fmla="*/ 884 h 2642"/>
                <a:gd name="connsiteX13" fmla="*/ 5806 w 9053"/>
                <a:gd name="connsiteY13" fmla="*/ 884 h 2642"/>
                <a:gd name="connsiteX14" fmla="*/ 5531 w 9053"/>
                <a:gd name="connsiteY14" fmla="*/ 821 h 2642"/>
                <a:gd name="connsiteX15" fmla="*/ 5384 w 9053"/>
                <a:gd name="connsiteY15" fmla="*/ 462 h 2642"/>
                <a:gd name="connsiteX16" fmla="*/ 5247 w 9053"/>
                <a:gd name="connsiteY16" fmla="*/ 152 h 2642"/>
                <a:gd name="connsiteX17" fmla="*/ 4925 w 9053"/>
                <a:gd name="connsiteY17" fmla="*/ 152 h 2642"/>
                <a:gd name="connsiteX18" fmla="*/ 4925 w 9053"/>
                <a:gd name="connsiteY18" fmla="*/ 363 h 2642"/>
                <a:gd name="connsiteX19" fmla="*/ 4820 w 9053"/>
                <a:gd name="connsiteY19" fmla="*/ 574 h 2642"/>
                <a:gd name="connsiteX20" fmla="*/ 4600 w 9053"/>
                <a:gd name="connsiteY20" fmla="*/ 736 h 2642"/>
                <a:gd name="connsiteX21" fmla="*/ 3969 w 9053"/>
                <a:gd name="connsiteY21" fmla="*/ 574 h 2642"/>
                <a:gd name="connsiteX22" fmla="*/ 3555 w 9053"/>
                <a:gd name="connsiteY22" fmla="*/ 511 h 2642"/>
                <a:gd name="connsiteX23" fmla="*/ 3158 w 9053"/>
                <a:gd name="connsiteY23" fmla="*/ 462 h 2642"/>
                <a:gd name="connsiteX24" fmla="*/ 2536 w 9053"/>
                <a:gd name="connsiteY24" fmla="*/ 462 h 2642"/>
                <a:gd name="connsiteX25" fmla="*/ 2106 w 9053"/>
                <a:gd name="connsiteY25" fmla="*/ 363 h 2642"/>
                <a:gd name="connsiteX26" fmla="*/ 1759 w 9053"/>
                <a:gd name="connsiteY26" fmla="*/ 230 h 2642"/>
                <a:gd name="connsiteX27" fmla="*/ 1446 w 9053"/>
                <a:gd name="connsiteY27" fmla="*/ 47 h 2642"/>
                <a:gd name="connsiteX28" fmla="*/ 940 w 9053"/>
                <a:gd name="connsiteY28" fmla="*/ 47 h 2642"/>
                <a:gd name="connsiteX29" fmla="*/ 936 w 9053"/>
                <a:gd name="connsiteY29" fmla="*/ 47 h 2642"/>
                <a:gd name="connsiteX30" fmla="*/ 798 w 9053"/>
                <a:gd name="connsiteY30" fmla="*/ 230 h 2642"/>
                <a:gd name="connsiteX31" fmla="*/ 853 w 9053"/>
                <a:gd name="connsiteY31" fmla="*/ 448 h 2642"/>
                <a:gd name="connsiteX32" fmla="*/ 852 w 9053"/>
                <a:gd name="connsiteY32" fmla="*/ 462 h 2642"/>
                <a:gd name="connsiteX33" fmla="*/ 739 w 9053"/>
                <a:gd name="connsiteY33" fmla="*/ 722 h 2642"/>
                <a:gd name="connsiteX34" fmla="*/ 731 w 9053"/>
                <a:gd name="connsiteY34" fmla="*/ 736 h 2642"/>
                <a:gd name="connsiteX35" fmla="*/ 430 w 9053"/>
                <a:gd name="connsiteY35" fmla="*/ 1081 h 2642"/>
                <a:gd name="connsiteX36" fmla="*/ 100 w 9053"/>
                <a:gd name="connsiteY36" fmla="*/ 1643 h 2642"/>
                <a:gd name="connsiteX37" fmla="*/ 21 w 9053"/>
                <a:gd name="connsiteY37" fmla="*/ 2065 h 2642"/>
                <a:gd name="connsiteX38" fmla="*/ 430 w 9053"/>
                <a:gd name="connsiteY38" fmla="*/ 2136 h 2642"/>
                <a:gd name="connsiteX39" fmla="*/ 1387 w 9053"/>
                <a:gd name="connsiteY39" fmla="*/ 2136 h 2642"/>
                <a:gd name="connsiteX40" fmla="*/ 2707 w 9053"/>
                <a:gd name="connsiteY40" fmla="*/ 2065 h 2642"/>
                <a:gd name="connsiteX41" fmla="*/ 3267 w 9053"/>
                <a:gd name="connsiteY41" fmla="*/ 1946 h 2642"/>
                <a:gd name="connsiteX42" fmla="*/ 3743 w 9053"/>
                <a:gd name="connsiteY42" fmla="*/ 1946 h 2642"/>
                <a:gd name="connsiteX43" fmla="*/ 4294 w 9053"/>
                <a:gd name="connsiteY43" fmla="*/ 2136 h 2642"/>
                <a:gd name="connsiteX44" fmla="*/ 5046 w 9053"/>
                <a:gd name="connsiteY44" fmla="*/ 2375 h 2642"/>
                <a:gd name="connsiteX45" fmla="*/ 5936 w 9053"/>
                <a:gd name="connsiteY45" fmla="*/ 2586 h 2642"/>
                <a:gd name="connsiteX46" fmla="*/ 6608 w 9053"/>
                <a:gd name="connsiteY46" fmla="*/ 2642 h 2642"/>
                <a:gd name="connsiteX47" fmla="*/ 7168 w 9053"/>
                <a:gd name="connsiteY47" fmla="*/ 2586 h 2642"/>
                <a:gd name="connsiteX48" fmla="*/ 7861 w 9053"/>
                <a:gd name="connsiteY48" fmla="*/ 2311 h 2642"/>
                <a:gd name="connsiteX49" fmla="*/ 8688 w 9053"/>
                <a:gd name="connsiteY49" fmla="*/ 1643 h 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9053" h="2642">
                  <a:moveTo>
                    <a:pt x="8688" y="1643"/>
                  </a:moveTo>
                  <a:cubicBezTo>
                    <a:pt x="8782" y="1531"/>
                    <a:pt x="8902" y="1404"/>
                    <a:pt x="9000" y="1278"/>
                  </a:cubicBezTo>
                  <a:cubicBezTo>
                    <a:pt x="9097" y="1158"/>
                    <a:pt x="9061" y="1003"/>
                    <a:pt x="8906" y="1010"/>
                  </a:cubicBezTo>
                  <a:cubicBezTo>
                    <a:pt x="8768" y="1018"/>
                    <a:pt x="8646" y="1081"/>
                    <a:pt x="8517" y="1137"/>
                  </a:cubicBezTo>
                  <a:cubicBezTo>
                    <a:pt x="8387" y="1200"/>
                    <a:pt x="8325" y="1137"/>
                    <a:pt x="8250" y="1081"/>
                  </a:cubicBezTo>
                  <a:cubicBezTo>
                    <a:pt x="8174" y="1024"/>
                    <a:pt x="8387" y="1024"/>
                    <a:pt x="8592" y="933"/>
                  </a:cubicBezTo>
                  <a:cubicBezTo>
                    <a:pt x="8797" y="849"/>
                    <a:pt x="8568" y="736"/>
                    <a:pt x="8387" y="736"/>
                  </a:cubicBezTo>
                  <a:cubicBezTo>
                    <a:pt x="8208" y="736"/>
                    <a:pt x="8292" y="736"/>
                    <a:pt x="8041" y="821"/>
                  </a:cubicBezTo>
                  <a:cubicBezTo>
                    <a:pt x="7790" y="912"/>
                    <a:pt x="7861" y="821"/>
                    <a:pt x="7715" y="821"/>
                  </a:cubicBezTo>
                  <a:cubicBezTo>
                    <a:pt x="7569" y="821"/>
                    <a:pt x="7532" y="884"/>
                    <a:pt x="7456" y="884"/>
                  </a:cubicBezTo>
                  <a:cubicBezTo>
                    <a:pt x="7381" y="884"/>
                    <a:pt x="7222" y="933"/>
                    <a:pt x="7068" y="933"/>
                  </a:cubicBezTo>
                  <a:lnTo>
                    <a:pt x="6688" y="933"/>
                  </a:lnTo>
                  <a:cubicBezTo>
                    <a:pt x="6475" y="933"/>
                    <a:pt x="6420" y="884"/>
                    <a:pt x="6211" y="884"/>
                  </a:cubicBezTo>
                  <a:cubicBezTo>
                    <a:pt x="6003" y="884"/>
                    <a:pt x="6011" y="891"/>
                    <a:pt x="5806" y="884"/>
                  </a:cubicBezTo>
                  <a:cubicBezTo>
                    <a:pt x="5602" y="877"/>
                    <a:pt x="5606" y="870"/>
                    <a:pt x="5531" y="821"/>
                  </a:cubicBezTo>
                  <a:cubicBezTo>
                    <a:pt x="5455" y="771"/>
                    <a:pt x="5418" y="574"/>
                    <a:pt x="5384" y="462"/>
                  </a:cubicBezTo>
                  <a:cubicBezTo>
                    <a:pt x="5351" y="349"/>
                    <a:pt x="5296" y="230"/>
                    <a:pt x="5247" y="152"/>
                  </a:cubicBezTo>
                  <a:cubicBezTo>
                    <a:pt x="5197" y="68"/>
                    <a:pt x="5046" y="103"/>
                    <a:pt x="4925" y="152"/>
                  </a:cubicBezTo>
                  <a:cubicBezTo>
                    <a:pt x="4804" y="195"/>
                    <a:pt x="4934" y="230"/>
                    <a:pt x="4925" y="363"/>
                  </a:cubicBezTo>
                  <a:cubicBezTo>
                    <a:pt x="4917" y="504"/>
                    <a:pt x="4867" y="511"/>
                    <a:pt x="4820" y="574"/>
                  </a:cubicBezTo>
                  <a:cubicBezTo>
                    <a:pt x="4775" y="631"/>
                    <a:pt x="4737" y="736"/>
                    <a:pt x="4600" y="736"/>
                  </a:cubicBezTo>
                  <a:cubicBezTo>
                    <a:pt x="4462" y="736"/>
                    <a:pt x="4140" y="588"/>
                    <a:pt x="3969" y="574"/>
                  </a:cubicBezTo>
                  <a:cubicBezTo>
                    <a:pt x="3797" y="553"/>
                    <a:pt x="3663" y="532"/>
                    <a:pt x="3555" y="511"/>
                  </a:cubicBezTo>
                  <a:cubicBezTo>
                    <a:pt x="3446" y="497"/>
                    <a:pt x="3267" y="462"/>
                    <a:pt x="3158" y="462"/>
                  </a:cubicBezTo>
                  <a:lnTo>
                    <a:pt x="2536" y="462"/>
                  </a:lnTo>
                  <a:cubicBezTo>
                    <a:pt x="2310" y="462"/>
                    <a:pt x="2222" y="391"/>
                    <a:pt x="2106" y="363"/>
                  </a:cubicBezTo>
                  <a:cubicBezTo>
                    <a:pt x="1989" y="342"/>
                    <a:pt x="1847" y="307"/>
                    <a:pt x="1759" y="230"/>
                  </a:cubicBezTo>
                  <a:cubicBezTo>
                    <a:pt x="1671" y="159"/>
                    <a:pt x="1629" y="152"/>
                    <a:pt x="1446" y="47"/>
                  </a:cubicBezTo>
                  <a:cubicBezTo>
                    <a:pt x="1262" y="-59"/>
                    <a:pt x="1070" y="47"/>
                    <a:pt x="940" y="47"/>
                  </a:cubicBezTo>
                  <a:lnTo>
                    <a:pt x="936" y="47"/>
                  </a:lnTo>
                  <a:cubicBezTo>
                    <a:pt x="823" y="47"/>
                    <a:pt x="713" y="159"/>
                    <a:pt x="798" y="230"/>
                  </a:cubicBezTo>
                  <a:cubicBezTo>
                    <a:pt x="863" y="293"/>
                    <a:pt x="861" y="321"/>
                    <a:pt x="853" y="448"/>
                  </a:cubicBezTo>
                  <a:lnTo>
                    <a:pt x="852" y="462"/>
                  </a:lnTo>
                  <a:cubicBezTo>
                    <a:pt x="845" y="588"/>
                    <a:pt x="813" y="631"/>
                    <a:pt x="739" y="722"/>
                  </a:cubicBezTo>
                  <a:lnTo>
                    <a:pt x="731" y="736"/>
                  </a:lnTo>
                  <a:cubicBezTo>
                    <a:pt x="652" y="835"/>
                    <a:pt x="593" y="940"/>
                    <a:pt x="430" y="1081"/>
                  </a:cubicBezTo>
                  <a:cubicBezTo>
                    <a:pt x="268" y="1221"/>
                    <a:pt x="205" y="1475"/>
                    <a:pt x="100" y="1643"/>
                  </a:cubicBezTo>
                  <a:cubicBezTo>
                    <a:pt x="-4" y="1805"/>
                    <a:pt x="-21" y="1995"/>
                    <a:pt x="21" y="2065"/>
                  </a:cubicBezTo>
                  <a:cubicBezTo>
                    <a:pt x="63" y="2136"/>
                    <a:pt x="155" y="2136"/>
                    <a:pt x="430" y="2136"/>
                  </a:cubicBezTo>
                  <a:lnTo>
                    <a:pt x="1387" y="2136"/>
                  </a:lnTo>
                  <a:cubicBezTo>
                    <a:pt x="1671" y="2136"/>
                    <a:pt x="2528" y="2136"/>
                    <a:pt x="2707" y="2065"/>
                  </a:cubicBezTo>
                  <a:cubicBezTo>
                    <a:pt x="2887" y="2002"/>
                    <a:pt x="3104" y="1946"/>
                    <a:pt x="3267" y="1946"/>
                  </a:cubicBezTo>
                  <a:lnTo>
                    <a:pt x="3743" y="1946"/>
                  </a:lnTo>
                  <a:cubicBezTo>
                    <a:pt x="3952" y="1946"/>
                    <a:pt x="4073" y="2051"/>
                    <a:pt x="4294" y="2136"/>
                  </a:cubicBezTo>
                  <a:cubicBezTo>
                    <a:pt x="4516" y="2213"/>
                    <a:pt x="4820" y="2311"/>
                    <a:pt x="5046" y="2375"/>
                  </a:cubicBezTo>
                  <a:cubicBezTo>
                    <a:pt x="5272" y="2438"/>
                    <a:pt x="5581" y="2530"/>
                    <a:pt x="5936" y="2586"/>
                  </a:cubicBezTo>
                  <a:cubicBezTo>
                    <a:pt x="6291" y="2642"/>
                    <a:pt x="6429" y="2642"/>
                    <a:pt x="6608" y="2642"/>
                  </a:cubicBezTo>
                  <a:cubicBezTo>
                    <a:pt x="6788" y="2642"/>
                    <a:pt x="6963" y="2628"/>
                    <a:pt x="7168" y="2586"/>
                  </a:cubicBezTo>
                  <a:cubicBezTo>
                    <a:pt x="7373" y="2544"/>
                    <a:pt x="7715" y="2403"/>
                    <a:pt x="7861" y="2311"/>
                  </a:cubicBezTo>
                  <a:cubicBezTo>
                    <a:pt x="8008" y="2227"/>
                    <a:pt x="8534" y="1819"/>
                    <a:pt x="8688" y="164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5" name="Freihandform: Form 170">
              <a:extLst>
                <a:ext uri="{FF2B5EF4-FFF2-40B4-BE49-F238E27FC236}">
                  <a16:creationId xmlns:a16="http://schemas.microsoft.com/office/drawing/2014/main" id="{FE577DE2-6ED9-3C42-BB78-7A5A7CBB9D2D}"/>
                </a:ext>
              </a:extLst>
            </p:cNvPr>
            <p:cNvSpPr/>
            <p:nvPr/>
          </p:nvSpPr>
          <p:spPr>
            <a:xfrm>
              <a:off x="3714012" y="4168516"/>
              <a:ext cx="9283" cy="7394"/>
            </a:xfrm>
            <a:custGeom>
              <a:avLst/>
              <a:gdLst>
                <a:gd name="connsiteX0" fmla="*/ 5151 w 9283"/>
                <a:gd name="connsiteY0" fmla="*/ 526 h 7394"/>
                <a:gd name="connsiteX1" fmla="*/ 5065 w 9283"/>
                <a:gd name="connsiteY1" fmla="*/ 385 h 7394"/>
                <a:gd name="connsiteX2" fmla="*/ 3702 w 9283"/>
                <a:gd name="connsiteY2" fmla="*/ 97 h 7394"/>
                <a:gd name="connsiteX3" fmla="*/ 3439 w 9283"/>
                <a:gd name="connsiteY3" fmla="*/ 238 h 7394"/>
                <a:gd name="connsiteX4" fmla="*/ 3298 w 9283"/>
                <a:gd name="connsiteY4" fmla="*/ 372 h 7394"/>
                <a:gd name="connsiteX5" fmla="*/ 2845 w 9283"/>
                <a:gd name="connsiteY5" fmla="*/ 1110 h 7394"/>
                <a:gd name="connsiteX6" fmla="*/ 2591 w 9283"/>
                <a:gd name="connsiteY6" fmla="*/ 1469 h 7394"/>
                <a:gd name="connsiteX7" fmla="*/ 2294 w 9283"/>
                <a:gd name="connsiteY7" fmla="*/ 1954 h 7394"/>
                <a:gd name="connsiteX8" fmla="*/ 2269 w 9283"/>
                <a:gd name="connsiteY8" fmla="*/ 2003 h 7394"/>
                <a:gd name="connsiteX9" fmla="*/ 2006 w 9283"/>
                <a:gd name="connsiteY9" fmla="*/ 2221 h 7394"/>
                <a:gd name="connsiteX10" fmla="*/ 1576 w 9283"/>
                <a:gd name="connsiteY10" fmla="*/ 2221 h 7394"/>
                <a:gd name="connsiteX11" fmla="*/ 603 w 9283"/>
                <a:gd name="connsiteY11" fmla="*/ 2221 h 7394"/>
                <a:gd name="connsiteX12" fmla="*/ 114 w 9283"/>
                <a:gd name="connsiteY12" fmla="*/ 2221 h 7394"/>
                <a:gd name="connsiteX13" fmla="*/ 43 w 9283"/>
                <a:gd name="connsiteY13" fmla="*/ 2432 h 7394"/>
                <a:gd name="connsiteX14" fmla="*/ 269 w 9283"/>
                <a:gd name="connsiteY14" fmla="*/ 2657 h 7394"/>
                <a:gd name="connsiteX15" fmla="*/ 502 w 9283"/>
                <a:gd name="connsiteY15" fmla="*/ 2924 h 7394"/>
                <a:gd name="connsiteX16" fmla="*/ 502 w 9283"/>
                <a:gd name="connsiteY16" fmla="*/ 3199 h 7394"/>
                <a:gd name="connsiteX17" fmla="*/ 502 w 9283"/>
                <a:gd name="connsiteY17" fmla="*/ 3543 h 7394"/>
                <a:gd name="connsiteX18" fmla="*/ 603 w 9283"/>
                <a:gd name="connsiteY18" fmla="*/ 3782 h 7394"/>
                <a:gd name="connsiteX19" fmla="*/ 782 w 9283"/>
                <a:gd name="connsiteY19" fmla="*/ 4043 h 7394"/>
                <a:gd name="connsiteX20" fmla="*/ 1033 w 9283"/>
                <a:gd name="connsiteY20" fmla="*/ 4352 h 7394"/>
                <a:gd name="connsiteX21" fmla="*/ 1230 w 9283"/>
                <a:gd name="connsiteY21" fmla="*/ 4795 h 7394"/>
                <a:gd name="connsiteX22" fmla="*/ 1476 w 9283"/>
                <a:gd name="connsiteY22" fmla="*/ 5091 h 7394"/>
                <a:gd name="connsiteX23" fmla="*/ 1714 w 9283"/>
                <a:gd name="connsiteY23" fmla="*/ 5330 h 7394"/>
                <a:gd name="connsiteX24" fmla="*/ 1894 w 9283"/>
                <a:gd name="connsiteY24" fmla="*/ 5773 h 7394"/>
                <a:gd name="connsiteX25" fmla="*/ 2132 w 9283"/>
                <a:gd name="connsiteY25" fmla="*/ 6357 h 7394"/>
                <a:gd name="connsiteX26" fmla="*/ 2466 w 9283"/>
                <a:gd name="connsiteY26" fmla="*/ 6645 h 7394"/>
                <a:gd name="connsiteX27" fmla="*/ 2908 w 9283"/>
                <a:gd name="connsiteY27" fmla="*/ 6743 h 7394"/>
                <a:gd name="connsiteX28" fmla="*/ 3593 w 9283"/>
                <a:gd name="connsiteY28" fmla="*/ 6533 h 7394"/>
                <a:gd name="connsiteX29" fmla="*/ 4007 w 9283"/>
                <a:gd name="connsiteY29" fmla="*/ 6448 h 7394"/>
                <a:gd name="connsiteX30" fmla="*/ 4358 w 9283"/>
                <a:gd name="connsiteY30" fmla="*/ 6357 h 7394"/>
                <a:gd name="connsiteX31" fmla="*/ 4842 w 9283"/>
                <a:gd name="connsiteY31" fmla="*/ 6448 h 7394"/>
                <a:gd name="connsiteX32" fmla="*/ 5331 w 9283"/>
                <a:gd name="connsiteY32" fmla="*/ 6357 h 7394"/>
                <a:gd name="connsiteX33" fmla="*/ 5720 w 9283"/>
                <a:gd name="connsiteY33" fmla="*/ 6448 h 7394"/>
                <a:gd name="connsiteX34" fmla="*/ 6250 w 9283"/>
                <a:gd name="connsiteY34" fmla="*/ 6743 h 7394"/>
                <a:gd name="connsiteX35" fmla="*/ 6639 w 9283"/>
                <a:gd name="connsiteY35" fmla="*/ 7053 h 7394"/>
                <a:gd name="connsiteX36" fmla="*/ 6872 w 9283"/>
                <a:gd name="connsiteY36" fmla="*/ 7355 h 7394"/>
                <a:gd name="connsiteX37" fmla="*/ 7277 w 9283"/>
                <a:gd name="connsiteY37" fmla="*/ 7257 h 7394"/>
                <a:gd name="connsiteX38" fmla="*/ 7290 w 9283"/>
                <a:gd name="connsiteY38" fmla="*/ 7250 h 7394"/>
                <a:gd name="connsiteX39" fmla="*/ 8059 w 9283"/>
                <a:gd name="connsiteY39" fmla="*/ 7151 h 7394"/>
                <a:gd name="connsiteX40" fmla="*/ 8334 w 9283"/>
                <a:gd name="connsiteY40" fmla="*/ 7180 h 7394"/>
                <a:gd name="connsiteX41" fmla="*/ 8585 w 9283"/>
                <a:gd name="connsiteY41" fmla="*/ 7257 h 7394"/>
                <a:gd name="connsiteX42" fmla="*/ 9183 w 9283"/>
                <a:gd name="connsiteY42" fmla="*/ 6870 h 7394"/>
                <a:gd name="connsiteX43" fmla="*/ 9183 w 9283"/>
                <a:gd name="connsiteY43" fmla="*/ 6533 h 7394"/>
                <a:gd name="connsiteX44" fmla="*/ 8767 w 9283"/>
                <a:gd name="connsiteY44" fmla="*/ 6139 h 7394"/>
                <a:gd name="connsiteX45" fmla="*/ 8585 w 9283"/>
                <a:gd name="connsiteY45" fmla="*/ 5892 h 7394"/>
                <a:gd name="connsiteX46" fmla="*/ 8405 w 9283"/>
                <a:gd name="connsiteY46" fmla="*/ 5520 h 7394"/>
                <a:gd name="connsiteX47" fmla="*/ 8155 w 9283"/>
                <a:gd name="connsiteY47" fmla="*/ 5091 h 7394"/>
                <a:gd name="connsiteX48" fmla="*/ 7599 w 9283"/>
                <a:gd name="connsiteY48" fmla="*/ 4795 h 7394"/>
                <a:gd name="connsiteX49" fmla="*/ 7068 w 9283"/>
                <a:gd name="connsiteY49" fmla="*/ 4507 h 7394"/>
                <a:gd name="connsiteX50" fmla="*/ 6872 w 9283"/>
                <a:gd name="connsiteY50" fmla="*/ 4240 h 7394"/>
                <a:gd name="connsiteX51" fmla="*/ 6639 w 9283"/>
                <a:gd name="connsiteY51" fmla="*/ 3782 h 7394"/>
                <a:gd name="connsiteX52" fmla="*/ 6471 w 9283"/>
                <a:gd name="connsiteY52" fmla="*/ 3354 h 7394"/>
                <a:gd name="connsiteX53" fmla="*/ 6471 w 9283"/>
                <a:gd name="connsiteY53" fmla="*/ 3199 h 7394"/>
                <a:gd name="connsiteX54" fmla="*/ 6471 w 9283"/>
                <a:gd name="connsiteY54" fmla="*/ 2805 h 7394"/>
                <a:gd name="connsiteX55" fmla="*/ 6125 w 9283"/>
                <a:gd name="connsiteY55" fmla="*/ 2334 h 7394"/>
                <a:gd name="connsiteX56" fmla="*/ 5874 w 9283"/>
                <a:gd name="connsiteY56" fmla="*/ 2088 h 7394"/>
                <a:gd name="connsiteX57" fmla="*/ 5498 w 9283"/>
                <a:gd name="connsiteY57" fmla="*/ 1553 h 7394"/>
                <a:gd name="connsiteX58" fmla="*/ 5331 w 9283"/>
                <a:gd name="connsiteY58" fmla="*/ 1040 h 7394"/>
                <a:gd name="connsiteX59" fmla="*/ 5151 w 9283"/>
                <a:gd name="connsiteY59" fmla="*/ 526 h 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83" h="7394">
                  <a:moveTo>
                    <a:pt x="5151" y="526"/>
                  </a:moveTo>
                  <a:cubicBezTo>
                    <a:pt x="5136" y="484"/>
                    <a:pt x="5106" y="435"/>
                    <a:pt x="5065" y="385"/>
                  </a:cubicBezTo>
                  <a:cubicBezTo>
                    <a:pt x="4742" y="-8"/>
                    <a:pt x="4178" y="-93"/>
                    <a:pt x="3702" y="97"/>
                  </a:cubicBezTo>
                  <a:cubicBezTo>
                    <a:pt x="3494" y="168"/>
                    <a:pt x="3593" y="153"/>
                    <a:pt x="3439" y="238"/>
                  </a:cubicBezTo>
                  <a:cubicBezTo>
                    <a:pt x="3359" y="280"/>
                    <a:pt x="3339" y="301"/>
                    <a:pt x="3298" y="372"/>
                  </a:cubicBezTo>
                  <a:cubicBezTo>
                    <a:pt x="3152" y="618"/>
                    <a:pt x="3010" y="871"/>
                    <a:pt x="2845" y="1110"/>
                  </a:cubicBezTo>
                  <a:cubicBezTo>
                    <a:pt x="2786" y="1187"/>
                    <a:pt x="2705" y="1307"/>
                    <a:pt x="2591" y="1469"/>
                  </a:cubicBezTo>
                  <a:cubicBezTo>
                    <a:pt x="2472" y="1616"/>
                    <a:pt x="2466" y="1623"/>
                    <a:pt x="2294" y="1954"/>
                  </a:cubicBezTo>
                  <a:lnTo>
                    <a:pt x="2269" y="2003"/>
                  </a:lnTo>
                  <a:cubicBezTo>
                    <a:pt x="2169" y="2179"/>
                    <a:pt x="2132" y="2088"/>
                    <a:pt x="2006" y="2221"/>
                  </a:cubicBezTo>
                  <a:cubicBezTo>
                    <a:pt x="1881" y="2362"/>
                    <a:pt x="1714" y="2221"/>
                    <a:pt x="1576" y="2221"/>
                  </a:cubicBezTo>
                  <a:lnTo>
                    <a:pt x="603" y="2221"/>
                  </a:lnTo>
                  <a:lnTo>
                    <a:pt x="114" y="2221"/>
                  </a:lnTo>
                  <a:cubicBezTo>
                    <a:pt x="7" y="2221"/>
                    <a:pt x="-41" y="2369"/>
                    <a:pt x="43" y="2432"/>
                  </a:cubicBezTo>
                  <a:cubicBezTo>
                    <a:pt x="164" y="2531"/>
                    <a:pt x="185" y="2573"/>
                    <a:pt x="269" y="2657"/>
                  </a:cubicBezTo>
                  <a:cubicBezTo>
                    <a:pt x="352" y="2735"/>
                    <a:pt x="394" y="2805"/>
                    <a:pt x="502" y="2924"/>
                  </a:cubicBezTo>
                  <a:cubicBezTo>
                    <a:pt x="611" y="3037"/>
                    <a:pt x="502" y="3044"/>
                    <a:pt x="502" y="3199"/>
                  </a:cubicBezTo>
                  <a:lnTo>
                    <a:pt x="502" y="3543"/>
                  </a:lnTo>
                  <a:cubicBezTo>
                    <a:pt x="502" y="3733"/>
                    <a:pt x="561" y="3782"/>
                    <a:pt x="603" y="3782"/>
                  </a:cubicBezTo>
                  <a:cubicBezTo>
                    <a:pt x="644" y="3782"/>
                    <a:pt x="699" y="3951"/>
                    <a:pt x="782" y="4043"/>
                  </a:cubicBezTo>
                  <a:cubicBezTo>
                    <a:pt x="866" y="4141"/>
                    <a:pt x="950" y="4240"/>
                    <a:pt x="1033" y="4352"/>
                  </a:cubicBezTo>
                  <a:cubicBezTo>
                    <a:pt x="1116" y="4465"/>
                    <a:pt x="1129" y="4577"/>
                    <a:pt x="1230" y="4795"/>
                  </a:cubicBezTo>
                  <a:cubicBezTo>
                    <a:pt x="1329" y="5020"/>
                    <a:pt x="1379" y="4978"/>
                    <a:pt x="1476" y="5091"/>
                  </a:cubicBezTo>
                  <a:cubicBezTo>
                    <a:pt x="1572" y="5203"/>
                    <a:pt x="1618" y="5182"/>
                    <a:pt x="1714" y="5330"/>
                  </a:cubicBezTo>
                  <a:cubicBezTo>
                    <a:pt x="1810" y="5471"/>
                    <a:pt x="1852" y="5604"/>
                    <a:pt x="1894" y="5773"/>
                  </a:cubicBezTo>
                  <a:cubicBezTo>
                    <a:pt x="1935" y="5935"/>
                    <a:pt x="1994" y="6019"/>
                    <a:pt x="2132" y="6357"/>
                  </a:cubicBezTo>
                  <a:cubicBezTo>
                    <a:pt x="2269" y="6687"/>
                    <a:pt x="2299" y="6533"/>
                    <a:pt x="2466" y="6645"/>
                  </a:cubicBezTo>
                  <a:cubicBezTo>
                    <a:pt x="2633" y="6757"/>
                    <a:pt x="2675" y="6659"/>
                    <a:pt x="2908" y="6743"/>
                  </a:cubicBezTo>
                  <a:cubicBezTo>
                    <a:pt x="3143" y="6828"/>
                    <a:pt x="3494" y="6617"/>
                    <a:pt x="3593" y="6533"/>
                  </a:cubicBezTo>
                  <a:cubicBezTo>
                    <a:pt x="3694" y="6448"/>
                    <a:pt x="3844" y="6448"/>
                    <a:pt x="4007" y="6448"/>
                  </a:cubicBezTo>
                  <a:cubicBezTo>
                    <a:pt x="4170" y="6448"/>
                    <a:pt x="4216" y="6357"/>
                    <a:pt x="4358" y="6357"/>
                  </a:cubicBezTo>
                  <a:cubicBezTo>
                    <a:pt x="4500" y="6357"/>
                    <a:pt x="4634" y="6448"/>
                    <a:pt x="4842" y="6448"/>
                  </a:cubicBezTo>
                  <a:cubicBezTo>
                    <a:pt x="5051" y="6448"/>
                    <a:pt x="5151" y="6357"/>
                    <a:pt x="5331" y="6357"/>
                  </a:cubicBezTo>
                  <a:cubicBezTo>
                    <a:pt x="5511" y="6357"/>
                    <a:pt x="5498" y="6357"/>
                    <a:pt x="5720" y="6448"/>
                  </a:cubicBezTo>
                  <a:cubicBezTo>
                    <a:pt x="5941" y="6546"/>
                    <a:pt x="6125" y="6638"/>
                    <a:pt x="6250" y="6743"/>
                  </a:cubicBezTo>
                  <a:cubicBezTo>
                    <a:pt x="6376" y="6849"/>
                    <a:pt x="6526" y="6926"/>
                    <a:pt x="6639" y="7053"/>
                  </a:cubicBezTo>
                  <a:cubicBezTo>
                    <a:pt x="6751" y="7180"/>
                    <a:pt x="6789" y="7257"/>
                    <a:pt x="6872" y="7355"/>
                  </a:cubicBezTo>
                  <a:cubicBezTo>
                    <a:pt x="6956" y="7461"/>
                    <a:pt x="7139" y="7327"/>
                    <a:pt x="7277" y="7257"/>
                  </a:cubicBezTo>
                  <a:lnTo>
                    <a:pt x="7290" y="7250"/>
                  </a:lnTo>
                  <a:cubicBezTo>
                    <a:pt x="7526" y="7137"/>
                    <a:pt x="7798" y="7137"/>
                    <a:pt x="8059" y="7151"/>
                  </a:cubicBezTo>
                  <a:cubicBezTo>
                    <a:pt x="8169" y="7158"/>
                    <a:pt x="8273" y="7165"/>
                    <a:pt x="8334" y="7180"/>
                  </a:cubicBezTo>
                  <a:cubicBezTo>
                    <a:pt x="8514" y="7208"/>
                    <a:pt x="8585" y="7271"/>
                    <a:pt x="8585" y="7257"/>
                  </a:cubicBezTo>
                  <a:cubicBezTo>
                    <a:pt x="8585" y="7243"/>
                    <a:pt x="8961" y="6968"/>
                    <a:pt x="9183" y="6870"/>
                  </a:cubicBezTo>
                  <a:cubicBezTo>
                    <a:pt x="9403" y="6772"/>
                    <a:pt x="9195" y="6603"/>
                    <a:pt x="9183" y="6533"/>
                  </a:cubicBezTo>
                  <a:cubicBezTo>
                    <a:pt x="9149" y="6343"/>
                    <a:pt x="8891" y="6286"/>
                    <a:pt x="8767" y="6139"/>
                  </a:cubicBezTo>
                  <a:cubicBezTo>
                    <a:pt x="8689" y="6047"/>
                    <a:pt x="8615" y="5956"/>
                    <a:pt x="8585" y="5892"/>
                  </a:cubicBezTo>
                  <a:cubicBezTo>
                    <a:pt x="8514" y="5759"/>
                    <a:pt x="8418" y="5590"/>
                    <a:pt x="8405" y="5520"/>
                  </a:cubicBezTo>
                  <a:cubicBezTo>
                    <a:pt x="8393" y="5449"/>
                    <a:pt x="8280" y="5288"/>
                    <a:pt x="8155" y="5091"/>
                  </a:cubicBezTo>
                  <a:cubicBezTo>
                    <a:pt x="8029" y="4894"/>
                    <a:pt x="7971" y="4823"/>
                    <a:pt x="7599" y="4795"/>
                  </a:cubicBezTo>
                  <a:cubicBezTo>
                    <a:pt x="7227" y="4767"/>
                    <a:pt x="7182" y="4626"/>
                    <a:pt x="7068" y="4507"/>
                  </a:cubicBezTo>
                  <a:cubicBezTo>
                    <a:pt x="6956" y="4380"/>
                    <a:pt x="6973" y="4366"/>
                    <a:pt x="6872" y="4240"/>
                  </a:cubicBezTo>
                  <a:cubicBezTo>
                    <a:pt x="6772" y="4113"/>
                    <a:pt x="6706" y="3994"/>
                    <a:pt x="6639" y="3782"/>
                  </a:cubicBezTo>
                  <a:cubicBezTo>
                    <a:pt x="6572" y="3571"/>
                    <a:pt x="6471" y="3487"/>
                    <a:pt x="6471" y="3354"/>
                  </a:cubicBezTo>
                  <a:lnTo>
                    <a:pt x="6471" y="3199"/>
                  </a:lnTo>
                  <a:lnTo>
                    <a:pt x="6471" y="2805"/>
                  </a:lnTo>
                  <a:cubicBezTo>
                    <a:pt x="6471" y="2713"/>
                    <a:pt x="6179" y="2390"/>
                    <a:pt x="6125" y="2334"/>
                  </a:cubicBezTo>
                  <a:cubicBezTo>
                    <a:pt x="6070" y="2285"/>
                    <a:pt x="5941" y="2179"/>
                    <a:pt x="5874" y="2088"/>
                  </a:cubicBezTo>
                  <a:cubicBezTo>
                    <a:pt x="5807" y="1989"/>
                    <a:pt x="5636" y="1722"/>
                    <a:pt x="5498" y="1553"/>
                  </a:cubicBezTo>
                  <a:cubicBezTo>
                    <a:pt x="5360" y="1391"/>
                    <a:pt x="5344" y="1152"/>
                    <a:pt x="5331" y="1040"/>
                  </a:cubicBezTo>
                  <a:cubicBezTo>
                    <a:pt x="5319" y="927"/>
                    <a:pt x="5231" y="751"/>
                    <a:pt x="5151" y="52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6" name="Freihandform: Form 171">
              <a:extLst>
                <a:ext uri="{FF2B5EF4-FFF2-40B4-BE49-F238E27FC236}">
                  <a16:creationId xmlns:a16="http://schemas.microsoft.com/office/drawing/2014/main" id="{37680D5E-2603-DB4B-A5F7-7A0210A09204}"/>
                </a:ext>
              </a:extLst>
            </p:cNvPr>
            <p:cNvSpPr/>
            <p:nvPr/>
          </p:nvSpPr>
          <p:spPr>
            <a:xfrm>
              <a:off x="3690774" y="4159907"/>
              <a:ext cx="7471" cy="5876"/>
            </a:xfrm>
            <a:custGeom>
              <a:avLst/>
              <a:gdLst>
                <a:gd name="connsiteX0" fmla="*/ 5174 w 7471"/>
                <a:gd name="connsiteY0" fmla="*/ 126 h 5876"/>
                <a:gd name="connsiteX1" fmla="*/ 4928 w 7471"/>
                <a:gd name="connsiteY1" fmla="*/ 126 h 5876"/>
                <a:gd name="connsiteX2" fmla="*/ 4569 w 7471"/>
                <a:gd name="connsiteY2" fmla="*/ 210 h 5876"/>
                <a:gd name="connsiteX3" fmla="*/ 4393 w 7471"/>
                <a:gd name="connsiteY3" fmla="*/ 344 h 5876"/>
                <a:gd name="connsiteX4" fmla="*/ 3558 w 7471"/>
                <a:gd name="connsiteY4" fmla="*/ 126 h 5876"/>
                <a:gd name="connsiteX5" fmla="*/ 2814 w 7471"/>
                <a:gd name="connsiteY5" fmla="*/ 288 h 5876"/>
                <a:gd name="connsiteX6" fmla="*/ 2480 w 7471"/>
                <a:gd name="connsiteY6" fmla="*/ 513 h 5876"/>
                <a:gd name="connsiteX7" fmla="*/ 2129 w 7471"/>
                <a:gd name="connsiteY7" fmla="*/ 780 h 5876"/>
                <a:gd name="connsiteX8" fmla="*/ 1711 w 7471"/>
                <a:gd name="connsiteY8" fmla="*/ 1019 h 5876"/>
                <a:gd name="connsiteX9" fmla="*/ 1209 w 7471"/>
                <a:gd name="connsiteY9" fmla="*/ 1195 h 5876"/>
                <a:gd name="connsiteX10" fmla="*/ 947 w 7471"/>
                <a:gd name="connsiteY10" fmla="*/ 1300 h 5876"/>
                <a:gd name="connsiteX11" fmla="*/ 805 w 7471"/>
                <a:gd name="connsiteY11" fmla="*/ 1540 h 5876"/>
                <a:gd name="connsiteX12" fmla="*/ 584 w 7471"/>
                <a:gd name="connsiteY12" fmla="*/ 2116 h 5876"/>
                <a:gd name="connsiteX13" fmla="*/ 262 w 7471"/>
                <a:gd name="connsiteY13" fmla="*/ 2405 h 5876"/>
                <a:gd name="connsiteX14" fmla="*/ 133 w 7471"/>
                <a:gd name="connsiteY14" fmla="*/ 2672 h 5876"/>
                <a:gd name="connsiteX15" fmla="*/ 16 w 7471"/>
                <a:gd name="connsiteY15" fmla="*/ 3206 h 5876"/>
                <a:gd name="connsiteX16" fmla="*/ 133 w 7471"/>
                <a:gd name="connsiteY16" fmla="*/ 3741 h 5876"/>
                <a:gd name="connsiteX17" fmla="*/ 738 w 7471"/>
                <a:gd name="connsiteY17" fmla="*/ 4114 h 5876"/>
                <a:gd name="connsiteX18" fmla="*/ 1236 w 7471"/>
                <a:gd name="connsiteY18" fmla="*/ 4367 h 5876"/>
                <a:gd name="connsiteX19" fmla="*/ 1921 w 7471"/>
                <a:gd name="connsiteY19" fmla="*/ 4740 h 5876"/>
                <a:gd name="connsiteX20" fmla="*/ 2409 w 7471"/>
                <a:gd name="connsiteY20" fmla="*/ 5112 h 5876"/>
                <a:gd name="connsiteX21" fmla="*/ 3165 w 7471"/>
                <a:gd name="connsiteY21" fmla="*/ 5548 h 5876"/>
                <a:gd name="connsiteX22" fmla="*/ 3825 w 7471"/>
                <a:gd name="connsiteY22" fmla="*/ 5745 h 5876"/>
                <a:gd name="connsiteX23" fmla="*/ 4510 w 7471"/>
                <a:gd name="connsiteY23" fmla="*/ 5745 h 5876"/>
                <a:gd name="connsiteX24" fmla="*/ 5057 w 7471"/>
                <a:gd name="connsiteY24" fmla="*/ 5858 h 5876"/>
                <a:gd name="connsiteX25" fmla="*/ 5383 w 7471"/>
                <a:gd name="connsiteY25" fmla="*/ 5858 h 5876"/>
                <a:gd name="connsiteX26" fmla="*/ 5755 w 7471"/>
                <a:gd name="connsiteY26" fmla="*/ 5675 h 5876"/>
                <a:gd name="connsiteX27" fmla="*/ 6181 w 7471"/>
                <a:gd name="connsiteY27" fmla="*/ 5330 h 5876"/>
                <a:gd name="connsiteX28" fmla="*/ 6486 w 7471"/>
                <a:gd name="connsiteY28" fmla="*/ 5035 h 5876"/>
                <a:gd name="connsiteX29" fmla="*/ 6703 w 7471"/>
                <a:gd name="connsiteY29" fmla="*/ 4740 h 5876"/>
                <a:gd name="connsiteX30" fmla="*/ 6891 w 7471"/>
                <a:gd name="connsiteY30" fmla="*/ 4367 h 5876"/>
                <a:gd name="connsiteX31" fmla="*/ 6891 w 7471"/>
                <a:gd name="connsiteY31" fmla="*/ 3832 h 5876"/>
                <a:gd name="connsiteX32" fmla="*/ 6891 w 7471"/>
                <a:gd name="connsiteY32" fmla="*/ 3579 h 5876"/>
                <a:gd name="connsiteX33" fmla="*/ 7029 w 7471"/>
                <a:gd name="connsiteY33" fmla="*/ 3087 h 5876"/>
                <a:gd name="connsiteX34" fmla="*/ 7238 w 7471"/>
                <a:gd name="connsiteY34" fmla="*/ 2609 h 5876"/>
                <a:gd name="connsiteX35" fmla="*/ 7355 w 7471"/>
                <a:gd name="connsiteY35" fmla="*/ 2046 h 5876"/>
                <a:gd name="connsiteX36" fmla="*/ 7472 w 7471"/>
                <a:gd name="connsiteY36" fmla="*/ 1638 h 5876"/>
                <a:gd name="connsiteX37" fmla="*/ 7355 w 7471"/>
                <a:gd name="connsiteY37" fmla="*/ 1139 h 5876"/>
                <a:gd name="connsiteX38" fmla="*/ 7238 w 7471"/>
                <a:gd name="connsiteY38" fmla="*/ 872 h 5876"/>
                <a:gd name="connsiteX39" fmla="*/ 6544 w 7471"/>
                <a:gd name="connsiteY39" fmla="*/ 344 h 5876"/>
                <a:gd name="connsiteX40" fmla="*/ 5985 w 7471"/>
                <a:gd name="connsiteY40" fmla="*/ 34 h 5876"/>
                <a:gd name="connsiteX41" fmla="*/ 5396 w 7471"/>
                <a:gd name="connsiteY41" fmla="*/ 105 h 5876"/>
                <a:gd name="connsiteX42" fmla="*/ 5174 w 7471"/>
                <a:gd name="connsiteY42" fmla="*/ 126 h 5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7471" h="5876">
                  <a:moveTo>
                    <a:pt x="5174" y="126"/>
                  </a:moveTo>
                  <a:cubicBezTo>
                    <a:pt x="5062" y="133"/>
                    <a:pt x="4985" y="133"/>
                    <a:pt x="4928" y="126"/>
                  </a:cubicBezTo>
                  <a:cubicBezTo>
                    <a:pt x="4770" y="105"/>
                    <a:pt x="4645" y="70"/>
                    <a:pt x="4569" y="210"/>
                  </a:cubicBezTo>
                  <a:cubicBezTo>
                    <a:pt x="4523" y="295"/>
                    <a:pt x="4510" y="288"/>
                    <a:pt x="4393" y="344"/>
                  </a:cubicBezTo>
                  <a:cubicBezTo>
                    <a:pt x="4277" y="407"/>
                    <a:pt x="4197" y="344"/>
                    <a:pt x="3558" y="126"/>
                  </a:cubicBezTo>
                  <a:cubicBezTo>
                    <a:pt x="3370" y="70"/>
                    <a:pt x="3036" y="210"/>
                    <a:pt x="2814" y="288"/>
                  </a:cubicBezTo>
                  <a:cubicBezTo>
                    <a:pt x="2593" y="365"/>
                    <a:pt x="2735" y="344"/>
                    <a:pt x="2480" y="513"/>
                  </a:cubicBezTo>
                  <a:cubicBezTo>
                    <a:pt x="2225" y="675"/>
                    <a:pt x="2338" y="625"/>
                    <a:pt x="2129" y="780"/>
                  </a:cubicBezTo>
                  <a:cubicBezTo>
                    <a:pt x="1958" y="900"/>
                    <a:pt x="1997" y="886"/>
                    <a:pt x="1711" y="1019"/>
                  </a:cubicBezTo>
                  <a:cubicBezTo>
                    <a:pt x="1551" y="1096"/>
                    <a:pt x="1381" y="1153"/>
                    <a:pt x="1209" y="1195"/>
                  </a:cubicBezTo>
                  <a:cubicBezTo>
                    <a:pt x="1166" y="1209"/>
                    <a:pt x="1100" y="1237"/>
                    <a:pt x="947" y="1300"/>
                  </a:cubicBezTo>
                  <a:cubicBezTo>
                    <a:pt x="567" y="1462"/>
                    <a:pt x="889" y="1392"/>
                    <a:pt x="805" y="1540"/>
                  </a:cubicBezTo>
                  <a:cubicBezTo>
                    <a:pt x="721" y="1694"/>
                    <a:pt x="680" y="1955"/>
                    <a:pt x="584" y="2116"/>
                  </a:cubicBezTo>
                  <a:cubicBezTo>
                    <a:pt x="488" y="2278"/>
                    <a:pt x="425" y="2264"/>
                    <a:pt x="262" y="2405"/>
                  </a:cubicBezTo>
                  <a:cubicBezTo>
                    <a:pt x="99" y="2538"/>
                    <a:pt x="133" y="2531"/>
                    <a:pt x="133" y="2672"/>
                  </a:cubicBezTo>
                  <a:cubicBezTo>
                    <a:pt x="133" y="2806"/>
                    <a:pt x="62" y="2855"/>
                    <a:pt x="16" y="3206"/>
                  </a:cubicBezTo>
                  <a:cubicBezTo>
                    <a:pt x="-30" y="3558"/>
                    <a:pt x="29" y="3460"/>
                    <a:pt x="133" y="3741"/>
                  </a:cubicBezTo>
                  <a:cubicBezTo>
                    <a:pt x="237" y="4022"/>
                    <a:pt x="480" y="3938"/>
                    <a:pt x="738" y="4114"/>
                  </a:cubicBezTo>
                  <a:cubicBezTo>
                    <a:pt x="997" y="4290"/>
                    <a:pt x="1098" y="4297"/>
                    <a:pt x="1236" y="4367"/>
                  </a:cubicBezTo>
                  <a:cubicBezTo>
                    <a:pt x="1373" y="4437"/>
                    <a:pt x="1783" y="4578"/>
                    <a:pt x="1921" y="4740"/>
                  </a:cubicBezTo>
                  <a:cubicBezTo>
                    <a:pt x="2058" y="4901"/>
                    <a:pt x="2222" y="4944"/>
                    <a:pt x="2409" y="5112"/>
                  </a:cubicBezTo>
                  <a:cubicBezTo>
                    <a:pt x="2597" y="5274"/>
                    <a:pt x="2957" y="5443"/>
                    <a:pt x="3165" y="5548"/>
                  </a:cubicBezTo>
                  <a:cubicBezTo>
                    <a:pt x="3374" y="5654"/>
                    <a:pt x="3362" y="5675"/>
                    <a:pt x="3825" y="5745"/>
                  </a:cubicBezTo>
                  <a:cubicBezTo>
                    <a:pt x="4289" y="5823"/>
                    <a:pt x="4222" y="5745"/>
                    <a:pt x="4510" y="5745"/>
                  </a:cubicBezTo>
                  <a:cubicBezTo>
                    <a:pt x="4799" y="5745"/>
                    <a:pt x="4857" y="5858"/>
                    <a:pt x="5057" y="5858"/>
                  </a:cubicBezTo>
                  <a:cubicBezTo>
                    <a:pt x="5258" y="5858"/>
                    <a:pt x="5174" y="5900"/>
                    <a:pt x="5383" y="5858"/>
                  </a:cubicBezTo>
                  <a:cubicBezTo>
                    <a:pt x="5592" y="5823"/>
                    <a:pt x="5638" y="5767"/>
                    <a:pt x="5755" y="5675"/>
                  </a:cubicBezTo>
                  <a:cubicBezTo>
                    <a:pt x="5872" y="5584"/>
                    <a:pt x="5985" y="5471"/>
                    <a:pt x="6181" y="5330"/>
                  </a:cubicBezTo>
                  <a:cubicBezTo>
                    <a:pt x="6377" y="5190"/>
                    <a:pt x="6390" y="5140"/>
                    <a:pt x="6486" y="5035"/>
                  </a:cubicBezTo>
                  <a:cubicBezTo>
                    <a:pt x="6582" y="4937"/>
                    <a:pt x="6624" y="4831"/>
                    <a:pt x="6703" y="4740"/>
                  </a:cubicBezTo>
                  <a:cubicBezTo>
                    <a:pt x="6783" y="4648"/>
                    <a:pt x="6832" y="4501"/>
                    <a:pt x="6891" y="4367"/>
                  </a:cubicBezTo>
                  <a:cubicBezTo>
                    <a:pt x="6949" y="4226"/>
                    <a:pt x="6891" y="4071"/>
                    <a:pt x="6891" y="3832"/>
                  </a:cubicBezTo>
                  <a:cubicBezTo>
                    <a:pt x="6891" y="3586"/>
                    <a:pt x="6879" y="3713"/>
                    <a:pt x="6891" y="3579"/>
                  </a:cubicBezTo>
                  <a:cubicBezTo>
                    <a:pt x="6904" y="3439"/>
                    <a:pt x="6962" y="3206"/>
                    <a:pt x="7029" y="3087"/>
                  </a:cubicBezTo>
                  <a:cubicBezTo>
                    <a:pt x="7095" y="2967"/>
                    <a:pt x="7133" y="2855"/>
                    <a:pt x="7238" y="2609"/>
                  </a:cubicBezTo>
                  <a:cubicBezTo>
                    <a:pt x="7342" y="2369"/>
                    <a:pt x="7355" y="2229"/>
                    <a:pt x="7355" y="2046"/>
                  </a:cubicBezTo>
                  <a:cubicBezTo>
                    <a:pt x="7355" y="1856"/>
                    <a:pt x="7472" y="1765"/>
                    <a:pt x="7472" y="1638"/>
                  </a:cubicBezTo>
                  <a:cubicBezTo>
                    <a:pt x="7472" y="1511"/>
                    <a:pt x="7401" y="1371"/>
                    <a:pt x="7355" y="1139"/>
                  </a:cubicBezTo>
                  <a:cubicBezTo>
                    <a:pt x="7309" y="900"/>
                    <a:pt x="7284" y="963"/>
                    <a:pt x="7238" y="872"/>
                  </a:cubicBezTo>
                  <a:cubicBezTo>
                    <a:pt x="7192" y="780"/>
                    <a:pt x="6820" y="442"/>
                    <a:pt x="6544" y="344"/>
                  </a:cubicBezTo>
                  <a:cubicBezTo>
                    <a:pt x="6268" y="253"/>
                    <a:pt x="6344" y="253"/>
                    <a:pt x="5985" y="34"/>
                  </a:cubicBezTo>
                  <a:cubicBezTo>
                    <a:pt x="5827" y="-64"/>
                    <a:pt x="5578" y="77"/>
                    <a:pt x="5396" y="105"/>
                  </a:cubicBezTo>
                  <a:cubicBezTo>
                    <a:pt x="5326" y="112"/>
                    <a:pt x="5251" y="119"/>
                    <a:pt x="5174" y="12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7" name="Freihandform: Form 172">
              <a:extLst>
                <a:ext uri="{FF2B5EF4-FFF2-40B4-BE49-F238E27FC236}">
                  <a16:creationId xmlns:a16="http://schemas.microsoft.com/office/drawing/2014/main" id="{0F5F7FF7-855C-C14C-9795-AB4FBC316B04}"/>
                </a:ext>
              </a:extLst>
            </p:cNvPr>
            <p:cNvSpPr/>
            <p:nvPr/>
          </p:nvSpPr>
          <p:spPr>
            <a:xfrm>
              <a:off x="3683741" y="4163614"/>
              <a:ext cx="2880" cy="3739"/>
            </a:xfrm>
            <a:custGeom>
              <a:avLst/>
              <a:gdLst>
                <a:gd name="connsiteX0" fmla="*/ 2020 w 2880"/>
                <a:gd name="connsiteY0" fmla="*/ 555 h 3739"/>
                <a:gd name="connsiteX1" fmla="*/ 2063 w 2880"/>
                <a:gd name="connsiteY1" fmla="*/ 463 h 3739"/>
                <a:gd name="connsiteX2" fmla="*/ 2279 w 2880"/>
                <a:gd name="connsiteY2" fmla="*/ 34 h 3739"/>
                <a:gd name="connsiteX3" fmla="*/ 2538 w 2880"/>
                <a:gd name="connsiteY3" fmla="*/ 34 h 3739"/>
                <a:gd name="connsiteX4" fmla="*/ 2697 w 2880"/>
                <a:gd name="connsiteY4" fmla="*/ 34 h 3739"/>
                <a:gd name="connsiteX5" fmla="*/ 2777 w 2880"/>
                <a:gd name="connsiteY5" fmla="*/ 63 h 3739"/>
                <a:gd name="connsiteX6" fmla="*/ 2801 w 2880"/>
                <a:gd name="connsiteY6" fmla="*/ 407 h 3739"/>
                <a:gd name="connsiteX7" fmla="*/ 2580 w 2880"/>
                <a:gd name="connsiteY7" fmla="*/ 660 h 3739"/>
                <a:gd name="connsiteX8" fmla="*/ 2509 w 2880"/>
                <a:gd name="connsiteY8" fmla="*/ 878 h 3739"/>
                <a:gd name="connsiteX9" fmla="*/ 2509 w 2880"/>
                <a:gd name="connsiteY9" fmla="*/ 1272 h 3739"/>
                <a:gd name="connsiteX10" fmla="*/ 2580 w 2880"/>
                <a:gd name="connsiteY10" fmla="*/ 1497 h 3739"/>
                <a:gd name="connsiteX11" fmla="*/ 2580 w 2880"/>
                <a:gd name="connsiteY11" fmla="*/ 1736 h 3739"/>
                <a:gd name="connsiteX12" fmla="*/ 2384 w 2880"/>
                <a:gd name="connsiteY12" fmla="*/ 1961 h 3739"/>
                <a:gd name="connsiteX13" fmla="*/ 2020 w 2880"/>
                <a:gd name="connsiteY13" fmla="*/ 2039 h 3739"/>
                <a:gd name="connsiteX14" fmla="*/ 1699 w 2880"/>
                <a:gd name="connsiteY14" fmla="*/ 2179 h 3739"/>
                <a:gd name="connsiteX15" fmla="*/ 1327 w 2880"/>
                <a:gd name="connsiteY15" fmla="*/ 2285 h 3739"/>
                <a:gd name="connsiteX16" fmla="*/ 1126 w 2880"/>
                <a:gd name="connsiteY16" fmla="*/ 2566 h 3739"/>
                <a:gd name="connsiteX17" fmla="*/ 943 w 2880"/>
                <a:gd name="connsiteY17" fmla="*/ 3122 h 3739"/>
                <a:gd name="connsiteX18" fmla="*/ 746 w 2880"/>
                <a:gd name="connsiteY18" fmla="*/ 3713 h 3739"/>
                <a:gd name="connsiteX19" fmla="*/ 441 w 2880"/>
                <a:gd name="connsiteY19" fmla="*/ 3635 h 3739"/>
                <a:gd name="connsiteX20" fmla="*/ 174 w 2880"/>
                <a:gd name="connsiteY20" fmla="*/ 3389 h 3739"/>
                <a:gd name="connsiteX21" fmla="*/ 23 w 2880"/>
                <a:gd name="connsiteY21" fmla="*/ 3122 h 3739"/>
                <a:gd name="connsiteX22" fmla="*/ 23 w 2880"/>
                <a:gd name="connsiteY22" fmla="*/ 2791 h 3739"/>
                <a:gd name="connsiteX23" fmla="*/ 174 w 2880"/>
                <a:gd name="connsiteY23" fmla="*/ 2179 h 3739"/>
                <a:gd name="connsiteX24" fmla="*/ 746 w 2880"/>
                <a:gd name="connsiteY24" fmla="*/ 1497 h 3739"/>
                <a:gd name="connsiteX25" fmla="*/ 1014 w 2880"/>
                <a:gd name="connsiteY25" fmla="*/ 1272 h 3739"/>
                <a:gd name="connsiteX26" fmla="*/ 1699 w 2880"/>
                <a:gd name="connsiteY26" fmla="*/ 970 h 3739"/>
                <a:gd name="connsiteX27" fmla="*/ 2020 w 2880"/>
                <a:gd name="connsiteY27" fmla="*/ 555 h 3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880" h="3739">
                  <a:moveTo>
                    <a:pt x="2020" y="555"/>
                  </a:moveTo>
                  <a:cubicBezTo>
                    <a:pt x="2039" y="520"/>
                    <a:pt x="2052" y="492"/>
                    <a:pt x="2063" y="463"/>
                  </a:cubicBezTo>
                  <a:cubicBezTo>
                    <a:pt x="2118" y="309"/>
                    <a:pt x="2196" y="168"/>
                    <a:pt x="2279" y="34"/>
                  </a:cubicBezTo>
                  <a:cubicBezTo>
                    <a:pt x="2327" y="-43"/>
                    <a:pt x="2447" y="34"/>
                    <a:pt x="2538" y="34"/>
                  </a:cubicBezTo>
                  <a:lnTo>
                    <a:pt x="2697" y="34"/>
                  </a:lnTo>
                  <a:cubicBezTo>
                    <a:pt x="2725" y="34"/>
                    <a:pt x="2752" y="41"/>
                    <a:pt x="2777" y="63"/>
                  </a:cubicBezTo>
                  <a:cubicBezTo>
                    <a:pt x="2882" y="147"/>
                    <a:pt x="2934" y="407"/>
                    <a:pt x="2801" y="407"/>
                  </a:cubicBezTo>
                  <a:cubicBezTo>
                    <a:pt x="2755" y="407"/>
                    <a:pt x="2718" y="485"/>
                    <a:pt x="2580" y="660"/>
                  </a:cubicBezTo>
                  <a:cubicBezTo>
                    <a:pt x="2442" y="836"/>
                    <a:pt x="2509" y="787"/>
                    <a:pt x="2509" y="878"/>
                  </a:cubicBezTo>
                  <a:cubicBezTo>
                    <a:pt x="2509" y="977"/>
                    <a:pt x="2488" y="1033"/>
                    <a:pt x="2509" y="1272"/>
                  </a:cubicBezTo>
                  <a:cubicBezTo>
                    <a:pt x="2530" y="1518"/>
                    <a:pt x="2580" y="1406"/>
                    <a:pt x="2580" y="1497"/>
                  </a:cubicBezTo>
                  <a:cubicBezTo>
                    <a:pt x="2580" y="1589"/>
                    <a:pt x="2593" y="1610"/>
                    <a:pt x="2580" y="1736"/>
                  </a:cubicBezTo>
                  <a:cubicBezTo>
                    <a:pt x="2567" y="1863"/>
                    <a:pt x="2476" y="1842"/>
                    <a:pt x="2384" y="1961"/>
                  </a:cubicBezTo>
                  <a:cubicBezTo>
                    <a:pt x="2292" y="2074"/>
                    <a:pt x="2233" y="2039"/>
                    <a:pt x="2020" y="2039"/>
                  </a:cubicBezTo>
                  <a:cubicBezTo>
                    <a:pt x="1807" y="2039"/>
                    <a:pt x="1882" y="2179"/>
                    <a:pt x="1699" y="2179"/>
                  </a:cubicBezTo>
                  <a:cubicBezTo>
                    <a:pt x="1515" y="2179"/>
                    <a:pt x="1511" y="2179"/>
                    <a:pt x="1327" y="2285"/>
                  </a:cubicBezTo>
                  <a:cubicBezTo>
                    <a:pt x="1143" y="2390"/>
                    <a:pt x="1231" y="2412"/>
                    <a:pt x="1126" y="2566"/>
                  </a:cubicBezTo>
                  <a:cubicBezTo>
                    <a:pt x="1022" y="2714"/>
                    <a:pt x="1014" y="2967"/>
                    <a:pt x="943" y="3122"/>
                  </a:cubicBezTo>
                  <a:cubicBezTo>
                    <a:pt x="872" y="3270"/>
                    <a:pt x="746" y="3635"/>
                    <a:pt x="746" y="3713"/>
                  </a:cubicBezTo>
                  <a:cubicBezTo>
                    <a:pt x="746" y="3790"/>
                    <a:pt x="559" y="3678"/>
                    <a:pt x="441" y="3635"/>
                  </a:cubicBezTo>
                  <a:cubicBezTo>
                    <a:pt x="324" y="3586"/>
                    <a:pt x="270" y="3481"/>
                    <a:pt x="174" y="3389"/>
                  </a:cubicBezTo>
                  <a:cubicBezTo>
                    <a:pt x="77" y="3298"/>
                    <a:pt x="82" y="3178"/>
                    <a:pt x="23" y="3122"/>
                  </a:cubicBezTo>
                  <a:cubicBezTo>
                    <a:pt x="-35" y="3059"/>
                    <a:pt x="36" y="2862"/>
                    <a:pt x="23" y="2791"/>
                  </a:cubicBezTo>
                  <a:cubicBezTo>
                    <a:pt x="11" y="2721"/>
                    <a:pt x="174" y="2320"/>
                    <a:pt x="174" y="2179"/>
                  </a:cubicBezTo>
                  <a:cubicBezTo>
                    <a:pt x="174" y="2039"/>
                    <a:pt x="604" y="1694"/>
                    <a:pt x="746" y="1497"/>
                  </a:cubicBezTo>
                  <a:cubicBezTo>
                    <a:pt x="888" y="1300"/>
                    <a:pt x="930" y="1406"/>
                    <a:pt x="1014" y="1272"/>
                  </a:cubicBezTo>
                  <a:cubicBezTo>
                    <a:pt x="1097" y="1146"/>
                    <a:pt x="1393" y="1033"/>
                    <a:pt x="1699" y="970"/>
                  </a:cubicBezTo>
                  <a:cubicBezTo>
                    <a:pt x="2003" y="913"/>
                    <a:pt x="1966" y="660"/>
                    <a:pt x="2020" y="55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8" name="Freihandform: Form 173">
              <a:extLst>
                <a:ext uri="{FF2B5EF4-FFF2-40B4-BE49-F238E27FC236}">
                  <a16:creationId xmlns:a16="http://schemas.microsoft.com/office/drawing/2014/main" id="{F149AFC6-FBEE-6244-9EF1-939182C7F7CC}"/>
                </a:ext>
              </a:extLst>
            </p:cNvPr>
            <p:cNvSpPr/>
            <p:nvPr/>
          </p:nvSpPr>
          <p:spPr>
            <a:xfrm>
              <a:off x="3747817" y="4192210"/>
              <a:ext cx="18914" cy="21788"/>
            </a:xfrm>
            <a:custGeom>
              <a:avLst/>
              <a:gdLst>
                <a:gd name="connsiteX0" fmla="*/ 7206 w 18914"/>
                <a:gd name="connsiteY0" fmla="*/ 2236 h 21788"/>
                <a:gd name="connsiteX1" fmla="*/ 6899 w 18914"/>
                <a:gd name="connsiteY1" fmla="*/ 2186 h 21788"/>
                <a:gd name="connsiteX2" fmla="*/ 5790 w 18914"/>
                <a:gd name="connsiteY2" fmla="*/ 1406 h 21788"/>
                <a:gd name="connsiteX3" fmla="*/ 5080 w 18914"/>
                <a:gd name="connsiteY3" fmla="*/ 1103 h 21788"/>
                <a:gd name="connsiteX4" fmla="*/ 4374 w 18914"/>
                <a:gd name="connsiteY4" fmla="*/ 484 h 21788"/>
                <a:gd name="connsiteX5" fmla="*/ 3577 w 18914"/>
                <a:gd name="connsiteY5" fmla="*/ 6 h 21788"/>
                <a:gd name="connsiteX6" fmla="*/ 2695 w 18914"/>
                <a:gd name="connsiteY6" fmla="*/ 6 h 21788"/>
                <a:gd name="connsiteX7" fmla="*/ 2357 w 18914"/>
                <a:gd name="connsiteY7" fmla="*/ 379 h 21788"/>
                <a:gd name="connsiteX8" fmla="*/ 2357 w 18914"/>
                <a:gd name="connsiteY8" fmla="*/ 1708 h 21788"/>
                <a:gd name="connsiteX9" fmla="*/ 2507 w 18914"/>
                <a:gd name="connsiteY9" fmla="*/ 2278 h 21788"/>
                <a:gd name="connsiteX10" fmla="*/ 3011 w 18914"/>
                <a:gd name="connsiteY10" fmla="*/ 2988 h 21788"/>
                <a:gd name="connsiteX11" fmla="*/ 3046 w 18914"/>
                <a:gd name="connsiteY11" fmla="*/ 3016 h 21788"/>
                <a:gd name="connsiteX12" fmla="*/ 3259 w 18914"/>
                <a:gd name="connsiteY12" fmla="*/ 3509 h 21788"/>
                <a:gd name="connsiteX13" fmla="*/ 3259 w 18914"/>
                <a:gd name="connsiteY13" fmla="*/ 3952 h 21788"/>
                <a:gd name="connsiteX14" fmla="*/ 3259 w 18914"/>
                <a:gd name="connsiteY14" fmla="*/ 4324 h 21788"/>
                <a:gd name="connsiteX15" fmla="*/ 3046 w 18914"/>
                <a:gd name="connsiteY15" fmla="*/ 4732 h 21788"/>
                <a:gd name="connsiteX16" fmla="*/ 2695 w 18914"/>
                <a:gd name="connsiteY16" fmla="*/ 5302 h 21788"/>
                <a:gd name="connsiteX17" fmla="*/ 2357 w 18914"/>
                <a:gd name="connsiteY17" fmla="*/ 5794 h 21788"/>
                <a:gd name="connsiteX18" fmla="*/ 2336 w 18914"/>
                <a:gd name="connsiteY18" fmla="*/ 5816 h 21788"/>
                <a:gd name="connsiteX19" fmla="*/ 1952 w 18914"/>
                <a:gd name="connsiteY19" fmla="*/ 6237 h 21788"/>
                <a:gd name="connsiteX20" fmla="*/ 1630 w 18914"/>
                <a:gd name="connsiteY20" fmla="*/ 6448 h 21788"/>
                <a:gd name="connsiteX21" fmla="*/ 1225 w 18914"/>
                <a:gd name="connsiteY21" fmla="*/ 6603 h 21788"/>
                <a:gd name="connsiteX22" fmla="*/ 820 w 18914"/>
                <a:gd name="connsiteY22" fmla="*/ 7117 h 21788"/>
                <a:gd name="connsiteX23" fmla="*/ 481 w 18914"/>
                <a:gd name="connsiteY23" fmla="*/ 7581 h 21788"/>
                <a:gd name="connsiteX24" fmla="*/ 93 w 18914"/>
                <a:gd name="connsiteY24" fmla="*/ 7933 h 21788"/>
                <a:gd name="connsiteX25" fmla="*/ 5 w 18914"/>
                <a:gd name="connsiteY25" fmla="*/ 8516 h 21788"/>
                <a:gd name="connsiteX26" fmla="*/ 93 w 18914"/>
                <a:gd name="connsiteY26" fmla="*/ 9241 h 21788"/>
                <a:gd name="connsiteX27" fmla="*/ 481 w 18914"/>
                <a:gd name="connsiteY27" fmla="*/ 9824 h 21788"/>
                <a:gd name="connsiteX28" fmla="*/ 1066 w 18914"/>
                <a:gd name="connsiteY28" fmla="*/ 10556 h 21788"/>
                <a:gd name="connsiteX29" fmla="*/ 1739 w 18914"/>
                <a:gd name="connsiteY29" fmla="*/ 12673 h 21788"/>
                <a:gd name="connsiteX30" fmla="*/ 1952 w 18914"/>
                <a:gd name="connsiteY30" fmla="*/ 13151 h 21788"/>
                <a:gd name="connsiteX31" fmla="*/ 2110 w 18914"/>
                <a:gd name="connsiteY31" fmla="*/ 13756 h 21788"/>
                <a:gd name="connsiteX32" fmla="*/ 2357 w 18914"/>
                <a:gd name="connsiteY32" fmla="*/ 14536 h 21788"/>
                <a:gd name="connsiteX33" fmla="*/ 2515 w 18914"/>
                <a:gd name="connsiteY33" fmla="*/ 15226 h 21788"/>
                <a:gd name="connsiteX34" fmla="*/ 2215 w 18914"/>
                <a:gd name="connsiteY34" fmla="*/ 16660 h 21788"/>
                <a:gd name="connsiteX35" fmla="*/ 1952 w 18914"/>
                <a:gd name="connsiteY35" fmla="*/ 18145 h 21788"/>
                <a:gd name="connsiteX36" fmla="*/ 2215 w 18914"/>
                <a:gd name="connsiteY36" fmla="*/ 19291 h 21788"/>
                <a:gd name="connsiteX37" fmla="*/ 2515 w 18914"/>
                <a:gd name="connsiteY37" fmla="*/ 19720 h 21788"/>
                <a:gd name="connsiteX38" fmla="*/ 2975 w 18914"/>
                <a:gd name="connsiteY38" fmla="*/ 20001 h 21788"/>
                <a:gd name="connsiteX39" fmla="*/ 3648 w 18914"/>
                <a:gd name="connsiteY39" fmla="*/ 20247 h 21788"/>
                <a:gd name="connsiteX40" fmla="*/ 4074 w 18914"/>
                <a:gd name="connsiteY40" fmla="*/ 20606 h 21788"/>
                <a:gd name="connsiteX41" fmla="*/ 4675 w 18914"/>
                <a:gd name="connsiteY41" fmla="*/ 20866 h 21788"/>
                <a:gd name="connsiteX42" fmla="*/ 5189 w 18914"/>
                <a:gd name="connsiteY42" fmla="*/ 21183 h 21788"/>
                <a:gd name="connsiteX43" fmla="*/ 5807 w 18914"/>
                <a:gd name="connsiteY43" fmla="*/ 21788 h 21788"/>
                <a:gd name="connsiteX44" fmla="*/ 6581 w 18914"/>
                <a:gd name="connsiteY44" fmla="*/ 20972 h 21788"/>
                <a:gd name="connsiteX45" fmla="*/ 6783 w 18914"/>
                <a:gd name="connsiteY45" fmla="*/ 20866 h 21788"/>
                <a:gd name="connsiteX46" fmla="*/ 6802 w 18914"/>
                <a:gd name="connsiteY46" fmla="*/ 20866 h 21788"/>
                <a:gd name="connsiteX47" fmla="*/ 7026 w 18914"/>
                <a:gd name="connsiteY47" fmla="*/ 20641 h 21788"/>
                <a:gd name="connsiteX48" fmla="*/ 7040 w 18914"/>
                <a:gd name="connsiteY48" fmla="*/ 20571 h 21788"/>
                <a:gd name="connsiteX49" fmla="*/ 7087 w 18914"/>
                <a:gd name="connsiteY49" fmla="*/ 20430 h 21788"/>
                <a:gd name="connsiteX50" fmla="*/ 7275 w 18914"/>
                <a:gd name="connsiteY50" fmla="*/ 20100 h 21788"/>
                <a:gd name="connsiteX51" fmla="*/ 7329 w 18914"/>
                <a:gd name="connsiteY51" fmla="*/ 20036 h 21788"/>
                <a:gd name="connsiteX52" fmla="*/ 7689 w 18914"/>
                <a:gd name="connsiteY52" fmla="*/ 19319 h 21788"/>
                <a:gd name="connsiteX53" fmla="*/ 7808 w 18914"/>
                <a:gd name="connsiteY53" fmla="*/ 19045 h 21788"/>
                <a:gd name="connsiteX54" fmla="*/ 8409 w 18914"/>
                <a:gd name="connsiteY54" fmla="*/ 18320 h 21788"/>
                <a:gd name="connsiteX55" fmla="*/ 9399 w 18914"/>
                <a:gd name="connsiteY55" fmla="*/ 17786 h 21788"/>
                <a:gd name="connsiteX56" fmla="*/ 11203 w 18914"/>
                <a:gd name="connsiteY56" fmla="*/ 16499 h 21788"/>
                <a:gd name="connsiteX57" fmla="*/ 12724 w 18914"/>
                <a:gd name="connsiteY57" fmla="*/ 16288 h 21788"/>
                <a:gd name="connsiteX58" fmla="*/ 14900 w 18914"/>
                <a:gd name="connsiteY58" fmla="*/ 15493 h 21788"/>
                <a:gd name="connsiteX59" fmla="*/ 16508 w 18914"/>
                <a:gd name="connsiteY59" fmla="*/ 14677 h 21788"/>
                <a:gd name="connsiteX60" fmla="*/ 18667 w 18914"/>
                <a:gd name="connsiteY60" fmla="*/ 13017 h 21788"/>
                <a:gd name="connsiteX61" fmla="*/ 18881 w 18914"/>
                <a:gd name="connsiteY61" fmla="*/ 11969 h 21788"/>
                <a:gd name="connsiteX62" fmla="*/ 17782 w 18914"/>
                <a:gd name="connsiteY62" fmla="*/ 11386 h 21788"/>
                <a:gd name="connsiteX63" fmla="*/ 16404 w 18914"/>
                <a:gd name="connsiteY63" fmla="*/ 10127 h 21788"/>
                <a:gd name="connsiteX64" fmla="*/ 15998 w 18914"/>
                <a:gd name="connsiteY64" fmla="*/ 8572 h 21788"/>
                <a:gd name="connsiteX65" fmla="*/ 14900 w 18914"/>
                <a:gd name="connsiteY65" fmla="*/ 8572 h 21788"/>
                <a:gd name="connsiteX66" fmla="*/ 14725 w 18914"/>
                <a:gd name="connsiteY66" fmla="*/ 7229 h 21788"/>
                <a:gd name="connsiteX67" fmla="*/ 14244 w 18914"/>
                <a:gd name="connsiteY67" fmla="*/ 5914 h 21788"/>
                <a:gd name="connsiteX68" fmla="*/ 12423 w 18914"/>
                <a:gd name="connsiteY68" fmla="*/ 4324 h 21788"/>
                <a:gd name="connsiteX69" fmla="*/ 9115 w 18914"/>
                <a:gd name="connsiteY69" fmla="*/ 2679 h 21788"/>
                <a:gd name="connsiteX70" fmla="*/ 7206 w 18914"/>
                <a:gd name="connsiteY70" fmla="*/ 2236 h 2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8914" h="21788">
                  <a:moveTo>
                    <a:pt x="7206" y="2236"/>
                  </a:moveTo>
                  <a:cubicBezTo>
                    <a:pt x="7081" y="2236"/>
                    <a:pt x="6982" y="2215"/>
                    <a:pt x="6899" y="2186"/>
                  </a:cubicBezTo>
                  <a:cubicBezTo>
                    <a:pt x="6476" y="2039"/>
                    <a:pt x="6184" y="1617"/>
                    <a:pt x="5790" y="1406"/>
                  </a:cubicBezTo>
                  <a:cubicBezTo>
                    <a:pt x="5598" y="1300"/>
                    <a:pt x="5222" y="1209"/>
                    <a:pt x="5080" y="1103"/>
                  </a:cubicBezTo>
                  <a:cubicBezTo>
                    <a:pt x="4938" y="998"/>
                    <a:pt x="4692" y="731"/>
                    <a:pt x="4374" y="484"/>
                  </a:cubicBezTo>
                  <a:cubicBezTo>
                    <a:pt x="4057" y="238"/>
                    <a:pt x="3877" y="6"/>
                    <a:pt x="3577" y="6"/>
                  </a:cubicBezTo>
                  <a:cubicBezTo>
                    <a:pt x="3276" y="6"/>
                    <a:pt x="2925" y="-8"/>
                    <a:pt x="2695" y="6"/>
                  </a:cubicBezTo>
                  <a:cubicBezTo>
                    <a:pt x="2465" y="20"/>
                    <a:pt x="2357" y="217"/>
                    <a:pt x="2357" y="379"/>
                  </a:cubicBezTo>
                  <a:lnTo>
                    <a:pt x="2357" y="1708"/>
                  </a:lnTo>
                  <a:cubicBezTo>
                    <a:pt x="2357" y="1863"/>
                    <a:pt x="2426" y="2081"/>
                    <a:pt x="2507" y="2278"/>
                  </a:cubicBezTo>
                  <a:cubicBezTo>
                    <a:pt x="2617" y="2552"/>
                    <a:pt x="2785" y="2798"/>
                    <a:pt x="3011" y="2988"/>
                  </a:cubicBezTo>
                  <a:cubicBezTo>
                    <a:pt x="3024" y="2995"/>
                    <a:pt x="3035" y="3009"/>
                    <a:pt x="3046" y="3016"/>
                  </a:cubicBezTo>
                  <a:cubicBezTo>
                    <a:pt x="3167" y="3101"/>
                    <a:pt x="3155" y="3298"/>
                    <a:pt x="3259" y="3509"/>
                  </a:cubicBezTo>
                  <a:cubicBezTo>
                    <a:pt x="3363" y="3727"/>
                    <a:pt x="3259" y="3797"/>
                    <a:pt x="3259" y="3952"/>
                  </a:cubicBezTo>
                  <a:cubicBezTo>
                    <a:pt x="3259" y="4114"/>
                    <a:pt x="3330" y="4198"/>
                    <a:pt x="3259" y="4324"/>
                  </a:cubicBezTo>
                  <a:cubicBezTo>
                    <a:pt x="3188" y="4451"/>
                    <a:pt x="3155" y="4592"/>
                    <a:pt x="3046" y="4732"/>
                  </a:cubicBezTo>
                  <a:cubicBezTo>
                    <a:pt x="2937" y="4873"/>
                    <a:pt x="2833" y="5049"/>
                    <a:pt x="2695" y="5302"/>
                  </a:cubicBezTo>
                  <a:cubicBezTo>
                    <a:pt x="2557" y="5548"/>
                    <a:pt x="2515" y="5598"/>
                    <a:pt x="2357" y="5794"/>
                  </a:cubicBezTo>
                  <a:lnTo>
                    <a:pt x="2336" y="5816"/>
                  </a:lnTo>
                  <a:cubicBezTo>
                    <a:pt x="2190" y="5991"/>
                    <a:pt x="2103" y="6097"/>
                    <a:pt x="1952" y="6237"/>
                  </a:cubicBezTo>
                  <a:cubicBezTo>
                    <a:pt x="1825" y="6350"/>
                    <a:pt x="1684" y="6420"/>
                    <a:pt x="1630" y="6448"/>
                  </a:cubicBezTo>
                  <a:cubicBezTo>
                    <a:pt x="1548" y="6470"/>
                    <a:pt x="1352" y="6533"/>
                    <a:pt x="1225" y="6603"/>
                  </a:cubicBezTo>
                  <a:cubicBezTo>
                    <a:pt x="1066" y="6695"/>
                    <a:pt x="957" y="6906"/>
                    <a:pt x="820" y="7117"/>
                  </a:cubicBezTo>
                  <a:cubicBezTo>
                    <a:pt x="682" y="7335"/>
                    <a:pt x="481" y="7461"/>
                    <a:pt x="481" y="7581"/>
                  </a:cubicBezTo>
                  <a:cubicBezTo>
                    <a:pt x="481" y="7700"/>
                    <a:pt x="218" y="7778"/>
                    <a:pt x="93" y="7933"/>
                  </a:cubicBezTo>
                  <a:cubicBezTo>
                    <a:pt x="-32" y="8094"/>
                    <a:pt x="5" y="8340"/>
                    <a:pt x="5" y="8516"/>
                  </a:cubicBezTo>
                  <a:cubicBezTo>
                    <a:pt x="5" y="8699"/>
                    <a:pt x="22" y="8980"/>
                    <a:pt x="93" y="9241"/>
                  </a:cubicBezTo>
                  <a:cubicBezTo>
                    <a:pt x="164" y="9508"/>
                    <a:pt x="285" y="9564"/>
                    <a:pt x="481" y="9824"/>
                  </a:cubicBezTo>
                  <a:cubicBezTo>
                    <a:pt x="678" y="10092"/>
                    <a:pt x="853" y="10127"/>
                    <a:pt x="1066" y="10556"/>
                  </a:cubicBezTo>
                  <a:cubicBezTo>
                    <a:pt x="1279" y="10978"/>
                    <a:pt x="1630" y="12602"/>
                    <a:pt x="1739" y="12673"/>
                  </a:cubicBezTo>
                  <a:cubicBezTo>
                    <a:pt x="1847" y="12750"/>
                    <a:pt x="1860" y="13017"/>
                    <a:pt x="1952" y="13151"/>
                  </a:cubicBezTo>
                  <a:cubicBezTo>
                    <a:pt x="2043" y="13292"/>
                    <a:pt x="1952" y="13489"/>
                    <a:pt x="2110" y="13756"/>
                  </a:cubicBezTo>
                  <a:cubicBezTo>
                    <a:pt x="2269" y="14016"/>
                    <a:pt x="2215" y="14234"/>
                    <a:pt x="2357" y="14536"/>
                  </a:cubicBezTo>
                  <a:cubicBezTo>
                    <a:pt x="2499" y="14839"/>
                    <a:pt x="2515" y="15085"/>
                    <a:pt x="2515" y="15226"/>
                  </a:cubicBezTo>
                  <a:cubicBezTo>
                    <a:pt x="2515" y="15367"/>
                    <a:pt x="2302" y="16267"/>
                    <a:pt x="2215" y="16660"/>
                  </a:cubicBezTo>
                  <a:cubicBezTo>
                    <a:pt x="2127" y="17047"/>
                    <a:pt x="1952" y="17786"/>
                    <a:pt x="1952" y="18145"/>
                  </a:cubicBezTo>
                  <a:cubicBezTo>
                    <a:pt x="1952" y="18496"/>
                    <a:pt x="2198" y="19045"/>
                    <a:pt x="2215" y="19291"/>
                  </a:cubicBezTo>
                  <a:cubicBezTo>
                    <a:pt x="2231" y="19537"/>
                    <a:pt x="2411" y="19720"/>
                    <a:pt x="2515" y="19720"/>
                  </a:cubicBezTo>
                  <a:cubicBezTo>
                    <a:pt x="2620" y="19720"/>
                    <a:pt x="2783" y="19931"/>
                    <a:pt x="2975" y="20001"/>
                  </a:cubicBezTo>
                  <a:cubicBezTo>
                    <a:pt x="3167" y="20072"/>
                    <a:pt x="3435" y="20247"/>
                    <a:pt x="3648" y="20247"/>
                  </a:cubicBezTo>
                  <a:cubicBezTo>
                    <a:pt x="3861" y="20247"/>
                    <a:pt x="3965" y="20515"/>
                    <a:pt x="4074" y="20606"/>
                  </a:cubicBezTo>
                  <a:cubicBezTo>
                    <a:pt x="4182" y="20697"/>
                    <a:pt x="4533" y="20866"/>
                    <a:pt x="4675" y="20866"/>
                  </a:cubicBezTo>
                  <a:cubicBezTo>
                    <a:pt x="4817" y="20866"/>
                    <a:pt x="5009" y="21084"/>
                    <a:pt x="5189" y="21183"/>
                  </a:cubicBezTo>
                  <a:cubicBezTo>
                    <a:pt x="5369" y="21288"/>
                    <a:pt x="5577" y="21809"/>
                    <a:pt x="5807" y="21788"/>
                  </a:cubicBezTo>
                  <a:cubicBezTo>
                    <a:pt x="5971" y="21774"/>
                    <a:pt x="6355" y="21288"/>
                    <a:pt x="6581" y="20972"/>
                  </a:cubicBezTo>
                  <a:cubicBezTo>
                    <a:pt x="6628" y="20908"/>
                    <a:pt x="6703" y="20866"/>
                    <a:pt x="6783" y="20866"/>
                  </a:cubicBezTo>
                  <a:lnTo>
                    <a:pt x="6802" y="20866"/>
                  </a:lnTo>
                  <a:cubicBezTo>
                    <a:pt x="6926" y="20866"/>
                    <a:pt x="7026" y="20768"/>
                    <a:pt x="7026" y="20641"/>
                  </a:cubicBezTo>
                  <a:cubicBezTo>
                    <a:pt x="7026" y="20620"/>
                    <a:pt x="7031" y="20592"/>
                    <a:pt x="7040" y="20571"/>
                  </a:cubicBezTo>
                  <a:lnTo>
                    <a:pt x="7087" y="20430"/>
                  </a:lnTo>
                  <a:cubicBezTo>
                    <a:pt x="7130" y="20311"/>
                    <a:pt x="7194" y="20198"/>
                    <a:pt x="7275" y="20100"/>
                  </a:cubicBezTo>
                  <a:lnTo>
                    <a:pt x="7329" y="20036"/>
                  </a:lnTo>
                  <a:cubicBezTo>
                    <a:pt x="7503" y="19825"/>
                    <a:pt x="7610" y="19572"/>
                    <a:pt x="7689" y="19319"/>
                  </a:cubicBezTo>
                  <a:cubicBezTo>
                    <a:pt x="7723" y="19207"/>
                    <a:pt x="7764" y="19101"/>
                    <a:pt x="7808" y="19045"/>
                  </a:cubicBezTo>
                  <a:cubicBezTo>
                    <a:pt x="7933" y="18890"/>
                    <a:pt x="8159" y="18475"/>
                    <a:pt x="8409" y="18320"/>
                  </a:cubicBezTo>
                  <a:cubicBezTo>
                    <a:pt x="8660" y="18159"/>
                    <a:pt x="9148" y="18004"/>
                    <a:pt x="9399" y="17786"/>
                  </a:cubicBezTo>
                  <a:cubicBezTo>
                    <a:pt x="9650" y="17575"/>
                    <a:pt x="10285" y="17244"/>
                    <a:pt x="11203" y="16499"/>
                  </a:cubicBezTo>
                  <a:cubicBezTo>
                    <a:pt x="12122" y="15753"/>
                    <a:pt x="11947" y="16091"/>
                    <a:pt x="12724" y="16288"/>
                  </a:cubicBezTo>
                  <a:cubicBezTo>
                    <a:pt x="13501" y="16478"/>
                    <a:pt x="14583" y="15718"/>
                    <a:pt x="14900" y="15493"/>
                  </a:cubicBezTo>
                  <a:cubicBezTo>
                    <a:pt x="15218" y="15261"/>
                    <a:pt x="16404" y="14867"/>
                    <a:pt x="16508" y="14677"/>
                  </a:cubicBezTo>
                  <a:cubicBezTo>
                    <a:pt x="16612" y="14487"/>
                    <a:pt x="18509" y="13172"/>
                    <a:pt x="18667" y="13017"/>
                  </a:cubicBezTo>
                  <a:cubicBezTo>
                    <a:pt x="18826" y="12856"/>
                    <a:pt x="18985" y="12145"/>
                    <a:pt x="18881" y="11969"/>
                  </a:cubicBezTo>
                  <a:cubicBezTo>
                    <a:pt x="18776" y="11794"/>
                    <a:pt x="18012" y="11526"/>
                    <a:pt x="17782" y="11386"/>
                  </a:cubicBezTo>
                  <a:cubicBezTo>
                    <a:pt x="17553" y="11245"/>
                    <a:pt x="16671" y="10415"/>
                    <a:pt x="16404" y="10127"/>
                  </a:cubicBezTo>
                  <a:cubicBezTo>
                    <a:pt x="16136" y="9845"/>
                    <a:pt x="16174" y="8819"/>
                    <a:pt x="15998" y="8572"/>
                  </a:cubicBezTo>
                  <a:cubicBezTo>
                    <a:pt x="15823" y="8319"/>
                    <a:pt x="15235" y="8622"/>
                    <a:pt x="14900" y="8572"/>
                  </a:cubicBezTo>
                  <a:cubicBezTo>
                    <a:pt x="14566" y="8516"/>
                    <a:pt x="14704" y="7721"/>
                    <a:pt x="14725" y="7229"/>
                  </a:cubicBezTo>
                  <a:cubicBezTo>
                    <a:pt x="14746" y="6737"/>
                    <a:pt x="14495" y="6413"/>
                    <a:pt x="14244" y="5914"/>
                  </a:cubicBezTo>
                  <a:cubicBezTo>
                    <a:pt x="13994" y="5422"/>
                    <a:pt x="12778" y="4557"/>
                    <a:pt x="12423" y="4324"/>
                  </a:cubicBezTo>
                  <a:cubicBezTo>
                    <a:pt x="12068" y="4093"/>
                    <a:pt x="9520" y="2855"/>
                    <a:pt x="9115" y="2679"/>
                  </a:cubicBezTo>
                  <a:cubicBezTo>
                    <a:pt x="8710" y="2503"/>
                    <a:pt x="7737" y="2250"/>
                    <a:pt x="7206" y="223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9" name="Freihandform: Form 174">
              <a:extLst>
                <a:ext uri="{FF2B5EF4-FFF2-40B4-BE49-F238E27FC236}">
                  <a16:creationId xmlns:a16="http://schemas.microsoft.com/office/drawing/2014/main" id="{7FE6A692-2AFF-1245-BEE8-921F80EE791F}"/>
                </a:ext>
              </a:extLst>
            </p:cNvPr>
            <p:cNvSpPr/>
            <p:nvPr/>
          </p:nvSpPr>
          <p:spPr>
            <a:xfrm>
              <a:off x="3738144" y="4179705"/>
              <a:ext cx="10831" cy="7237"/>
            </a:xfrm>
            <a:custGeom>
              <a:avLst/>
              <a:gdLst>
                <a:gd name="connsiteX0" fmla="*/ 4206 w 10831"/>
                <a:gd name="connsiteY0" fmla="*/ 1871 h 7237"/>
                <a:gd name="connsiteX1" fmla="*/ 3651 w 10831"/>
                <a:gd name="connsiteY1" fmla="*/ 2054 h 7237"/>
                <a:gd name="connsiteX2" fmla="*/ 3283 w 10831"/>
                <a:gd name="connsiteY2" fmla="*/ 2054 h 7237"/>
                <a:gd name="connsiteX3" fmla="*/ 3083 w 10831"/>
                <a:gd name="connsiteY3" fmla="*/ 1871 h 7237"/>
                <a:gd name="connsiteX4" fmla="*/ 2761 w 10831"/>
                <a:gd name="connsiteY4" fmla="*/ 1716 h 7237"/>
                <a:gd name="connsiteX5" fmla="*/ 2535 w 10831"/>
                <a:gd name="connsiteY5" fmla="*/ 1350 h 7237"/>
                <a:gd name="connsiteX6" fmla="*/ 2302 w 10831"/>
                <a:gd name="connsiteY6" fmla="*/ 795 h 7237"/>
                <a:gd name="connsiteX7" fmla="*/ 1909 w 10831"/>
                <a:gd name="connsiteY7" fmla="*/ 366 h 7237"/>
                <a:gd name="connsiteX8" fmla="*/ 1542 w 10831"/>
                <a:gd name="connsiteY8" fmla="*/ 70 h 7237"/>
                <a:gd name="connsiteX9" fmla="*/ 1295 w 10831"/>
                <a:gd name="connsiteY9" fmla="*/ 0 h 7237"/>
                <a:gd name="connsiteX10" fmla="*/ 1092 w 10831"/>
                <a:gd name="connsiteY10" fmla="*/ 42 h 7237"/>
                <a:gd name="connsiteX11" fmla="*/ 850 w 10831"/>
                <a:gd name="connsiteY11" fmla="*/ 70 h 7237"/>
                <a:gd name="connsiteX12" fmla="*/ 561 w 10831"/>
                <a:gd name="connsiteY12" fmla="*/ 120 h 7237"/>
                <a:gd name="connsiteX13" fmla="*/ 426 w 10831"/>
                <a:gd name="connsiteY13" fmla="*/ 169 h 7237"/>
                <a:gd name="connsiteX14" fmla="*/ 276 w 10831"/>
                <a:gd name="connsiteY14" fmla="*/ 309 h 7237"/>
                <a:gd name="connsiteX15" fmla="*/ 96 w 10831"/>
                <a:gd name="connsiteY15" fmla="*/ 556 h 7237"/>
                <a:gd name="connsiteX16" fmla="*/ 96 w 10831"/>
                <a:gd name="connsiteY16" fmla="*/ 795 h 7237"/>
                <a:gd name="connsiteX17" fmla="*/ 0 w 10831"/>
                <a:gd name="connsiteY17" fmla="*/ 1146 h 7237"/>
                <a:gd name="connsiteX18" fmla="*/ 0 w 10831"/>
                <a:gd name="connsiteY18" fmla="*/ 1716 h 7237"/>
                <a:gd name="connsiteX19" fmla="*/ 96 w 10831"/>
                <a:gd name="connsiteY19" fmla="*/ 2265 h 7237"/>
                <a:gd name="connsiteX20" fmla="*/ 180 w 10831"/>
                <a:gd name="connsiteY20" fmla="*/ 2433 h 7237"/>
                <a:gd name="connsiteX21" fmla="*/ 426 w 10831"/>
                <a:gd name="connsiteY21" fmla="*/ 2834 h 7237"/>
                <a:gd name="connsiteX22" fmla="*/ 594 w 10831"/>
                <a:gd name="connsiteY22" fmla="*/ 3094 h 7237"/>
                <a:gd name="connsiteX23" fmla="*/ 773 w 10831"/>
                <a:gd name="connsiteY23" fmla="*/ 3270 h 7237"/>
                <a:gd name="connsiteX24" fmla="*/ 973 w 10831"/>
                <a:gd name="connsiteY24" fmla="*/ 3446 h 7237"/>
                <a:gd name="connsiteX25" fmla="*/ 1295 w 10831"/>
                <a:gd name="connsiteY25" fmla="*/ 3594 h 7237"/>
                <a:gd name="connsiteX26" fmla="*/ 1625 w 10831"/>
                <a:gd name="connsiteY26" fmla="*/ 3721 h 7237"/>
                <a:gd name="connsiteX27" fmla="*/ 1947 w 10831"/>
                <a:gd name="connsiteY27" fmla="*/ 3896 h 7237"/>
                <a:gd name="connsiteX28" fmla="*/ 2180 w 10831"/>
                <a:gd name="connsiteY28" fmla="*/ 4030 h 7237"/>
                <a:gd name="connsiteX29" fmla="*/ 2761 w 10831"/>
                <a:gd name="connsiteY29" fmla="*/ 3721 h 7237"/>
                <a:gd name="connsiteX30" fmla="*/ 3083 w 10831"/>
                <a:gd name="connsiteY30" fmla="*/ 3784 h 7237"/>
                <a:gd name="connsiteX31" fmla="*/ 3283 w 10831"/>
                <a:gd name="connsiteY31" fmla="*/ 4030 h 7237"/>
                <a:gd name="connsiteX32" fmla="*/ 3471 w 10831"/>
                <a:gd name="connsiteY32" fmla="*/ 4417 h 7237"/>
                <a:gd name="connsiteX33" fmla="*/ 3592 w 10831"/>
                <a:gd name="connsiteY33" fmla="*/ 4881 h 7237"/>
                <a:gd name="connsiteX34" fmla="*/ 3651 w 10831"/>
                <a:gd name="connsiteY34" fmla="*/ 5507 h 7237"/>
                <a:gd name="connsiteX35" fmla="*/ 3592 w 10831"/>
                <a:gd name="connsiteY35" fmla="*/ 5936 h 7237"/>
                <a:gd name="connsiteX36" fmla="*/ 3592 w 10831"/>
                <a:gd name="connsiteY36" fmla="*/ 6435 h 7237"/>
                <a:gd name="connsiteX37" fmla="*/ 3851 w 10831"/>
                <a:gd name="connsiteY37" fmla="*/ 6899 h 7237"/>
                <a:gd name="connsiteX38" fmla="*/ 4624 w 10831"/>
                <a:gd name="connsiteY38" fmla="*/ 7223 h 7237"/>
                <a:gd name="connsiteX39" fmla="*/ 4741 w 10831"/>
                <a:gd name="connsiteY39" fmla="*/ 7237 h 7237"/>
                <a:gd name="connsiteX40" fmla="*/ 5284 w 10831"/>
                <a:gd name="connsiteY40" fmla="*/ 7167 h 7237"/>
                <a:gd name="connsiteX41" fmla="*/ 5948 w 10831"/>
                <a:gd name="connsiteY41" fmla="*/ 7167 h 7237"/>
                <a:gd name="connsiteX42" fmla="*/ 6232 w 10831"/>
                <a:gd name="connsiteY42" fmla="*/ 7082 h 7237"/>
                <a:gd name="connsiteX43" fmla="*/ 6968 w 10831"/>
                <a:gd name="connsiteY43" fmla="*/ 6703 h 7237"/>
                <a:gd name="connsiteX44" fmla="*/ 7373 w 10831"/>
                <a:gd name="connsiteY44" fmla="*/ 6597 h 7237"/>
                <a:gd name="connsiteX45" fmla="*/ 7940 w 10831"/>
                <a:gd name="connsiteY45" fmla="*/ 6597 h 7237"/>
                <a:gd name="connsiteX46" fmla="*/ 8450 w 10831"/>
                <a:gd name="connsiteY46" fmla="*/ 6597 h 7237"/>
                <a:gd name="connsiteX47" fmla="*/ 8676 w 10831"/>
                <a:gd name="connsiteY47" fmla="*/ 6456 h 7237"/>
                <a:gd name="connsiteX48" fmla="*/ 9018 w 10831"/>
                <a:gd name="connsiteY48" fmla="*/ 6330 h 7237"/>
                <a:gd name="connsiteX49" fmla="*/ 9704 w 10831"/>
                <a:gd name="connsiteY49" fmla="*/ 6056 h 7237"/>
                <a:gd name="connsiteX50" fmla="*/ 10058 w 10831"/>
                <a:gd name="connsiteY50" fmla="*/ 5830 h 7237"/>
                <a:gd name="connsiteX51" fmla="*/ 10522 w 10831"/>
                <a:gd name="connsiteY51" fmla="*/ 5507 h 7237"/>
                <a:gd name="connsiteX52" fmla="*/ 10794 w 10831"/>
                <a:gd name="connsiteY52" fmla="*/ 5183 h 7237"/>
                <a:gd name="connsiteX53" fmla="*/ 10794 w 10831"/>
                <a:gd name="connsiteY53" fmla="*/ 4586 h 7237"/>
                <a:gd name="connsiteX54" fmla="*/ 10630 w 10831"/>
                <a:gd name="connsiteY54" fmla="*/ 4030 h 7237"/>
                <a:gd name="connsiteX55" fmla="*/ 10355 w 10831"/>
                <a:gd name="connsiteY55" fmla="*/ 3784 h 7237"/>
                <a:gd name="connsiteX56" fmla="*/ 9941 w 10831"/>
                <a:gd name="connsiteY56" fmla="*/ 3594 h 7237"/>
                <a:gd name="connsiteX57" fmla="*/ 9644 w 10831"/>
                <a:gd name="connsiteY57" fmla="*/ 3524 h 7237"/>
                <a:gd name="connsiteX58" fmla="*/ 9173 w 10831"/>
                <a:gd name="connsiteY58" fmla="*/ 3270 h 7237"/>
                <a:gd name="connsiteX59" fmla="*/ 8909 w 10831"/>
                <a:gd name="connsiteY59" fmla="*/ 3200 h 7237"/>
                <a:gd name="connsiteX60" fmla="*/ 8329 w 10831"/>
                <a:gd name="connsiteY60" fmla="*/ 2834 h 7237"/>
                <a:gd name="connsiteX61" fmla="*/ 7845 w 10831"/>
                <a:gd name="connsiteY61" fmla="*/ 2560 h 7237"/>
                <a:gd name="connsiteX62" fmla="*/ 7289 w 10831"/>
                <a:gd name="connsiteY62" fmla="*/ 2054 h 7237"/>
                <a:gd name="connsiteX63" fmla="*/ 6800 w 10831"/>
                <a:gd name="connsiteY63" fmla="*/ 1639 h 7237"/>
                <a:gd name="connsiteX64" fmla="*/ 6148 w 10831"/>
                <a:gd name="connsiteY64" fmla="*/ 1350 h 7237"/>
                <a:gd name="connsiteX65" fmla="*/ 5481 w 10831"/>
                <a:gd name="connsiteY65" fmla="*/ 1400 h 7237"/>
                <a:gd name="connsiteX66" fmla="*/ 4323 w 10831"/>
                <a:gd name="connsiteY66" fmla="*/ 1822 h 7237"/>
                <a:gd name="connsiteX67" fmla="*/ 4206 w 10831"/>
                <a:gd name="connsiteY67" fmla="*/ 1871 h 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0831" h="7237">
                  <a:moveTo>
                    <a:pt x="4206" y="1871"/>
                  </a:moveTo>
                  <a:cubicBezTo>
                    <a:pt x="3839" y="2012"/>
                    <a:pt x="3877" y="2004"/>
                    <a:pt x="3651" y="2054"/>
                  </a:cubicBezTo>
                  <a:cubicBezTo>
                    <a:pt x="3546" y="2075"/>
                    <a:pt x="3341" y="2082"/>
                    <a:pt x="3283" y="2054"/>
                  </a:cubicBezTo>
                  <a:cubicBezTo>
                    <a:pt x="3225" y="2019"/>
                    <a:pt x="3083" y="1983"/>
                    <a:pt x="3083" y="1871"/>
                  </a:cubicBezTo>
                  <a:cubicBezTo>
                    <a:pt x="3083" y="1765"/>
                    <a:pt x="2940" y="1871"/>
                    <a:pt x="2761" y="1716"/>
                  </a:cubicBezTo>
                  <a:cubicBezTo>
                    <a:pt x="2582" y="1561"/>
                    <a:pt x="2632" y="1449"/>
                    <a:pt x="2535" y="1350"/>
                  </a:cubicBezTo>
                  <a:cubicBezTo>
                    <a:pt x="2440" y="1252"/>
                    <a:pt x="2348" y="893"/>
                    <a:pt x="2302" y="795"/>
                  </a:cubicBezTo>
                  <a:cubicBezTo>
                    <a:pt x="2255" y="696"/>
                    <a:pt x="1947" y="478"/>
                    <a:pt x="1909" y="366"/>
                  </a:cubicBezTo>
                  <a:cubicBezTo>
                    <a:pt x="1871" y="260"/>
                    <a:pt x="1625" y="70"/>
                    <a:pt x="1542" y="70"/>
                  </a:cubicBezTo>
                  <a:cubicBezTo>
                    <a:pt x="1458" y="70"/>
                    <a:pt x="1366" y="0"/>
                    <a:pt x="1295" y="0"/>
                  </a:cubicBezTo>
                  <a:cubicBezTo>
                    <a:pt x="1259" y="0"/>
                    <a:pt x="1172" y="21"/>
                    <a:pt x="1092" y="42"/>
                  </a:cubicBezTo>
                  <a:cubicBezTo>
                    <a:pt x="1013" y="56"/>
                    <a:pt x="932" y="70"/>
                    <a:pt x="850" y="70"/>
                  </a:cubicBezTo>
                  <a:cubicBezTo>
                    <a:pt x="752" y="70"/>
                    <a:pt x="655" y="84"/>
                    <a:pt x="561" y="120"/>
                  </a:cubicBezTo>
                  <a:lnTo>
                    <a:pt x="426" y="169"/>
                  </a:lnTo>
                  <a:cubicBezTo>
                    <a:pt x="259" y="225"/>
                    <a:pt x="322" y="253"/>
                    <a:pt x="276" y="309"/>
                  </a:cubicBezTo>
                  <a:cubicBezTo>
                    <a:pt x="230" y="366"/>
                    <a:pt x="180" y="450"/>
                    <a:pt x="96" y="556"/>
                  </a:cubicBezTo>
                  <a:cubicBezTo>
                    <a:pt x="13" y="661"/>
                    <a:pt x="96" y="675"/>
                    <a:pt x="96" y="795"/>
                  </a:cubicBezTo>
                  <a:cubicBezTo>
                    <a:pt x="96" y="907"/>
                    <a:pt x="0" y="964"/>
                    <a:pt x="0" y="1146"/>
                  </a:cubicBezTo>
                  <a:lnTo>
                    <a:pt x="0" y="1716"/>
                  </a:lnTo>
                  <a:cubicBezTo>
                    <a:pt x="8" y="1906"/>
                    <a:pt x="51" y="1927"/>
                    <a:pt x="96" y="2265"/>
                  </a:cubicBezTo>
                  <a:cubicBezTo>
                    <a:pt x="121" y="2384"/>
                    <a:pt x="134" y="2370"/>
                    <a:pt x="180" y="2433"/>
                  </a:cubicBezTo>
                  <a:cubicBezTo>
                    <a:pt x="226" y="2497"/>
                    <a:pt x="368" y="2680"/>
                    <a:pt x="426" y="2834"/>
                  </a:cubicBezTo>
                  <a:cubicBezTo>
                    <a:pt x="485" y="2989"/>
                    <a:pt x="501" y="2940"/>
                    <a:pt x="594" y="3094"/>
                  </a:cubicBezTo>
                  <a:cubicBezTo>
                    <a:pt x="685" y="3242"/>
                    <a:pt x="702" y="3200"/>
                    <a:pt x="773" y="3270"/>
                  </a:cubicBezTo>
                  <a:cubicBezTo>
                    <a:pt x="844" y="3341"/>
                    <a:pt x="877" y="3390"/>
                    <a:pt x="973" y="3446"/>
                  </a:cubicBezTo>
                  <a:cubicBezTo>
                    <a:pt x="1070" y="3502"/>
                    <a:pt x="1161" y="3524"/>
                    <a:pt x="1295" y="3594"/>
                  </a:cubicBezTo>
                  <a:cubicBezTo>
                    <a:pt x="1428" y="3664"/>
                    <a:pt x="1508" y="3594"/>
                    <a:pt x="1625" y="3721"/>
                  </a:cubicBezTo>
                  <a:cubicBezTo>
                    <a:pt x="1742" y="3854"/>
                    <a:pt x="1805" y="3784"/>
                    <a:pt x="1947" y="3896"/>
                  </a:cubicBezTo>
                  <a:cubicBezTo>
                    <a:pt x="2089" y="4016"/>
                    <a:pt x="2026" y="3953"/>
                    <a:pt x="2180" y="4030"/>
                  </a:cubicBezTo>
                  <a:cubicBezTo>
                    <a:pt x="2335" y="4100"/>
                    <a:pt x="2302" y="4030"/>
                    <a:pt x="2761" y="3721"/>
                  </a:cubicBezTo>
                  <a:cubicBezTo>
                    <a:pt x="2995" y="3524"/>
                    <a:pt x="2962" y="3706"/>
                    <a:pt x="3083" y="3784"/>
                  </a:cubicBezTo>
                  <a:cubicBezTo>
                    <a:pt x="3204" y="3854"/>
                    <a:pt x="3225" y="3882"/>
                    <a:pt x="3283" y="4030"/>
                  </a:cubicBezTo>
                  <a:cubicBezTo>
                    <a:pt x="3341" y="4171"/>
                    <a:pt x="3354" y="4164"/>
                    <a:pt x="3471" y="4417"/>
                  </a:cubicBezTo>
                  <a:cubicBezTo>
                    <a:pt x="3588" y="4677"/>
                    <a:pt x="3592" y="4691"/>
                    <a:pt x="3592" y="4881"/>
                  </a:cubicBezTo>
                  <a:cubicBezTo>
                    <a:pt x="3592" y="5078"/>
                    <a:pt x="3651" y="5310"/>
                    <a:pt x="3651" y="5507"/>
                  </a:cubicBezTo>
                  <a:cubicBezTo>
                    <a:pt x="3651" y="5711"/>
                    <a:pt x="3651" y="5760"/>
                    <a:pt x="3592" y="5936"/>
                  </a:cubicBezTo>
                  <a:cubicBezTo>
                    <a:pt x="3534" y="6112"/>
                    <a:pt x="3592" y="6210"/>
                    <a:pt x="3592" y="6435"/>
                  </a:cubicBezTo>
                  <a:cubicBezTo>
                    <a:pt x="3592" y="6660"/>
                    <a:pt x="3651" y="6597"/>
                    <a:pt x="3851" y="6899"/>
                  </a:cubicBezTo>
                  <a:cubicBezTo>
                    <a:pt x="4005" y="7125"/>
                    <a:pt x="4356" y="7160"/>
                    <a:pt x="4624" y="7223"/>
                  </a:cubicBezTo>
                  <a:cubicBezTo>
                    <a:pt x="4670" y="7230"/>
                    <a:pt x="4710" y="7237"/>
                    <a:pt x="4741" y="7237"/>
                  </a:cubicBezTo>
                  <a:cubicBezTo>
                    <a:pt x="4896" y="7237"/>
                    <a:pt x="5167" y="7167"/>
                    <a:pt x="5284" y="7167"/>
                  </a:cubicBezTo>
                  <a:cubicBezTo>
                    <a:pt x="5401" y="7167"/>
                    <a:pt x="5676" y="7181"/>
                    <a:pt x="5948" y="7167"/>
                  </a:cubicBezTo>
                  <a:cubicBezTo>
                    <a:pt x="6219" y="7153"/>
                    <a:pt x="6148" y="7125"/>
                    <a:pt x="6232" y="7082"/>
                  </a:cubicBezTo>
                  <a:cubicBezTo>
                    <a:pt x="6316" y="7047"/>
                    <a:pt x="6579" y="6942"/>
                    <a:pt x="6968" y="6703"/>
                  </a:cubicBezTo>
                  <a:cubicBezTo>
                    <a:pt x="7134" y="6618"/>
                    <a:pt x="7289" y="6597"/>
                    <a:pt x="7373" y="6597"/>
                  </a:cubicBezTo>
                  <a:lnTo>
                    <a:pt x="7940" y="6597"/>
                  </a:lnTo>
                  <a:cubicBezTo>
                    <a:pt x="8037" y="6597"/>
                    <a:pt x="8329" y="6625"/>
                    <a:pt x="8450" y="6597"/>
                  </a:cubicBezTo>
                  <a:cubicBezTo>
                    <a:pt x="8571" y="6576"/>
                    <a:pt x="8554" y="6527"/>
                    <a:pt x="8676" y="6456"/>
                  </a:cubicBezTo>
                  <a:cubicBezTo>
                    <a:pt x="8797" y="6386"/>
                    <a:pt x="8909" y="6365"/>
                    <a:pt x="9018" y="6330"/>
                  </a:cubicBezTo>
                  <a:cubicBezTo>
                    <a:pt x="9127" y="6295"/>
                    <a:pt x="9561" y="6119"/>
                    <a:pt x="9704" y="6056"/>
                  </a:cubicBezTo>
                  <a:cubicBezTo>
                    <a:pt x="9846" y="5992"/>
                    <a:pt x="9941" y="5880"/>
                    <a:pt x="10058" y="5830"/>
                  </a:cubicBezTo>
                  <a:cubicBezTo>
                    <a:pt x="10175" y="5788"/>
                    <a:pt x="10355" y="5655"/>
                    <a:pt x="10522" y="5507"/>
                  </a:cubicBezTo>
                  <a:cubicBezTo>
                    <a:pt x="10689" y="5366"/>
                    <a:pt x="10723" y="5240"/>
                    <a:pt x="10794" y="5183"/>
                  </a:cubicBezTo>
                  <a:cubicBezTo>
                    <a:pt x="10865" y="5120"/>
                    <a:pt x="10818" y="4726"/>
                    <a:pt x="10794" y="4586"/>
                  </a:cubicBezTo>
                  <a:cubicBezTo>
                    <a:pt x="10768" y="4445"/>
                    <a:pt x="10701" y="4206"/>
                    <a:pt x="10630" y="4030"/>
                  </a:cubicBezTo>
                  <a:cubicBezTo>
                    <a:pt x="10559" y="3847"/>
                    <a:pt x="10426" y="3854"/>
                    <a:pt x="10355" y="3784"/>
                  </a:cubicBezTo>
                  <a:cubicBezTo>
                    <a:pt x="10284" y="3706"/>
                    <a:pt x="10058" y="3636"/>
                    <a:pt x="9941" y="3594"/>
                  </a:cubicBezTo>
                  <a:cubicBezTo>
                    <a:pt x="9824" y="3545"/>
                    <a:pt x="9741" y="3545"/>
                    <a:pt x="9644" y="3524"/>
                  </a:cubicBezTo>
                  <a:cubicBezTo>
                    <a:pt x="9549" y="3502"/>
                    <a:pt x="9265" y="3298"/>
                    <a:pt x="9173" y="3270"/>
                  </a:cubicBezTo>
                  <a:cubicBezTo>
                    <a:pt x="9081" y="3249"/>
                    <a:pt x="8968" y="3228"/>
                    <a:pt x="8909" y="3200"/>
                  </a:cubicBezTo>
                  <a:cubicBezTo>
                    <a:pt x="8851" y="3172"/>
                    <a:pt x="8471" y="2905"/>
                    <a:pt x="8329" y="2834"/>
                  </a:cubicBezTo>
                  <a:cubicBezTo>
                    <a:pt x="8187" y="2764"/>
                    <a:pt x="7928" y="2616"/>
                    <a:pt x="7845" y="2560"/>
                  </a:cubicBezTo>
                  <a:cubicBezTo>
                    <a:pt x="7761" y="2504"/>
                    <a:pt x="7452" y="2208"/>
                    <a:pt x="7289" y="2054"/>
                  </a:cubicBezTo>
                  <a:cubicBezTo>
                    <a:pt x="7126" y="1899"/>
                    <a:pt x="6968" y="1751"/>
                    <a:pt x="6800" y="1639"/>
                  </a:cubicBezTo>
                  <a:cubicBezTo>
                    <a:pt x="6633" y="1519"/>
                    <a:pt x="6290" y="1385"/>
                    <a:pt x="6148" y="1350"/>
                  </a:cubicBezTo>
                  <a:cubicBezTo>
                    <a:pt x="6051" y="1322"/>
                    <a:pt x="5851" y="1336"/>
                    <a:pt x="5481" y="1400"/>
                  </a:cubicBezTo>
                  <a:cubicBezTo>
                    <a:pt x="5075" y="1477"/>
                    <a:pt x="4704" y="1667"/>
                    <a:pt x="4323" y="1822"/>
                  </a:cubicBezTo>
                  <a:cubicBezTo>
                    <a:pt x="4287" y="1843"/>
                    <a:pt x="4249" y="1857"/>
                    <a:pt x="4206" y="187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0" name="Freihandform: Form 175">
              <a:extLst>
                <a:ext uri="{FF2B5EF4-FFF2-40B4-BE49-F238E27FC236}">
                  <a16:creationId xmlns:a16="http://schemas.microsoft.com/office/drawing/2014/main" id="{8DFC3BFD-81D8-074E-B86A-5CA4A9371115}"/>
                </a:ext>
              </a:extLst>
            </p:cNvPr>
            <p:cNvSpPr/>
            <p:nvPr/>
          </p:nvSpPr>
          <p:spPr>
            <a:xfrm>
              <a:off x="3732466" y="4181373"/>
              <a:ext cx="3834" cy="3056"/>
            </a:xfrm>
            <a:custGeom>
              <a:avLst/>
              <a:gdLst>
                <a:gd name="connsiteX0" fmla="*/ 1800 w 3834"/>
                <a:gd name="connsiteY0" fmla="*/ 48 h 3056"/>
                <a:gd name="connsiteX1" fmla="*/ 1776 w 3834"/>
                <a:gd name="connsiteY1" fmla="*/ 48 h 3056"/>
                <a:gd name="connsiteX2" fmla="*/ 1016 w 3834"/>
                <a:gd name="connsiteY2" fmla="*/ 13 h 3056"/>
                <a:gd name="connsiteX3" fmla="*/ 335 w 3834"/>
                <a:gd name="connsiteY3" fmla="*/ 48 h 3056"/>
                <a:gd name="connsiteX4" fmla="*/ 1 w 3834"/>
                <a:gd name="connsiteY4" fmla="*/ 646 h 3056"/>
                <a:gd name="connsiteX5" fmla="*/ 335 w 3834"/>
                <a:gd name="connsiteY5" fmla="*/ 976 h 3056"/>
                <a:gd name="connsiteX6" fmla="*/ 774 w 3834"/>
                <a:gd name="connsiteY6" fmla="*/ 1426 h 3056"/>
                <a:gd name="connsiteX7" fmla="*/ 1037 w 3834"/>
                <a:gd name="connsiteY7" fmla="*/ 1820 h 3056"/>
                <a:gd name="connsiteX8" fmla="*/ 983 w 3834"/>
                <a:gd name="connsiteY8" fmla="*/ 2348 h 3056"/>
                <a:gd name="connsiteX9" fmla="*/ 1330 w 3834"/>
                <a:gd name="connsiteY9" fmla="*/ 2903 h 3056"/>
                <a:gd name="connsiteX10" fmla="*/ 1672 w 3834"/>
                <a:gd name="connsiteY10" fmla="*/ 3037 h 3056"/>
                <a:gd name="connsiteX11" fmla="*/ 2415 w 3834"/>
                <a:gd name="connsiteY11" fmla="*/ 2988 h 3056"/>
                <a:gd name="connsiteX12" fmla="*/ 2958 w 3834"/>
                <a:gd name="connsiteY12" fmla="*/ 2763 h 3056"/>
                <a:gd name="connsiteX13" fmla="*/ 3752 w 3834"/>
                <a:gd name="connsiteY13" fmla="*/ 2235 h 3056"/>
                <a:gd name="connsiteX14" fmla="*/ 3752 w 3834"/>
                <a:gd name="connsiteY14" fmla="*/ 1602 h 3056"/>
                <a:gd name="connsiteX15" fmla="*/ 3322 w 3834"/>
                <a:gd name="connsiteY15" fmla="*/ 1061 h 3056"/>
                <a:gd name="connsiteX16" fmla="*/ 2579 w 3834"/>
                <a:gd name="connsiteY16" fmla="*/ 322 h 3056"/>
                <a:gd name="connsiteX17" fmla="*/ 1800 w 3834"/>
                <a:gd name="connsiteY17" fmla="*/ 48 h 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34" h="3056">
                  <a:moveTo>
                    <a:pt x="1800" y="48"/>
                  </a:moveTo>
                  <a:lnTo>
                    <a:pt x="1776" y="48"/>
                  </a:lnTo>
                  <a:cubicBezTo>
                    <a:pt x="1641" y="48"/>
                    <a:pt x="1300" y="41"/>
                    <a:pt x="1016" y="13"/>
                  </a:cubicBezTo>
                  <a:cubicBezTo>
                    <a:pt x="661" y="-15"/>
                    <a:pt x="578" y="6"/>
                    <a:pt x="335" y="48"/>
                  </a:cubicBezTo>
                  <a:cubicBezTo>
                    <a:pt x="93" y="90"/>
                    <a:pt x="-12" y="470"/>
                    <a:pt x="1" y="646"/>
                  </a:cubicBezTo>
                  <a:cubicBezTo>
                    <a:pt x="14" y="829"/>
                    <a:pt x="122" y="822"/>
                    <a:pt x="335" y="976"/>
                  </a:cubicBezTo>
                  <a:cubicBezTo>
                    <a:pt x="548" y="1131"/>
                    <a:pt x="611" y="1272"/>
                    <a:pt x="774" y="1426"/>
                  </a:cubicBezTo>
                  <a:cubicBezTo>
                    <a:pt x="936" y="1581"/>
                    <a:pt x="983" y="1602"/>
                    <a:pt x="1037" y="1820"/>
                  </a:cubicBezTo>
                  <a:cubicBezTo>
                    <a:pt x="1091" y="2038"/>
                    <a:pt x="983" y="2278"/>
                    <a:pt x="983" y="2348"/>
                  </a:cubicBezTo>
                  <a:cubicBezTo>
                    <a:pt x="983" y="2411"/>
                    <a:pt x="1166" y="2763"/>
                    <a:pt x="1330" y="2903"/>
                  </a:cubicBezTo>
                  <a:cubicBezTo>
                    <a:pt x="1492" y="3044"/>
                    <a:pt x="1476" y="2988"/>
                    <a:pt x="1672" y="3037"/>
                  </a:cubicBezTo>
                  <a:cubicBezTo>
                    <a:pt x="1868" y="3093"/>
                    <a:pt x="2131" y="3016"/>
                    <a:pt x="2415" y="2988"/>
                  </a:cubicBezTo>
                  <a:cubicBezTo>
                    <a:pt x="2700" y="2953"/>
                    <a:pt x="2745" y="2847"/>
                    <a:pt x="2958" y="2763"/>
                  </a:cubicBezTo>
                  <a:cubicBezTo>
                    <a:pt x="3172" y="2671"/>
                    <a:pt x="3598" y="2404"/>
                    <a:pt x="3752" y="2235"/>
                  </a:cubicBezTo>
                  <a:cubicBezTo>
                    <a:pt x="3907" y="2066"/>
                    <a:pt x="3807" y="1778"/>
                    <a:pt x="3752" y="1602"/>
                  </a:cubicBezTo>
                  <a:cubicBezTo>
                    <a:pt x="3698" y="1426"/>
                    <a:pt x="3409" y="1166"/>
                    <a:pt x="3322" y="1061"/>
                  </a:cubicBezTo>
                  <a:cubicBezTo>
                    <a:pt x="3234" y="955"/>
                    <a:pt x="2821" y="533"/>
                    <a:pt x="2579" y="322"/>
                  </a:cubicBezTo>
                  <a:cubicBezTo>
                    <a:pt x="2341" y="111"/>
                    <a:pt x="2195" y="97"/>
                    <a:pt x="1800" y="4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1" name="Freihandform: Form 176">
              <a:extLst>
                <a:ext uri="{FF2B5EF4-FFF2-40B4-BE49-F238E27FC236}">
                  <a16:creationId xmlns:a16="http://schemas.microsoft.com/office/drawing/2014/main" id="{6460637F-73E5-A24C-873F-FB519114D909}"/>
                </a:ext>
              </a:extLst>
            </p:cNvPr>
            <p:cNvSpPr/>
            <p:nvPr/>
          </p:nvSpPr>
          <p:spPr>
            <a:xfrm>
              <a:off x="3728662" y="4176493"/>
              <a:ext cx="9053" cy="2642"/>
            </a:xfrm>
            <a:custGeom>
              <a:avLst/>
              <a:gdLst>
                <a:gd name="connsiteX0" fmla="*/ 8688 w 9053"/>
                <a:gd name="connsiteY0" fmla="*/ 1643 h 2642"/>
                <a:gd name="connsiteX1" fmla="*/ 9000 w 9053"/>
                <a:gd name="connsiteY1" fmla="*/ 1278 h 2642"/>
                <a:gd name="connsiteX2" fmla="*/ 8906 w 9053"/>
                <a:gd name="connsiteY2" fmla="*/ 1010 h 2642"/>
                <a:gd name="connsiteX3" fmla="*/ 8517 w 9053"/>
                <a:gd name="connsiteY3" fmla="*/ 1137 h 2642"/>
                <a:gd name="connsiteX4" fmla="*/ 8250 w 9053"/>
                <a:gd name="connsiteY4" fmla="*/ 1081 h 2642"/>
                <a:gd name="connsiteX5" fmla="*/ 8592 w 9053"/>
                <a:gd name="connsiteY5" fmla="*/ 933 h 2642"/>
                <a:gd name="connsiteX6" fmla="*/ 8387 w 9053"/>
                <a:gd name="connsiteY6" fmla="*/ 736 h 2642"/>
                <a:gd name="connsiteX7" fmla="*/ 8041 w 9053"/>
                <a:gd name="connsiteY7" fmla="*/ 821 h 2642"/>
                <a:gd name="connsiteX8" fmla="*/ 7715 w 9053"/>
                <a:gd name="connsiteY8" fmla="*/ 821 h 2642"/>
                <a:gd name="connsiteX9" fmla="*/ 7456 w 9053"/>
                <a:gd name="connsiteY9" fmla="*/ 884 h 2642"/>
                <a:gd name="connsiteX10" fmla="*/ 7068 w 9053"/>
                <a:gd name="connsiteY10" fmla="*/ 933 h 2642"/>
                <a:gd name="connsiteX11" fmla="*/ 6688 w 9053"/>
                <a:gd name="connsiteY11" fmla="*/ 933 h 2642"/>
                <a:gd name="connsiteX12" fmla="*/ 6211 w 9053"/>
                <a:gd name="connsiteY12" fmla="*/ 884 h 2642"/>
                <a:gd name="connsiteX13" fmla="*/ 5806 w 9053"/>
                <a:gd name="connsiteY13" fmla="*/ 884 h 2642"/>
                <a:gd name="connsiteX14" fmla="*/ 5531 w 9053"/>
                <a:gd name="connsiteY14" fmla="*/ 821 h 2642"/>
                <a:gd name="connsiteX15" fmla="*/ 5384 w 9053"/>
                <a:gd name="connsiteY15" fmla="*/ 462 h 2642"/>
                <a:gd name="connsiteX16" fmla="*/ 5247 w 9053"/>
                <a:gd name="connsiteY16" fmla="*/ 152 h 2642"/>
                <a:gd name="connsiteX17" fmla="*/ 4925 w 9053"/>
                <a:gd name="connsiteY17" fmla="*/ 152 h 2642"/>
                <a:gd name="connsiteX18" fmla="*/ 4925 w 9053"/>
                <a:gd name="connsiteY18" fmla="*/ 363 h 2642"/>
                <a:gd name="connsiteX19" fmla="*/ 4820 w 9053"/>
                <a:gd name="connsiteY19" fmla="*/ 574 h 2642"/>
                <a:gd name="connsiteX20" fmla="*/ 4600 w 9053"/>
                <a:gd name="connsiteY20" fmla="*/ 736 h 2642"/>
                <a:gd name="connsiteX21" fmla="*/ 3969 w 9053"/>
                <a:gd name="connsiteY21" fmla="*/ 574 h 2642"/>
                <a:gd name="connsiteX22" fmla="*/ 3555 w 9053"/>
                <a:gd name="connsiteY22" fmla="*/ 511 h 2642"/>
                <a:gd name="connsiteX23" fmla="*/ 3158 w 9053"/>
                <a:gd name="connsiteY23" fmla="*/ 462 h 2642"/>
                <a:gd name="connsiteX24" fmla="*/ 2536 w 9053"/>
                <a:gd name="connsiteY24" fmla="*/ 462 h 2642"/>
                <a:gd name="connsiteX25" fmla="*/ 2106 w 9053"/>
                <a:gd name="connsiteY25" fmla="*/ 363 h 2642"/>
                <a:gd name="connsiteX26" fmla="*/ 1759 w 9053"/>
                <a:gd name="connsiteY26" fmla="*/ 230 h 2642"/>
                <a:gd name="connsiteX27" fmla="*/ 1446 w 9053"/>
                <a:gd name="connsiteY27" fmla="*/ 47 h 2642"/>
                <a:gd name="connsiteX28" fmla="*/ 940 w 9053"/>
                <a:gd name="connsiteY28" fmla="*/ 47 h 2642"/>
                <a:gd name="connsiteX29" fmla="*/ 936 w 9053"/>
                <a:gd name="connsiteY29" fmla="*/ 47 h 2642"/>
                <a:gd name="connsiteX30" fmla="*/ 798 w 9053"/>
                <a:gd name="connsiteY30" fmla="*/ 230 h 2642"/>
                <a:gd name="connsiteX31" fmla="*/ 853 w 9053"/>
                <a:gd name="connsiteY31" fmla="*/ 448 h 2642"/>
                <a:gd name="connsiteX32" fmla="*/ 852 w 9053"/>
                <a:gd name="connsiteY32" fmla="*/ 462 h 2642"/>
                <a:gd name="connsiteX33" fmla="*/ 739 w 9053"/>
                <a:gd name="connsiteY33" fmla="*/ 722 h 2642"/>
                <a:gd name="connsiteX34" fmla="*/ 731 w 9053"/>
                <a:gd name="connsiteY34" fmla="*/ 736 h 2642"/>
                <a:gd name="connsiteX35" fmla="*/ 430 w 9053"/>
                <a:gd name="connsiteY35" fmla="*/ 1081 h 2642"/>
                <a:gd name="connsiteX36" fmla="*/ 100 w 9053"/>
                <a:gd name="connsiteY36" fmla="*/ 1643 h 2642"/>
                <a:gd name="connsiteX37" fmla="*/ 21 w 9053"/>
                <a:gd name="connsiteY37" fmla="*/ 2065 h 2642"/>
                <a:gd name="connsiteX38" fmla="*/ 430 w 9053"/>
                <a:gd name="connsiteY38" fmla="*/ 2136 h 2642"/>
                <a:gd name="connsiteX39" fmla="*/ 1387 w 9053"/>
                <a:gd name="connsiteY39" fmla="*/ 2136 h 2642"/>
                <a:gd name="connsiteX40" fmla="*/ 2707 w 9053"/>
                <a:gd name="connsiteY40" fmla="*/ 2065 h 2642"/>
                <a:gd name="connsiteX41" fmla="*/ 3267 w 9053"/>
                <a:gd name="connsiteY41" fmla="*/ 1946 h 2642"/>
                <a:gd name="connsiteX42" fmla="*/ 3743 w 9053"/>
                <a:gd name="connsiteY42" fmla="*/ 1946 h 2642"/>
                <a:gd name="connsiteX43" fmla="*/ 4294 w 9053"/>
                <a:gd name="connsiteY43" fmla="*/ 2136 h 2642"/>
                <a:gd name="connsiteX44" fmla="*/ 5046 w 9053"/>
                <a:gd name="connsiteY44" fmla="*/ 2375 h 2642"/>
                <a:gd name="connsiteX45" fmla="*/ 5936 w 9053"/>
                <a:gd name="connsiteY45" fmla="*/ 2586 h 2642"/>
                <a:gd name="connsiteX46" fmla="*/ 6608 w 9053"/>
                <a:gd name="connsiteY46" fmla="*/ 2642 h 2642"/>
                <a:gd name="connsiteX47" fmla="*/ 7168 w 9053"/>
                <a:gd name="connsiteY47" fmla="*/ 2586 h 2642"/>
                <a:gd name="connsiteX48" fmla="*/ 7861 w 9053"/>
                <a:gd name="connsiteY48" fmla="*/ 2311 h 2642"/>
                <a:gd name="connsiteX49" fmla="*/ 8688 w 9053"/>
                <a:gd name="connsiteY49" fmla="*/ 1643 h 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9053" h="2642">
                  <a:moveTo>
                    <a:pt x="8688" y="1643"/>
                  </a:moveTo>
                  <a:cubicBezTo>
                    <a:pt x="8782" y="1531"/>
                    <a:pt x="8902" y="1404"/>
                    <a:pt x="9000" y="1278"/>
                  </a:cubicBezTo>
                  <a:cubicBezTo>
                    <a:pt x="9097" y="1158"/>
                    <a:pt x="9061" y="1003"/>
                    <a:pt x="8906" y="1010"/>
                  </a:cubicBezTo>
                  <a:cubicBezTo>
                    <a:pt x="8768" y="1018"/>
                    <a:pt x="8646" y="1081"/>
                    <a:pt x="8517" y="1137"/>
                  </a:cubicBezTo>
                  <a:cubicBezTo>
                    <a:pt x="8387" y="1200"/>
                    <a:pt x="8325" y="1137"/>
                    <a:pt x="8250" y="1081"/>
                  </a:cubicBezTo>
                  <a:cubicBezTo>
                    <a:pt x="8174" y="1024"/>
                    <a:pt x="8387" y="1024"/>
                    <a:pt x="8592" y="933"/>
                  </a:cubicBezTo>
                  <a:cubicBezTo>
                    <a:pt x="8797" y="849"/>
                    <a:pt x="8568" y="736"/>
                    <a:pt x="8387" y="736"/>
                  </a:cubicBezTo>
                  <a:cubicBezTo>
                    <a:pt x="8208" y="736"/>
                    <a:pt x="8292" y="736"/>
                    <a:pt x="8041" y="821"/>
                  </a:cubicBezTo>
                  <a:cubicBezTo>
                    <a:pt x="7790" y="912"/>
                    <a:pt x="7861" y="821"/>
                    <a:pt x="7715" y="821"/>
                  </a:cubicBezTo>
                  <a:cubicBezTo>
                    <a:pt x="7569" y="821"/>
                    <a:pt x="7532" y="884"/>
                    <a:pt x="7456" y="884"/>
                  </a:cubicBezTo>
                  <a:cubicBezTo>
                    <a:pt x="7381" y="884"/>
                    <a:pt x="7222" y="933"/>
                    <a:pt x="7068" y="933"/>
                  </a:cubicBezTo>
                  <a:lnTo>
                    <a:pt x="6688" y="933"/>
                  </a:lnTo>
                  <a:cubicBezTo>
                    <a:pt x="6475" y="933"/>
                    <a:pt x="6420" y="884"/>
                    <a:pt x="6211" y="884"/>
                  </a:cubicBezTo>
                  <a:cubicBezTo>
                    <a:pt x="6003" y="884"/>
                    <a:pt x="6011" y="891"/>
                    <a:pt x="5806" y="884"/>
                  </a:cubicBezTo>
                  <a:cubicBezTo>
                    <a:pt x="5602" y="877"/>
                    <a:pt x="5606" y="870"/>
                    <a:pt x="5531" y="821"/>
                  </a:cubicBezTo>
                  <a:cubicBezTo>
                    <a:pt x="5455" y="771"/>
                    <a:pt x="5418" y="574"/>
                    <a:pt x="5384" y="462"/>
                  </a:cubicBezTo>
                  <a:cubicBezTo>
                    <a:pt x="5351" y="349"/>
                    <a:pt x="5296" y="230"/>
                    <a:pt x="5247" y="152"/>
                  </a:cubicBezTo>
                  <a:cubicBezTo>
                    <a:pt x="5197" y="68"/>
                    <a:pt x="5046" y="103"/>
                    <a:pt x="4925" y="152"/>
                  </a:cubicBezTo>
                  <a:cubicBezTo>
                    <a:pt x="4804" y="195"/>
                    <a:pt x="4934" y="230"/>
                    <a:pt x="4925" y="363"/>
                  </a:cubicBezTo>
                  <a:cubicBezTo>
                    <a:pt x="4917" y="504"/>
                    <a:pt x="4867" y="511"/>
                    <a:pt x="4820" y="574"/>
                  </a:cubicBezTo>
                  <a:cubicBezTo>
                    <a:pt x="4775" y="631"/>
                    <a:pt x="4737" y="736"/>
                    <a:pt x="4600" y="736"/>
                  </a:cubicBezTo>
                  <a:cubicBezTo>
                    <a:pt x="4462" y="736"/>
                    <a:pt x="4140" y="588"/>
                    <a:pt x="3969" y="574"/>
                  </a:cubicBezTo>
                  <a:cubicBezTo>
                    <a:pt x="3797" y="553"/>
                    <a:pt x="3663" y="532"/>
                    <a:pt x="3555" y="511"/>
                  </a:cubicBezTo>
                  <a:cubicBezTo>
                    <a:pt x="3446" y="497"/>
                    <a:pt x="3267" y="462"/>
                    <a:pt x="3158" y="462"/>
                  </a:cubicBezTo>
                  <a:lnTo>
                    <a:pt x="2536" y="462"/>
                  </a:lnTo>
                  <a:cubicBezTo>
                    <a:pt x="2310" y="462"/>
                    <a:pt x="2222" y="391"/>
                    <a:pt x="2106" y="363"/>
                  </a:cubicBezTo>
                  <a:cubicBezTo>
                    <a:pt x="1989" y="342"/>
                    <a:pt x="1847" y="307"/>
                    <a:pt x="1759" y="230"/>
                  </a:cubicBezTo>
                  <a:cubicBezTo>
                    <a:pt x="1671" y="159"/>
                    <a:pt x="1629" y="152"/>
                    <a:pt x="1446" y="47"/>
                  </a:cubicBezTo>
                  <a:cubicBezTo>
                    <a:pt x="1262" y="-59"/>
                    <a:pt x="1070" y="47"/>
                    <a:pt x="940" y="47"/>
                  </a:cubicBezTo>
                  <a:lnTo>
                    <a:pt x="936" y="47"/>
                  </a:lnTo>
                  <a:cubicBezTo>
                    <a:pt x="823" y="47"/>
                    <a:pt x="713" y="159"/>
                    <a:pt x="798" y="230"/>
                  </a:cubicBezTo>
                  <a:cubicBezTo>
                    <a:pt x="863" y="293"/>
                    <a:pt x="861" y="321"/>
                    <a:pt x="853" y="448"/>
                  </a:cubicBezTo>
                  <a:lnTo>
                    <a:pt x="852" y="462"/>
                  </a:lnTo>
                  <a:cubicBezTo>
                    <a:pt x="845" y="588"/>
                    <a:pt x="813" y="631"/>
                    <a:pt x="739" y="722"/>
                  </a:cubicBezTo>
                  <a:lnTo>
                    <a:pt x="731" y="736"/>
                  </a:lnTo>
                  <a:cubicBezTo>
                    <a:pt x="652" y="835"/>
                    <a:pt x="593" y="940"/>
                    <a:pt x="430" y="1081"/>
                  </a:cubicBezTo>
                  <a:cubicBezTo>
                    <a:pt x="268" y="1221"/>
                    <a:pt x="205" y="1475"/>
                    <a:pt x="100" y="1643"/>
                  </a:cubicBezTo>
                  <a:cubicBezTo>
                    <a:pt x="-4" y="1805"/>
                    <a:pt x="-21" y="1995"/>
                    <a:pt x="21" y="2065"/>
                  </a:cubicBezTo>
                  <a:cubicBezTo>
                    <a:pt x="63" y="2136"/>
                    <a:pt x="155" y="2136"/>
                    <a:pt x="430" y="2136"/>
                  </a:cubicBezTo>
                  <a:lnTo>
                    <a:pt x="1387" y="2136"/>
                  </a:lnTo>
                  <a:cubicBezTo>
                    <a:pt x="1671" y="2136"/>
                    <a:pt x="2528" y="2136"/>
                    <a:pt x="2707" y="2065"/>
                  </a:cubicBezTo>
                  <a:cubicBezTo>
                    <a:pt x="2887" y="2002"/>
                    <a:pt x="3104" y="1946"/>
                    <a:pt x="3267" y="1946"/>
                  </a:cubicBezTo>
                  <a:lnTo>
                    <a:pt x="3743" y="1946"/>
                  </a:lnTo>
                  <a:cubicBezTo>
                    <a:pt x="3952" y="1946"/>
                    <a:pt x="4073" y="2051"/>
                    <a:pt x="4294" y="2136"/>
                  </a:cubicBezTo>
                  <a:cubicBezTo>
                    <a:pt x="4516" y="2213"/>
                    <a:pt x="4820" y="2311"/>
                    <a:pt x="5046" y="2375"/>
                  </a:cubicBezTo>
                  <a:cubicBezTo>
                    <a:pt x="5272" y="2438"/>
                    <a:pt x="5581" y="2530"/>
                    <a:pt x="5936" y="2586"/>
                  </a:cubicBezTo>
                  <a:cubicBezTo>
                    <a:pt x="6291" y="2642"/>
                    <a:pt x="6429" y="2642"/>
                    <a:pt x="6608" y="2642"/>
                  </a:cubicBezTo>
                  <a:cubicBezTo>
                    <a:pt x="6788" y="2642"/>
                    <a:pt x="6963" y="2628"/>
                    <a:pt x="7168" y="2586"/>
                  </a:cubicBezTo>
                  <a:cubicBezTo>
                    <a:pt x="7373" y="2544"/>
                    <a:pt x="7715" y="2403"/>
                    <a:pt x="7861" y="2311"/>
                  </a:cubicBezTo>
                  <a:cubicBezTo>
                    <a:pt x="8008" y="2227"/>
                    <a:pt x="8534" y="1819"/>
                    <a:pt x="8688" y="164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2" name="Freihandform: Form 177">
              <a:extLst>
                <a:ext uri="{FF2B5EF4-FFF2-40B4-BE49-F238E27FC236}">
                  <a16:creationId xmlns:a16="http://schemas.microsoft.com/office/drawing/2014/main" id="{8FB71CD4-2B3C-554A-B7FF-CA3C3AA05260}"/>
                </a:ext>
              </a:extLst>
            </p:cNvPr>
            <p:cNvSpPr/>
            <p:nvPr/>
          </p:nvSpPr>
          <p:spPr>
            <a:xfrm>
              <a:off x="3714012" y="4168516"/>
              <a:ext cx="9283" cy="7394"/>
            </a:xfrm>
            <a:custGeom>
              <a:avLst/>
              <a:gdLst>
                <a:gd name="connsiteX0" fmla="*/ 5151 w 9283"/>
                <a:gd name="connsiteY0" fmla="*/ 526 h 7394"/>
                <a:gd name="connsiteX1" fmla="*/ 5065 w 9283"/>
                <a:gd name="connsiteY1" fmla="*/ 385 h 7394"/>
                <a:gd name="connsiteX2" fmla="*/ 3702 w 9283"/>
                <a:gd name="connsiteY2" fmla="*/ 97 h 7394"/>
                <a:gd name="connsiteX3" fmla="*/ 3439 w 9283"/>
                <a:gd name="connsiteY3" fmla="*/ 238 h 7394"/>
                <a:gd name="connsiteX4" fmla="*/ 3298 w 9283"/>
                <a:gd name="connsiteY4" fmla="*/ 372 h 7394"/>
                <a:gd name="connsiteX5" fmla="*/ 2845 w 9283"/>
                <a:gd name="connsiteY5" fmla="*/ 1110 h 7394"/>
                <a:gd name="connsiteX6" fmla="*/ 2591 w 9283"/>
                <a:gd name="connsiteY6" fmla="*/ 1469 h 7394"/>
                <a:gd name="connsiteX7" fmla="*/ 2294 w 9283"/>
                <a:gd name="connsiteY7" fmla="*/ 1954 h 7394"/>
                <a:gd name="connsiteX8" fmla="*/ 2269 w 9283"/>
                <a:gd name="connsiteY8" fmla="*/ 2003 h 7394"/>
                <a:gd name="connsiteX9" fmla="*/ 2006 w 9283"/>
                <a:gd name="connsiteY9" fmla="*/ 2221 h 7394"/>
                <a:gd name="connsiteX10" fmla="*/ 1576 w 9283"/>
                <a:gd name="connsiteY10" fmla="*/ 2221 h 7394"/>
                <a:gd name="connsiteX11" fmla="*/ 603 w 9283"/>
                <a:gd name="connsiteY11" fmla="*/ 2221 h 7394"/>
                <a:gd name="connsiteX12" fmla="*/ 114 w 9283"/>
                <a:gd name="connsiteY12" fmla="*/ 2221 h 7394"/>
                <a:gd name="connsiteX13" fmla="*/ 43 w 9283"/>
                <a:gd name="connsiteY13" fmla="*/ 2432 h 7394"/>
                <a:gd name="connsiteX14" fmla="*/ 269 w 9283"/>
                <a:gd name="connsiteY14" fmla="*/ 2657 h 7394"/>
                <a:gd name="connsiteX15" fmla="*/ 502 w 9283"/>
                <a:gd name="connsiteY15" fmla="*/ 2924 h 7394"/>
                <a:gd name="connsiteX16" fmla="*/ 502 w 9283"/>
                <a:gd name="connsiteY16" fmla="*/ 3199 h 7394"/>
                <a:gd name="connsiteX17" fmla="*/ 502 w 9283"/>
                <a:gd name="connsiteY17" fmla="*/ 3543 h 7394"/>
                <a:gd name="connsiteX18" fmla="*/ 603 w 9283"/>
                <a:gd name="connsiteY18" fmla="*/ 3782 h 7394"/>
                <a:gd name="connsiteX19" fmla="*/ 782 w 9283"/>
                <a:gd name="connsiteY19" fmla="*/ 4043 h 7394"/>
                <a:gd name="connsiteX20" fmla="*/ 1033 w 9283"/>
                <a:gd name="connsiteY20" fmla="*/ 4352 h 7394"/>
                <a:gd name="connsiteX21" fmla="*/ 1230 w 9283"/>
                <a:gd name="connsiteY21" fmla="*/ 4795 h 7394"/>
                <a:gd name="connsiteX22" fmla="*/ 1476 w 9283"/>
                <a:gd name="connsiteY22" fmla="*/ 5091 h 7394"/>
                <a:gd name="connsiteX23" fmla="*/ 1714 w 9283"/>
                <a:gd name="connsiteY23" fmla="*/ 5330 h 7394"/>
                <a:gd name="connsiteX24" fmla="*/ 1894 w 9283"/>
                <a:gd name="connsiteY24" fmla="*/ 5773 h 7394"/>
                <a:gd name="connsiteX25" fmla="*/ 2132 w 9283"/>
                <a:gd name="connsiteY25" fmla="*/ 6357 h 7394"/>
                <a:gd name="connsiteX26" fmla="*/ 2466 w 9283"/>
                <a:gd name="connsiteY26" fmla="*/ 6645 h 7394"/>
                <a:gd name="connsiteX27" fmla="*/ 2908 w 9283"/>
                <a:gd name="connsiteY27" fmla="*/ 6743 h 7394"/>
                <a:gd name="connsiteX28" fmla="*/ 3593 w 9283"/>
                <a:gd name="connsiteY28" fmla="*/ 6533 h 7394"/>
                <a:gd name="connsiteX29" fmla="*/ 4007 w 9283"/>
                <a:gd name="connsiteY29" fmla="*/ 6448 h 7394"/>
                <a:gd name="connsiteX30" fmla="*/ 4358 w 9283"/>
                <a:gd name="connsiteY30" fmla="*/ 6357 h 7394"/>
                <a:gd name="connsiteX31" fmla="*/ 4842 w 9283"/>
                <a:gd name="connsiteY31" fmla="*/ 6448 h 7394"/>
                <a:gd name="connsiteX32" fmla="*/ 5331 w 9283"/>
                <a:gd name="connsiteY32" fmla="*/ 6357 h 7394"/>
                <a:gd name="connsiteX33" fmla="*/ 5720 w 9283"/>
                <a:gd name="connsiteY33" fmla="*/ 6448 h 7394"/>
                <a:gd name="connsiteX34" fmla="*/ 6250 w 9283"/>
                <a:gd name="connsiteY34" fmla="*/ 6743 h 7394"/>
                <a:gd name="connsiteX35" fmla="*/ 6639 w 9283"/>
                <a:gd name="connsiteY35" fmla="*/ 7053 h 7394"/>
                <a:gd name="connsiteX36" fmla="*/ 6872 w 9283"/>
                <a:gd name="connsiteY36" fmla="*/ 7355 h 7394"/>
                <a:gd name="connsiteX37" fmla="*/ 7277 w 9283"/>
                <a:gd name="connsiteY37" fmla="*/ 7257 h 7394"/>
                <a:gd name="connsiteX38" fmla="*/ 7290 w 9283"/>
                <a:gd name="connsiteY38" fmla="*/ 7250 h 7394"/>
                <a:gd name="connsiteX39" fmla="*/ 8059 w 9283"/>
                <a:gd name="connsiteY39" fmla="*/ 7151 h 7394"/>
                <a:gd name="connsiteX40" fmla="*/ 8334 w 9283"/>
                <a:gd name="connsiteY40" fmla="*/ 7180 h 7394"/>
                <a:gd name="connsiteX41" fmla="*/ 8585 w 9283"/>
                <a:gd name="connsiteY41" fmla="*/ 7257 h 7394"/>
                <a:gd name="connsiteX42" fmla="*/ 9183 w 9283"/>
                <a:gd name="connsiteY42" fmla="*/ 6870 h 7394"/>
                <a:gd name="connsiteX43" fmla="*/ 9183 w 9283"/>
                <a:gd name="connsiteY43" fmla="*/ 6533 h 7394"/>
                <a:gd name="connsiteX44" fmla="*/ 8767 w 9283"/>
                <a:gd name="connsiteY44" fmla="*/ 6139 h 7394"/>
                <a:gd name="connsiteX45" fmla="*/ 8585 w 9283"/>
                <a:gd name="connsiteY45" fmla="*/ 5892 h 7394"/>
                <a:gd name="connsiteX46" fmla="*/ 8405 w 9283"/>
                <a:gd name="connsiteY46" fmla="*/ 5520 h 7394"/>
                <a:gd name="connsiteX47" fmla="*/ 8155 w 9283"/>
                <a:gd name="connsiteY47" fmla="*/ 5091 h 7394"/>
                <a:gd name="connsiteX48" fmla="*/ 7599 w 9283"/>
                <a:gd name="connsiteY48" fmla="*/ 4795 h 7394"/>
                <a:gd name="connsiteX49" fmla="*/ 7068 w 9283"/>
                <a:gd name="connsiteY49" fmla="*/ 4507 h 7394"/>
                <a:gd name="connsiteX50" fmla="*/ 6872 w 9283"/>
                <a:gd name="connsiteY50" fmla="*/ 4240 h 7394"/>
                <a:gd name="connsiteX51" fmla="*/ 6639 w 9283"/>
                <a:gd name="connsiteY51" fmla="*/ 3782 h 7394"/>
                <a:gd name="connsiteX52" fmla="*/ 6471 w 9283"/>
                <a:gd name="connsiteY52" fmla="*/ 3354 h 7394"/>
                <a:gd name="connsiteX53" fmla="*/ 6471 w 9283"/>
                <a:gd name="connsiteY53" fmla="*/ 3199 h 7394"/>
                <a:gd name="connsiteX54" fmla="*/ 6471 w 9283"/>
                <a:gd name="connsiteY54" fmla="*/ 2805 h 7394"/>
                <a:gd name="connsiteX55" fmla="*/ 6125 w 9283"/>
                <a:gd name="connsiteY55" fmla="*/ 2334 h 7394"/>
                <a:gd name="connsiteX56" fmla="*/ 5874 w 9283"/>
                <a:gd name="connsiteY56" fmla="*/ 2088 h 7394"/>
                <a:gd name="connsiteX57" fmla="*/ 5498 w 9283"/>
                <a:gd name="connsiteY57" fmla="*/ 1553 h 7394"/>
                <a:gd name="connsiteX58" fmla="*/ 5331 w 9283"/>
                <a:gd name="connsiteY58" fmla="*/ 1040 h 7394"/>
                <a:gd name="connsiteX59" fmla="*/ 5151 w 9283"/>
                <a:gd name="connsiteY59" fmla="*/ 526 h 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83" h="7394">
                  <a:moveTo>
                    <a:pt x="5151" y="526"/>
                  </a:moveTo>
                  <a:cubicBezTo>
                    <a:pt x="5136" y="484"/>
                    <a:pt x="5106" y="435"/>
                    <a:pt x="5065" y="385"/>
                  </a:cubicBezTo>
                  <a:cubicBezTo>
                    <a:pt x="4742" y="-8"/>
                    <a:pt x="4178" y="-93"/>
                    <a:pt x="3702" y="97"/>
                  </a:cubicBezTo>
                  <a:cubicBezTo>
                    <a:pt x="3494" y="168"/>
                    <a:pt x="3593" y="153"/>
                    <a:pt x="3439" y="238"/>
                  </a:cubicBezTo>
                  <a:cubicBezTo>
                    <a:pt x="3359" y="280"/>
                    <a:pt x="3339" y="301"/>
                    <a:pt x="3298" y="372"/>
                  </a:cubicBezTo>
                  <a:cubicBezTo>
                    <a:pt x="3152" y="618"/>
                    <a:pt x="3010" y="871"/>
                    <a:pt x="2845" y="1110"/>
                  </a:cubicBezTo>
                  <a:cubicBezTo>
                    <a:pt x="2786" y="1187"/>
                    <a:pt x="2705" y="1307"/>
                    <a:pt x="2591" y="1469"/>
                  </a:cubicBezTo>
                  <a:cubicBezTo>
                    <a:pt x="2472" y="1616"/>
                    <a:pt x="2466" y="1623"/>
                    <a:pt x="2294" y="1954"/>
                  </a:cubicBezTo>
                  <a:lnTo>
                    <a:pt x="2269" y="2003"/>
                  </a:lnTo>
                  <a:cubicBezTo>
                    <a:pt x="2169" y="2179"/>
                    <a:pt x="2132" y="2088"/>
                    <a:pt x="2006" y="2221"/>
                  </a:cubicBezTo>
                  <a:cubicBezTo>
                    <a:pt x="1881" y="2362"/>
                    <a:pt x="1714" y="2221"/>
                    <a:pt x="1576" y="2221"/>
                  </a:cubicBezTo>
                  <a:lnTo>
                    <a:pt x="603" y="2221"/>
                  </a:lnTo>
                  <a:lnTo>
                    <a:pt x="114" y="2221"/>
                  </a:lnTo>
                  <a:cubicBezTo>
                    <a:pt x="7" y="2221"/>
                    <a:pt x="-41" y="2369"/>
                    <a:pt x="43" y="2432"/>
                  </a:cubicBezTo>
                  <a:cubicBezTo>
                    <a:pt x="164" y="2531"/>
                    <a:pt x="185" y="2573"/>
                    <a:pt x="269" y="2657"/>
                  </a:cubicBezTo>
                  <a:cubicBezTo>
                    <a:pt x="352" y="2735"/>
                    <a:pt x="394" y="2805"/>
                    <a:pt x="502" y="2924"/>
                  </a:cubicBezTo>
                  <a:cubicBezTo>
                    <a:pt x="611" y="3037"/>
                    <a:pt x="502" y="3044"/>
                    <a:pt x="502" y="3199"/>
                  </a:cubicBezTo>
                  <a:lnTo>
                    <a:pt x="502" y="3543"/>
                  </a:lnTo>
                  <a:cubicBezTo>
                    <a:pt x="502" y="3733"/>
                    <a:pt x="561" y="3782"/>
                    <a:pt x="603" y="3782"/>
                  </a:cubicBezTo>
                  <a:cubicBezTo>
                    <a:pt x="644" y="3782"/>
                    <a:pt x="699" y="3951"/>
                    <a:pt x="782" y="4043"/>
                  </a:cubicBezTo>
                  <a:cubicBezTo>
                    <a:pt x="866" y="4141"/>
                    <a:pt x="950" y="4240"/>
                    <a:pt x="1033" y="4352"/>
                  </a:cubicBezTo>
                  <a:cubicBezTo>
                    <a:pt x="1116" y="4465"/>
                    <a:pt x="1129" y="4577"/>
                    <a:pt x="1230" y="4795"/>
                  </a:cubicBezTo>
                  <a:cubicBezTo>
                    <a:pt x="1329" y="5020"/>
                    <a:pt x="1379" y="4978"/>
                    <a:pt x="1476" y="5091"/>
                  </a:cubicBezTo>
                  <a:cubicBezTo>
                    <a:pt x="1572" y="5203"/>
                    <a:pt x="1618" y="5182"/>
                    <a:pt x="1714" y="5330"/>
                  </a:cubicBezTo>
                  <a:cubicBezTo>
                    <a:pt x="1810" y="5471"/>
                    <a:pt x="1852" y="5604"/>
                    <a:pt x="1894" y="5773"/>
                  </a:cubicBezTo>
                  <a:cubicBezTo>
                    <a:pt x="1935" y="5935"/>
                    <a:pt x="1994" y="6019"/>
                    <a:pt x="2132" y="6357"/>
                  </a:cubicBezTo>
                  <a:cubicBezTo>
                    <a:pt x="2269" y="6687"/>
                    <a:pt x="2299" y="6533"/>
                    <a:pt x="2466" y="6645"/>
                  </a:cubicBezTo>
                  <a:cubicBezTo>
                    <a:pt x="2633" y="6757"/>
                    <a:pt x="2675" y="6659"/>
                    <a:pt x="2908" y="6743"/>
                  </a:cubicBezTo>
                  <a:cubicBezTo>
                    <a:pt x="3143" y="6828"/>
                    <a:pt x="3494" y="6617"/>
                    <a:pt x="3593" y="6533"/>
                  </a:cubicBezTo>
                  <a:cubicBezTo>
                    <a:pt x="3694" y="6448"/>
                    <a:pt x="3844" y="6448"/>
                    <a:pt x="4007" y="6448"/>
                  </a:cubicBezTo>
                  <a:cubicBezTo>
                    <a:pt x="4170" y="6448"/>
                    <a:pt x="4216" y="6357"/>
                    <a:pt x="4358" y="6357"/>
                  </a:cubicBezTo>
                  <a:cubicBezTo>
                    <a:pt x="4500" y="6357"/>
                    <a:pt x="4634" y="6448"/>
                    <a:pt x="4842" y="6448"/>
                  </a:cubicBezTo>
                  <a:cubicBezTo>
                    <a:pt x="5051" y="6448"/>
                    <a:pt x="5151" y="6357"/>
                    <a:pt x="5331" y="6357"/>
                  </a:cubicBezTo>
                  <a:cubicBezTo>
                    <a:pt x="5511" y="6357"/>
                    <a:pt x="5498" y="6357"/>
                    <a:pt x="5720" y="6448"/>
                  </a:cubicBezTo>
                  <a:cubicBezTo>
                    <a:pt x="5941" y="6546"/>
                    <a:pt x="6125" y="6638"/>
                    <a:pt x="6250" y="6743"/>
                  </a:cubicBezTo>
                  <a:cubicBezTo>
                    <a:pt x="6376" y="6849"/>
                    <a:pt x="6526" y="6926"/>
                    <a:pt x="6639" y="7053"/>
                  </a:cubicBezTo>
                  <a:cubicBezTo>
                    <a:pt x="6751" y="7180"/>
                    <a:pt x="6789" y="7257"/>
                    <a:pt x="6872" y="7355"/>
                  </a:cubicBezTo>
                  <a:cubicBezTo>
                    <a:pt x="6956" y="7461"/>
                    <a:pt x="7139" y="7327"/>
                    <a:pt x="7277" y="7257"/>
                  </a:cubicBezTo>
                  <a:lnTo>
                    <a:pt x="7290" y="7250"/>
                  </a:lnTo>
                  <a:cubicBezTo>
                    <a:pt x="7526" y="7137"/>
                    <a:pt x="7798" y="7137"/>
                    <a:pt x="8059" y="7151"/>
                  </a:cubicBezTo>
                  <a:cubicBezTo>
                    <a:pt x="8169" y="7158"/>
                    <a:pt x="8273" y="7165"/>
                    <a:pt x="8334" y="7180"/>
                  </a:cubicBezTo>
                  <a:cubicBezTo>
                    <a:pt x="8514" y="7208"/>
                    <a:pt x="8585" y="7271"/>
                    <a:pt x="8585" y="7257"/>
                  </a:cubicBezTo>
                  <a:cubicBezTo>
                    <a:pt x="8585" y="7243"/>
                    <a:pt x="8961" y="6968"/>
                    <a:pt x="9183" y="6870"/>
                  </a:cubicBezTo>
                  <a:cubicBezTo>
                    <a:pt x="9403" y="6772"/>
                    <a:pt x="9195" y="6603"/>
                    <a:pt x="9183" y="6533"/>
                  </a:cubicBezTo>
                  <a:cubicBezTo>
                    <a:pt x="9149" y="6343"/>
                    <a:pt x="8891" y="6286"/>
                    <a:pt x="8767" y="6139"/>
                  </a:cubicBezTo>
                  <a:cubicBezTo>
                    <a:pt x="8689" y="6047"/>
                    <a:pt x="8615" y="5956"/>
                    <a:pt x="8585" y="5892"/>
                  </a:cubicBezTo>
                  <a:cubicBezTo>
                    <a:pt x="8514" y="5759"/>
                    <a:pt x="8418" y="5590"/>
                    <a:pt x="8405" y="5520"/>
                  </a:cubicBezTo>
                  <a:cubicBezTo>
                    <a:pt x="8393" y="5449"/>
                    <a:pt x="8280" y="5288"/>
                    <a:pt x="8155" y="5091"/>
                  </a:cubicBezTo>
                  <a:cubicBezTo>
                    <a:pt x="8029" y="4894"/>
                    <a:pt x="7971" y="4823"/>
                    <a:pt x="7599" y="4795"/>
                  </a:cubicBezTo>
                  <a:cubicBezTo>
                    <a:pt x="7227" y="4767"/>
                    <a:pt x="7182" y="4626"/>
                    <a:pt x="7068" y="4507"/>
                  </a:cubicBezTo>
                  <a:cubicBezTo>
                    <a:pt x="6956" y="4380"/>
                    <a:pt x="6973" y="4366"/>
                    <a:pt x="6872" y="4240"/>
                  </a:cubicBezTo>
                  <a:cubicBezTo>
                    <a:pt x="6772" y="4113"/>
                    <a:pt x="6706" y="3994"/>
                    <a:pt x="6639" y="3782"/>
                  </a:cubicBezTo>
                  <a:cubicBezTo>
                    <a:pt x="6572" y="3571"/>
                    <a:pt x="6471" y="3487"/>
                    <a:pt x="6471" y="3354"/>
                  </a:cubicBezTo>
                  <a:lnTo>
                    <a:pt x="6471" y="3199"/>
                  </a:lnTo>
                  <a:lnTo>
                    <a:pt x="6471" y="2805"/>
                  </a:lnTo>
                  <a:cubicBezTo>
                    <a:pt x="6471" y="2713"/>
                    <a:pt x="6179" y="2390"/>
                    <a:pt x="6125" y="2334"/>
                  </a:cubicBezTo>
                  <a:cubicBezTo>
                    <a:pt x="6070" y="2285"/>
                    <a:pt x="5941" y="2179"/>
                    <a:pt x="5874" y="2088"/>
                  </a:cubicBezTo>
                  <a:cubicBezTo>
                    <a:pt x="5807" y="1989"/>
                    <a:pt x="5636" y="1722"/>
                    <a:pt x="5498" y="1553"/>
                  </a:cubicBezTo>
                  <a:cubicBezTo>
                    <a:pt x="5360" y="1391"/>
                    <a:pt x="5344" y="1152"/>
                    <a:pt x="5331" y="1040"/>
                  </a:cubicBezTo>
                  <a:cubicBezTo>
                    <a:pt x="5319" y="927"/>
                    <a:pt x="5231" y="751"/>
                    <a:pt x="5151" y="52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3" name="Freihandform: Form 178">
              <a:extLst>
                <a:ext uri="{FF2B5EF4-FFF2-40B4-BE49-F238E27FC236}">
                  <a16:creationId xmlns:a16="http://schemas.microsoft.com/office/drawing/2014/main" id="{3073D452-BFC3-4D40-91CD-13A31005EB85}"/>
                </a:ext>
              </a:extLst>
            </p:cNvPr>
            <p:cNvSpPr/>
            <p:nvPr/>
          </p:nvSpPr>
          <p:spPr>
            <a:xfrm>
              <a:off x="3690774" y="4159907"/>
              <a:ext cx="7471" cy="5876"/>
            </a:xfrm>
            <a:custGeom>
              <a:avLst/>
              <a:gdLst>
                <a:gd name="connsiteX0" fmla="*/ 5174 w 7471"/>
                <a:gd name="connsiteY0" fmla="*/ 126 h 5876"/>
                <a:gd name="connsiteX1" fmla="*/ 4928 w 7471"/>
                <a:gd name="connsiteY1" fmla="*/ 126 h 5876"/>
                <a:gd name="connsiteX2" fmla="*/ 4569 w 7471"/>
                <a:gd name="connsiteY2" fmla="*/ 210 h 5876"/>
                <a:gd name="connsiteX3" fmla="*/ 4393 w 7471"/>
                <a:gd name="connsiteY3" fmla="*/ 344 h 5876"/>
                <a:gd name="connsiteX4" fmla="*/ 3558 w 7471"/>
                <a:gd name="connsiteY4" fmla="*/ 126 h 5876"/>
                <a:gd name="connsiteX5" fmla="*/ 2814 w 7471"/>
                <a:gd name="connsiteY5" fmla="*/ 288 h 5876"/>
                <a:gd name="connsiteX6" fmla="*/ 2480 w 7471"/>
                <a:gd name="connsiteY6" fmla="*/ 513 h 5876"/>
                <a:gd name="connsiteX7" fmla="*/ 2129 w 7471"/>
                <a:gd name="connsiteY7" fmla="*/ 780 h 5876"/>
                <a:gd name="connsiteX8" fmla="*/ 1711 w 7471"/>
                <a:gd name="connsiteY8" fmla="*/ 1019 h 5876"/>
                <a:gd name="connsiteX9" fmla="*/ 1209 w 7471"/>
                <a:gd name="connsiteY9" fmla="*/ 1195 h 5876"/>
                <a:gd name="connsiteX10" fmla="*/ 947 w 7471"/>
                <a:gd name="connsiteY10" fmla="*/ 1300 h 5876"/>
                <a:gd name="connsiteX11" fmla="*/ 805 w 7471"/>
                <a:gd name="connsiteY11" fmla="*/ 1540 h 5876"/>
                <a:gd name="connsiteX12" fmla="*/ 584 w 7471"/>
                <a:gd name="connsiteY12" fmla="*/ 2116 h 5876"/>
                <a:gd name="connsiteX13" fmla="*/ 262 w 7471"/>
                <a:gd name="connsiteY13" fmla="*/ 2405 h 5876"/>
                <a:gd name="connsiteX14" fmla="*/ 133 w 7471"/>
                <a:gd name="connsiteY14" fmla="*/ 2672 h 5876"/>
                <a:gd name="connsiteX15" fmla="*/ 16 w 7471"/>
                <a:gd name="connsiteY15" fmla="*/ 3206 h 5876"/>
                <a:gd name="connsiteX16" fmla="*/ 133 w 7471"/>
                <a:gd name="connsiteY16" fmla="*/ 3741 h 5876"/>
                <a:gd name="connsiteX17" fmla="*/ 738 w 7471"/>
                <a:gd name="connsiteY17" fmla="*/ 4114 h 5876"/>
                <a:gd name="connsiteX18" fmla="*/ 1236 w 7471"/>
                <a:gd name="connsiteY18" fmla="*/ 4367 h 5876"/>
                <a:gd name="connsiteX19" fmla="*/ 1921 w 7471"/>
                <a:gd name="connsiteY19" fmla="*/ 4740 h 5876"/>
                <a:gd name="connsiteX20" fmla="*/ 2409 w 7471"/>
                <a:gd name="connsiteY20" fmla="*/ 5112 h 5876"/>
                <a:gd name="connsiteX21" fmla="*/ 3165 w 7471"/>
                <a:gd name="connsiteY21" fmla="*/ 5548 h 5876"/>
                <a:gd name="connsiteX22" fmla="*/ 3825 w 7471"/>
                <a:gd name="connsiteY22" fmla="*/ 5745 h 5876"/>
                <a:gd name="connsiteX23" fmla="*/ 4510 w 7471"/>
                <a:gd name="connsiteY23" fmla="*/ 5745 h 5876"/>
                <a:gd name="connsiteX24" fmla="*/ 5057 w 7471"/>
                <a:gd name="connsiteY24" fmla="*/ 5858 h 5876"/>
                <a:gd name="connsiteX25" fmla="*/ 5383 w 7471"/>
                <a:gd name="connsiteY25" fmla="*/ 5858 h 5876"/>
                <a:gd name="connsiteX26" fmla="*/ 5755 w 7471"/>
                <a:gd name="connsiteY26" fmla="*/ 5675 h 5876"/>
                <a:gd name="connsiteX27" fmla="*/ 6181 w 7471"/>
                <a:gd name="connsiteY27" fmla="*/ 5330 h 5876"/>
                <a:gd name="connsiteX28" fmla="*/ 6486 w 7471"/>
                <a:gd name="connsiteY28" fmla="*/ 5035 h 5876"/>
                <a:gd name="connsiteX29" fmla="*/ 6703 w 7471"/>
                <a:gd name="connsiteY29" fmla="*/ 4740 h 5876"/>
                <a:gd name="connsiteX30" fmla="*/ 6891 w 7471"/>
                <a:gd name="connsiteY30" fmla="*/ 4367 h 5876"/>
                <a:gd name="connsiteX31" fmla="*/ 6891 w 7471"/>
                <a:gd name="connsiteY31" fmla="*/ 3832 h 5876"/>
                <a:gd name="connsiteX32" fmla="*/ 6891 w 7471"/>
                <a:gd name="connsiteY32" fmla="*/ 3579 h 5876"/>
                <a:gd name="connsiteX33" fmla="*/ 7029 w 7471"/>
                <a:gd name="connsiteY33" fmla="*/ 3087 h 5876"/>
                <a:gd name="connsiteX34" fmla="*/ 7238 w 7471"/>
                <a:gd name="connsiteY34" fmla="*/ 2609 h 5876"/>
                <a:gd name="connsiteX35" fmla="*/ 7355 w 7471"/>
                <a:gd name="connsiteY35" fmla="*/ 2046 h 5876"/>
                <a:gd name="connsiteX36" fmla="*/ 7472 w 7471"/>
                <a:gd name="connsiteY36" fmla="*/ 1638 h 5876"/>
                <a:gd name="connsiteX37" fmla="*/ 7355 w 7471"/>
                <a:gd name="connsiteY37" fmla="*/ 1139 h 5876"/>
                <a:gd name="connsiteX38" fmla="*/ 7238 w 7471"/>
                <a:gd name="connsiteY38" fmla="*/ 872 h 5876"/>
                <a:gd name="connsiteX39" fmla="*/ 6544 w 7471"/>
                <a:gd name="connsiteY39" fmla="*/ 344 h 5876"/>
                <a:gd name="connsiteX40" fmla="*/ 5985 w 7471"/>
                <a:gd name="connsiteY40" fmla="*/ 34 h 5876"/>
                <a:gd name="connsiteX41" fmla="*/ 5396 w 7471"/>
                <a:gd name="connsiteY41" fmla="*/ 105 h 5876"/>
                <a:gd name="connsiteX42" fmla="*/ 5174 w 7471"/>
                <a:gd name="connsiteY42" fmla="*/ 126 h 5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7471" h="5876">
                  <a:moveTo>
                    <a:pt x="5174" y="126"/>
                  </a:moveTo>
                  <a:cubicBezTo>
                    <a:pt x="5062" y="133"/>
                    <a:pt x="4985" y="133"/>
                    <a:pt x="4928" y="126"/>
                  </a:cubicBezTo>
                  <a:cubicBezTo>
                    <a:pt x="4770" y="105"/>
                    <a:pt x="4645" y="70"/>
                    <a:pt x="4569" y="210"/>
                  </a:cubicBezTo>
                  <a:cubicBezTo>
                    <a:pt x="4523" y="295"/>
                    <a:pt x="4510" y="288"/>
                    <a:pt x="4393" y="344"/>
                  </a:cubicBezTo>
                  <a:cubicBezTo>
                    <a:pt x="4277" y="407"/>
                    <a:pt x="4197" y="344"/>
                    <a:pt x="3558" y="126"/>
                  </a:cubicBezTo>
                  <a:cubicBezTo>
                    <a:pt x="3370" y="70"/>
                    <a:pt x="3036" y="210"/>
                    <a:pt x="2814" y="288"/>
                  </a:cubicBezTo>
                  <a:cubicBezTo>
                    <a:pt x="2593" y="365"/>
                    <a:pt x="2735" y="344"/>
                    <a:pt x="2480" y="513"/>
                  </a:cubicBezTo>
                  <a:cubicBezTo>
                    <a:pt x="2225" y="675"/>
                    <a:pt x="2338" y="625"/>
                    <a:pt x="2129" y="780"/>
                  </a:cubicBezTo>
                  <a:cubicBezTo>
                    <a:pt x="1958" y="900"/>
                    <a:pt x="1997" y="886"/>
                    <a:pt x="1711" y="1019"/>
                  </a:cubicBezTo>
                  <a:cubicBezTo>
                    <a:pt x="1551" y="1096"/>
                    <a:pt x="1381" y="1153"/>
                    <a:pt x="1209" y="1195"/>
                  </a:cubicBezTo>
                  <a:cubicBezTo>
                    <a:pt x="1166" y="1209"/>
                    <a:pt x="1100" y="1237"/>
                    <a:pt x="947" y="1300"/>
                  </a:cubicBezTo>
                  <a:cubicBezTo>
                    <a:pt x="567" y="1462"/>
                    <a:pt x="889" y="1392"/>
                    <a:pt x="805" y="1540"/>
                  </a:cubicBezTo>
                  <a:cubicBezTo>
                    <a:pt x="721" y="1694"/>
                    <a:pt x="680" y="1955"/>
                    <a:pt x="584" y="2116"/>
                  </a:cubicBezTo>
                  <a:cubicBezTo>
                    <a:pt x="488" y="2278"/>
                    <a:pt x="425" y="2264"/>
                    <a:pt x="262" y="2405"/>
                  </a:cubicBezTo>
                  <a:cubicBezTo>
                    <a:pt x="99" y="2538"/>
                    <a:pt x="133" y="2531"/>
                    <a:pt x="133" y="2672"/>
                  </a:cubicBezTo>
                  <a:cubicBezTo>
                    <a:pt x="133" y="2806"/>
                    <a:pt x="62" y="2855"/>
                    <a:pt x="16" y="3206"/>
                  </a:cubicBezTo>
                  <a:cubicBezTo>
                    <a:pt x="-30" y="3558"/>
                    <a:pt x="29" y="3460"/>
                    <a:pt x="133" y="3741"/>
                  </a:cubicBezTo>
                  <a:cubicBezTo>
                    <a:pt x="237" y="4022"/>
                    <a:pt x="480" y="3938"/>
                    <a:pt x="738" y="4114"/>
                  </a:cubicBezTo>
                  <a:cubicBezTo>
                    <a:pt x="997" y="4290"/>
                    <a:pt x="1098" y="4297"/>
                    <a:pt x="1236" y="4367"/>
                  </a:cubicBezTo>
                  <a:cubicBezTo>
                    <a:pt x="1373" y="4437"/>
                    <a:pt x="1783" y="4578"/>
                    <a:pt x="1921" y="4740"/>
                  </a:cubicBezTo>
                  <a:cubicBezTo>
                    <a:pt x="2058" y="4901"/>
                    <a:pt x="2222" y="4944"/>
                    <a:pt x="2409" y="5112"/>
                  </a:cubicBezTo>
                  <a:cubicBezTo>
                    <a:pt x="2597" y="5274"/>
                    <a:pt x="2957" y="5443"/>
                    <a:pt x="3165" y="5548"/>
                  </a:cubicBezTo>
                  <a:cubicBezTo>
                    <a:pt x="3374" y="5654"/>
                    <a:pt x="3362" y="5675"/>
                    <a:pt x="3825" y="5745"/>
                  </a:cubicBezTo>
                  <a:cubicBezTo>
                    <a:pt x="4289" y="5823"/>
                    <a:pt x="4222" y="5745"/>
                    <a:pt x="4510" y="5745"/>
                  </a:cubicBezTo>
                  <a:cubicBezTo>
                    <a:pt x="4799" y="5745"/>
                    <a:pt x="4857" y="5858"/>
                    <a:pt x="5057" y="5858"/>
                  </a:cubicBezTo>
                  <a:cubicBezTo>
                    <a:pt x="5258" y="5858"/>
                    <a:pt x="5174" y="5900"/>
                    <a:pt x="5383" y="5858"/>
                  </a:cubicBezTo>
                  <a:cubicBezTo>
                    <a:pt x="5592" y="5823"/>
                    <a:pt x="5638" y="5767"/>
                    <a:pt x="5755" y="5675"/>
                  </a:cubicBezTo>
                  <a:cubicBezTo>
                    <a:pt x="5872" y="5584"/>
                    <a:pt x="5985" y="5471"/>
                    <a:pt x="6181" y="5330"/>
                  </a:cubicBezTo>
                  <a:cubicBezTo>
                    <a:pt x="6377" y="5190"/>
                    <a:pt x="6390" y="5140"/>
                    <a:pt x="6486" y="5035"/>
                  </a:cubicBezTo>
                  <a:cubicBezTo>
                    <a:pt x="6582" y="4937"/>
                    <a:pt x="6624" y="4831"/>
                    <a:pt x="6703" y="4740"/>
                  </a:cubicBezTo>
                  <a:cubicBezTo>
                    <a:pt x="6783" y="4648"/>
                    <a:pt x="6832" y="4501"/>
                    <a:pt x="6891" y="4367"/>
                  </a:cubicBezTo>
                  <a:cubicBezTo>
                    <a:pt x="6949" y="4226"/>
                    <a:pt x="6891" y="4071"/>
                    <a:pt x="6891" y="3832"/>
                  </a:cubicBezTo>
                  <a:cubicBezTo>
                    <a:pt x="6891" y="3586"/>
                    <a:pt x="6879" y="3713"/>
                    <a:pt x="6891" y="3579"/>
                  </a:cubicBezTo>
                  <a:cubicBezTo>
                    <a:pt x="6904" y="3439"/>
                    <a:pt x="6962" y="3206"/>
                    <a:pt x="7029" y="3087"/>
                  </a:cubicBezTo>
                  <a:cubicBezTo>
                    <a:pt x="7095" y="2967"/>
                    <a:pt x="7133" y="2855"/>
                    <a:pt x="7238" y="2609"/>
                  </a:cubicBezTo>
                  <a:cubicBezTo>
                    <a:pt x="7342" y="2369"/>
                    <a:pt x="7355" y="2229"/>
                    <a:pt x="7355" y="2046"/>
                  </a:cubicBezTo>
                  <a:cubicBezTo>
                    <a:pt x="7355" y="1856"/>
                    <a:pt x="7472" y="1765"/>
                    <a:pt x="7472" y="1638"/>
                  </a:cubicBezTo>
                  <a:cubicBezTo>
                    <a:pt x="7472" y="1511"/>
                    <a:pt x="7401" y="1371"/>
                    <a:pt x="7355" y="1139"/>
                  </a:cubicBezTo>
                  <a:cubicBezTo>
                    <a:pt x="7309" y="900"/>
                    <a:pt x="7284" y="963"/>
                    <a:pt x="7238" y="872"/>
                  </a:cubicBezTo>
                  <a:cubicBezTo>
                    <a:pt x="7192" y="780"/>
                    <a:pt x="6820" y="442"/>
                    <a:pt x="6544" y="344"/>
                  </a:cubicBezTo>
                  <a:cubicBezTo>
                    <a:pt x="6268" y="253"/>
                    <a:pt x="6344" y="253"/>
                    <a:pt x="5985" y="34"/>
                  </a:cubicBezTo>
                  <a:cubicBezTo>
                    <a:pt x="5827" y="-64"/>
                    <a:pt x="5578" y="77"/>
                    <a:pt x="5396" y="105"/>
                  </a:cubicBezTo>
                  <a:cubicBezTo>
                    <a:pt x="5326" y="112"/>
                    <a:pt x="5251" y="119"/>
                    <a:pt x="5174" y="12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4" name="Freihandform: Form 179">
              <a:extLst>
                <a:ext uri="{FF2B5EF4-FFF2-40B4-BE49-F238E27FC236}">
                  <a16:creationId xmlns:a16="http://schemas.microsoft.com/office/drawing/2014/main" id="{5315E9EC-20E6-404A-8AB5-F0E20FFFC056}"/>
                </a:ext>
              </a:extLst>
            </p:cNvPr>
            <p:cNvSpPr/>
            <p:nvPr/>
          </p:nvSpPr>
          <p:spPr>
            <a:xfrm>
              <a:off x="3683741" y="4163614"/>
              <a:ext cx="2880" cy="3739"/>
            </a:xfrm>
            <a:custGeom>
              <a:avLst/>
              <a:gdLst>
                <a:gd name="connsiteX0" fmla="*/ 2020 w 2880"/>
                <a:gd name="connsiteY0" fmla="*/ 555 h 3739"/>
                <a:gd name="connsiteX1" fmla="*/ 2063 w 2880"/>
                <a:gd name="connsiteY1" fmla="*/ 463 h 3739"/>
                <a:gd name="connsiteX2" fmla="*/ 2279 w 2880"/>
                <a:gd name="connsiteY2" fmla="*/ 34 h 3739"/>
                <a:gd name="connsiteX3" fmla="*/ 2538 w 2880"/>
                <a:gd name="connsiteY3" fmla="*/ 34 h 3739"/>
                <a:gd name="connsiteX4" fmla="*/ 2697 w 2880"/>
                <a:gd name="connsiteY4" fmla="*/ 34 h 3739"/>
                <a:gd name="connsiteX5" fmla="*/ 2777 w 2880"/>
                <a:gd name="connsiteY5" fmla="*/ 63 h 3739"/>
                <a:gd name="connsiteX6" fmla="*/ 2801 w 2880"/>
                <a:gd name="connsiteY6" fmla="*/ 407 h 3739"/>
                <a:gd name="connsiteX7" fmla="*/ 2580 w 2880"/>
                <a:gd name="connsiteY7" fmla="*/ 660 h 3739"/>
                <a:gd name="connsiteX8" fmla="*/ 2509 w 2880"/>
                <a:gd name="connsiteY8" fmla="*/ 878 h 3739"/>
                <a:gd name="connsiteX9" fmla="*/ 2509 w 2880"/>
                <a:gd name="connsiteY9" fmla="*/ 1272 h 3739"/>
                <a:gd name="connsiteX10" fmla="*/ 2580 w 2880"/>
                <a:gd name="connsiteY10" fmla="*/ 1497 h 3739"/>
                <a:gd name="connsiteX11" fmla="*/ 2580 w 2880"/>
                <a:gd name="connsiteY11" fmla="*/ 1736 h 3739"/>
                <a:gd name="connsiteX12" fmla="*/ 2384 w 2880"/>
                <a:gd name="connsiteY12" fmla="*/ 1961 h 3739"/>
                <a:gd name="connsiteX13" fmla="*/ 2020 w 2880"/>
                <a:gd name="connsiteY13" fmla="*/ 2039 h 3739"/>
                <a:gd name="connsiteX14" fmla="*/ 1699 w 2880"/>
                <a:gd name="connsiteY14" fmla="*/ 2179 h 3739"/>
                <a:gd name="connsiteX15" fmla="*/ 1327 w 2880"/>
                <a:gd name="connsiteY15" fmla="*/ 2285 h 3739"/>
                <a:gd name="connsiteX16" fmla="*/ 1126 w 2880"/>
                <a:gd name="connsiteY16" fmla="*/ 2566 h 3739"/>
                <a:gd name="connsiteX17" fmla="*/ 943 w 2880"/>
                <a:gd name="connsiteY17" fmla="*/ 3122 h 3739"/>
                <a:gd name="connsiteX18" fmla="*/ 746 w 2880"/>
                <a:gd name="connsiteY18" fmla="*/ 3713 h 3739"/>
                <a:gd name="connsiteX19" fmla="*/ 441 w 2880"/>
                <a:gd name="connsiteY19" fmla="*/ 3635 h 3739"/>
                <a:gd name="connsiteX20" fmla="*/ 174 w 2880"/>
                <a:gd name="connsiteY20" fmla="*/ 3389 h 3739"/>
                <a:gd name="connsiteX21" fmla="*/ 23 w 2880"/>
                <a:gd name="connsiteY21" fmla="*/ 3122 h 3739"/>
                <a:gd name="connsiteX22" fmla="*/ 23 w 2880"/>
                <a:gd name="connsiteY22" fmla="*/ 2791 h 3739"/>
                <a:gd name="connsiteX23" fmla="*/ 174 w 2880"/>
                <a:gd name="connsiteY23" fmla="*/ 2179 h 3739"/>
                <a:gd name="connsiteX24" fmla="*/ 746 w 2880"/>
                <a:gd name="connsiteY24" fmla="*/ 1497 h 3739"/>
                <a:gd name="connsiteX25" fmla="*/ 1014 w 2880"/>
                <a:gd name="connsiteY25" fmla="*/ 1272 h 3739"/>
                <a:gd name="connsiteX26" fmla="*/ 1699 w 2880"/>
                <a:gd name="connsiteY26" fmla="*/ 970 h 3739"/>
                <a:gd name="connsiteX27" fmla="*/ 2020 w 2880"/>
                <a:gd name="connsiteY27" fmla="*/ 555 h 3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880" h="3739">
                  <a:moveTo>
                    <a:pt x="2020" y="555"/>
                  </a:moveTo>
                  <a:cubicBezTo>
                    <a:pt x="2039" y="520"/>
                    <a:pt x="2052" y="492"/>
                    <a:pt x="2063" y="463"/>
                  </a:cubicBezTo>
                  <a:cubicBezTo>
                    <a:pt x="2118" y="309"/>
                    <a:pt x="2196" y="168"/>
                    <a:pt x="2279" y="34"/>
                  </a:cubicBezTo>
                  <a:cubicBezTo>
                    <a:pt x="2327" y="-43"/>
                    <a:pt x="2447" y="34"/>
                    <a:pt x="2538" y="34"/>
                  </a:cubicBezTo>
                  <a:lnTo>
                    <a:pt x="2697" y="34"/>
                  </a:lnTo>
                  <a:cubicBezTo>
                    <a:pt x="2725" y="34"/>
                    <a:pt x="2752" y="41"/>
                    <a:pt x="2777" y="63"/>
                  </a:cubicBezTo>
                  <a:cubicBezTo>
                    <a:pt x="2882" y="147"/>
                    <a:pt x="2934" y="407"/>
                    <a:pt x="2801" y="407"/>
                  </a:cubicBezTo>
                  <a:cubicBezTo>
                    <a:pt x="2755" y="407"/>
                    <a:pt x="2718" y="485"/>
                    <a:pt x="2580" y="660"/>
                  </a:cubicBezTo>
                  <a:cubicBezTo>
                    <a:pt x="2442" y="836"/>
                    <a:pt x="2509" y="787"/>
                    <a:pt x="2509" y="878"/>
                  </a:cubicBezTo>
                  <a:cubicBezTo>
                    <a:pt x="2509" y="977"/>
                    <a:pt x="2488" y="1033"/>
                    <a:pt x="2509" y="1272"/>
                  </a:cubicBezTo>
                  <a:cubicBezTo>
                    <a:pt x="2530" y="1518"/>
                    <a:pt x="2580" y="1406"/>
                    <a:pt x="2580" y="1497"/>
                  </a:cubicBezTo>
                  <a:cubicBezTo>
                    <a:pt x="2580" y="1589"/>
                    <a:pt x="2593" y="1610"/>
                    <a:pt x="2580" y="1736"/>
                  </a:cubicBezTo>
                  <a:cubicBezTo>
                    <a:pt x="2567" y="1863"/>
                    <a:pt x="2476" y="1842"/>
                    <a:pt x="2384" y="1961"/>
                  </a:cubicBezTo>
                  <a:cubicBezTo>
                    <a:pt x="2292" y="2074"/>
                    <a:pt x="2233" y="2039"/>
                    <a:pt x="2020" y="2039"/>
                  </a:cubicBezTo>
                  <a:cubicBezTo>
                    <a:pt x="1807" y="2039"/>
                    <a:pt x="1882" y="2179"/>
                    <a:pt x="1699" y="2179"/>
                  </a:cubicBezTo>
                  <a:cubicBezTo>
                    <a:pt x="1515" y="2179"/>
                    <a:pt x="1511" y="2179"/>
                    <a:pt x="1327" y="2285"/>
                  </a:cubicBezTo>
                  <a:cubicBezTo>
                    <a:pt x="1143" y="2390"/>
                    <a:pt x="1231" y="2412"/>
                    <a:pt x="1126" y="2566"/>
                  </a:cubicBezTo>
                  <a:cubicBezTo>
                    <a:pt x="1022" y="2714"/>
                    <a:pt x="1014" y="2967"/>
                    <a:pt x="943" y="3122"/>
                  </a:cubicBezTo>
                  <a:cubicBezTo>
                    <a:pt x="872" y="3270"/>
                    <a:pt x="746" y="3635"/>
                    <a:pt x="746" y="3713"/>
                  </a:cubicBezTo>
                  <a:cubicBezTo>
                    <a:pt x="746" y="3790"/>
                    <a:pt x="559" y="3678"/>
                    <a:pt x="441" y="3635"/>
                  </a:cubicBezTo>
                  <a:cubicBezTo>
                    <a:pt x="324" y="3586"/>
                    <a:pt x="270" y="3481"/>
                    <a:pt x="174" y="3389"/>
                  </a:cubicBezTo>
                  <a:cubicBezTo>
                    <a:pt x="77" y="3298"/>
                    <a:pt x="82" y="3178"/>
                    <a:pt x="23" y="3122"/>
                  </a:cubicBezTo>
                  <a:cubicBezTo>
                    <a:pt x="-35" y="3059"/>
                    <a:pt x="36" y="2862"/>
                    <a:pt x="23" y="2791"/>
                  </a:cubicBezTo>
                  <a:cubicBezTo>
                    <a:pt x="11" y="2721"/>
                    <a:pt x="174" y="2320"/>
                    <a:pt x="174" y="2179"/>
                  </a:cubicBezTo>
                  <a:cubicBezTo>
                    <a:pt x="174" y="2039"/>
                    <a:pt x="604" y="1694"/>
                    <a:pt x="746" y="1497"/>
                  </a:cubicBezTo>
                  <a:cubicBezTo>
                    <a:pt x="888" y="1300"/>
                    <a:pt x="930" y="1406"/>
                    <a:pt x="1014" y="1272"/>
                  </a:cubicBezTo>
                  <a:cubicBezTo>
                    <a:pt x="1097" y="1146"/>
                    <a:pt x="1393" y="1033"/>
                    <a:pt x="1699" y="970"/>
                  </a:cubicBezTo>
                  <a:cubicBezTo>
                    <a:pt x="2003" y="913"/>
                    <a:pt x="1966" y="660"/>
                    <a:pt x="2020" y="55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5" name="Freihandform: Form 180">
              <a:extLst>
                <a:ext uri="{FF2B5EF4-FFF2-40B4-BE49-F238E27FC236}">
                  <a16:creationId xmlns:a16="http://schemas.microsoft.com/office/drawing/2014/main" id="{0EBE7376-0EA0-1C4C-9612-3BB72D8ABB4C}"/>
                </a:ext>
              </a:extLst>
            </p:cNvPr>
            <p:cNvSpPr/>
            <p:nvPr/>
          </p:nvSpPr>
          <p:spPr>
            <a:xfrm>
              <a:off x="4232390" y="3645340"/>
              <a:ext cx="880509" cy="461231"/>
            </a:xfrm>
            <a:custGeom>
              <a:avLst/>
              <a:gdLst>
                <a:gd name="connsiteX0" fmla="*/ 65294 w 880509"/>
                <a:gd name="connsiteY0" fmla="*/ 443 h 461231"/>
                <a:gd name="connsiteX1" fmla="*/ 34391 w 880509"/>
                <a:gd name="connsiteY1" fmla="*/ 1090 h 461231"/>
                <a:gd name="connsiteX2" fmla="*/ 34391 w 880509"/>
                <a:gd name="connsiteY2" fmla="*/ 41530 h 461231"/>
                <a:gd name="connsiteX3" fmla="*/ 28301 w 880509"/>
                <a:gd name="connsiteY3" fmla="*/ 31740 h 461231"/>
                <a:gd name="connsiteX4" fmla="*/ 14699 w 880509"/>
                <a:gd name="connsiteY4" fmla="*/ 17618 h 461231"/>
                <a:gd name="connsiteX5" fmla="*/ 1688 w 880509"/>
                <a:gd name="connsiteY5" fmla="*/ 30629 h 461231"/>
                <a:gd name="connsiteX6" fmla="*/ 9529 w 880509"/>
                <a:gd name="connsiteY6" fmla="*/ 41804 h 461231"/>
                <a:gd name="connsiteX7" fmla="*/ 14699 w 880509"/>
                <a:gd name="connsiteY7" fmla="*/ 51376 h 461231"/>
                <a:gd name="connsiteX8" fmla="*/ 15360 w 880509"/>
                <a:gd name="connsiteY8" fmla="*/ 61617 h 461231"/>
                <a:gd name="connsiteX9" fmla="*/ 14699 w 880509"/>
                <a:gd name="connsiteY9" fmla="*/ 116784 h 461231"/>
                <a:gd name="connsiteX10" fmla="*/ 13440 w 880509"/>
                <a:gd name="connsiteY10" fmla="*/ 117227 h 461231"/>
                <a:gd name="connsiteX11" fmla="*/ 1688 w 880509"/>
                <a:gd name="connsiteY11" fmla="*/ 125575 h 461231"/>
                <a:gd name="connsiteX12" fmla="*/ 9776 w 880509"/>
                <a:gd name="connsiteY12" fmla="*/ 154059 h 461231"/>
                <a:gd name="connsiteX13" fmla="*/ 14699 w 880509"/>
                <a:gd name="connsiteY13" fmla="*/ 176565 h 461231"/>
                <a:gd name="connsiteX14" fmla="*/ 9776 w 880509"/>
                <a:gd name="connsiteY14" fmla="*/ 190631 h 461231"/>
                <a:gd name="connsiteX15" fmla="*/ 39314 w 880509"/>
                <a:gd name="connsiteY15" fmla="*/ 241621 h 461231"/>
                <a:gd name="connsiteX16" fmla="*/ 48113 w 880509"/>
                <a:gd name="connsiteY16" fmla="*/ 258634 h 461231"/>
                <a:gd name="connsiteX17" fmla="*/ 74128 w 880509"/>
                <a:gd name="connsiteY17" fmla="*/ 303160 h 461231"/>
                <a:gd name="connsiteX18" fmla="*/ 121953 w 880509"/>
                <a:gd name="connsiteY18" fmla="*/ 341490 h 461231"/>
                <a:gd name="connsiteX19" fmla="*/ 153250 w 880509"/>
                <a:gd name="connsiteY19" fmla="*/ 337622 h 461231"/>
                <a:gd name="connsiteX20" fmla="*/ 211273 w 880509"/>
                <a:gd name="connsiteY20" fmla="*/ 362941 h 461231"/>
                <a:gd name="connsiteX21" fmla="*/ 255932 w 880509"/>
                <a:gd name="connsiteY21" fmla="*/ 362941 h 461231"/>
                <a:gd name="connsiteX22" fmla="*/ 255932 w 880509"/>
                <a:gd name="connsiteY22" fmla="*/ 356611 h 461231"/>
                <a:gd name="connsiteX23" fmla="*/ 280900 w 880509"/>
                <a:gd name="connsiteY23" fmla="*/ 354149 h 461231"/>
                <a:gd name="connsiteX24" fmla="*/ 290746 w 880509"/>
                <a:gd name="connsiteY24" fmla="*/ 361534 h 461231"/>
                <a:gd name="connsiteX25" fmla="*/ 300592 w 880509"/>
                <a:gd name="connsiteY25" fmla="*/ 371380 h 461231"/>
                <a:gd name="connsiteX26" fmla="*/ 307625 w 880509"/>
                <a:gd name="connsiteY26" fmla="*/ 377007 h 461231"/>
                <a:gd name="connsiteX27" fmla="*/ 309602 w 880509"/>
                <a:gd name="connsiteY27" fmla="*/ 382584 h 461231"/>
                <a:gd name="connsiteX28" fmla="*/ 310439 w 880509"/>
                <a:gd name="connsiteY28" fmla="*/ 384392 h 461231"/>
                <a:gd name="connsiteX29" fmla="*/ 310903 w 880509"/>
                <a:gd name="connsiteY29" fmla="*/ 386713 h 461231"/>
                <a:gd name="connsiteX30" fmla="*/ 313252 w 880509"/>
                <a:gd name="connsiteY30" fmla="*/ 392128 h 461231"/>
                <a:gd name="connsiteX31" fmla="*/ 321445 w 880509"/>
                <a:gd name="connsiteY31" fmla="*/ 398071 h 461231"/>
                <a:gd name="connsiteX32" fmla="*/ 327670 w 880509"/>
                <a:gd name="connsiteY32" fmla="*/ 402678 h 461231"/>
                <a:gd name="connsiteX33" fmla="*/ 332466 w 880509"/>
                <a:gd name="connsiteY33" fmla="*/ 402867 h 461231"/>
                <a:gd name="connsiteX34" fmla="*/ 333999 w 880509"/>
                <a:gd name="connsiteY34" fmla="*/ 402678 h 461231"/>
                <a:gd name="connsiteX35" fmla="*/ 337994 w 880509"/>
                <a:gd name="connsiteY35" fmla="*/ 396721 h 461231"/>
                <a:gd name="connsiteX36" fmla="*/ 338923 w 880509"/>
                <a:gd name="connsiteY36" fmla="*/ 394941 h 461231"/>
                <a:gd name="connsiteX37" fmla="*/ 339464 w 880509"/>
                <a:gd name="connsiteY37" fmla="*/ 393085 h 461231"/>
                <a:gd name="connsiteX38" fmla="*/ 341736 w 880509"/>
                <a:gd name="connsiteY38" fmla="*/ 389666 h 461231"/>
                <a:gd name="connsiteX39" fmla="*/ 345161 w 880509"/>
                <a:gd name="connsiteY39" fmla="*/ 388724 h 461231"/>
                <a:gd name="connsiteX40" fmla="*/ 347011 w 880509"/>
                <a:gd name="connsiteY40" fmla="*/ 387908 h 461231"/>
                <a:gd name="connsiteX41" fmla="*/ 349472 w 880509"/>
                <a:gd name="connsiteY41" fmla="*/ 388604 h 461231"/>
                <a:gd name="connsiteX42" fmla="*/ 353692 w 880509"/>
                <a:gd name="connsiteY42" fmla="*/ 389666 h 461231"/>
                <a:gd name="connsiteX43" fmla="*/ 363187 w 880509"/>
                <a:gd name="connsiteY43" fmla="*/ 394941 h 461231"/>
                <a:gd name="connsiteX44" fmla="*/ 363855 w 880509"/>
                <a:gd name="connsiteY44" fmla="*/ 395546 h 461231"/>
                <a:gd name="connsiteX45" fmla="*/ 375846 w 880509"/>
                <a:gd name="connsiteY45" fmla="*/ 414282 h 461231"/>
                <a:gd name="connsiteX46" fmla="*/ 388154 w 880509"/>
                <a:gd name="connsiteY46" fmla="*/ 427645 h 461231"/>
                <a:gd name="connsiteX47" fmla="*/ 390615 w 880509"/>
                <a:gd name="connsiteY47" fmla="*/ 438194 h 461231"/>
                <a:gd name="connsiteX48" fmla="*/ 391853 w 880509"/>
                <a:gd name="connsiteY48" fmla="*/ 440832 h 461231"/>
                <a:gd name="connsiteX49" fmla="*/ 396594 w 880509"/>
                <a:gd name="connsiteY49" fmla="*/ 448041 h 461231"/>
                <a:gd name="connsiteX50" fmla="*/ 403289 w 880509"/>
                <a:gd name="connsiteY50" fmla="*/ 450643 h 461231"/>
                <a:gd name="connsiteX51" fmla="*/ 419451 w 880509"/>
                <a:gd name="connsiteY51" fmla="*/ 455777 h 461231"/>
                <a:gd name="connsiteX52" fmla="*/ 425077 w 880509"/>
                <a:gd name="connsiteY52" fmla="*/ 419205 h 461231"/>
                <a:gd name="connsiteX53" fmla="*/ 431344 w 880509"/>
                <a:gd name="connsiteY53" fmla="*/ 413410 h 461231"/>
                <a:gd name="connsiteX54" fmla="*/ 453561 w 880509"/>
                <a:gd name="connsiteY54" fmla="*/ 392128 h 461231"/>
                <a:gd name="connsiteX55" fmla="*/ 483803 w 880509"/>
                <a:gd name="connsiteY55" fmla="*/ 381578 h 461231"/>
                <a:gd name="connsiteX56" fmla="*/ 497645 w 880509"/>
                <a:gd name="connsiteY56" fmla="*/ 383548 h 461231"/>
                <a:gd name="connsiteX57" fmla="*/ 512991 w 880509"/>
                <a:gd name="connsiteY57" fmla="*/ 387908 h 461231"/>
                <a:gd name="connsiteX58" fmla="*/ 529216 w 880509"/>
                <a:gd name="connsiteY58" fmla="*/ 389891 h 461231"/>
                <a:gd name="connsiteX59" fmla="*/ 531980 w 880509"/>
                <a:gd name="connsiteY59" fmla="*/ 389666 h 461231"/>
                <a:gd name="connsiteX60" fmla="*/ 535482 w 880509"/>
                <a:gd name="connsiteY60" fmla="*/ 385587 h 461231"/>
                <a:gd name="connsiteX61" fmla="*/ 540068 w 880509"/>
                <a:gd name="connsiteY61" fmla="*/ 380172 h 461231"/>
                <a:gd name="connsiteX62" fmla="*/ 544949 w 880509"/>
                <a:gd name="connsiteY62" fmla="*/ 375312 h 461231"/>
                <a:gd name="connsiteX63" fmla="*/ 554837 w 880509"/>
                <a:gd name="connsiteY63" fmla="*/ 367512 h 461231"/>
                <a:gd name="connsiteX64" fmla="*/ 568362 w 880509"/>
                <a:gd name="connsiteY64" fmla="*/ 367428 h 461231"/>
                <a:gd name="connsiteX65" fmla="*/ 575936 w 880509"/>
                <a:gd name="connsiteY65" fmla="*/ 367512 h 461231"/>
                <a:gd name="connsiteX66" fmla="*/ 578067 w 880509"/>
                <a:gd name="connsiteY66" fmla="*/ 367505 h 461231"/>
                <a:gd name="connsiteX67" fmla="*/ 597739 w 880509"/>
                <a:gd name="connsiteY67" fmla="*/ 370325 h 461231"/>
                <a:gd name="connsiteX68" fmla="*/ 599708 w 880509"/>
                <a:gd name="connsiteY68" fmla="*/ 373751 h 461231"/>
                <a:gd name="connsiteX69" fmla="*/ 606530 w 880509"/>
                <a:gd name="connsiteY69" fmla="*/ 382985 h 461231"/>
                <a:gd name="connsiteX70" fmla="*/ 606608 w 880509"/>
                <a:gd name="connsiteY70" fmla="*/ 383034 h 461231"/>
                <a:gd name="connsiteX71" fmla="*/ 618135 w 880509"/>
                <a:gd name="connsiteY71" fmla="*/ 385798 h 461231"/>
                <a:gd name="connsiteX72" fmla="*/ 620955 w 880509"/>
                <a:gd name="connsiteY72" fmla="*/ 381262 h 461231"/>
                <a:gd name="connsiteX73" fmla="*/ 627629 w 880509"/>
                <a:gd name="connsiteY73" fmla="*/ 375600 h 461231"/>
                <a:gd name="connsiteX74" fmla="*/ 629163 w 880509"/>
                <a:gd name="connsiteY74" fmla="*/ 376824 h 461231"/>
                <a:gd name="connsiteX75" fmla="*/ 636069 w 880509"/>
                <a:gd name="connsiteY75" fmla="*/ 385798 h 461231"/>
                <a:gd name="connsiteX76" fmla="*/ 647322 w 880509"/>
                <a:gd name="connsiteY76" fmla="*/ 401271 h 461231"/>
                <a:gd name="connsiteX77" fmla="*/ 652245 w 880509"/>
                <a:gd name="connsiteY77" fmla="*/ 417095 h 461231"/>
                <a:gd name="connsiteX78" fmla="*/ 661740 w 880509"/>
                <a:gd name="connsiteY78" fmla="*/ 445227 h 461231"/>
                <a:gd name="connsiteX79" fmla="*/ 678619 w 880509"/>
                <a:gd name="connsiteY79" fmla="*/ 461052 h 461231"/>
                <a:gd name="connsiteX80" fmla="*/ 687410 w 880509"/>
                <a:gd name="connsiteY80" fmla="*/ 445227 h 461231"/>
                <a:gd name="connsiteX81" fmla="*/ 675103 w 880509"/>
                <a:gd name="connsiteY81" fmla="*/ 405139 h 461231"/>
                <a:gd name="connsiteX82" fmla="*/ 669357 w 880509"/>
                <a:gd name="connsiteY82" fmla="*/ 398345 h 461231"/>
                <a:gd name="connsiteX83" fmla="*/ 661740 w 880509"/>
                <a:gd name="connsiteY83" fmla="*/ 380172 h 461231"/>
                <a:gd name="connsiteX84" fmla="*/ 675103 w 880509"/>
                <a:gd name="connsiteY84" fmla="*/ 343248 h 461231"/>
                <a:gd name="connsiteX85" fmla="*/ 701476 w 880509"/>
                <a:gd name="connsiteY85" fmla="*/ 319687 h 461231"/>
                <a:gd name="connsiteX86" fmla="*/ 748246 w 880509"/>
                <a:gd name="connsiteY86" fmla="*/ 284171 h 461231"/>
                <a:gd name="connsiteX87" fmla="*/ 747311 w 880509"/>
                <a:gd name="connsiteY87" fmla="*/ 259041 h 461231"/>
                <a:gd name="connsiteX88" fmla="*/ 746488 w 880509"/>
                <a:gd name="connsiteY88" fmla="*/ 237049 h 461231"/>
                <a:gd name="connsiteX89" fmla="*/ 749639 w 880509"/>
                <a:gd name="connsiteY89" fmla="*/ 231387 h 461231"/>
                <a:gd name="connsiteX90" fmla="*/ 751763 w 880509"/>
                <a:gd name="connsiteY90" fmla="*/ 230368 h 461231"/>
                <a:gd name="connsiteX91" fmla="*/ 761616 w 880509"/>
                <a:gd name="connsiteY91" fmla="*/ 216576 h 461231"/>
                <a:gd name="connsiteX92" fmla="*/ 768290 w 880509"/>
                <a:gd name="connsiteY92" fmla="*/ 206807 h 461231"/>
                <a:gd name="connsiteX93" fmla="*/ 771462 w 880509"/>
                <a:gd name="connsiteY93" fmla="*/ 204064 h 461231"/>
                <a:gd name="connsiteX94" fmla="*/ 785521 w 880509"/>
                <a:gd name="connsiteY94" fmla="*/ 188521 h 461231"/>
                <a:gd name="connsiteX95" fmla="*/ 787667 w 880509"/>
                <a:gd name="connsiteY95" fmla="*/ 182944 h 461231"/>
                <a:gd name="connsiteX96" fmla="*/ 798533 w 880509"/>
                <a:gd name="connsiteY96" fmla="*/ 162850 h 461231"/>
                <a:gd name="connsiteX97" fmla="*/ 808168 w 880509"/>
                <a:gd name="connsiteY97" fmla="*/ 162077 h 461231"/>
                <a:gd name="connsiteX98" fmla="*/ 830181 w 880509"/>
                <a:gd name="connsiteY98" fmla="*/ 158631 h 461231"/>
                <a:gd name="connsiteX99" fmla="*/ 829795 w 880509"/>
                <a:gd name="connsiteY99" fmla="*/ 150676 h 461231"/>
                <a:gd name="connsiteX100" fmla="*/ 830181 w 880509"/>
                <a:gd name="connsiteY100" fmla="*/ 130498 h 461231"/>
                <a:gd name="connsiteX101" fmla="*/ 845302 w 880509"/>
                <a:gd name="connsiteY101" fmla="*/ 107993 h 461231"/>
                <a:gd name="connsiteX102" fmla="*/ 856211 w 880509"/>
                <a:gd name="connsiteY102" fmla="*/ 104075 h 461231"/>
                <a:gd name="connsiteX103" fmla="*/ 872028 w 880509"/>
                <a:gd name="connsiteY103" fmla="*/ 97795 h 461231"/>
                <a:gd name="connsiteX104" fmla="*/ 880510 w 880509"/>
                <a:gd name="connsiteY104" fmla="*/ 86886 h 461231"/>
                <a:gd name="connsiteX105" fmla="*/ 872408 w 880509"/>
                <a:gd name="connsiteY105" fmla="*/ 78341 h 461231"/>
                <a:gd name="connsiteX106" fmla="*/ 872330 w 880509"/>
                <a:gd name="connsiteY106" fmla="*/ 51686 h 461231"/>
                <a:gd name="connsiteX107" fmla="*/ 872408 w 880509"/>
                <a:gd name="connsiteY107" fmla="*/ 48036 h 461231"/>
                <a:gd name="connsiteX108" fmla="*/ 864897 w 880509"/>
                <a:gd name="connsiteY108" fmla="*/ 42789 h 461231"/>
                <a:gd name="connsiteX109" fmla="*/ 857955 w 880509"/>
                <a:gd name="connsiteY109" fmla="*/ 41558 h 461231"/>
                <a:gd name="connsiteX110" fmla="*/ 852371 w 880509"/>
                <a:gd name="connsiteY110" fmla="*/ 40517 h 461231"/>
                <a:gd name="connsiteX111" fmla="*/ 836504 w 880509"/>
                <a:gd name="connsiteY111" fmla="*/ 53043 h 461231"/>
                <a:gd name="connsiteX112" fmla="*/ 833986 w 880509"/>
                <a:gd name="connsiteY112" fmla="*/ 61947 h 461231"/>
                <a:gd name="connsiteX113" fmla="*/ 832334 w 880509"/>
                <a:gd name="connsiteY113" fmla="*/ 67243 h 461231"/>
                <a:gd name="connsiteX114" fmla="*/ 825652 w 880509"/>
                <a:gd name="connsiteY114" fmla="*/ 82273 h 461231"/>
                <a:gd name="connsiteX115" fmla="*/ 813963 w 880509"/>
                <a:gd name="connsiteY115" fmla="*/ 90621 h 461231"/>
                <a:gd name="connsiteX116" fmla="*/ 762186 w 880509"/>
                <a:gd name="connsiteY116" fmla="*/ 90621 h 461231"/>
                <a:gd name="connsiteX117" fmla="*/ 732963 w 880509"/>
                <a:gd name="connsiteY117" fmla="*/ 119013 h 461231"/>
                <a:gd name="connsiteX118" fmla="*/ 701230 w 880509"/>
                <a:gd name="connsiteY118" fmla="*/ 123184 h 461231"/>
                <a:gd name="connsiteX119" fmla="*/ 700998 w 880509"/>
                <a:gd name="connsiteY119" fmla="*/ 127861 h 461231"/>
                <a:gd name="connsiteX120" fmla="*/ 699564 w 880509"/>
                <a:gd name="connsiteY120" fmla="*/ 137384 h 461231"/>
                <a:gd name="connsiteX121" fmla="*/ 675349 w 880509"/>
                <a:gd name="connsiteY121" fmla="*/ 145732 h 461231"/>
                <a:gd name="connsiteX122" fmla="*/ 662823 w 880509"/>
                <a:gd name="connsiteY122" fmla="*/ 150739 h 461231"/>
                <a:gd name="connsiteX123" fmla="*/ 644452 w 880509"/>
                <a:gd name="connsiteY123" fmla="*/ 159925 h 461231"/>
                <a:gd name="connsiteX124" fmla="*/ 641850 w 880509"/>
                <a:gd name="connsiteY124" fmla="*/ 158040 h 461231"/>
                <a:gd name="connsiteX125" fmla="*/ 638608 w 880509"/>
                <a:gd name="connsiteY125" fmla="*/ 150739 h 461231"/>
                <a:gd name="connsiteX126" fmla="*/ 647793 w 880509"/>
                <a:gd name="connsiteY126" fmla="*/ 132369 h 461231"/>
                <a:gd name="connsiteX127" fmla="*/ 648475 w 880509"/>
                <a:gd name="connsiteY127" fmla="*/ 130400 h 461231"/>
                <a:gd name="connsiteX128" fmla="*/ 651190 w 880509"/>
                <a:gd name="connsiteY128" fmla="*/ 117839 h 461231"/>
                <a:gd name="connsiteX129" fmla="*/ 628684 w 880509"/>
                <a:gd name="connsiteY129" fmla="*/ 107993 h 461231"/>
                <a:gd name="connsiteX130" fmla="*/ 638882 w 880509"/>
                <a:gd name="connsiteY130" fmla="*/ 82638 h 461231"/>
                <a:gd name="connsiteX131" fmla="*/ 626743 w 880509"/>
                <a:gd name="connsiteY131" fmla="*/ 70837 h 461231"/>
                <a:gd name="connsiteX132" fmla="*/ 617080 w 880509"/>
                <a:gd name="connsiteY132" fmla="*/ 75641 h 461231"/>
                <a:gd name="connsiteX133" fmla="*/ 594222 w 880509"/>
                <a:gd name="connsiteY133" fmla="*/ 117839 h 461231"/>
                <a:gd name="connsiteX134" fmla="*/ 594370 w 880509"/>
                <a:gd name="connsiteY134" fmla="*/ 143432 h 461231"/>
                <a:gd name="connsiteX135" fmla="*/ 594222 w 880509"/>
                <a:gd name="connsiteY135" fmla="*/ 146674 h 461231"/>
                <a:gd name="connsiteX136" fmla="*/ 582266 w 880509"/>
                <a:gd name="connsiteY136" fmla="*/ 162850 h 461231"/>
                <a:gd name="connsiteX137" fmla="*/ 568552 w 880509"/>
                <a:gd name="connsiteY137" fmla="*/ 117839 h 461231"/>
                <a:gd name="connsiteX138" fmla="*/ 568615 w 880509"/>
                <a:gd name="connsiteY138" fmla="*/ 114414 h 461231"/>
                <a:gd name="connsiteX139" fmla="*/ 575585 w 880509"/>
                <a:gd name="connsiteY139" fmla="*/ 72476 h 461231"/>
                <a:gd name="connsiteX140" fmla="*/ 608289 w 880509"/>
                <a:gd name="connsiteY140" fmla="*/ 58761 h 461231"/>
                <a:gd name="connsiteX141" fmla="*/ 611228 w 880509"/>
                <a:gd name="connsiteY141" fmla="*/ 55737 h 461231"/>
                <a:gd name="connsiteX142" fmla="*/ 603119 w 880509"/>
                <a:gd name="connsiteY142" fmla="*/ 47874 h 461231"/>
                <a:gd name="connsiteX143" fmla="*/ 568552 w 880509"/>
                <a:gd name="connsiteY143" fmla="*/ 51376 h 461231"/>
                <a:gd name="connsiteX144" fmla="*/ 559760 w 880509"/>
                <a:gd name="connsiteY144" fmla="*/ 35904 h 461231"/>
                <a:gd name="connsiteX145" fmla="*/ 533386 w 880509"/>
                <a:gd name="connsiteY145" fmla="*/ 51376 h 461231"/>
                <a:gd name="connsiteX146" fmla="*/ 498925 w 880509"/>
                <a:gd name="connsiteY146" fmla="*/ 51376 h 461231"/>
                <a:gd name="connsiteX147" fmla="*/ 514046 w 880509"/>
                <a:gd name="connsiteY147" fmla="*/ 29574 h 461231"/>
                <a:gd name="connsiteX148" fmla="*/ 524258 w 880509"/>
                <a:gd name="connsiteY148" fmla="*/ 21591 h 461231"/>
                <a:gd name="connsiteX149" fmla="*/ 518364 w 880509"/>
                <a:gd name="connsiteY149" fmla="*/ 21317 h 461231"/>
                <a:gd name="connsiteX150" fmla="*/ 495816 w 880509"/>
                <a:gd name="connsiteY150" fmla="*/ 17140 h 461231"/>
                <a:gd name="connsiteX151" fmla="*/ 480090 w 880509"/>
                <a:gd name="connsiteY151" fmla="*/ 12983 h 461231"/>
                <a:gd name="connsiteX152" fmla="*/ 469934 w 880509"/>
                <a:gd name="connsiteY152" fmla="*/ 10458 h 461231"/>
                <a:gd name="connsiteX153" fmla="*/ 467430 w 880509"/>
                <a:gd name="connsiteY153" fmla="*/ 9790 h 461231"/>
                <a:gd name="connsiteX154" fmla="*/ 459912 w 880509"/>
                <a:gd name="connsiteY154" fmla="*/ 3777 h 461231"/>
                <a:gd name="connsiteX155" fmla="*/ 459434 w 880509"/>
                <a:gd name="connsiteY155" fmla="*/ 1505 h 461231"/>
                <a:gd name="connsiteX156" fmla="*/ 450045 w 880509"/>
                <a:gd name="connsiteY156" fmla="*/ 0 h 461231"/>
                <a:gd name="connsiteX157" fmla="*/ 449890 w 880509"/>
                <a:gd name="connsiteY157" fmla="*/ 443 h 461231"/>
                <a:gd name="connsiteX158" fmla="*/ 65294 w 880509"/>
                <a:gd name="connsiteY158" fmla="*/ 443 h 461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880509" h="461231">
                  <a:moveTo>
                    <a:pt x="65294" y="443"/>
                  </a:moveTo>
                  <a:cubicBezTo>
                    <a:pt x="54302" y="668"/>
                    <a:pt x="43942" y="886"/>
                    <a:pt x="34391" y="1090"/>
                  </a:cubicBezTo>
                  <a:cubicBezTo>
                    <a:pt x="36501" y="16915"/>
                    <a:pt x="39455" y="47157"/>
                    <a:pt x="34391" y="41530"/>
                  </a:cubicBezTo>
                  <a:cubicBezTo>
                    <a:pt x="32204" y="39104"/>
                    <a:pt x="30270" y="35454"/>
                    <a:pt x="28301" y="31740"/>
                  </a:cubicBezTo>
                  <a:cubicBezTo>
                    <a:pt x="24559" y="24693"/>
                    <a:pt x="20684" y="17386"/>
                    <a:pt x="14699" y="17618"/>
                  </a:cubicBezTo>
                  <a:cubicBezTo>
                    <a:pt x="5556" y="17969"/>
                    <a:pt x="-3939" y="19728"/>
                    <a:pt x="1688" y="30629"/>
                  </a:cubicBezTo>
                  <a:cubicBezTo>
                    <a:pt x="4226" y="35545"/>
                    <a:pt x="7117" y="38956"/>
                    <a:pt x="9529" y="41804"/>
                  </a:cubicBezTo>
                  <a:cubicBezTo>
                    <a:pt x="12469" y="45272"/>
                    <a:pt x="14699" y="47902"/>
                    <a:pt x="14699" y="51376"/>
                  </a:cubicBezTo>
                  <a:cubicBezTo>
                    <a:pt x="14699" y="52755"/>
                    <a:pt x="14980" y="56532"/>
                    <a:pt x="15360" y="61617"/>
                  </a:cubicBezTo>
                  <a:cubicBezTo>
                    <a:pt x="16731" y="79903"/>
                    <a:pt x="19376" y="115131"/>
                    <a:pt x="14699" y="116784"/>
                  </a:cubicBezTo>
                  <a:cubicBezTo>
                    <a:pt x="14284" y="116932"/>
                    <a:pt x="13862" y="117079"/>
                    <a:pt x="13440" y="117227"/>
                  </a:cubicBezTo>
                  <a:cubicBezTo>
                    <a:pt x="7778" y="119196"/>
                    <a:pt x="1688" y="121320"/>
                    <a:pt x="1688" y="125575"/>
                  </a:cubicBezTo>
                  <a:cubicBezTo>
                    <a:pt x="1688" y="130147"/>
                    <a:pt x="4852" y="153004"/>
                    <a:pt x="9776" y="154059"/>
                  </a:cubicBezTo>
                  <a:cubicBezTo>
                    <a:pt x="13714" y="154903"/>
                    <a:pt x="14699" y="169412"/>
                    <a:pt x="14699" y="176565"/>
                  </a:cubicBezTo>
                  <a:cubicBezTo>
                    <a:pt x="13060" y="178204"/>
                    <a:pt x="9776" y="183317"/>
                    <a:pt x="9776" y="190631"/>
                  </a:cubicBezTo>
                  <a:cubicBezTo>
                    <a:pt x="9776" y="199774"/>
                    <a:pt x="34743" y="235994"/>
                    <a:pt x="39314" y="241621"/>
                  </a:cubicBezTo>
                  <a:cubicBezTo>
                    <a:pt x="40869" y="243534"/>
                    <a:pt x="44097" y="250257"/>
                    <a:pt x="48113" y="258634"/>
                  </a:cubicBezTo>
                  <a:cubicBezTo>
                    <a:pt x="55912" y="274880"/>
                    <a:pt x="66701" y="297358"/>
                    <a:pt x="74128" y="303160"/>
                  </a:cubicBezTo>
                  <a:cubicBezTo>
                    <a:pt x="83130" y="310193"/>
                    <a:pt x="109765" y="331644"/>
                    <a:pt x="121953" y="341490"/>
                  </a:cubicBezTo>
                  <a:lnTo>
                    <a:pt x="153250" y="337622"/>
                  </a:lnTo>
                  <a:lnTo>
                    <a:pt x="211273" y="362941"/>
                  </a:lnTo>
                  <a:lnTo>
                    <a:pt x="255932" y="362941"/>
                  </a:lnTo>
                  <a:lnTo>
                    <a:pt x="255932" y="356611"/>
                  </a:lnTo>
                  <a:lnTo>
                    <a:pt x="280900" y="354149"/>
                  </a:lnTo>
                  <a:cubicBezTo>
                    <a:pt x="283713" y="355676"/>
                    <a:pt x="289621" y="359284"/>
                    <a:pt x="290746" y="361534"/>
                  </a:cubicBezTo>
                  <a:cubicBezTo>
                    <a:pt x="292153" y="364347"/>
                    <a:pt x="296373" y="369974"/>
                    <a:pt x="300592" y="371380"/>
                  </a:cubicBezTo>
                  <a:cubicBezTo>
                    <a:pt x="304812" y="372787"/>
                    <a:pt x="307625" y="374897"/>
                    <a:pt x="307625" y="377007"/>
                  </a:cubicBezTo>
                  <a:cubicBezTo>
                    <a:pt x="307625" y="378526"/>
                    <a:pt x="308723" y="380784"/>
                    <a:pt x="309602" y="382584"/>
                  </a:cubicBezTo>
                  <a:cubicBezTo>
                    <a:pt x="309939" y="383273"/>
                    <a:pt x="310242" y="383899"/>
                    <a:pt x="310439" y="384392"/>
                  </a:cubicBezTo>
                  <a:cubicBezTo>
                    <a:pt x="310657" y="384933"/>
                    <a:pt x="310769" y="385777"/>
                    <a:pt x="310903" y="386713"/>
                  </a:cubicBezTo>
                  <a:cubicBezTo>
                    <a:pt x="311191" y="388815"/>
                    <a:pt x="311550" y="391396"/>
                    <a:pt x="313252" y="392128"/>
                  </a:cubicBezTo>
                  <a:cubicBezTo>
                    <a:pt x="314602" y="392705"/>
                    <a:pt x="318154" y="395497"/>
                    <a:pt x="321445" y="398071"/>
                  </a:cubicBezTo>
                  <a:cubicBezTo>
                    <a:pt x="324174" y="400209"/>
                    <a:pt x="326713" y="402199"/>
                    <a:pt x="327670" y="402678"/>
                  </a:cubicBezTo>
                  <a:cubicBezTo>
                    <a:pt x="329168" y="403423"/>
                    <a:pt x="331017" y="403114"/>
                    <a:pt x="332466" y="402867"/>
                  </a:cubicBezTo>
                  <a:cubicBezTo>
                    <a:pt x="333064" y="402769"/>
                    <a:pt x="333591" y="402678"/>
                    <a:pt x="333999" y="402678"/>
                  </a:cubicBezTo>
                  <a:cubicBezTo>
                    <a:pt x="335033" y="402678"/>
                    <a:pt x="336834" y="399049"/>
                    <a:pt x="337994" y="396721"/>
                  </a:cubicBezTo>
                  <a:cubicBezTo>
                    <a:pt x="338409" y="395884"/>
                    <a:pt x="338740" y="395215"/>
                    <a:pt x="338923" y="394941"/>
                  </a:cubicBezTo>
                  <a:cubicBezTo>
                    <a:pt x="339148" y="394611"/>
                    <a:pt x="339295" y="393893"/>
                    <a:pt x="339464" y="393085"/>
                  </a:cubicBezTo>
                  <a:cubicBezTo>
                    <a:pt x="339837" y="391340"/>
                    <a:pt x="340294" y="389188"/>
                    <a:pt x="341736" y="389666"/>
                  </a:cubicBezTo>
                  <a:cubicBezTo>
                    <a:pt x="343009" y="390088"/>
                    <a:pt x="344148" y="389364"/>
                    <a:pt x="345161" y="388724"/>
                  </a:cubicBezTo>
                  <a:cubicBezTo>
                    <a:pt x="345836" y="388295"/>
                    <a:pt x="346448" y="387908"/>
                    <a:pt x="347011" y="387908"/>
                  </a:cubicBezTo>
                  <a:cubicBezTo>
                    <a:pt x="347615" y="387908"/>
                    <a:pt x="348480" y="388232"/>
                    <a:pt x="349472" y="388604"/>
                  </a:cubicBezTo>
                  <a:cubicBezTo>
                    <a:pt x="350773" y="389097"/>
                    <a:pt x="352292" y="389666"/>
                    <a:pt x="353692" y="389666"/>
                  </a:cubicBezTo>
                  <a:cubicBezTo>
                    <a:pt x="356153" y="389666"/>
                    <a:pt x="359318" y="391425"/>
                    <a:pt x="363187" y="394941"/>
                  </a:cubicBezTo>
                  <a:cubicBezTo>
                    <a:pt x="363405" y="395138"/>
                    <a:pt x="363630" y="395342"/>
                    <a:pt x="363855" y="395546"/>
                  </a:cubicBezTo>
                  <a:cubicBezTo>
                    <a:pt x="367681" y="398992"/>
                    <a:pt x="372857" y="403662"/>
                    <a:pt x="375846" y="414282"/>
                  </a:cubicBezTo>
                  <a:cubicBezTo>
                    <a:pt x="378378" y="423284"/>
                    <a:pt x="385109" y="426942"/>
                    <a:pt x="388154" y="427645"/>
                  </a:cubicBezTo>
                  <a:cubicBezTo>
                    <a:pt x="388625" y="430690"/>
                    <a:pt x="389772" y="437069"/>
                    <a:pt x="390615" y="438194"/>
                  </a:cubicBezTo>
                  <a:cubicBezTo>
                    <a:pt x="390932" y="438616"/>
                    <a:pt x="391347" y="439622"/>
                    <a:pt x="391853" y="440832"/>
                  </a:cubicBezTo>
                  <a:cubicBezTo>
                    <a:pt x="393007" y="443631"/>
                    <a:pt x="394631" y="447548"/>
                    <a:pt x="396594" y="448041"/>
                  </a:cubicBezTo>
                  <a:cubicBezTo>
                    <a:pt x="397473" y="448259"/>
                    <a:pt x="400110" y="449342"/>
                    <a:pt x="403289" y="450643"/>
                  </a:cubicBezTo>
                  <a:cubicBezTo>
                    <a:pt x="410287" y="453512"/>
                    <a:pt x="419936" y="457472"/>
                    <a:pt x="419451" y="455777"/>
                  </a:cubicBezTo>
                  <a:cubicBezTo>
                    <a:pt x="418748" y="453316"/>
                    <a:pt x="415231" y="428348"/>
                    <a:pt x="425077" y="419205"/>
                  </a:cubicBezTo>
                  <a:cubicBezTo>
                    <a:pt x="427004" y="417412"/>
                    <a:pt x="429136" y="415449"/>
                    <a:pt x="431344" y="413410"/>
                  </a:cubicBezTo>
                  <a:cubicBezTo>
                    <a:pt x="440402" y="405055"/>
                    <a:pt x="450734" y="395518"/>
                    <a:pt x="453561" y="392128"/>
                  </a:cubicBezTo>
                  <a:cubicBezTo>
                    <a:pt x="457078" y="387908"/>
                    <a:pt x="468331" y="378765"/>
                    <a:pt x="483803" y="381578"/>
                  </a:cubicBezTo>
                  <a:cubicBezTo>
                    <a:pt x="489008" y="382521"/>
                    <a:pt x="493650" y="383069"/>
                    <a:pt x="497645" y="383548"/>
                  </a:cubicBezTo>
                  <a:cubicBezTo>
                    <a:pt x="505536" y="384476"/>
                    <a:pt x="510888" y="385109"/>
                    <a:pt x="512991" y="387908"/>
                  </a:cubicBezTo>
                  <a:cubicBezTo>
                    <a:pt x="515522" y="391284"/>
                    <a:pt x="524342" y="390384"/>
                    <a:pt x="529216" y="389891"/>
                  </a:cubicBezTo>
                  <a:cubicBezTo>
                    <a:pt x="530440" y="389765"/>
                    <a:pt x="531417" y="389666"/>
                    <a:pt x="531980" y="389666"/>
                  </a:cubicBezTo>
                  <a:cubicBezTo>
                    <a:pt x="533330" y="389666"/>
                    <a:pt x="534357" y="387725"/>
                    <a:pt x="535482" y="385587"/>
                  </a:cubicBezTo>
                  <a:cubicBezTo>
                    <a:pt x="536706" y="383266"/>
                    <a:pt x="538056" y="380720"/>
                    <a:pt x="540068" y="380172"/>
                  </a:cubicBezTo>
                  <a:cubicBezTo>
                    <a:pt x="541622" y="379750"/>
                    <a:pt x="543184" y="377668"/>
                    <a:pt x="544949" y="375312"/>
                  </a:cubicBezTo>
                  <a:cubicBezTo>
                    <a:pt x="547565" y="371823"/>
                    <a:pt x="550639" y="367723"/>
                    <a:pt x="554837" y="367512"/>
                  </a:cubicBezTo>
                  <a:cubicBezTo>
                    <a:pt x="559451" y="367280"/>
                    <a:pt x="563762" y="367351"/>
                    <a:pt x="568362" y="367428"/>
                  </a:cubicBezTo>
                  <a:cubicBezTo>
                    <a:pt x="570781" y="367470"/>
                    <a:pt x="573271" y="367512"/>
                    <a:pt x="575936" y="367512"/>
                  </a:cubicBezTo>
                  <a:cubicBezTo>
                    <a:pt x="576619" y="367512"/>
                    <a:pt x="577329" y="367512"/>
                    <a:pt x="578067" y="367505"/>
                  </a:cubicBezTo>
                  <a:cubicBezTo>
                    <a:pt x="585698" y="367477"/>
                    <a:pt x="595812" y="367442"/>
                    <a:pt x="597739" y="370325"/>
                  </a:cubicBezTo>
                  <a:cubicBezTo>
                    <a:pt x="598337" y="371219"/>
                    <a:pt x="598991" y="372428"/>
                    <a:pt x="599708" y="373751"/>
                  </a:cubicBezTo>
                  <a:cubicBezTo>
                    <a:pt x="601523" y="377105"/>
                    <a:pt x="603759" y="381220"/>
                    <a:pt x="606530" y="382985"/>
                  </a:cubicBezTo>
                  <a:lnTo>
                    <a:pt x="606608" y="383034"/>
                  </a:lnTo>
                  <a:cubicBezTo>
                    <a:pt x="610469" y="385489"/>
                    <a:pt x="615343" y="388590"/>
                    <a:pt x="618135" y="385798"/>
                  </a:cubicBezTo>
                  <a:cubicBezTo>
                    <a:pt x="619063" y="384870"/>
                    <a:pt x="619991" y="383104"/>
                    <a:pt x="620955" y="381262"/>
                  </a:cubicBezTo>
                  <a:cubicBezTo>
                    <a:pt x="622917" y="377520"/>
                    <a:pt x="625034" y="373476"/>
                    <a:pt x="627629" y="375600"/>
                  </a:cubicBezTo>
                  <a:cubicBezTo>
                    <a:pt x="628178" y="376050"/>
                    <a:pt x="628691" y="376451"/>
                    <a:pt x="629163" y="376824"/>
                  </a:cubicBezTo>
                  <a:cubicBezTo>
                    <a:pt x="632018" y="379082"/>
                    <a:pt x="633657" y="380369"/>
                    <a:pt x="636069" y="385798"/>
                  </a:cubicBezTo>
                  <a:cubicBezTo>
                    <a:pt x="638320" y="390862"/>
                    <a:pt x="644509" y="398226"/>
                    <a:pt x="647322" y="401271"/>
                  </a:cubicBezTo>
                  <a:cubicBezTo>
                    <a:pt x="648609" y="404787"/>
                    <a:pt x="651401" y="412875"/>
                    <a:pt x="652245" y="417095"/>
                  </a:cubicBezTo>
                  <a:cubicBezTo>
                    <a:pt x="653300" y="422370"/>
                    <a:pt x="658575" y="439249"/>
                    <a:pt x="661740" y="445227"/>
                  </a:cubicBezTo>
                  <a:cubicBezTo>
                    <a:pt x="664905" y="451206"/>
                    <a:pt x="673696" y="462810"/>
                    <a:pt x="678619" y="461052"/>
                  </a:cubicBezTo>
                  <a:cubicBezTo>
                    <a:pt x="683542" y="459294"/>
                    <a:pt x="689520" y="454722"/>
                    <a:pt x="687410" y="445227"/>
                  </a:cubicBezTo>
                  <a:cubicBezTo>
                    <a:pt x="685300" y="435733"/>
                    <a:pt x="680026" y="413227"/>
                    <a:pt x="675103" y="405139"/>
                  </a:cubicBezTo>
                  <a:cubicBezTo>
                    <a:pt x="673569" y="402621"/>
                    <a:pt x="671459" y="400483"/>
                    <a:pt x="669357" y="398345"/>
                  </a:cubicBezTo>
                  <a:cubicBezTo>
                    <a:pt x="664687" y="393612"/>
                    <a:pt x="660045" y="388893"/>
                    <a:pt x="661740" y="380172"/>
                  </a:cubicBezTo>
                  <a:cubicBezTo>
                    <a:pt x="664201" y="367512"/>
                    <a:pt x="671586" y="348171"/>
                    <a:pt x="675103" y="343248"/>
                  </a:cubicBezTo>
                  <a:cubicBezTo>
                    <a:pt x="678619" y="338325"/>
                    <a:pt x="687059" y="327424"/>
                    <a:pt x="701476" y="319687"/>
                  </a:cubicBezTo>
                  <a:cubicBezTo>
                    <a:pt x="715894" y="311951"/>
                    <a:pt x="746488" y="293665"/>
                    <a:pt x="748246" y="284171"/>
                  </a:cubicBezTo>
                  <a:cubicBezTo>
                    <a:pt x="749147" y="279318"/>
                    <a:pt x="748204" y="268951"/>
                    <a:pt x="747311" y="259041"/>
                  </a:cubicBezTo>
                  <a:cubicBezTo>
                    <a:pt x="746453" y="249554"/>
                    <a:pt x="745630" y="240488"/>
                    <a:pt x="746488" y="237049"/>
                  </a:cubicBezTo>
                  <a:cubicBezTo>
                    <a:pt x="747740" y="232028"/>
                    <a:pt x="748281" y="231845"/>
                    <a:pt x="749639" y="231387"/>
                  </a:cubicBezTo>
                  <a:cubicBezTo>
                    <a:pt x="750180" y="231198"/>
                    <a:pt x="750856" y="230973"/>
                    <a:pt x="751763" y="230368"/>
                  </a:cubicBezTo>
                  <a:cubicBezTo>
                    <a:pt x="753570" y="229158"/>
                    <a:pt x="757804" y="222540"/>
                    <a:pt x="761616" y="216576"/>
                  </a:cubicBezTo>
                  <a:cubicBezTo>
                    <a:pt x="764465" y="212110"/>
                    <a:pt x="767088" y="208010"/>
                    <a:pt x="768290" y="206807"/>
                  </a:cubicBezTo>
                  <a:cubicBezTo>
                    <a:pt x="768952" y="206146"/>
                    <a:pt x="770084" y="205210"/>
                    <a:pt x="771462" y="204064"/>
                  </a:cubicBezTo>
                  <a:cubicBezTo>
                    <a:pt x="775956" y="200351"/>
                    <a:pt x="783102" y="194436"/>
                    <a:pt x="785521" y="188521"/>
                  </a:cubicBezTo>
                  <a:cubicBezTo>
                    <a:pt x="786161" y="186967"/>
                    <a:pt x="786879" y="185040"/>
                    <a:pt x="787667" y="182944"/>
                  </a:cubicBezTo>
                  <a:cubicBezTo>
                    <a:pt x="790782" y="174631"/>
                    <a:pt x="794883" y="163694"/>
                    <a:pt x="798533" y="162850"/>
                  </a:cubicBezTo>
                  <a:cubicBezTo>
                    <a:pt x="800031" y="162506"/>
                    <a:pt x="803765" y="162309"/>
                    <a:pt x="808168" y="162077"/>
                  </a:cubicBezTo>
                  <a:cubicBezTo>
                    <a:pt x="817184" y="161613"/>
                    <a:pt x="829000" y="160994"/>
                    <a:pt x="830181" y="158631"/>
                  </a:cubicBezTo>
                  <a:cubicBezTo>
                    <a:pt x="830857" y="157273"/>
                    <a:pt x="830385" y="154354"/>
                    <a:pt x="829795" y="150676"/>
                  </a:cubicBezTo>
                  <a:cubicBezTo>
                    <a:pt x="828845" y="144797"/>
                    <a:pt x="827586" y="136983"/>
                    <a:pt x="830181" y="130498"/>
                  </a:cubicBezTo>
                  <a:cubicBezTo>
                    <a:pt x="834401" y="119949"/>
                    <a:pt x="839676" y="110806"/>
                    <a:pt x="845302" y="107993"/>
                  </a:cubicBezTo>
                  <a:cubicBezTo>
                    <a:pt x="847623" y="106832"/>
                    <a:pt x="851794" y="105496"/>
                    <a:pt x="856211" y="104075"/>
                  </a:cubicBezTo>
                  <a:cubicBezTo>
                    <a:pt x="862519" y="102050"/>
                    <a:pt x="869341" y="99862"/>
                    <a:pt x="872028" y="97795"/>
                  </a:cubicBezTo>
                  <a:cubicBezTo>
                    <a:pt x="874011" y="96269"/>
                    <a:pt x="877317" y="91725"/>
                    <a:pt x="880510" y="86886"/>
                  </a:cubicBezTo>
                  <a:cubicBezTo>
                    <a:pt x="877542" y="85663"/>
                    <a:pt x="872999" y="82786"/>
                    <a:pt x="872408" y="78341"/>
                  </a:cubicBezTo>
                  <a:cubicBezTo>
                    <a:pt x="871747" y="73341"/>
                    <a:pt x="872141" y="58733"/>
                    <a:pt x="872330" y="51686"/>
                  </a:cubicBezTo>
                  <a:cubicBezTo>
                    <a:pt x="872373" y="49864"/>
                    <a:pt x="872408" y="48549"/>
                    <a:pt x="872408" y="48036"/>
                  </a:cubicBezTo>
                  <a:cubicBezTo>
                    <a:pt x="872408" y="45532"/>
                    <a:pt x="869074" y="42789"/>
                    <a:pt x="864897" y="42789"/>
                  </a:cubicBezTo>
                  <a:cubicBezTo>
                    <a:pt x="862695" y="42789"/>
                    <a:pt x="860255" y="42156"/>
                    <a:pt x="857955" y="41558"/>
                  </a:cubicBezTo>
                  <a:cubicBezTo>
                    <a:pt x="855894" y="41024"/>
                    <a:pt x="853946" y="40517"/>
                    <a:pt x="852371" y="40517"/>
                  </a:cubicBezTo>
                  <a:cubicBezTo>
                    <a:pt x="849030" y="40517"/>
                    <a:pt x="836504" y="48669"/>
                    <a:pt x="836504" y="53043"/>
                  </a:cubicBezTo>
                  <a:cubicBezTo>
                    <a:pt x="836504" y="55540"/>
                    <a:pt x="835154" y="58979"/>
                    <a:pt x="833986" y="61947"/>
                  </a:cubicBezTo>
                  <a:cubicBezTo>
                    <a:pt x="833107" y="64191"/>
                    <a:pt x="832334" y="66160"/>
                    <a:pt x="832334" y="67243"/>
                  </a:cubicBezTo>
                  <a:cubicBezTo>
                    <a:pt x="832334" y="69747"/>
                    <a:pt x="827319" y="80599"/>
                    <a:pt x="825652" y="82273"/>
                  </a:cubicBezTo>
                  <a:cubicBezTo>
                    <a:pt x="823978" y="83940"/>
                    <a:pt x="817297" y="89784"/>
                    <a:pt x="813963" y="90621"/>
                  </a:cubicBezTo>
                  <a:cubicBezTo>
                    <a:pt x="811291" y="91289"/>
                    <a:pt x="778334" y="90902"/>
                    <a:pt x="762186" y="90621"/>
                  </a:cubicBezTo>
                  <a:lnTo>
                    <a:pt x="732963" y="119013"/>
                  </a:lnTo>
                  <a:cubicBezTo>
                    <a:pt x="722667" y="119850"/>
                    <a:pt x="701899" y="121848"/>
                    <a:pt x="701230" y="123184"/>
                  </a:cubicBezTo>
                  <a:cubicBezTo>
                    <a:pt x="700928" y="123803"/>
                    <a:pt x="700956" y="125667"/>
                    <a:pt x="700998" y="127861"/>
                  </a:cubicBezTo>
                  <a:cubicBezTo>
                    <a:pt x="701061" y="131610"/>
                    <a:pt x="701146" y="136329"/>
                    <a:pt x="699564" y="137384"/>
                  </a:cubicBezTo>
                  <a:cubicBezTo>
                    <a:pt x="697559" y="138720"/>
                    <a:pt x="682586" y="143502"/>
                    <a:pt x="675349" y="145732"/>
                  </a:cubicBezTo>
                  <a:lnTo>
                    <a:pt x="662823" y="150739"/>
                  </a:lnTo>
                  <a:cubicBezTo>
                    <a:pt x="657534" y="154643"/>
                    <a:pt x="646457" y="161929"/>
                    <a:pt x="644452" y="159925"/>
                  </a:cubicBezTo>
                  <a:cubicBezTo>
                    <a:pt x="643791" y="159263"/>
                    <a:pt x="642835" y="158659"/>
                    <a:pt x="641850" y="158040"/>
                  </a:cubicBezTo>
                  <a:cubicBezTo>
                    <a:pt x="639114" y="156310"/>
                    <a:pt x="636147" y="154432"/>
                    <a:pt x="638608" y="150739"/>
                  </a:cubicBezTo>
                  <a:cubicBezTo>
                    <a:pt x="641949" y="145732"/>
                    <a:pt x="646119" y="137384"/>
                    <a:pt x="647793" y="132369"/>
                  </a:cubicBezTo>
                  <a:cubicBezTo>
                    <a:pt x="647997" y="131750"/>
                    <a:pt x="648229" y="131089"/>
                    <a:pt x="648475" y="130400"/>
                  </a:cubicBezTo>
                  <a:cubicBezTo>
                    <a:pt x="649748" y="126785"/>
                    <a:pt x="651338" y="122298"/>
                    <a:pt x="651190" y="117839"/>
                  </a:cubicBezTo>
                  <a:cubicBezTo>
                    <a:pt x="642399" y="117691"/>
                    <a:pt x="627897" y="115616"/>
                    <a:pt x="628684" y="107993"/>
                  </a:cubicBezTo>
                  <a:cubicBezTo>
                    <a:pt x="629226" y="102760"/>
                    <a:pt x="634044" y="92126"/>
                    <a:pt x="638882" y="82638"/>
                  </a:cubicBezTo>
                  <a:cubicBezTo>
                    <a:pt x="635422" y="79185"/>
                    <a:pt x="631097" y="75022"/>
                    <a:pt x="626743" y="70837"/>
                  </a:cubicBezTo>
                  <a:cubicBezTo>
                    <a:pt x="623037" y="71878"/>
                    <a:pt x="619591" y="73418"/>
                    <a:pt x="617080" y="75641"/>
                  </a:cubicBezTo>
                  <a:cubicBezTo>
                    <a:pt x="607937" y="83729"/>
                    <a:pt x="592816" y="108696"/>
                    <a:pt x="594222" y="117839"/>
                  </a:cubicBezTo>
                  <a:cubicBezTo>
                    <a:pt x="595334" y="125083"/>
                    <a:pt x="594687" y="137398"/>
                    <a:pt x="594370" y="143432"/>
                  </a:cubicBezTo>
                  <a:cubicBezTo>
                    <a:pt x="594286" y="145014"/>
                    <a:pt x="594222" y="146161"/>
                    <a:pt x="594222" y="146674"/>
                  </a:cubicBezTo>
                  <a:cubicBezTo>
                    <a:pt x="594222" y="149136"/>
                    <a:pt x="591058" y="162850"/>
                    <a:pt x="582266" y="162850"/>
                  </a:cubicBezTo>
                  <a:cubicBezTo>
                    <a:pt x="573475" y="162850"/>
                    <a:pt x="568200" y="135070"/>
                    <a:pt x="568552" y="117839"/>
                  </a:cubicBezTo>
                  <a:cubicBezTo>
                    <a:pt x="568573" y="116728"/>
                    <a:pt x="568594" y="115581"/>
                    <a:pt x="568615" y="114414"/>
                  </a:cubicBezTo>
                  <a:cubicBezTo>
                    <a:pt x="568932" y="97513"/>
                    <a:pt x="569332" y="75767"/>
                    <a:pt x="575585" y="72476"/>
                  </a:cubicBezTo>
                  <a:cubicBezTo>
                    <a:pt x="580930" y="69662"/>
                    <a:pt x="599617" y="62158"/>
                    <a:pt x="608289" y="58761"/>
                  </a:cubicBezTo>
                  <a:lnTo>
                    <a:pt x="611228" y="55737"/>
                  </a:lnTo>
                  <a:cubicBezTo>
                    <a:pt x="608443" y="52966"/>
                    <a:pt x="605714" y="50322"/>
                    <a:pt x="603119" y="47874"/>
                  </a:cubicBezTo>
                  <a:lnTo>
                    <a:pt x="568552" y="51376"/>
                  </a:lnTo>
                  <a:cubicBezTo>
                    <a:pt x="566793" y="46334"/>
                    <a:pt x="562574" y="36185"/>
                    <a:pt x="559760" y="35904"/>
                  </a:cubicBezTo>
                  <a:cubicBezTo>
                    <a:pt x="556947" y="35623"/>
                    <a:pt x="541003" y="46102"/>
                    <a:pt x="533386" y="51376"/>
                  </a:cubicBezTo>
                  <a:cubicBezTo>
                    <a:pt x="522485" y="53135"/>
                    <a:pt x="500331" y="55596"/>
                    <a:pt x="498925" y="51376"/>
                  </a:cubicBezTo>
                  <a:cubicBezTo>
                    <a:pt x="497518" y="47157"/>
                    <a:pt x="508419" y="35081"/>
                    <a:pt x="514046" y="29574"/>
                  </a:cubicBezTo>
                  <a:lnTo>
                    <a:pt x="524258" y="21591"/>
                  </a:lnTo>
                  <a:cubicBezTo>
                    <a:pt x="522007" y="21444"/>
                    <a:pt x="519967" y="21317"/>
                    <a:pt x="518364" y="21317"/>
                  </a:cubicBezTo>
                  <a:cubicBezTo>
                    <a:pt x="512519" y="21317"/>
                    <a:pt x="499994" y="18813"/>
                    <a:pt x="495816" y="17140"/>
                  </a:cubicBezTo>
                  <a:cubicBezTo>
                    <a:pt x="493277" y="16120"/>
                    <a:pt x="486399" y="14488"/>
                    <a:pt x="480090" y="12983"/>
                  </a:cubicBezTo>
                  <a:cubicBezTo>
                    <a:pt x="476039" y="12020"/>
                    <a:pt x="472220" y="11112"/>
                    <a:pt x="469934" y="10458"/>
                  </a:cubicBezTo>
                  <a:cubicBezTo>
                    <a:pt x="469041" y="10205"/>
                    <a:pt x="468204" y="9987"/>
                    <a:pt x="467430" y="9790"/>
                  </a:cubicBezTo>
                  <a:cubicBezTo>
                    <a:pt x="463126" y="8672"/>
                    <a:pt x="460623" y="8025"/>
                    <a:pt x="459912" y="3777"/>
                  </a:cubicBezTo>
                  <a:cubicBezTo>
                    <a:pt x="459800" y="3088"/>
                    <a:pt x="459638" y="2314"/>
                    <a:pt x="459434" y="1505"/>
                  </a:cubicBezTo>
                  <a:cubicBezTo>
                    <a:pt x="456255" y="985"/>
                    <a:pt x="453111" y="485"/>
                    <a:pt x="450045" y="0"/>
                  </a:cubicBezTo>
                  <a:cubicBezTo>
                    <a:pt x="449989" y="155"/>
                    <a:pt x="449939" y="302"/>
                    <a:pt x="449890" y="443"/>
                  </a:cubicBezTo>
                  <a:lnTo>
                    <a:pt x="65294" y="443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6" name="Freihandform: Form 181">
              <a:extLst>
                <a:ext uri="{FF2B5EF4-FFF2-40B4-BE49-F238E27FC236}">
                  <a16:creationId xmlns:a16="http://schemas.microsoft.com/office/drawing/2014/main" id="{34282B0B-824F-CE4D-9594-59D4249EC6A3}"/>
                </a:ext>
              </a:extLst>
            </p:cNvPr>
            <p:cNvSpPr/>
            <p:nvPr/>
          </p:nvSpPr>
          <p:spPr>
            <a:xfrm>
              <a:off x="8332612" y="4557914"/>
              <a:ext cx="148226" cy="120423"/>
            </a:xfrm>
            <a:custGeom>
              <a:avLst/>
              <a:gdLst>
                <a:gd name="connsiteX0" fmla="*/ 21921 w 148226"/>
                <a:gd name="connsiteY0" fmla="*/ 4909 h 120423"/>
                <a:gd name="connsiteX1" fmla="*/ 1378 w 148226"/>
                <a:gd name="connsiteY1" fmla="*/ 0 h 120423"/>
                <a:gd name="connsiteX2" fmla="*/ 111 w 148226"/>
                <a:gd name="connsiteY2" fmla="*/ 77427 h 120423"/>
                <a:gd name="connsiteX3" fmla="*/ 1378 w 148226"/>
                <a:gd name="connsiteY3" fmla="*/ 87618 h 120423"/>
                <a:gd name="connsiteX4" fmla="*/ 21921 w 148226"/>
                <a:gd name="connsiteY4" fmla="*/ 99447 h 120423"/>
                <a:gd name="connsiteX5" fmla="*/ 36873 w 148226"/>
                <a:gd name="connsiteY5" fmla="*/ 94960 h 120423"/>
                <a:gd name="connsiteX6" fmla="*/ 41044 w 148226"/>
                <a:gd name="connsiteY6" fmla="*/ 87618 h 120423"/>
                <a:gd name="connsiteX7" fmla="*/ 47964 w 148226"/>
                <a:gd name="connsiteY7" fmla="*/ 76161 h 120423"/>
                <a:gd name="connsiteX8" fmla="*/ 58050 w 148226"/>
                <a:gd name="connsiteY8" fmla="*/ 70928 h 120423"/>
                <a:gd name="connsiteX9" fmla="*/ 70569 w 148226"/>
                <a:gd name="connsiteY9" fmla="*/ 73728 h 120423"/>
                <a:gd name="connsiteX10" fmla="*/ 84142 w 148226"/>
                <a:gd name="connsiteY10" fmla="*/ 85191 h 120423"/>
                <a:gd name="connsiteX11" fmla="*/ 94601 w 148226"/>
                <a:gd name="connsiteY11" fmla="*/ 99447 h 120423"/>
                <a:gd name="connsiteX12" fmla="*/ 104630 w 148226"/>
                <a:gd name="connsiteY12" fmla="*/ 107106 h 120423"/>
                <a:gd name="connsiteX13" fmla="*/ 118204 w 148226"/>
                <a:gd name="connsiteY13" fmla="*/ 118570 h 120423"/>
                <a:gd name="connsiteX14" fmla="*/ 140491 w 148226"/>
                <a:gd name="connsiteY14" fmla="*/ 118570 h 120423"/>
                <a:gd name="connsiteX15" fmla="*/ 148101 w 148226"/>
                <a:gd name="connsiteY15" fmla="*/ 114400 h 120423"/>
                <a:gd name="connsiteX16" fmla="*/ 140491 w 148226"/>
                <a:gd name="connsiteY16" fmla="*/ 107106 h 120423"/>
                <a:gd name="connsiteX17" fmla="*/ 121319 w 148226"/>
                <a:gd name="connsiteY17" fmla="*/ 99447 h 120423"/>
                <a:gd name="connsiteX18" fmla="*/ 107429 w 148226"/>
                <a:gd name="connsiteY18" fmla="*/ 82076 h 120423"/>
                <a:gd name="connsiteX19" fmla="*/ 98033 w 148226"/>
                <a:gd name="connsiteY19" fmla="*/ 70928 h 120423"/>
                <a:gd name="connsiteX20" fmla="*/ 90057 w 148226"/>
                <a:gd name="connsiteY20" fmla="*/ 57038 h 120423"/>
                <a:gd name="connsiteX21" fmla="*/ 75794 w 148226"/>
                <a:gd name="connsiteY21" fmla="*/ 41038 h 120423"/>
                <a:gd name="connsiteX22" fmla="*/ 60160 w 148226"/>
                <a:gd name="connsiteY22" fmla="*/ 22977 h 120423"/>
                <a:gd name="connsiteX23" fmla="*/ 42788 w 148226"/>
                <a:gd name="connsiteY23" fmla="*/ 11147 h 120423"/>
                <a:gd name="connsiteX24" fmla="*/ 21921 w 148226"/>
                <a:gd name="connsiteY24" fmla="*/ 4909 h 120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8226" h="120423">
                  <a:moveTo>
                    <a:pt x="21921" y="4909"/>
                  </a:moveTo>
                  <a:cubicBezTo>
                    <a:pt x="18587" y="1575"/>
                    <a:pt x="6835" y="246"/>
                    <a:pt x="1378" y="0"/>
                  </a:cubicBezTo>
                  <a:cubicBezTo>
                    <a:pt x="695" y="28399"/>
                    <a:pt x="111" y="73706"/>
                    <a:pt x="111" y="77427"/>
                  </a:cubicBezTo>
                  <a:cubicBezTo>
                    <a:pt x="111" y="81386"/>
                    <a:pt x="-556" y="83672"/>
                    <a:pt x="1378" y="87618"/>
                  </a:cubicBezTo>
                  <a:cubicBezTo>
                    <a:pt x="2805" y="90522"/>
                    <a:pt x="13580" y="99447"/>
                    <a:pt x="21921" y="99447"/>
                  </a:cubicBezTo>
                  <a:cubicBezTo>
                    <a:pt x="30269" y="99447"/>
                    <a:pt x="30958" y="97021"/>
                    <a:pt x="36873" y="94960"/>
                  </a:cubicBezTo>
                  <a:cubicBezTo>
                    <a:pt x="42788" y="92900"/>
                    <a:pt x="40305" y="89735"/>
                    <a:pt x="41044" y="87618"/>
                  </a:cubicBezTo>
                  <a:cubicBezTo>
                    <a:pt x="41782" y="85508"/>
                    <a:pt x="45214" y="80015"/>
                    <a:pt x="47964" y="76161"/>
                  </a:cubicBezTo>
                  <a:cubicBezTo>
                    <a:pt x="50707" y="72300"/>
                    <a:pt x="55300" y="70928"/>
                    <a:pt x="58050" y="70928"/>
                  </a:cubicBezTo>
                  <a:cubicBezTo>
                    <a:pt x="60793" y="70928"/>
                    <a:pt x="65709" y="70928"/>
                    <a:pt x="70569" y="73728"/>
                  </a:cubicBezTo>
                  <a:cubicBezTo>
                    <a:pt x="75428" y="76527"/>
                    <a:pt x="75794" y="79277"/>
                    <a:pt x="84142" y="85191"/>
                  </a:cubicBezTo>
                  <a:cubicBezTo>
                    <a:pt x="92484" y="91106"/>
                    <a:pt x="90057" y="93533"/>
                    <a:pt x="94601" y="99447"/>
                  </a:cubicBezTo>
                  <a:cubicBezTo>
                    <a:pt x="99137" y="105362"/>
                    <a:pt x="99770" y="104307"/>
                    <a:pt x="104630" y="107106"/>
                  </a:cubicBezTo>
                  <a:cubicBezTo>
                    <a:pt x="109490" y="109906"/>
                    <a:pt x="112978" y="114400"/>
                    <a:pt x="118204" y="118570"/>
                  </a:cubicBezTo>
                  <a:cubicBezTo>
                    <a:pt x="123436" y="122741"/>
                    <a:pt x="134893" y="118570"/>
                    <a:pt x="140491" y="118570"/>
                  </a:cubicBezTo>
                  <a:cubicBezTo>
                    <a:pt x="146090" y="118570"/>
                    <a:pt x="147095" y="115820"/>
                    <a:pt x="148101" y="114400"/>
                  </a:cubicBezTo>
                  <a:cubicBezTo>
                    <a:pt x="149100" y="112972"/>
                    <a:pt x="143923" y="109223"/>
                    <a:pt x="140491" y="107106"/>
                  </a:cubicBezTo>
                  <a:cubicBezTo>
                    <a:pt x="137059" y="104996"/>
                    <a:pt x="125546" y="102619"/>
                    <a:pt x="121319" y="99447"/>
                  </a:cubicBezTo>
                  <a:cubicBezTo>
                    <a:pt x="117099" y="96282"/>
                    <a:pt x="113717" y="90101"/>
                    <a:pt x="107429" y="82076"/>
                  </a:cubicBezTo>
                  <a:cubicBezTo>
                    <a:pt x="101148" y="74044"/>
                    <a:pt x="99088" y="73411"/>
                    <a:pt x="98033" y="70928"/>
                  </a:cubicBezTo>
                  <a:cubicBezTo>
                    <a:pt x="96971" y="68446"/>
                    <a:pt x="93538" y="63326"/>
                    <a:pt x="90057" y="57038"/>
                  </a:cubicBezTo>
                  <a:cubicBezTo>
                    <a:pt x="86569" y="50757"/>
                    <a:pt x="78593" y="45208"/>
                    <a:pt x="75794" y="41038"/>
                  </a:cubicBezTo>
                  <a:cubicBezTo>
                    <a:pt x="72995" y="36867"/>
                    <a:pt x="64654" y="27464"/>
                    <a:pt x="60160" y="22977"/>
                  </a:cubicBezTo>
                  <a:cubicBezTo>
                    <a:pt x="55673" y="18483"/>
                    <a:pt x="48647" y="14263"/>
                    <a:pt x="42788" y="11147"/>
                  </a:cubicBezTo>
                  <a:cubicBezTo>
                    <a:pt x="36922" y="8025"/>
                    <a:pt x="26099" y="9087"/>
                    <a:pt x="21921" y="4909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7" name="Freihandform: Form 182">
              <a:extLst>
                <a:ext uri="{FF2B5EF4-FFF2-40B4-BE49-F238E27FC236}">
                  <a16:creationId xmlns:a16="http://schemas.microsoft.com/office/drawing/2014/main" id="{47B64A97-D1A0-1649-BFD6-C9D5820B324D}"/>
                </a:ext>
              </a:extLst>
            </p:cNvPr>
            <p:cNvSpPr/>
            <p:nvPr/>
          </p:nvSpPr>
          <p:spPr>
            <a:xfrm>
              <a:off x="7916232" y="4681921"/>
              <a:ext cx="608788" cy="479717"/>
            </a:xfrm>
            <a:custGeom>
              <a:avLst/>
              <a:gdLst>
                <a:gd name="connsiteX0" fmla="*/ 459168 w 608788"/>
                <a:gd name="connsiteY0" fmla="*/ 52924 h 479717"/>
                <a:gd name="connsiteX1" fmla="*/ 438301 w 608788"/>
                <a:gd name="connsiteY1" fmla="*/ 0 h 479717"/>
                <a:gd name="connsiteX2" fmla="*/ 433181 w 608788"/>
                <a:gd name="connsiteY2" fmla="*/ 25192 h 479717"/>
                <a:gd name="connsiteX3" fmla="*/ 423939 w 608788"/>
                <a:gd name="connsiteY3" fmla="*/ 52924 h 479717"/>
                <a:gd name="connsiteX4" fmla="*/ 423939 w 608788"/>
                <a:gd name="connsiteY4" fmla="*/ 79804 h 479717"/>
                <a:gd name="connsiteX5" fmla="*/ 422251 w 608788"/>
                <a:gd name="connsiteY5" fmla="*/ 96599 h 479717"/>
                <a:gd name="connsiteX6" fmla="*/ 417652 w 608788"/>
                <a:gd name="connsiteY6" fmla="*/ 113394 h 479717"/>
                <a:gd name="connsiteX7" fmla="*/ 396208 w 608788"/>
                <a:gd name="connsiteY7" fmla="*/ 113394 h 479717"/>
                <a:gd name="connsiteX8" fmla="*/ 377725 w 608788"/>
                <a:gd name="connsiteY8" fmla="*/ 92372 h 479717"/>
                <a:gd name="connsiteX9" fmla="*/ 355065 w 608788"/>
                <a:gd name="connsiteY9" fmla="*/ 68031 h 479717"/>
                <a:gd name="connsiteX10" fmla="*/ 336581 w 608788"/>
                <a:gd name="connsiteY10" fmla="*/ 52924 h 479717"/>
                <a:gd name="connsiteX11" fmla="*/ 344979 w 608788"/>
                <a:gd name="connsiteY11" fmla="*/ 42831 h 479717"/>
                <a:gd name="connsiteX12" fmla="*/ 355065 w 608788"/>
                <a:gd name="connsiteY12" fmla="*/ 25192 h 479717"/>
                <a:gd name="connsiteX13" fmla="*/ 344979 w 608788"/>
                <a:gd name="connsiteY13" fmla="*/ 11724 h 479717"/>
                <a:gd name="connsiteX14" fmla="*/ 313872 w 608788"/>
                <a:gd name="connsiteY14" fmla="*/ 11724 h 479717"/>
                <a:gd name="connsiteX15" fmla="*/ 301304 w 608788"/>
                <a:gd name="connsiteY15" fmla="*/ 4178 h 479717"/>
                <a:gd name="connsiteX16" fmla="*/ 292850 w 608788"/>
                <a:gd name="connsiteY16" fmla="*/ 11724 h 479717"/>
                <a:gd name="connsiteX17" fmla="*/ 265970 w 608788"/>
                <a:gd name="connsiteY17" fmla="*/ 30214 h 479717"/>
                <a:gd name="connsiteX18" fmla="*/ 259260 w 608788"/>
                <a:gd name="connsiteY18" fmla="*/ 42831 h 479717"/>
                <a:gd name="connsiteX19" fmla="*/ 236607 w 608788"/>
                <a:gd name="connsiteY19" fmla="*/ 59633 h 479717"/>
                <a:gd name="connsiteX20" fmla="*/ 217273 w 608788"/>
                <a:gd name="connsiteY20" fmla="*/ 52924 h 479717"/>
                <a:gd name="connsiteX21" fmla="*/ 200478 w 608788"/>
                <a:gd name="connsiteY21" fmla="*/ 52924 h 479717"/>
                <a:gd name="connsiteX22" fmla="*/ 187010 w 608788"/>
                <a:gd name="connsiteY22" fmla="*/ 68031 h 479717"/>
                <a:gd name="connsiteX23" fmla="*/ 165995 w 608788"/>
                <a:gd name="connsiteY23" fmla="*/ 83975 h 479717"/>
                <a:gd name="connsiteX24" fmla="*/ 147505 w 608788"/>
                <a:gd name="connsiteY24" fmla="*/ 92372 h 479717"/>
                <a:gd name="connsiteX25" fmla="*/ 131554 w 608788"/>
                <a:gd name="connsiteY25" fmla="*/ 131033 h 479717"/>
                <a:gd name="connsiteX26" fmla="*/ 114759 w 608788"/>
                <a:gd name="connsiteY26" fmla="*/ 141969 h 479717"/>
                <a:gd name="connsiteX27" fmla="*/ 102142 w 608788"/>
                <a:gd name="connsiteY27" fmla="*/ 141969 h 479717"/>
                <a:gd name="connsiteX28" fmla="*/ 82864 w 608788"/>
                <a:gd name="connsiteY28" fmla="*/ 151211 h 479717"/>
                <a:gd name="connsiteX29" fmla="*/ 68552 w 608788"/>
                <a:gd name="connsiteY29" fmla="*/ 151211 h 479717"/>
                <a:gd name="connsiteX30" fmla="*/ 43353 w 608788"/>
                <a:gd name="connsiteY30" fmla="*/ 158764 h 479717"/>
                <a:gd name="connsiteX31" fmla="*/ 21494 w 608788"/>
                <a:gd name="connsiteY31" fmla="*/ 177247 h 479717"/>
                <a:gd name="connsiteX32" fmla="*/ 3004 w 608788"/>
                <a:gd name="connsiteY32" fmla="*/ 192403 h 479717"/>
                <a:gd name="connsiteX33" fmla="*/ 3004 w 608788"/>
                <a:gd name="connsiteY33" fmla="*/ 216751 h 479717"/>
                <a:gd name="connsiteX34" fmla="*/ 3004 w 608788"/>
                <a:gd name="connsiteY34" fmla="*/ 243639 h 479717"/>
                <a:gd name="connsiteX35" fmla="*/ 3004 w 608788"/>
                <a:gd name="connsiteY35" fmla="*/ 269675 h 479717"/>
                <a:gd name="connsiteX36" fmla="*/ 16472 w 608788"/>
                <a:gd name="connsiteY36" fmla="*/ 298244 h 479717"/>
                <a:gd name="connsiteX37" fmla="*/ 21494 w 608788"/>
                <a:gd name="connsiteY37" fmla="*/ 310024 h 479717"/>
                <a:gd name="connsiteX38" fmla="*/ 28252 w 608788"/>
                <a:gd name="connsiteY38" fmla="*/ 332685 h 479717"/>
                <a:gd name="connsiteX39" fmla="*/ 28252 w 608788"/>
                <a:gd name="connsiteY39" fmla="*/ 351167 h 479717"/>
                <a:gd name="connsiteX40" fmla="*/ 28252 w 608788"/>
                <a:gd name="connsiteY40" fmla="*/ 369650 h 479717"/>
                <a:gd name="connsiteX41" fmla="*/ 21494 w 608788"/>
                <a:gd name="connsiteY41" fmla="*/ 386445 h 479717"/>
                <a:gd name="connsiteX42" fmla="*/ 35806 w 608788"/>
                <a:gd name="connsiteY42" fmla="*/ 400758 h 479717"/>
                <a:gd name="connsiteX43" fmla="*/ 56772 w 608788"/>
                <a:gd name="connsiteY43" fmla="*/ 407467 h 479717"/>
                <a:gd name="connsiteX44" fmla="*/ 72772 w 608788"/>
                <a:gd name="connsiteY44" fmla="*/ 407467 h 479717"/>
                <a:gd name="connsiteX45" fmla="*/ 87879 w 608788"/>
                <a:gd name="connsiteY45" fmla="*/ 396538 h 479717"/>
                <a:gd name="connsiteX46" fmla="*/ 120624 w 608788"/>
                <a:gd name="connsiteY46" fmla="*/ 386445 h 479717"/>
                <a:gd name="connsiteX47" fmla="*/ 147505 w 608788"/>
                <a:gd name="connsiteY47" fmla="*/ 386445 h 479717"/>
                <a:gd name="connsiteX48" fmla="*/ 158441 w 608788"/>
                <a:gd name="connsiteY48" fmla="*/ 373877 h 479717"/>
                <a:gd name="connsiteX49" fmla="*/ 173598 w 608788"/>
                <a:gd name="connsiteY49" fmla="*/ 366274 h 479717"/>
                <a:gd name="connsiteX50" fmla="*/ 187010 w 608788"/>
                <a:gd name="connsiteY50" fmla="*/ 355394 h 479717"/>
                <a:gd name="connsiteX51" fmla="*/ 212202 w 608788"/>
                <a:gd name="connsiteY51" fmla="*/ 343614 h 479717"/>
                <a:gd name="connsiteX52" fmla="*/ 259260 w 608788"/>
                <a:gd name="connsiteY52" fmla="*/ 343614 h 479717"/>
                <a:gd name="connsiteX53" fmla="*/ 282821 w 608788"/>
                <a:gd name="connsiteY53" fmla="*/ 343614 h 479717"/>
                <a:gd name="connsiteX54" fmla="*/ 304631 w 608788"/>
                <a:gd name="connsiteY54" fmla="*/ 355394 h 479717"/>
                <a:gd name="connsiteX55" fmla="*/ 313872 w 608788"/>
                <a:gd name="connsiteY55" fmla="*/ 369650 h 479717"/>
                <a:gd name="connsiteX56" fmla="*/ 323957 w 608788"/>
                <a:gd name="connsiteY56" fmla="*/ 386445 h 479717"/>
                <a:gd name="connsiteX57" fmla="*/ 336581 w 608788"/>
                <a:gd name="connsiteY57" fmla="*/ 400758 h 479717"/>
                <a:gd name="connsiteX58" fmla="*/ 355065 w 608788"/>
                <a:gd name="connsiteY58" fmla="*/ 373877 h 479717"/>
                <a:gd name="connsiteX59" fmla="*/ 369327 w 608788"/>
                <a:gd name="connsiteY59" fmla="*/ 366274 h 479717"/>
                <a:gd name="connsiteX60" fmla="*/ 371867 w 608788"/>
                <a:gd name="connsiteY60" fmla="*/ 381431 h 479717"/>
                <a:gd name="connsiteX61" fmla="*/ 377500 w 608788"/>
                <a:gd name="connsiteY61" fmla="*/ 396073 h 479717"/>
                <a:gd name="connsiteX62" fmla="*/ 377725 w 608788"/>
                <a:gd name="connsiteY62" fmla="*/ 396538 h 479717"/>
                <a:gd name="connsiteX63" fmla="*/ 388661 w 608788"/>
                <a:gd name="connsiteY63" fmla="*/ 407467 h 479717"/>
                <a:gd name="connsiteX64" fmla="*/ 388661 w 608788"/>
                <a:gd name="connsiteY64" fmla="*/ 420091 h 479717"/>
                <a:gd name="connsiteX65" fmla="*/ 396208 w 608788"/>
                <a:gd name="connsiteY65" fmla="*/ 440213 h 479717"/>
                <a:gd name="connsiteX66" fmla="*/ 416491 w 608788"/>
                <a:gd name="connsiteY66" fmla="*/ 459540 h 479717"/>
                <a:gd name="connsiteX67" fmla="*/ 433181 w 608788"/>
                <a:gd name="connsiteY67" fmla="*/ 472164 h 479717"/>
                <a:gd name="connsiteX68" fmla="*/ 453253 w 608788"/>
                <a:gd name="connsiteY68" fmla="*/ 472164 h 479717"/>
                <a:gd name="connsiteX69" fmla="*/ 476539 w 608788"/>
                <a:gd name="connsiteY69" fmla="*/ 472164 h 479717"/>
                <a:gd name="connsiteX70" fmla="*/ 492174 w 608788"/>
                <a:gd name="connsiteY70" fmla="*/ 479718 h 479717"/>
                <a:gd name="connsiteX71" fmla="*/ 514412 w 608788"/>
                <a:gd name="connsiteY71" fmla="*/ 472164 h 479717"/>
                <a:gd name="connsiteX72" fmla="*/ 548262 w 608788"/>
                <a:gd name="connsiteY72" fmla="*/ 459540 h 479717"/>
                <a:gd name="connsiteX73" fmla="*/ 556871 w 608788"/>
                <a:gd name="connsiteY73" fmla="*/ 428489 h 479717"/>
                <a:gd name="connsiteX74" fmla="*/ 564481 w 608788"/>
                <a:gd name="connsiteY74" fmla="*/ 400758 h 479717"/>
                <a:gd name="connsiteX75" fmla="*/ 586923 w 608788"/>
                <a:gd name="connsiteY75" fmla="*/ 369650 h 479717"/>
                <a:gd name="connsiteX76" fmla="*/ 600391 w 608788"/>
                <a:gd name="connsiteY76" fmla="*/ 343614 h 479717"/>
                <a:gd name="connsiteX77" fmla="*/ 608789 w 608788"/>
                <a:gd name="connsiteY77" fmla="*/ 310024 h 479717"/>
                <a:gd name="connsiteX78" fmla="*/ 608789 w 608788"/>
                <a:gd name="connsiteY78" fmla="*/ 257895 h 479717"/>
                <a:gd name="connsiteX79" fmla="*/ 600391 w 608788"/>
                <a:gd name="connsiteY79" fmla="*/ 229327 h 479717"/>
                <a:gd name="connsiteX80" fmla="*/ 576838 w 608788"/>
                <a:gd name="connsiteY80" fmla="*/ 204978 h 479717"/>
                <a:gd name="connsiteX81" fmla="*/ 556871 w 608788"/>
                <a:gd name="connsiteY81" fmla="*/ 177247 h 479717"/>
                <a:gd name="connsiteX82" fmla="*/ 529780 w 608788"/>
                <a:gd name="connsiteY82" fmla="*/ 151211 h 479717"/>
                <a:gd name="connsiteX83" fmla="*/ 500522 w 608788"/>
                <a:gd name="connsiteY83" fmla="*/ 131033 h 479717"/>
                <a:gd name="connsiteX84" fmla="*/ 492174 w 608788"/>
                <a:gd name="connsiteY84" fmla="*/ 103308 h 479717"/>
                <a:gd name="connsiteX85" fmla="*/ 486948 w 608788"/>
                <a:gd name="connsiteY85" fmla="*/ 68031 h 479717"/>
                <a:gd name="connsiteX86" fmla="*/ 459168 w 608788"/>
                <a:gd name="connsiteY86" fmla="*/ 52924 h 479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608788" h="479717">
                  <a:moveTo>
                    <a:pt x="459168" y="52924"/>
                  </a:moveTo>
                  <a:cubicBezTo>
                    <a:pt x="443899" y="47902"/>
                    <a:pt x="446649" y="0"/>
                    <a:pt x="438301" y="0"/>
                  </a:cubicBezTo>
                  <a:cubicBezTo>
                    <a:pt x="433659" y="0"/>
                    <a:pt x="432948" y="16795"/>
                    <a:pt x="433181" y="25192"/>
                  </a:cubicBezTo>
                  <a:cubicBezTo>
                    <a:pt x="430100" y="31072"/>
                    <a:pt x="423939" y="44850"/>
                    <a:pt x="423939" y="52924"/>
                  </a:cubicBezTo>
                  <a:cubicBezTo>
                    <a:pt x="423939" y="63009"/>
                    <a:pt x="422251" y="68031"/>
                    <a:pt x="423939" y="79804"/>
                  </a:cubicBezTo>
                  <a:cubicBezTo>
                    <a:pt x="425627" y="91584"/>
                    <a:pt x="422251" y="92372"/>
                    <a:pt x="422251" y="96599"/>
                  </a:cubicBezTo>
                  <a:cubicBezTo>
                    <a:pt x="422251" y="100826"/>
                    <a:pt x="417757" y="113394"/>
                    <a:pt x="417652" y="113394"/>
                  </a:cubicBezTo>
                  <a:lnTo>
                    <a:pt x="396208" y="113394"/>
                  </a:lnTo>
                  <a:lnTo>
                    <a:pt x="377725" y="92372"/>
                  </a:lnTo>
                  <a:cubicBezTo>
                    <a:pt x="370172" y="86774"/>
                    <a:pt x="355065" y="74072"/>
                    <a:pt x="355065" y="68031"/>
                  </a:cubicBezTo>
                  <a:cubicBezTo>
                    <a:pt x="355065" y="60477"/>
                    <a:pt x="344979" y="59633"/>
                    <a:pt x="336581" y="52924"/>
                  </a:cubicBezTo>
                  <a:cubicBezTo>
                    <a:pt x="328184" y="46214"/>
                    <a:pt x="339908" y="47009"/>
                    <a:pt x="344979" y="42831"/>
                  </a:cubicBezTo>
                  <a:cubicBezTo>
                    <a:pt x="350050" y="38661"/>
                    <a:pt x="355065" y="30214"/>
                    <a:pt x="355065" y="25192"/>
                  </a:cubicBezTo>
                  <a:cubicBezTo>
                    <a:pt x="355065" y="21183"/>
                    <a:pt x="348341" y="14544"/>
                    <a:pt x="344979" y="11724"/>
                  </a:cubicBezTo>
                  <a:lnTo>
                    <a:pt x="313872" y="11724"/>
                  </a:lnTo>
                  <a:cubicBezTo>
                    <a:pt x="303786" y="11724"/>
                    <a:pt x="308857" y="0"/>
                    <a:pt x="301304" y="4178"/>
                  </a:cubicBezTo>
                  <a:cubicBezTo>
                    <a:pt x="295262" y="7511"/>
                    <a:pt x="293152" y="10599"/>
                    <a:pt x="292850" y="11724"/>
                  </a:cubicBezTo>
                  <a:cubicBezTo>
                    <a:pt x="289509" y="14263"/>
                    <a:pt x="279445" y="21507"/>
                    <a:pt x="265970" y="30214"/>
                  </a:cubicBezTo>
                  <a:cubicBezTo>
                    <a:pt x="261743" y="32697"/>
                    <a:pt x="259260" y="36973"/>
                    <a:pt x="259260" y="42831"/>
                  </a:cubicBezTo>
                  <a:cubicBezTo>
                    <a:pt x="259260" y="48697"/>
                    <a:pt x="244160" y="52924"/>
                    <a:pt x="236607" y="59633"/>
                  </a:cubicBezTo>
                  <a:cubicBezTo>
                    <a:pt x="229053" y="66336"/>
                    <a:pt x="220600" y="52924"/>
                    <a:pt x="217273" y="52924"/>
                  </a:cubicBezTo>
                  <a:lnTo>
                    <a:pt x="200478" y="52924"/>
                  </a:lnTo>
                  <a:lnTo>
                    <a:pt x="187010" y="68031"/>
                  </a:lnTo>
                  <a:cubicBezTo>
                    <a:pt x="182537" y="71674"/>
                    <a:pt x="172078" y="79966"/>
                    <a:pt x="165995" y="83975"/>
                  </a:cubicBezTo>
                  <a:cubicBezTo>
                    <a:pt x="158385" y="88996"/>
                    <a:pt x="158441" y="88201"/>
                    <a:pt x="147505" y="92372"/>
                  </a:cubicBezTo>
                  <a:cubicBezTo>
                    <a:pt x="136576" y="96550"/>
                    <a:pt x="140795" y="116777"/>
                    <a:pt x="131554" y="131033"/>
                  </a:cubicBezTo>
                  <a:cubicBezTo>
                    <a:pt x="127334" y="139430"/>
                    <a:pt x="120624" y="136948"/>
                    <a:pt x="114759" y="141969"/>
                  </a:cubicBezTo>
                  <a:cubicBezTo>
                    <a:pt x="108900" y="146984"/>
                    <a:pt x="108057" y="140281"/>
                    <a:pt x="102142" y="141969"/>
                  </a:cubicBezTo>
                  <a:cubicBezTo>
                    <a:pt x="96220" y="143657"/>
                    <a:pt x="87879" y="151211"/>
                    <a:pt x="82864" y="151211"/>
                  </a:cubicBezTo>
                  <a:lnTo>
                    <a:pt x="68552" y="151211"/>
                  </a:lnTo>
                  <a:cubicBezTo>
                    <a:pt x="64325" y="151211"/>
                    <a:pt x="48374" y="157076"/>
                    <a:pt x="43353" y="158764"/>
                  </a:cubicBezTo>
                  <a:cubicBezTo>
                    <a:pt x="38338" y="160452"/>
                    <a:pt x="28252" y="168849"/>
                    <a:pt x="21494" y="177247"/>
                  </a:cubicBezTo>
                  <a:cubicBezTo>
                    <a:pt x="14728" y="185644"/>
                    <a:pt x="9763" y="185644"/>
                    <a:pt x="3004" y="192403"/>
                  </a:cubicBezTo>
                  <a:cubicBezTo>
                    <a:pt x="-3755" y="199169"/>
                    <a:pt x="3004" y="204978"/>
                    <a:pt x="3004" y="216751"/>
                  </a:cubicBezTo>
                  <a:cubicBezTo>
                    <a:pt x="3004" y="228532"/>
                    <a:pt x="6387" y="232703"/>
                    <a:pt x="3004" y="243639"/>
                  </a:cubicBezTo>
                  <a:cubicBezTo>
                    <a:pt x="-372" y="254568"/>
                    <a:pt x="3004" y="257895"/>
                    <a:pt x="3004" y="269675"/>
                  </a:cubicBezTo>
                  <a:cubicBezTo>
                    <a:pt x="3004" y="281449"/>
                    <a:pt x="14784" y="289846"/>
                    <a:pt x="16472" y="298244"/>
                  </a:cubicBezTo>
                  <a:cubicBezTo>
                    <a:pt x="18160" y="306641"/>
                    <a:pt x="17316" y="308336"/>
                    <a:pt x="21494" y="310024"/>
                  </a:cubicBezTo>
                  <a:cubicBezTo>
                    <a:pt x="25665" y="311712"/>
                    <a:pt x="28252" y="325975"/>
                    <a:pt x="28252" y="332685"/>
                  </a:cubicBezTo>
                  <a:lnTo>
                    <a:pt x="28252" y="351167"/>
                  </a:lnTo>
                  <a:cubicBezTo>
                    <a:pt x="28252" y="358721"/>
                    <a:pt x="29891" y="366274"/>
                    <a:pt x="28252" y="369650"/>
                  </a:cubicBezTo>
                  <a:cubicBezTo>
                    <a:pt x="26614" y="373033"/>
                    <a:pt x="21494" y="381431"/>
                    <a:pt x="21494" y="386445"/>
                  </a:cubicBezTo>
                  <a:cubicBezTo>
                    <a:pt x="21494" y="391467"/>
                    <a:pt x="26557" y="396538"/>
                    <a:pt x="35806" y="400758"/>
                  </a:cubicBezTo>
                  <a:cubicBezTo>
                    <a:pt x="45047" y="404984"/>
                    <a:pt x="45891" y="407467"/>
                    <a:pt x="56772" y="407467"/>
                  </a:cubicBezTo>
                  <a:lnTo>
                    <a:pt x="72772" y="407467"/>
                  </a:lnTo>
                  <a:cubicBezTo>
                    <a:pt x="78686" y="407467"/>
                    <a:pt x="82013" y="396538"/>
                    <a:pt x="87879" y="396538"/>
                  </a:cubicBezTo>
                  <a:cubicBezTo>
                    <a:pt x="93744" y="396538"/>
                    <a:pt x="105517" y="386445"/>
                    <a:pt x="120624" y="386445"/>
                  </a:cubicBezTo>
                  <a:lnTo>
                    <a:pt x="147505" y="386445"/>
                  </a:lnTo>
                  <a:cubicBezTo>
                    <a:pt x="155902" y="386445"/>
                    <a:pt x="156746" y="381431"/>
                    <a:pt x="158441" y="373877"/>
                  </a:cubicBezTo>
                  <a:cubicBezTo>
                    <a:pt x="159792" y="367836"/>
                    <a:pt x="169111" y="366288"/>
                    <a:pt x="173598" y="366274"/>
                  </a:cubicBezTo>
                  <a:cubicBezTo>
                    <a:pt x="175553" y="362645"/>
                    <a:pt x="180968" y="355394"/>
                    <a:pt x="187010" y="355394"/>
                  </a:cubicBezTo>
                  <a:cubicBezTo>
                    <a:pt x="194563" y="355394"/>
                    <a:pt x="203804" y="355394"/>
                    <a:pt x="212202" y="343614"/>
                  </a:cubicBezTo>
                  <a:cubicBezTo>
                    <a:pt x="220600" y="331834"/>
                    <a:pt x="255090" y="343614"/>
                    <a:pt x="259260" y="343614"/>
                  </a:cubicBezTo>
                  <a:lnTo>
                    <a:pt x="282821" y="343614"/>
                  </a:lnTo>
                  <a:cubicBezTo>
                    <a:pt x="290424" y="343614"/>
                    <a:pt x="296233" y="351167"/>
                    <a:pt x="304631" y="355394"/>
                  </a:cubicBezTo>
                  <a:cubicBezTo>
                    <a:pt x="311347" y="358770"/>
                    <a:pt x="313590" y="366310"/>
                    <a:pt x="313872" y="369650"/>
                  </a:cubicBezTo>
                  <a:cubicBezTo>
                    <a:pt x="316108" y="373575"/>
                    <a:pt x="321256" y="382436"/>
                    <a:pt x="323957" y="386445"/>
                  </a:cubicBezTo>
                  <a:cubicBezTo>
                    <a:pt x="326665" y="390461"/>
                    <a:pt x="333501" y="397663"/>
                    <a:pt x="336581" y="400758"/>
                  </a:cubicBezTo>
                  <a:cubicBezTo>
                    <a:pt x="339381" y="397114"/>
                    <a:pt x="346997" y="386635"/>
                    <a:pt x="355065" y="373877"/>
                  </a:cubicBezTo>
                  <a:cubicBezTo>
                    <a:pt x="357097" y="367836"/>
                    <a:pt x="365417" y="366288"/>
                    <a:pt x="369327" y="366274"/>
                  </a:cubicBezTo>
                  <a:cubicBezTo>
                    <a:pt x="369890" y="369636"/>
                    <a:pt x="371184" y="377373"/>
                    <a:pt x="371867" y="381431"/>
                  </a:cubicBezTo>
                  <a:cubicBezTo>
                    <a:pt x="372689" y="386403"/>
                    <a:pt x="373519" y="388077"/>
                    <a:pt x="377500" y="396073"/>
                  </a:cubicBezTo>
                  <a:lnTo>
                    <a:pt x="377725" y="396538"/>
                  </a:lnTo>
                  <a:cubicBezTo>
                    <a:pt x="381066" y="403254"/>
                    <a:pt x="386404" y="406623"/>
                    <a:pt x="388661" y="407467"/>
                  </a:cubicBezTo>
                  <a:cubicBezTo>
                    <a:pt x="388373" y="410266"/>
                    <a:pt x="387979" y="416708"/>
                    <a:pt x="388661" y="420091"/>
                  </a:cubicBezTo>
                  <a:cubicBezTo>
                    <a:pt x="389505" y="424318"/>
                    <a:pt x="394520" y="434347"/>
                    <a:pt x="396208" y="440213"/>
                  </a:cubicBezTo>
                  <a:cubicBezTo>
                    <a:pt x="397903" y="446071"/>
                    <a:pt x="407988" y="453681"/>
                    <a:pt x="416491" y="459540"/>
                  </a:cubicBezTo>
                  <a:cubicBezTo>
                    <a:pt x="424994" y="465405"/>
                    <a:pt x="426471" y="466249"/>
                    <a:pt x="433181" y="472164"/>
                  </a:cubicBezTo>
                  <a:cubicBezTo>
                    <a:pt x="438547" y="476897"/>
                    <a:pt x="448794" y="474140"/>
                    <a:pt x="453253" y="472164"/>
                  </a:cubicBezTo>
                  <a:lnTo>
                    <a:pt x="476539" y="472164"/>
                  </a:lnTo>
                  <a:cubicBezTo>
                    <a:pt x="486301" y="472164"/>
                    <a:pt x="491027" y="477200"/>
                    <a:pt x="492174" y="479718"/>
                  </a:cubicBezTo>
                  <a:lnTo>
                    <a:pt x="514412" y="472164"/>
                  </a:lnTo>
                  <a:cubicBezTo>
                    <a:pt x="524301" y="468802"/>
                    <a:pt x="544929" y="461572"/>
                    <a:pt x="548262" y="459540"/>
                  </a:cubicBezTo>
                  <a:cubicBezTo>
                    <a:pt x="552433" y="457008"/>
                    <a:pt x="556871" y="433503"/>
                    <a:pt x="556871" y="428489"/>
                  </a:cubicBezTo>
                  <a:cubicBezTo>
                    <a:pt x="556871" y="424473"/>
                    <a:pt x="561942" y="408332"/>
                    <a:pt x="564481" y="400758"/>
                  </a:cubicBezTo>
                  <a:cubicBezTo>
                    <a:pt x="570853" y="392078"/>
                    <a:pt x="584265" y="373708"/>
                    <a:pt x="586923" y="369650"/>
                  </a:cubicBezTo>
                  <a:cubicBezTo>
                    <a:pt x="590250" y="364580"/>
                    <a:pt x="600391" y="349479"/>
                    <a:pt x="600391" y="343614"/>
                  </a:cubicBezTo>
                  <a:cubicBezTo>
                    <a:pt x="600391" y="337748"/>
                    <a:pt x="608789" y="315890"/>
                    <a:pt x="608789" y="310024"/>
                  </a:cubicBezTo>
                  <a:lnTo>
                    <a:pt x="608789" y="257895"/>
                  </a:lnTo>
                  <a:cubicBezTo>
                    <a:pt x="608789" y="249497"/>
                    <a:pt x="603718" y="236085"/>
                    <a:pt x="600391" y="229327"/>
                  </a:cubicBezTo>
                  <a:cubicBezTo>
                    <a:pt x="597065" y="222561"/>
                    <a:pt x="585235" y="214220"/>
                    <a:pt x="576838" y="204978"/>
                  </a:cubicBezTo>
                  <a:cubicBezTo>
                    <a:pt x="568441" y="195730"/>
                    <a:pt x="556871" y="186488"/>
                    <a:pt x="556871" y="177247"/>
                  </a:cubicBezTo>
                  <a:cubicBezTo>
                    <a:pt x="556871" y="168006"/>
                    <a:pt x="534583" y="156225"/>
                    <a:pt x="529780" y="151211"/>
                  </a:cubicBezTo>
                  <a:cubicBezTo>
                    <a:pt x="524976" y="146196"/>
                    <a:pt x="510980" y="137799"/>
                    <a:pt x="500522" y="131033"/>
                  </a:cubicBezTo>
                  <a:cubicBezTo>
                    <a:pt x="490064" y="124274"/>
                    <a:pt x="492174" y="115933"/>
                    <a:pt x="492174" y="103308"/>
                  </a:cubicBezTo>
                  <a:cubicBezTo>
                    <a:pt x="492174" y="90684"/>
                    <a:pt x="486948" y="74733"/>
                    <a:pt x="486948" y="68031"/>
                  </a:cubicBezTo>
                  <a:cubicBezTo>
                    <a:pt x="486948" y="61321"/>
                    <a:pt x="474429" y="57938"/>
                    <a:pt x="459168" y="5292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8" name="Freihandform: Form 183">
              <a:extLst>
                <a:ext uri="{FF2B5EF4-FFF2-40B4-BE49-F238E27FC236}">
                  <a16:creationId xmlns:a16="http://schemas.microsoft.com/office/drawing/2014/main" id="{DFF1F87C-82C4-D64F-AFA2-0E686196917C}"/>
                </a:ext>
              </a:extLst>
            </p:cNvPr>
            <p:cNvSpPr/>
            <p:nvPr/>
          </p:nvSpPr>
          <p:spPr>
            <a:xfrm>
              <a:off x="8399109" y="5199610"/>
              <a:ext cx="46903" cy="58762"/>
            </a:xfrm>
            <a:custGeom>
              <a:avLst/>
              <a:gdLst>
                <a:gd name="connsiteX0" fmla="*/ 24454 w 46903"/>
                <a:gd name="connsiteY0" fmla="*/ 0 h 58762"/>
                <a:gd name="connsiteX1" fmla="*/ 0 w 46903"/>
                <a:gd name="connsiteY1" fmla="*/ 0 h 58762"/>
                <a:gd name="connsiteX2" fmla="*/ 0 w 46903"/>
                <a:gd name="connsiteY2" fmla="*/ 4649 h 58762"/>
                <a:gd name="connsiteX3" fmla="*/ 0 w 46903"/>
                <a:gd name="connsiteY3" fmla="*/ 21817 h 58762"/>
                <a:gd name="connsiteX4" fmla="*/ 9298 w 46903"/>
                <a:gd name="connsiteY4" fmla="*/ 29054 h 58762"/>
                <a:gd name="connsiteX5" fmla="*/ 9298 w 46903"/>
                <a:gd name="connsiteY5" fmla="*/ 46214 h 58762"/>
                <a:gd name="connsiteX6" fmla="*/ 24454 w 46903"/>
                <a:gd name="connsiteY6" fmla="*/ 58149 h 58762"/>
                <a:gd name="connsiteX7" fmla="*/ 31536 w 46903"/>
                <a:gd name="connsiteY7" fmla="*/ 52185 h 58762"/>
                <a:gd name="connsiteX8" fmla="*/ 37662 w 46903"/>
                <a:gd name="connsiteY8" fmla="*/ 39610 h 58762"/>
                <a:gd name="connsiteX9" fmla="*/ 46903 w 46903"/>
                <a:gd name="connsiteY9" fmla="*/ 21817 h 58762"/>
                <a:gd name="connsiteX10" fmla="*/ 46903 w 46903"/>
                <a:gd name="connsiteY10" fmla="*/ 4649 h 58762"/>
                <a:gd name="connsiteX11" fmla="*/ 24454 w 46903"/>
                <a:gd name="connsiteY11" fmla="*/ 0 h 5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903" h="58762">
                  <a:moveTo>
                    <a:pt x="24454" y="0"/>
                  </a:moveTo>
                  <a:cubicBezTo>
                    <a:pt x="17379" y="0"/>
                    <a:pt x="9298" y="2011"/>
                    <a:pt x="0" y="0"/>
                  </a:cubicBezTo>
                  <a:lnTo>
                    <a:pt x="0" y="4649"/>
                  </a:lnTo>
                  <a:lnTo>
                    <a:pt x="0" y="21817"/>
                  </a:lnTo>
                  <a:cubicBezTo>
                    <a:pt x="0" y="24981"/>
                    <a:pt x="6203" y="27956"/>
                    <a:pt x="9298" y="29054"/>
                  </a:cubicBezTo>
                  <a:lnTo>
                    <a:pt x="9298" y="46214"/>
                  </a:lnTo>
                  <a:cubicBezTo>
                    <a:pt x="14355" y="49316"/>
                    <a:pt x="24454" y="56039"/>
                    <a:pt x="24454" y="58149"/>
                  </a:cubicBezTo>
                  <a:cubicBezTo>
                    <a:pt x="24454" y="60794"/>
                    <a:pt x="31536" y="54140"/>
                    <a:pt x="31536" y="52185"/>
                  </a:cubicBezTo>
                  <a:cubicBezTo>
                    <a:pt x="31536" y="50230"/>
                    <a:pt x="36340" y="44892"/>
                    <a:pt x="37662" y="39610"/>
                  </a:cubicBezTo>
                  <a:cubicBezTo>
                    <a:pt x="38717" y="35391"/>
                    <a:pt x="44259" y="25987"/>
                    <a:pt x="46903" y="21817"/>
                  </a:cubicBezTo>
                  <a:lnTo>
                    <a:pt x="46903" y="4649"/>
                  </a:lnTo>
                  <a:cubicBezTo>
                    <a:pt x="46903" y="56"/>
                    <a:pt x="31536" y="0"/>
                    <a:pt x="24454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9" name="Freihandform: Form 184">
              <a:extLst>
                <a:ext uri="{FF2B5EF4-FFF2-40B4-BE49-F238E27FC236}">
                  <a16:creationId xmlns:a16="http://schemas.microsoft.com/office/drawing/2014/main" id="{82CACE91-F13E-8344-A87A-9833CE582620}"/>
                </a:ext>
              </a:extLst>
            </p:cNvPr>
            <p:cNvSpPr/>
            <p:nvPr/>
          </p:nvSpPr>
          <p:spPr>
            <a:xfrm>
              <a:off x="8332612" y="4557914"/>
              <a:ext cx="148226" cy="120423"/>
            </a:xfrm>
            <a:custGeom>
              <a:avLst/>
              <a:gdLst>
                <a:gd name="connsiteX0" fmla="*/ 21921 w 148226"/>
                <a:gd name="connsiteY0" fmla="*/ 4909 h 120423"/>
                <a:gd name="connsiteX1" fmla="*/ 1378 w 148226"/>
                <a:gd name="connsiteY1" fmla="*/ 0 h 120423"/>
                <a:gd name="connsiteX2" fmla="*/ 111 w 148226"/>
                <a:gd name="connsiteY2" fmla="*/ 77427 h 120423"/>
                <a:gd name="connsiteX3" fmla="*/ 1378 w 148226"/>
                <a:gd name="connsiteY3" fmla="*/ 87618 h 120423"/>
                <a:gd name="connsiteX4" fmla="*/ 21921 w 148226"/>
                <a:gd name="connsiteY4" fmla="*/ 99447 h 120423"/>
                <a:gd name="connsiteX5" fmla="*/ 36873 w 148226"/>
                <a:gd name="connsiteY5" fmla="*/ 94960 h 120423"/>
                <a:gd name="connsiteX6" fmla="*/ 41044 w 148226"/>
                <a:gd name="connsiteY6" fmla="*/ 87618 h 120423"/>
                <a:gd name="connsiteX7" fmla="*/ 47964 w 148226"/>
                <a:gd name="connsiteY7" fmla="*/ 76161 h 120423"/>
                <a:gd name="connsiteX8" fmla="*/ 58050 w 148226"/>
                <a:gd name="connsiteY8" fmla="*/ 70928 h 120423"/>
                <a:gd name="connsiteX9" fmla="*/ 70569 w 148226"/>
                <a:gd name="connsiteY9" fmla="*/ 73728 h 120423"/>
                <a:gd name="connsiteX10" fmla="*/ 84142 w 148226"/>
                <a:gd name="connsiteY10" fmla="*/ 85191 h 120423"/>
                <a:gd name="connsiteX11" fmla="*/ 94601 w 148226"/>
                <a:gd name="connsiteY11" fmla="*/ 99447 h 120423"/>
                <a:gd name="connsiteX12" fmla="*/ 104630 w 148226"/>
                <a:gd name="connsiteY12" fmla="*/ 107106 h 120423"/>
                <a:gd name="connsiteX13" fmla="*/ 118204 w 148226"/>
                <a:gd name="connsiteY13" fmla="*/ 118570 h 120423"/>
                <a:gd name="connsiteX14" fmla="*/ 140491 w 148226"/>
                <a:gd name="connsiteY14" fmla="*/ 118570 h 120423"/>
                <a:gd name="connsiteX15" fmla="*/ 148101 w 148226"/>
                <a:gd name="connsiteY15" fmla="*/ 114400 h 120423"/>
                <a:gd name="connsiteX16" fmla="*/ 140491 w 148226"/>
                <a:gd name="connsiteY16" fmla="*/ 107106 h 120423"/>
                <a:gd name="connsiteX17" fmla="*/ 121319 w 148226"/>
                <a:gd name="connsiteY17" fmla="*/ 99447 h 120423"/>
                <a:gd name="connsiteX18" fmla="*/ 107429 w 148226"/>
                <a:gd name="connsiteY18" fmla="*/ 82076 h 120423"/>
                <a:gd name="connsiteX19" fmla="*/ 98033 w 148226"/>
                <a:gd name="connsiteY19" fmla="*/ 70928 h 120423"/>
                <a:gd name="connsiteX20" fmla="*/ 90057 w 148226"/>
                <a:gd name="connsiteY20" fmla="*/ 57038 h 120423"/>
                <a:gd name="connsiteX21" fmla="*/ 75794 w 148226"/>
                <a:gd name="connsiteY21" fmla="*/ 41038 h 120423"/>
                <a:gd name="connsiteX22" fmla="*/ 60160 w 148226"/>
                <a:gd name="connsiteY22" fmla="*/ 22977 h 120423"/>
                <a:gd name="connsiteX23" fmla="*/ 42788 w 148226"/>
                <a:gd name="connsiteY23" fmla="*/ 11147 h 120423"/>
                <a:gd name="connsiteX24" fmla="*/ 21921 w 148226"/>
                <a:gd name="connsiteY24" fmla="*/ 4909 h 120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8226" h="120423">
                  <a:moveTo>
                    <a:pt x="21921" y="4909"/>
                  </a:moveTo>
                  <a:cubicBezTo>
                    <a:pt x="18587" y="1575"/>
                    <a:pt x="6835" y="246"/>
                    <a:pt x="1378" y="0"/>
                  </a:cubicBezTo>
                  <a:cubicBezTo>
                    <a:pt x="695" y="28399"/>
                    <a:pt x="111" y="73706"/>
                    <a:pt x="111" y="77427"/>
                  </a:cubicBezTo>
                  <a:cubicBezTo>
                    <a:pt x="111" y="81386"/>
                    <a:pt x="-556" y="83672"/>
                    <a:pt x="1378" y="87618"/>
                  </a:cubicBezTo>
                  <a:cubicBezTo>
                    <a:pt x="2805" y="90522"/>
                    <a:pt x="13580" y="99447"/>
                    <a:pt x="21921" y="99447"/>
                  </a:cubicBezTo>
                  <a:cubicBezTo>
                    <a:pt x="30269" y="99447"/>
                    <a:pt x="30958" y="97021"/>
                    <a:pt x="36873" y="94960"/>
                  </a:cubicBezTo>
                  <a:cubicBezTo>
                    <a:pt x="42788" y="92900"/>
                    <a:pt x="40305" y="89735"/>
                    <a:pt x="41044" y="87618"/>
                  </a:cubicBezTo>
                  <a:cubicBezTo>
                    <a:pt x="41782" y="85508"/>
                    <a:pt x="45214" y="80015"/>
                    <a:pt x="47964" y="76161"/>
                  </a:cubicBezTo>
                  <a:cubicBezTo>
                    <a:pt x="50707" y="72300"/>
                    <a:pt x="55300" y="70928"/>
                    <a:pt x="58050" y="70928"/>
                  </a:cubicBezTo>
                  <a:cubicBezTo>
                    <a:pt x="60793" y="70928"/>
                    <a:pt x="65709" y="70928"/>
                    <a:pt x="70569" y="73728"/>
                  </a:cubicBezTo>
                  <a:cubicBezTo>
                    <a:pt x="75428" y="76527"/>
                    <a:pt x="75794" y="79277"/>
                    <a:pt x="84142" y="85191"/>
                  </a:cubicBezTo>
                  <a:cubicBezTo>
                    <a:pt x="92484" y="91106"/>
                    <a:pt x="90057" y="93533"/>
                    <a:pt x="94601" y="99447"/>
                  </a:cubicBezTo>
                  <a:cubicBezTo>
                    <a:pt x="99137" y="105362"/>
                    <a:pt x="99770" y="104307"/>
                    <a:pt x="104630" y="107106"/>
                  </a:cubicBezTo>
                  <a:cubicBezTo>
                    <a:pt x="109490" y="109906"/>
                    <a:pt x="112978" y="114400"/>
                    <a:pt x="118204" y="118570"/>
                  </a:cubicBezTo>
                  <a:cubicBezTo>
                    <a:pt x="123436" y="122741"/>
                    <a:pt x="134893" y="118570"/>
                    <a:pt x="140491" y="118570"/>
                  </a:cubicBezTo>
                  <a:cubicBezTo>
                    <a:pt x="146090" y="118570"/>
                    <a:pt x="147095" y="115820"/>
                    <a:pt x="148101" y="114400"/>
                  </a:cubicBezTo>
                  <a:cubicBezTo>
                    <a:pt x="149100" y="112972"/>
                    <a:pt x="143923" y="109223"/>
                    <a:pt x="140491" y="107106"/>
                  </a:cubicBezTo>
                  <a:cubicBezTo>
                    <a:pt x="137059" y="104996"/>
                    <a:pt x="125546" y="102619"/>
                    <a:pt x="121319" y="99447"/>
                  </a:cubicBezTo>
                  <a:cubicBezTo>
                    <a:pt x="117099" y="96282"/>
                    <a:pt x="113717" y="90101"/>
                    <a:pt x="107429" y="82076"/>
                  </a:cubicBezTo>
                  <a:cubicBezTo>
                    <a:pt x="101148" y="74044"/>
                    <a:pt x="99088" y="73411"/>
                    <a:pt x="98033" y="70928"/>
                  </a:cubicBezTo>
                  <a:cubicBezTo>
                    <a:pt x="96971" y="68446"/>
                    <a:pt x="93538" y="63326"/>
                    <a:pt x="90057" y="57038"/>
                  </a:cubicBezTo>
                  <a:cubicBezTo>
                    <a:pt x="86569" y="50757"/>
                    <a:pt x="78593" y="45208"/>
                    <a:pt x="75794" y="41038"/>
                  </a:cubicBezTo>
                  <a:cubicBezTo>
                    <a:pt x="72995" y="36867"/>
                    <a:pt x="64654" y="27464"/>
                    <a:pt x="60160" y="22977"/>
                  </a:cubicBezTo>
                  <a:cubicBezTo>
                    <a:pt x="55673" y="18483"/>
                    <a:pt x="48647" y="14263"/>
                    <a:pt x="42788" y="11147"/>
                  </a:cubicBezTo>
                  <a:cubicBezTo>
                    <a:pt x="36922" y="8025"/>
                    <a:pt x="26099" y="9087"/>
                    <a:pt x="21921" y="4909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0" name="Freihandform: Form 185">
              <a:extLst>
                <a:ext uri="{FF2B5EF4-FFF2-40B4-BE49-F238E27FC236}">
                  <a16:creationId xmlns:a16="http://schemas.microsoft.com/office/drawing/2014/main" id="{AEBA51F5-F4D1-214D-B02B-99FDA22A40D6}"/>
                </a:ext>
              </a:extLst>
            </p:cNvPr>
            <p:cNvSpPr/>
            <p:nvPr/>
          </p:nvSpPr>
          <p:spPr>
            <a:xfrm>
              <a:off x="7916232" y="4681921"/>
              <a:ext cx="608788" cy="479717"/>
            </a:xfrm>
            <a:custGeom>
              <a:avLst/>
              <a:gdLst>
                <a:gd name="connsiteX0" fmla="*/ 459168 w 608788"/>
                <a:gd name="connsiteY0" fmla="*/ 52924 h 479717"/>
                <a:gd name="connsiteX1" fmla="*/ 438301 w 608788"/>
                <a:gd name="connsiteY1" fmla="*/ 0 h 479717"/>
                <a:gd name="connsiteX2" fmla="*/ 433181 w 608788"/>
                <a:gd name="connsiteY2" fmla="*/ 25192 h 479717"/>
                <a:gd name="connsiteX3" fmla="*/ 423939 w 608788"/>
                <a:gd name="connsiteY3" fmla="*/ 52924 h 479717"/>
                <a:gd name="connsiteX4" fmla="*/ 423939 w 608788"/>
                <a:gd name="connsiteY4" fmla="*/ 79804 h 479717"/>
                <a:gd name="connsiteX5" fmla="*/ 422251 w 608788"/>
                <a:gd name="connsiteY5" fmla="*/ 96599 h 479717"/>
                <a:gd name="connsiteX6" fmla="*/ 417652 w 608788"/>
                <a:gd name="connsiteY6" fmla="*/ 113394 h 479717"/>
                <a:gd name="connsiteX7" fmla="*/ 396208 w 608788"/>
                <a:gd name="connsiteY7" fmla="*/ 113394 h 479717"/>
                <a:gd name="connsiteX8" fmla="*/ 377725 w 608788"/>
                <a:gd name="connsiteY8" fmla="*/ 92372 h 479717"/>
                <a:gd name="connsiteX9" fmla="*/ 355065 w 608788"/>
                <a:gd name="connsiteY9" fmla="*/ 68031 h 479717"/>
                <a:gd name="connsiteX10" fmla="*/ 336581 w 608788"/>
                <a:gd name="connsiteY10" fmla="*/ 52924 h 479717"/>
                <a:gd name="connsiteX11" fmla="*/ 344979 w 608788"/>
                <a:gd name="connsiteY11" fmla="*/ 42831 h 479717"/>
                <a:gd name="connsiteX12" fmla="*/ 355065 w 608788"/>
                <a:gd name="connsiteY12" fmla="*/ 25192 h 479717"/>
                <a:gd name="connsiteX13" fmla="*/ 344979 w 608788"/>
                <a:gd name="connsiteY13" fmla="*/ 11724 h 479717"/>
                <a:gd name="connsiteX14" fmla="*/ 313872 w 608788"/>
                <a:gd name="connsiteY14" fmla="*/ 11724 h 479717"/>
                <a:gd name="connsiteX15" fmla="*/ 301304 w 608788"/>
                <a:gd name="connsiteY15" fmla="*/ 4178 h 479717"/>
                <a:gd name="connsiteX16" fmla="*/ 292850 w 608788"/>
                <a:gd name="connsiteY16" fmla="*/ 11724 h 479717"/>
                <a:gd name="connsiteX17" fmla="*/ 265970 w 608788"/>
                <a:gd name="connsiteY17" fmla="*/ 30214 h 479717"/>
                <a:gd name="connsiteX18" fmla="*/ 259260 w 608788"/>
                <a:gd name="connsiteY18" fmla="*/ 42831 h 479717"/>
                <a:gd name="connsiteX19" fmla="*/ 236607 w 608788"/>
                <a:gd name="connsiteY19" fmla="*/ 59633 h 479717"/>
                <a:gd name="connsiteX20" fmla="*/ 217273 w 608788"/>
                <a:gd name="connsiteY20" fmla="*/ 52924 h 479717"/>
                <a:gd name="connsiteX21" fmla="*/ 200478 w 608788"/>
                <a:gd name="connsiteY21" fmla="*/ 52924 h 479717"/>
                <a:gd name="connsiteX22" fmla="*/ 187010 w 608788"/>
                <a:gd name="connsiteY22" fmla="*/ 68031 h 479717"/>
                <a:gd name="connsiteX23" fmla="*/ 165995 w 608788"/>
                <a:gd name="connsiteY23" fmla="*/ 83975 h 479717"/>
                <a:gd name="connsiteX24" fmla="*/ 147505 w 608788"/>
                <a:gd name="connsiteY24" fmla="*/ 92372 h 479717"/>
                <a:gd name="connsiteX25" fmla="*/ 131554 w 608788"/>
                <a:gd name="connsiteY25" fmla="*/ 131033 h 479717"/>
                <a:gd name="connsiteX26" fmla="*/ 114759 w 608788"/>
                <a:gd name="connsiteY26" fmla="*/ 141969 h 479717"/>
                <a:gd name="connsiteX27" fmla="*/ 102142 w 608788"/>
                <a:gd name="connsiteY27" fmla="*/ 141969 h 479717"/>
                <a:gd name="connsiteX28" fmla="*/ 82864 w 608788"/>
                <a:gd name="connsiteY28" fmla="*/ 151211 h 479717"/>
                <a:gd name="connsiteX29" fmla="*/ 68552 w 608788"/>
                <a:gd name="connsiteY29" fmla="*/ 151211 h 479717"/>
                <a:gd name="connsiteX30" fmla="*/ 43353 w 608788"/>
                <a:gd name="connsiteY30" fmla="*/ 158764 h 479717"/>
                <a:gd name="connsiteX31" fmla="*/ 21494 w 608788"/>
                <a:gd name="connsiteY31" fmla="*/ 177247 h 479717"/>
                <a:gd name="connsiteX32" fmla="*/ 3004 w 608788"/>
                <a:gd name="connsiteY32" fmla="*/ 192403 h 479717"/>
                <a:gd name="connsiteX33" fmla="*/ 3004 w 608788"/>
                <a:gd name="connsiteY33" fmla="*/ 216751 h 479717"/>
                <a:gd name="connsiteX34" fmla="*/ 3004 w 608788"/>
                <a:gd name="connsiteY34" fmla="*/ 243639 h 479717"/>
                <a:gd name="connsiteX35" fmla="*/ 3004 w 608788"/>
                <a:gd name="connsiteY35" fmla="*/ 269675 h 479717"/>
                <a:gd name="connsiteX36" fmla="*/ 16472 w 608788"/>
                <a:gd name="connsiteY36" fmla="*/ 298244 h 479717"/>
                <a:gd name="connsiteX37" fmla="*/ 21494 w 608788"/>
                <a:gd name="connsiteY37" fmla="*/ 310024 h 479717"/>
                <a:gd name="connsiteX38" fmla="*/ 28252 w 608788"/>
                <a:gd name="connsiteY38" fmla="*/ 332685 h 479717"/>
                <a:gd name="connsiteX39" fmla="*/ 28252 w 608788"/>
                <a:gd name="connsiteY39" fmla="*/ 351167 h 479717"/>
                <a:gd name="connsiteX40" fmla="*/ 28252 w 608788"/>
                <a:gd name="connsiteY40" fmla="*/ 369650 h 479717"/>
                <a:gd name="connsiteX41" fmla="*/ 21494 w 608788"/>
                <a:gd name="connsiteY41" fmla="*/ 386445 h 479717"/>
                <a:gd name="connsiteX42" fmla="*/ 35806 w 608788"/>
                <a:gd name="connsiteY42" fmla="*/ 400758 h 479717"/>
                <a:gd name="connsiteX43" fmla="*/ 56772 w 608788"/>
                <a:gd name="connsiteY43" fmla="*/ 407467 h 479717"/>
                <a:gd name="connsiteX44" fmla="*/ 72772 w 608788"/>
                <a:gd name="connsiteY44" fmla="*/ 407467 h 479717"/>
                <a:gd name="connsiteX45" fmla="*/ 87879 w 608788"/>
                <a:gd name="connsiteY45" fmla="*/ 396538 h 479717"/>
                <a:gd name="connsiteX46" fmla="*/ 120624 w 608788"/>
                <a:gd name="connsiteY46" fmla="*/ 386445 h 479717"/>
                <a:gd name="connsiteX47" fmla="*/ 147505 w 608788"/>
                <a:gd name="connsiteY47" fmla="*/ 386445 h 479717"/>
                <a:gd name="connsiteX48" fmla="*/ 158441 w 608788"/>
                <a:gd name="connsiteY48" fmla="*/ 373877 h 479717"/>
                <a:gd name="connsiteX49" fmla="*/ 173598 w 608788"/>
                <a:gd name="connsiteY49" fmla="*/ 366274 h 479717"/>
                <a:gd name="connsiteX50" fmla="*/ 187010 w 608788"/>
                <a:gd name="connsiteY50" fmla="*/ 355394 h 479717"/>
                <a:gd name="connsiteX51" fmla="*/ 212202 w 608788"/>
                <a:gd name="connsiteY51" fmla="*/ 343614 h 479717"/>
                <a:gd name="connsiteX52" fmla="*/ 259260 w 608788"/>
                <a:gd name="connsiteY52" fmla="*/ 343614 h 479717"/>
                <a:gd name="connsiteX53" fmla="*/ 282821 w 608788"/>
                <a:gd name="connsiteY53" fmla="*/ 343614 h 479717"/>
                <a:gd name="connsiteX54" fmla="*/ 304631 w 608788"/>
                <a:gd name="connsiteY54" fmla="*/ 355394 h 479717"/>
                <a:gd name="connsiteX55" fmla="*/ 313872 w 608788"/>
                <a:gd name="connsiteY55" fmla="*/ 369650 h 479717"/>
                <a:gd name="connsiteX56" fmla="*/ 323957 w 608788"/>
                <a:gd name="connsiteY56" fmla="*/ 386445 h 479717"/>
                <a:gd name="connsiteX57" fmla="*/ 336581 w 608788"/>
                <a:gd name="connsiteY57" fmla="*/ 400758 h 479717"/>
                <a:gd name="connsiteX58" fmla="*/ 355065 w 608788"/>
                <a:gd name="connsiteY58" fmla="*/ 373877 h 479717"/>
                <a:gd name="connsiteX59" fmla="*/ 369327 w 608788"/>
                <a:gd name="connsiteY59" fmla="*/ 366274 h 479717"/>
                <a:gd name="connsiteX60" fmla="*/ 371867 w 608788"/>
                <a:gd name="connsiteY60" fmla="*/ 381431 h 479717"/>
                <a:gd name="connsiteX61" fmla="*/ 377500 w 608788"/>
                <a:gd name="connsiteY61" fmla="*/ 396073 h 479717"/>
                <a:gd name="connsiteX62" fmla="*/ 377725 w 608788"/>
                <a:gd name="connsiteY62" fmla="*/ 396538 h 479717"/>
                <a:gd name="connsiteX63" fmla="*/ 388661 w 608788"/>
                <a:gd name="connsiteY63" fmla="*/ 407467 h 479717"/>
                <a:gd name="connsiteX64" fmla="*/ 388661 w 608788"/>
                <a:gd name="connsiteY64" fmla="*/ 420091 h 479717"/>
                <a:gd name="connsiteX65" fmla="*/ 396208 w 608788"/>
                <a:gd name="connsiteY65" fmla="*/ 440213 h 479717"/>
                <a:gd name="connsiteX66" fmla="*/ 416491 w 608788"/>
                <a:gd name="connsiteY66" fmla="*/ 459540 h 479717"/>
                <a:gd name="connsiteX67" fmla="*/ 433181 w 608788"/>
                <a:gd name="connsiteY67" fmla="*/ 472164 h 479717"/>
                <a:gd name="connsiteX68" fmla="*/ 453253 w 608788"/>
                <a:gd name="connsiteY68" fmla="*/ 472164 h 479717"/>
                <a:gd name="connsiteX69" fmla="*/ 476539 w 608788"/>
                <a:gd name="connsiteY69" fmla="*/ 472164 h 479717"/>
                <a:gd name="connsiteX70" fmla="*/ 492174 w 608788"/>
                <a:gd name="connsiteY70" fmla="*/ 479718 h 479717"/>
                <a:gd name="connsiteX71" fmla="*/ 514412 w 608788"/>
                <a:gd name="connsiteY71" fmla="*/ 472164 h 479717"/>
                <a:gd name="connsiteX72" fmla="*/ 548262 w 608788"/>
                <a:gd name="connsiteY72" fmla="*/ 459540 h 479717"/>
                <a:gd name="connsiteX73" fmla="*/ 556871 w 608788"/>
                <a:gd name="connsiteY73" fmla="*/ 428489 h 479717"/>
                <a:gd name="connsiteX74" fmla="*/ 564481 w 608788"/>
                <a:gd name="connsiteY74" fmla="*/ 400758 h 479717"/>
                <a:gd name="connsiteX75" fmla="*/ 586923 w 608788"/>
                <a:gd name="connsiteY75" fmla="*/ 369650 h 479717"/>
                <a:gd name="connsiteX76" fmla="*/ 600391 w 608788"/>
                <a:gd name="connsiteY76" fmla="*/ 343614 h 479717"/>
                <a:gd name="connsiteX77" fmla="*/ 608789 w 608788"/>
                <a:gd name="connsiteY77" fmla="*/ 310024 h 479717"/>
                <a:gd name="connsiteX78" fmla="*/ 608789 w 608788"/>
                <a:gd name="connsiteY78" fmla="*/ 257895 h 479717"/>
                <a:gd name="connsiteX79" fmla="*/ 600391 w 608788"/>
                <a:gd name="connsiteY79" fmla="*/ 229327 h 479717"/>
                <a:gd name="connsiteX80" fmla="*/ 576838 w 608788"/>
                <a:gd name="connsiteY80" fmla="*/ 204978 h 479717"/>
                <a:gd name="connsiteX81" fmla="*/ 556871 w 608788"/>
                <a:gd name="connsiteY81" fmla="*/ 177247 h 479717"/>
                <a:gd name="connsiteX82" fmla="*/ 529780 w 608788"/>
                <a:gd name="connsiteY82" fmla="*/ 151211 h 479717"/>
                <a:gd name="connsiteX83" fmla="*/ 500522 w 608788"/>
                <a:gd name="connsiteY83" fmla="*/ 131033 h 479717"/>
                <a:gd name="connsiteX84" fmla="*/ 492174 w 608788"/>
                <a:gd name="connsiteY84" fmla="*/ 103308 h 479717"/>
                <a:gd name="connsiteX85" fmla="*/ 486948 w 608788"/>
                <a:gd name="connsiteY85" fmla="*/ 68031 h 479717"/>
                <a:gd name="connsiteX86" fmla="*/ 459168 w 608788"/>
                <a:gd name="connsiteY86" fmla="*/ 52924 h 479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608788" h="479717">
                  <a:moveTo>
                    <a:pt x="459168" y="52924"/>
                  </a:moveTo>
                  <a:cubicBezTo>
                    <a:pt x="443899" y="47902"/>
                    <a:pt x="446649" y="0"/>
                    <a:pt x="438301" y="0"/>
                  </a:cubicBezTo>
                  <a:cubicBezTo>
                    <a:pt x="433659" y="0"/>
                    <a:pt x="432948" y="16795"/>
                    <a:pt x="433181" y="25192"/>
                  </a:cubicBezTo>
                  <a:cubicBezTo>
                    <a:pt x="430100" y="31072"/>
                    <a:pt x="423939" y="44850"/>
                    <a:pt x="423939" y="52924"/>
                  </a:cubicBezTo>
                  <a:cubicBezTo>
                    <a:pt x="423939" y="63009"/>
                    <a:pt x="422251" y="68031"/>
                    <a:pt x="423939" y="79804"/>
                  </a:cubicBezTo>
                  <a:cubicBezTo>
                    <a:pt x="425627" y="91584"/>
                    <a:pt x="422251" y="92372"/>
                    <a:pt x="422251" y="96599"/>
                  </a:cubicBezTo>
                  <a:cubicBezTo>
                    <a:pt x="422251" y="100826"/>
                    <a:pt x="417757" y="113394"/>
                    <a:pt x="417652" y="113394"/>
                  </a:cubicBezTo>
                  <a:lnTo>
                    <a:pt x="396208" y="113394"/>
                  </a:lnTo>
                  <a:lnTo>
                    <a:pt x="377725" y="92372"/>
                  </a:lnTo>
                  <a:cubicBezTo>
                    <a:pt x="370172" y="86774"/>
                    <a:pt x="355065" y="74072"/>
                    <a:pt x="355065" y="68031"/>
                  </a:cubicBezTo>
                  <a:cubicBezTo>
                    <a:pt x="355065" y="60477"/>
                    <a:pt x="344979" y="59633"/>
                    <a:pt x="336581" y="52924"/>
                  </a:cubicBezTo>
                  <a:cubicBezTo>
                    <a:pt x="328184" y="46214"/>
                    <a:pt x="339908" y="47009"/>
                    <a:pt x="344979" y="42831"/>
                  </a:cubicBezTo>
                  <a:cubicBezTo>
                    <a:pt x="350050" y="38661"/>
                    <a:pt x="355065" y="30214"/>
                    <a:pt x="355065" y="25192"/>
                  </a:cubicBezTo>
                  <a:cubicBezTo>
                    <a:pt x="355065" y="21183"/>
                    <a:pt x="348341" y="14544"/>
                    <a:pt x="344979" y="11724"/>
                  </a:cubicBezTo>
                  <a:lnTo>
                    <a:pt x="313872" y="11724"/>
                  </a:lnTo>
                  <a:cubicBezTo>
                    <a:pt x="303786" y="11724"/>
                    <a:pt x="308857" y="0"/>
                    <a:pt x="301304" y="4178"/>
                  </a:cubicBezTo>
                  <a:cubicBezTo>
                    <a:pt x="295262" y="7511"/>
                    <a:pt x="293152" y="10599"/>
                    <a:pt x="292850" y="11724"/>
                  </a:cubicBezTo>
                  <a:cubicBezTo>
                    <a:pt x="289509" y="14263"/>
                    <a:pt x="279445" y="21507"/>
                    <a:pt x="265970" y="30214"/>
                  </a:cubicBezTo>
                  <a:cubicBezTo>
                    <a:pt x="261743" y="32697"/>
                    <a:pt x="259260" y="36973"/>
                    <a:pt x="259260" y="42831"/>
                  </a:cubicBezTo>
                  <a:cubicBezTo>
                    <a:pt x="259260" y="48697"/>
                    <a:pt x="244160" y="52924"/>
                    <a:pt x="236607" y="59633"/>
                  </a:cubicBezTo>
                  <a:cubicBezTo>
                    <a:pt x="229053" y="66336"/>
                    <a:pt x="220600" y="52924"/>
                    <a:pt x="217273" y="52924"/>
                  </a:cubicBezTo>
                  <a:lnTo>
                    <a:pt x="200478" y="52924"/>
                  </a:lnTo>
                  <a:lnTo>
                    <a:pt x="187010" y="68031"/>
                  </a:lnTo>
                  <a:cubicBezTo>
                    <a:pt x="182537" y="71674"/>
                    <a:pt x="172078" y="79966"/>
                    <a:pt x="165995" y="83975"/>
                  </a:cubicBezTo>
                  <a:cubicBezTo>
                    <a:pt x="158385" y="88996"/>
                    <a:pt x="158441" y="88201"/>
                    <a:pt x="147505" y="92372"/>
                  </a:cubicBezTo>
                  <a:cubicBezTo>
                    <a:pt x="136576" y="96550"/>
                    <a:pt x="140795" y="116777"/>
                    <a:pt x="131554" y="131033"/>
                  </a:cubicBezTo>
                  <a:cubicBezTo>
                    <a:pt x="127334" y="139430"/>
                    <a:pt x="120624" y="136948"/>
                    <a:pt x="114759" y="141969"/>
                  </a:cubicBezTo>
                  <a:cubicBezTo>
                    <a:pt x="108900" y="146984"/>
                    <a:pt x="108057" y="140281"/>
                    <a:pt x="102142" y="141969"/>
                  </a:cubicBezTo>
                  <a:cubicBezTo>
                    <a:pt x="96220" y="143657"/>
                    <a:pt x="87879" y="151211"/>
                    <a:pt x="82864" y="151211"/>
                  </a:cubicBezTo>
                  <a:lnTo>
                    <a:pt x="68552" y="151211"/>
                  </a:lnTo>
                  <a:cubicBezTo>
                    <a:pt x="64325" y="151211"/>
                    <a:pt x="48374" y="157076"/>
                    <a:pt x="43353" y="158764"/>
                  </a:cubicBezTo>
                  <a:cubicBezTo>
                    <a:pt x="38338" y="160452"/>
                    <a:pt x="28252" y="168849"/>
                    <a:pt x="21494" y="177247"/>
                  </a:cubicBezTo>
                  <a:cubicBezTo>
                    <a:pt x="14728" y="185644"/>
                    <a:pt x="9763" y="185644"/>
                    <a:pt x="3004" y="192403"/>
                  </a:cubicBezTo>
                  <a:cubicBezTo>
                    <a:pt x="-3755" y="199169"/>
                    <a:pt x="3004" y="204978"/>
                    <a:pt x="3004" y="216751"/>
                  </a:cubicBezTo>
                  <a:cubicBezTo>
                    <a:pt x="3004" y="228532"/>
                    <a:pt x="6387" y="232703"/>
                    <a:pt x="3004" y="243639"/>
                  </a:cubicBezTo>
                  <a:cubicBezTo>
                    <a:pt x="-372" y="254568"/>
                    <a:pt x="3004" y="257895"/>
                    <a:pt x="3004" y="269675"/>
                  </a:cubicBezTo>
                  <a:cubicBezTo>
                    <a:pt x="3004" y="281449"/>
                    <a:pt x="14784" y="289846"/>
                    <a:pt x="16472" y="298244"/>
                  </a:cubicBezTo>
                  <a:cubicBezTo>
                    <a:pt x="18160" y="306641"/>
                    <a:pt x="17316" y="308336"/>
                    <a:pt x="21494" y="310024"/>
                  </a:cubicBezTo>
                  <a:cubicBezTo>
                    <a:pt x="25665" y="311712"/>
                    <a:pt x="28252" y="325975"/>
                    <a:pt x="28252" y="332685"/>
                  </a:cubicBezTo>
                  <a:lnTo>
                    <a:pt x="28252" y="351167"/>
                  </a:lnTo>
                  <a:cubicBezTo>
                    <a:pt x="28252" y="358721"/>
                    <a:pt x="29891" y="366274"/>
                    <a:pt x="28252" y="369650"/>
                  </a:cubicBezTo>
                  <a:cubicBezTo>
                    <a:pt x="26614" y="373033"/>
                    <a:pt x="21494" y="381431"/>
                    <a:pt x="21494" y="386445"/>
                  </a:cubicBezTo>
                  <a:cubicBezTo>
                    <a:pt x="21494" y="391467"/>
                    <a:pt x="26557" y="396538"/>
                    <a:pt x="35806" y="400758"/>
                  </a:cubicBezTo>
                  <a:cubicBezTo>
                    <a:pt x="45047" y="404984"/>
                    <a:pt x="45891" y="407467"/>
                    <a:pt x="56772" y="407467"/>
                  </a:cubicBezTo>
                  <a:lnTo>
                    <a:pt x="72772" y="407467"/>
                  </a:lnTo>
                  <a:cubicBezTo>
                    <a:pt x="78686" y="407467"/>
                    <a:pt x="82013" y="396538"/>
                    <a:pt x="87879" y="396538"/>
                  </a:cubicBezTo>
                  <a:cubicBezTo>
                    <a:pt x="93744" y="396538"/>
                    <a:pt x="105517" y="386445"/>
                    <a:pt x="120624" y="386445"/>
                  </a:cubicBezTo>
                  <a:lnTo>
                    <a:pt x="147505" y="386445"/>
                  </a:lnTo>
                  <a:cubicBezTo>
                    <a:pt x="155902" y="386445"/>
                    <a:pt x="156746" y="381431"/>
                    <a:pt x="158441" y="373877"/>
                  </a:cubicBezTo>
                  <a:cubicBezTo>
                    <a:pt x="159792" y="367836"/>
                    <a:pt x="169111" y="366288"/>
                    <a:pt x="173598" y="366274"/>
                  </a:cubicBezTo>
                  <a:cubicBezTo>
                    <a:pt x="175553" y="362645"/>
                    <a:pt x="180968" y="355394"/>
                    <a:pt x="187010" y="355394"/>
                  </a:cubicBezTo>
                  <a:cubicBezTo>
                    <a:pt x="194563" y="355394"/>
                    <a:pt x="203804" y="355394"/>
                    <a:pt x="212202" y="343614"/>
                  </a:cubicBezTo>
                  <a:cubicBezTo>
                    <a:pt x="220600" y="331834"/>
                    <a:pt x="255090" y="343614"/>
                    <a:pt x="259260" y="343614"/>
                  </a:cubicBezTo>
                  <a:lnTo>
                    <a:pt x="282821" y="343614"/>
                  </a:lnTo>
                  <a:cubicBezTo>
                    <a:pt x="290424" y="343614"/>
                    <a:pt x="296233" y="351167"/>
                    <a:pt x="304631" y="355394"/>
                  </a:cubicBezTo>
                  <a:cubicBezTo>
                    <a:pt x="311347" y="358770"/>
                    <a:pt x="313590" y="366310"/>
                    <a:pt x="313872" y="369650"/>
                  </a:cubicBezTo>
                  <a:cubicBezTo>
                    <a:pt x="316108" y="373575"/>
                    <a:pt x="321256" y="382436"/>
                    <a:pt x="323957" y="386445"/>
                  </a:cubicBezTo>
                  <a:cubicBezTo>
                    <a:pt x="326665" y="390461"/>
                    <a:pt x="333501" y="397663"/>
                    <a:pt x="336581" y="400758"/>
                  </a:cubicBezTo>
                  <a:cubicBezTo>
                    <a:pt x="339381" y="397114"/>
                    <a:pt x="346997" y="386635"/>
                    <a:pt x="355065" y="373877"/>
                  </a:cubicBezTo>
                  <a:cubicBezTo>
                    <a:pt x="357097" y="367836"/>
                    <a:pt x="365417" y="366288"/>
                    <a:pt x="369327" y="366274"/>
                  </a:cubicBezTo>
                  <a:cubicBezTo>
                    <a:pt x="369890" y="369636"/>
                    <a:pt x="371184" y="377373"/>
                    <a:pt x="371867" y="381431"/>
                  </a:cubicBezTo>
                  <a:cubicBezTo>
                    <a:pt x="372689" y="386403"/>
                    <a:pt x="373519" y="388077"/>
                    <a:pt x="377500" y="396073"/>
                  </a:cubicBezTo>
                  <a:lnTo>
                    <a:pt x="377725" y="396538"/>
                  </a:lnTo>
                  <a:cubicBezTo>
                    <a:pt x="381066" y="403254"/>
                    <a:pt x="386404" y="406623"/>
                    <a:pt x="388661" y="407467"/>
                  </a:cubicBezTo>
                  <a:cubicBezTo>
                    <a:pt x="388373" y="410266"/>
                    <a:pt x="387979" y="416708"/>
                    <a:pt x="388661" y="420091"/>
                  </a:cubicBezTo>
                  <a:cubicBezTo>
                    <a:pt x="389505" y="424318"/>
                    <a:pt x="394520" y="434347"/>
                    <a:pt x="396208" y="440213"/>
                  </a:cubicBezTo>
                  <a:cubicBezTo>
                    <a:pt x="397903" y="446071"/>
                    <a:pt x="407988" y="453681"/>
                    <a:pt x="416491" y="459540"/>
                  </a:cubicBezTo>
                  <a:cubicBezTo>
                    <a:pt x="424994" y="465405"/>
                    <a:pt x="426471" y="466249"/>
                    <a:pt x="433181" y="472164"/>
                  </a:cubicBezTo>
                  <a:cubicBezTo>
                    <a:pt x="438547" y="476897"/>
                    <a:pt x="448794" y="474140"/>
                    <a:pt x="453253" y="472164"/>
                  </a:cubicBezTo>
                  <a:lnTo>
                    <a:pt x="476539" y="472164"/>
                  </a:lnTo>
                  <a:cubicBezTo>
                    <a:pt x="486301" y="472164"/>
                    <a:pt x="491027" y="477200"/>
                    <a:pt x="492174" y="479718"/>
                  </a:cubicBezTo>
                  <a:lnTo>
                    <a:pt x="514412" y="472164"/>
                  </a:lnTo>
                  <a:cubicBezTo>
                    <a:pt x="524301" y="468802"/>
                    <a:pt x="544929" y="461572"/>
                    <a:pt x="548262" y="459540"/>
                  </a:cubicBezTo>
                  <a:cubicBezTo>
                    <a:pt x="552433" y="457008"/>
                    <a:pt x="556871" y="433503"/>
                    <a:pt x="556871" y="428489"/>
                  </a:cubicBezTo>
                  <a:cubicBezTo>
                    <a:pt x="556871" y="424473"/>
                    <a:pt x="561942" y="408332"/>
                    <a:pt x="564481" y="400758"/>
                  </a:cubicBezTo>
                  <a:cubicBezTo>
                    <a:pt x="570853" y="392078"/>
                    <a:pt x="584265" y="373708"/>
                    <a:pt x="586923" y="369650"/>
                  </a:cubicBezTo>
                  <a:cubicBezTo>
                    <a:pt x="590250" y="364580"/>
                    <a:pt x="600391" y="349479"/>
                    <a:pt x="600391" y="343614"/>
                  </a:cubicBezTo>
                  <a:cubicBezTo>
                    <a:pt x="600391" y="337748"/>
                    <a:pt x="608789" y="315890"/>
                    <a:pt x="608789" y="310024"/>
                  </a:cubicBezTo>
                  <a:lnTo>
                    <a:pt x="608789" y="257895"/>
                  </a:lnTo>
                  <a:cubicBezTo>
                    <a:pt x="608789" y="249497"/>
                    <a:pt x="603718" y="236085"/>
                    <a:pt x="600391" y="229327"/>
                  </a:cubicBezTo>
                  <a:cubicBezTo>
                    <a:pt x="597065" y="222561"/>
                    <a:pt x="585235" y="214220"/>
                    <a:pt x="576838" y="204978"/>
                  </a:cubicBezTo>
                  <a:cubicBezTo>
                    <a:pt x="568441" y="195730"/>
                    <a:pt x="556871" y="186488"/>
                    <a:pt x="556871" y="177247"/>
                  </a:cubicBezTo>
                  <a:cubicBezTo>
                    <a:pt x="556871" y="168006"/>
                    <a:pt x="534583" y="156225"/>
                    <a:pt x="529780" y="151211"/>
                  </a:cubicBezTo>
                  <a:cubicBezTo>
                    <a:pt x="524976" y="146196"/>
                    <a:pt x="510980" y="137799"/>
                    <a:pt x="500522" y="131033"/>
                  </a:cubicBezTo>
                  <a:cubicBezTo>
                    <a:pt x="490064" y="124274"/>
                    <a:pt x="492174" y="115933"/>
                    <a:pt x="492174" y="103308"/>
                  </a:cubicBezTo>
                  <a:cubicBezTo>
                    <a:pt x="492174" y="90684"/>
                    <a:pt x="486948" y="74733"/>
                    <a:pt x="486948" y="68031"/>
                  </a:cubicBezTo>
                  <a:cubicBezTo>
                    <a:pt x="486948" y="61321"/>
                    <a:pt x="474429" y="57938"/>
                    <a:pt x="459168" y="5292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1" name="Freihandform: Form 186">
              <a:extLst>
                <a:ext uri="{FF2B5EF4-FFF2-40B4-BE49-F238E27FC236}">
                  <a16:creationId xmlns:a16="http://schemas.microsoft.com/office/drawing/2014/main" id="{E95D422C-3436-8440-AC66-B1A25C4E7104}"/>
                </a:ext>
              </a:extLst>
            </p:cNvPr>
            <p:cNvSpPr/>
            <p:nvPr/>
          </p:nvSpPr>
          <p:spPr>
            <a:xfrm>
              <a:off x="8399109" y="5199610"/>
              <a:ext cx="46903" cy="58762"/>
            </a:xfrm>
            <a:custGeom>
              <a:avLst/>
              <a:gdLst>
                <a:gd name="connsiteX0" fmla="*/ 24454 w 46903"/>
                <a:gd name="connsiteY0" fmla="*/ 0 h 58762"/>
                <a:gd name="connsiteX1" fmla="*/ 0 w 46903"/>
                <a:gd name="connsiteY1" fmla="*/ 0 h 58762"/>
                <a:gd name="connsiteX2" fmla="*/ 0 w 46903"/>
                <a:gd name="connsiteY2" fmla="*/ 4649 h 58762"/>
                <a:gd name="connsiteX3" fmla="*/ 0 w 46903"/>
                <a:gd name="connsiteY3" fmla="*/ 21817 h 58762"/>
                <a:gd name="connsiteX4" fmla="*/ 9298 w 46903"/>
                <a:gd name="connsiteY4" fmla="*/ 29054 h 58762"/>
                <a:gd name="connsiteX5" fmla="*/ 9298 w 46903"/>
                <a:gd name="connsiteY5" fmla="*/ 46214 h 58762"/>
                <a:gd name="connsiteX6" fmla="*/ 24454 w 46903"/>
                <a:gd name="connsiteY6" fmla="*/ 58149 h 58762"/>
                <a:gd name="connsiteX7" fmla="*/ 31536 w 46903"/>
                <a:gd name="connsiteY7" fmla="*/ 52185 h 58762"/>
                <a:gd name="connsiteX8" fmla="*/ 37662 w 46903"/>
                <a:gd name="connsiteY8" fmla="*/ 39610 h 58762"/>
                <a:gd name="connsiteX9" fmla="*/ 46903 w 46903"/>
                <a:gd name="connsiteY9" fmla="*/ 21817 h 58762"/>
                <a:gd name="connsiteX10" fmla="*/ 46903 w 46903"/>
                <a:gd name="connsiteY10" fmla="*/ 4649 h 58762"/>
                <a:gd name="connsiteX11" fmla="*/ 24454 w 46903"/>
                <a:gd name="connsiteY11" fmla="*/ 0 h 5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903" h="58762">
                  <a:moveTo>
                    <a:pt x="24454" y="0"/>
                  </a:moveTo>
                  <a:cubicBezTo>
                    <a:pt x="17379" y="0"/>
                    <a:pt x="9298" y="2011"/>
                    <a:pt x="0" y="0"/>
                  </a:cubicBezTo>
                  <a:lnTo>
                    <a:pt x="0" y="4649"/>
                  </a:lnTo>
                  <a:lnTo>
                    <a:pt x="0" y="21817"/>
                  </a:lnTo>
                  <a:cubicBezTo>
                    <a:pt x="0" y="24981"/>
                    <a:pt x="6203" y="27956"/>
                    <a:pt x="9298" y="29054"/>
                  </a:cubicBezTo>
                  <a:lnTo>
                    <a:pt x="9298" y="46214"/>
                  </a:lnTo>
                  <a:cubicBezTo>
                    <a:pt x="14355" y="49316"/>
                    <a:pt x="24454" y="56039"/>
                    <a:pt x="24454" y="58149"/>
                  </a:cubicBezTo>
                  <a:cubicBezTo>
                    <a:pt x="24454" y="60794"/>
                    <a:pt x="31536" y="54140"/>
                    <a:pt x="31536" y="52185"/>
                  </a:cubicBezTo>
                  <a:cubicBezTo>
                    <a:pt x="31536" y="50230"/>
                    <a:pt x="36340" y="44892"/>
                    <a:pt x="37662" y="39610"/>
                  </a:cubicBezTo>
                  <a:cubicBezTo>
                    <a:pt x="38717" y="35391"/>
                    <a:pt x="44259" y="25987"/>
                    <a:pt x="46903" y="21817"/>
                  </a:cubicBezTo>
                  <a:lnTo>
                    <a:pt x="46903" y="4649"/>
                  </a:lnTo>
                  <a:cubicBezTo>
                    <a:pt x="46903" y="56"/>
                    <a:pt x="31536" y="0"/>
                    <a:pt x="24454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2" name="Freihandform: Form 187">
              <a:extLst>
                <a:ext uri="{FF2B5EF4-FFF2-40B4-BE49-F238E27FC236}">
                  <a16:creationId xmlns:a16="http://schemas.microsoft.com/office/drawing/2014/main" id="{7F8FE348-2435-AE4B-835E-69B562D0FF73}"/>
                </a:ext>
              </a:extLst>
            </p:cNvPr>
            <p:cNvSpPr/>
            <p:nvPr/>
          </p:nvSpPr>
          <p:spPr>
            <a:xfrm>
              <a:off x="8820035" y="5072382"/>
              <a:ext cx="92648" cy="137425"/>
            </a:xfrm>
            <a:custGeom>
              <a:avLst/>
              <a:gdLst>
                <a:gd name="connsiteX0" fmla="*/ 24414 w 92648"/>
                <a:gd name="connsiteY0" fmla="*/ 9452 h 137425"/>
                <a:gd name="connsiteX1" fmla="*/ 3603 w 92648"/>
                <a:gd name="connsiteY1" fmla="*/ 0 h 137425"/>
                <a:gd name="connsiteX2" fmla="*/ 3603 w 92648"/>
                <a:gd name="connsiteY2" fmla="*/ 19911 h 137425"/>
                <a:gd name="connsiteX3" fmla="*/ 30118 w 92648"/>
                <a:gd name="connsiteY3" fmla="*/ 61581 h 137425"/>
                <a:gd name="connsiteX4" fmla="*/ 24414 w 92648"/>
                <a:gd name="connsiteY4" fmla="*/ 88145 h 137425"/>
                <a:gd name="connsiteX5" fmla="*/ 44325 w 92648"/>
                <a:gd name="connsiteY5" fmla="*/ 106108 h 137425"/>
                <a:gd name="connsiteX6" fmla="*/ 54727 w 92648"/>
                <a:gd name="connsiteY6" fmla="*/ 137426 h 137425"/>
                <a:gd name="connsiteX7" fmla="*/ 92649 w 92648"/>
                <a:gd name="connsiteY7" fmla="*/ 66336 h 137425"/>
                <a:gd name="connsiteX8" fmla="*/ 54727 w 92648"/>
                <a:gd name="connsiteY8" fmla="*/ 66336 h 137425"/>
                <a:gd name="connsiteX9" fmla="*/ 24414 w 92648"/>
                <a:gd name="connsiteY9" fmla="*/ 9452 h 13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648" h="137425">
                  <a:moveTo>
                    <a:pt x="24414" y="9452"/>
                  </a:moveTo>
                  <a:cubicBezTo>
                    <a:pt x="13808" y="8693"/>
                    <a:pt x="8653" y="4733"/>
                    <a:pt x="3603" y="0"/>
                  </a:cubicBezTo>
                  <a:cubicBezTo>
                    <a:pt x="-4007" y="14207"/>
                    <a:pt x="2654" y="9452"/>
                    <a:pt x="3603" y="19911"/>
                  </a:cubicBezTo>
                  <a:cubicBezTo>
                    <a:pt x="4552" y="30369"/>
                    <a:pt x="24414" y="51180"/>
                    <a:pt x="30118" y="61581"/>
                  </a:cubicBezTo>
                  <a:cubicBezTo>
                    <a:pt x="35821" y="71983"/>
                    <a:pt x="24414" y="80543"/>
                    <a:pt x="24414" y="88145"/>
                  </a:cubicBezTo>
                  <a:cubicBezTo>
                    <a:pt x="24414" y="95755"/>
                    <a:pt x="39570" y="108956"/>
                    <a:pt x="44325" y="106108"/>
                  </a:cubicBezTo>
                  <a:cubicBezTo>
                    <a:pt x="49072" y="103252"/>
                    <a:pt x="47173" y="137426"/>
                    <a:pt x="54727" y="137426"/>
                  </a:cubicBezTo>
                  <a:cubicBezTo>
                    <a:pt x="62280" y="137426"/>
                    <a:pt x="92649" y="76738"/>
                    <a:pt x="92649" y="66336"/>
                  </a:cubicBezTo>
                  <a:cubicBezTo>
                    <a:pt x="92649" y="55934"/>
                    <a:pt x="64235" y="66336"/>
                    <a:pt x="54727" y="66336"/>
                  </a:cubicBezTo>
                  <a:cubicBezTo>
                    <a:pt x="45218" y="66336"/>
                    <a:pt x="37664" y="10402"/>
                    <a:pt x="24414" y="945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3" name="Freihandform: Form 188">
              <a:extLst>
                <a:ext uri="{FF2B5EF4-FFF2-40B4-BE49-F238E27FC236}">
                  <a16:creationId xmlns:a16="http://schemas.microsoft.com/office/drawing/2014/main" id="{E2A55F79-9479-4C41-BCD5-9204BAEA17C6}"/>
                </a:ext>
              </a:extLst>
            </p:cNvPr>
            <p:cNvSpPr/>
            <p:nvPr/>
          </p:nvSpPr>
          <p:spPr>
            <a:xfrm>
              <a:off x="8733703" y="5194851"/>
              <a:ext cx="109217" cy="126151"/>
            </a:xfrm>
            <a:custGeom>
              <a:avLst/>
              <a:gdLst>
                <a:gd name="connsiteX0" fmla="*/ 61310 w 109217"/>
                <a:gd name="connsiteY0" fmla="*/ 86469 h 126151"/>
                <a:gd name="connsiteX1" fmla="*/ 89618 w 109217"/>
                <a:gd name="connsiteY1" fmla="*/ 65707 h 126151"/>
                <a:gd name="connsiteX2" fmla="*/ 99387 w 109217"/>
                <a:gd name="connsiteY2" fmla="*/ 48596 h 126151"/>
                <a:gd name="connsiteX3" fmla="*/ 109001 w 109217"/>
                <a:gd name="connsiteY3" fmla="*/ 33067 h 126151"/>
                <a:gd name="connsiteX4" fmla="*/ 105780 w 109217"/>
                <a:gd name="connsiteY4" fmla="*/ 16166 h 126151"/>
                <a:gd name="connsiteX5" fmla="*/ 96004 w 109217"/>
                <a:gd name="connsiteY5" fmla="*/ 11841 h 126151"/>
                <a:gd name="connsiteX6" fmla="*/ 87979 w 109217"/>
                <a:gd name="connsiteY6" fmla="*/ 1326 h 126151"/>
                <a:gd name="connsiteX7" fmla="*/ 81586 w 109217"/>
                <a:gd name="connsiteY7" fmla="*/ 5237 h 126151"/>
                <a:gd name="connsiteX8" fmla="*/ 74511 w 109217"/>
                <a:gd name="connsiteY8" fmla="*/ 23038 h 126151"/>
                <a:gd name="connsiteX9" fmla="*/ 69497 w 109217"/>
                <a:gd name="connsiteY9" fmla="*/ 33067 h 126151"/>
                <a:gd name="connsiteX10" fmla="*/ 58560 w 109217"/>
                <a:gd name="connsiteY10" fmla="*/ 47013 h 126151"/>
                <a:gd name="connsiteX11" fmla="*/ 43031 w 109217"/>
                <a:gd name="connsiteY11" fmla="*/ 60214 h 126151"/>
                <a:gd name="connsiteX12" fmla="*/ 27080 w 109217"/>
                <a:gd name="connsiteY12" fmla="*/ 73472 h 126151"/>
                <a:gd name="connsiteX13" fmla="*/ 9708 w 109217"/>
                <a:gd name="connsiteY13" fmla="*/ 87840 h 126151"/>
                <a:gd name="connsiteX14" fmla="*/ 151 w 109217"/>
                <a:gd name="connsiteY14" fmla="*/ 113876 h 126151"/>
                <a:gd name="connsiteX15" fmla="*/ 25448 w 109217"/>
                <a:gd name="connsiteY15" fmla="*/ 125973 h 126151"/>
                <a:gd name="connsiteX16" fmla="*/ 45781 w 109217"/>
                <a:gd name="connsiteY16" fmla="*/ 120002 h 126151"/>
                <a:gd name="connsiteX17" fmla="*/ 55606 w 109217"/>
                <a:gd name="connsiteY17" fmla="*/ 109073 h 126151"/>
                <a:gd name="connsiteX18" fmla="*/ 61310 w 109217"/>
                <a:gd name="connsiteY18" fmla="*/ 86469 h 12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9217" h="126151">
                  <a:moveTo>
                    <a:pt x="61310" y="86469"/>
                  </a:moveTo>
                  <a:cubicBezTo>
                    <a:pt x="62682" y="79597"/>
                    <a:pt x="74511" y="75532"/>
                    <a:pt x="89618" y="65707"/>
                  </a:cubicBezTo>
                  <a:cubicBezTo>
                    <a:pt x="90898" y="61839"/>
                    <a:pt x="94654" y="52991"/>
                    <a:pt x="99387" y="48596"/>
                  </a:cubicBezTo>
                  <a:cubicBezTo>
                    <a:pt x="105302" y="43103"/>
                    <a:pt x="108312" y="37877"/>
                    <a:pt x="109001" y="33067"/>
                  </a:cubicBezTo>
                  <a:cubicBezTo>
                    <a:pt x="109683" y="28263"/>
                    <a:pt x="108790" y="23038"/>
                    <a:pt x="105780" y="16166"/>
                  </a:cubicBezTo>
                  <a:cubicBezTo>
                    <a:pt x="102770" y="9302"/>
                    <a:pt x="98487" y="13212"/>
                    <a:pt x="96004" y="11841"/>
                  </a:cubicBezTo>
                  <a:cubicBezTo>
                    <a:pt x="93521" y="10462"/>
                    <a:pt x="91200" y="5237"/>
                    <a:pt x="87979" y="1326"/>
                  </a:cubicBezTo>
                  <a:cubicBezTo>
                    <a:pt x="84758" y="-2577"/>
                    <a:pt x="82965" y="3176"/>
                    <a:pt x="81586" y="5237"/>
                  </a:cubicBezTo>
                  <a:cubicBezTo>
                    <a:pt x="80215" y="7297"/>
                    <a:pt x="77943" y="13683"/>
                    <a:pt x="74511" y="23038"/>
                  </a:cubicBezTo>
                  <a:cubicBezTo>
                    <a:pt x="71079" y="32385"/>
                    <a:pt x="72507" y="28052"/>
                    <a:pt x="69497" y="33067"/>
                  </a:cubicBezTo>
                  <a:cubicBezTo>
                    <a:pt x="66486" y="38088"/>
                    <a:pt x="61310" y="42632"/>
                    <a:pt x="58560" y="47013"/>
                  </a:cubicBezTo>
                  <a:cubicBezTo>
                    <a:pt x="55817" y="51395"/>
                    <a:pt x="50113" y="54510"/>
                    <a:pt x="43031" y="60214"/>
                  </a:cubicBezTo>
                  <a:cubicBezTo>
                    <a:pt x="35956" y="65918"/>
                    <a:pt x="29563" y="69561"/>
                    <a:pt x="27080" y="73472"/>
                  </a:cubicBezTo>
                  <a:cubicBezTo>
                    <a:pt x="24604" y="77382"/>
                    <a:pt x="16573" y="83029"/>
                    <a:pt x="9708" y="87840"/>
                  </a:cubicBezTo>
                  <a:cubicBezTo>
                    <a:pt x="2844" y="92643"/>
                    <a:pt x="-806" y="104951"/>
                    <a:pt x="151" y="113876"/>
                  </a:cubicBezTo>
                  <a:cubicBezTo>
                    <a:pt x="1100" y="122801"/>
                    <a:pt x="13140" y="124806"/>
                    <a:pt x="25448" y="125973"/>
                  </a:cubicBezTo>
                  <a:cubicBezTo>
                    <a:pt x="37749" y="127134"/>
                    <a:pt x="41870" y="122323"/>
                    <a:pt x="45781" y="120002"/>
                  </a:cubicBezTo>
                  <a:cubicBezTo>
                    <a:pt x="49691" y="117681"/>
                    <a:pt x="53335" y="113398"/>
                    <a:pt x="55606" y="109073"/>
                  </a:cubicBezTo>
                  <a:cubicBezTo>
                    <a:pt x="57871" y="104740"/>
                    <a:pt x="59931" y="93333"/>
                    <a:pt x="61310" y="86469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4" name="Freihandform: Form 189">
              <a:extLst>
                <a:ext uri="{FF2B5EF4-FFF2-40B4-BE49-F238E27FC236}">
                  <a16:creationId xmlns:a16="http://schemas.microsoft.com/office/drawing/2014/main" id="{79CEF753-A88D-5C4C-9DEF-56BF23BFF284}"/>
                </a:ext>
              </a:extLst>
            </p:cNvPr>
            <p:cNvSpPr/>
            <p:nvPr/>
          </p:nvSpPr>
          <p:spPr>
            <a:xfrm>
              <a:off x="8354089" y="3530386"/>
              <a:ext cx="33317" cy="169467"/>
            </a:xfrm>
            <a:custGeom>
              <a:avLst/>
              <a:gdLst>
                <a:gd name="connsiteX0" fmla="*/ 17724 w 33317"/>
                <a:gd name="connsiteY0" fmla="*/ 9901 h 169467"/>
                <a:gd name="connsiteX1" fmla="*/ 20228 w 33317"/>
                <a:gd name="connsiteY1" fmla="*/ 46297 h 169467"/>
                <a:gd name="connsiteX2" fmla="*/ 22366 w 33317"/>
                <a:gd name="connsiteY2" fmla="*/ 53232 h 169467"/>
                <a:gd name="connsiteX3" fmla="*/ 24448 w 33317"/>
                <a:gd name="connsiteY3" fmla="*/ 78474 h 169467"/>
                <a:gd name="connsiteX4" fmla="*/ 32022 w 33317"/>
                <a:gd name="connsiteY4" fmla="*/ 90268 h 169467"/>
                <a:gd name="connsiteX5" fmla="*/ 29090 w 33317"/>
                <a:gd name="connsiteY5" fmla="*/ 101633 h 169467"/>
                <a:gd name="connsiteX6" fmla="*/ 17724 w 33317"/>
                <a:gd name="connsiteY6" fmla="*/ 104137 h 169467"/>
                <a:gd name="connsiteX7" fmla="*/ 12653 w 33317"/>
                <a:gd name="connsiteY7" fmla="*/ 143304 h 169467"/>
                <a:gd name="connsiteX8" fmla="*/ 20228 w 33317"/>
                <a:gd name="connsiteY8" fmla="*/ 152539 h 169467"/>
                <a:gd name="connsiteX9" fmla="*/ 12653 w 33317"/>
                <a:gd name="connsiteY9" fmla="*/ 169397 h 169467"/>
                <a:gd name="connsiteX10" fmla="*/ 859 w 33317"/>
                <a:gd name="connsiteY10" fmla="*/ 154670 h 169467"/>
                <a:gd name="connsiteX11" fmla="*/ 859 w 33317"/>
                <a:gd name="connsiteY11" fmla="*/ 126868 h 169467"/>
                <a:gd name="connsiteX12" fmla="*/ 859 w 33317"/>
                <a:gd name="connsiteY12" fmla="*/ 87166 h 169467"/>
                <a:gd name="connsiteX13" fmla="*/ 859 w 33317"/>
                <a:gd name="connsiteY13" fmla="*/ 49708 h 169467"/>
                <a:gd name="connsiteX14" fmla="*/ 859 w 33317"/>
                <a:gd name="connsiteY14" fmla="*/ 21112 h 169467"/>
                <a:gd name="connsiteX15" fmla="*/ 8440 w 33317"/>
                <a:gd name="connsiteY15" fmla="*/ 245 h 169467"/>
                <a:gd name="connsiteX16" fmla="*/ 17724 w 33317"/>
                <a:gd name="connsiteY16" fmla="*/ 9901 h 169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317" h="169467">
                  <a:moveTo>
                    <a:pt x="17724" y="9901"/>
                  </a:moveTo>
                  <a:cubicBezTo>
                    <a:pt x="18146" y="14121"/>
                    <a:pt x="20228" y="40214"/>
                    <a:pt x="20228" y="46297"/>
                  </a:cubicBezTo>
                  <a:cubicBezTo>
                    <a:pt x="20228" y="47437"/>
                    <a:pt x="20657" y="50412"/>
                    <a:pt x="22366" y="53232"/>
                  </a:cubicBezTo>
                  <a:cubicBezTo>
                    <a:pt x="24497" y="56756"/>
                    <a:pt x="24019" y="69668"/>
                    <a:pt x="24448" y="78474"/>
                  </a:cubicBezTo>
                  <a:cubicBezTo>
                    <a:pt x="24870" y="87279"/>
                    <a:pt x="29090" y="83966"/>
                    <a:pt x="32022" y="90268"/>
                  </a:cubicBezTo>
                  <a:cubicBezTo>
                    <a:pt x="34955" y="96563"/>
                    <a:pt x="32444" y="97843"/>
                    <a:pt x="29090" y="101633"/>
                  </a:cubicBezTo>
                  <a:cubicBezTo>
                    <a:pt x="25728" y="105417"/>
                    <a:pt x="20228" y="102484"/>
                    <a:pt x="17724" y="104137"/>
                  </a:cubicBezTo>
                  <a:cubicBezTo>
                    <a:pt x="15213" y="105790"/>
                    <a:pt x="14784" y="138662"/>
                    <a:pt x="12653" y="143304"/>
                  </a:cubicBezTo>
                  <a:cubicBezTo>
                    <a:pt x="10522" y="147946"/>
                    <a:pt x="14784" y="149599"/>
                    <a:pt x="20228" y="152539"/>
                  </a:cubicBezTo>
                  <a:cubicBezTo>
                    <a:pt x="25671" y="155472"/>
                    <a:pt x="20228" y="168117"/>
                    <a:pt x="12653" y="169397"/>
                  </a:cubicBezTo>
                  <a:cubicBezTo>
                    <a:pt x="6591" y="170424"/>
                    <a:pt x="2265" y="160008"/>
                    <a:pt x="859" y="154670"/>
                  </a:cubicBezTo>
                  <a:lnTo>
                    <a:pt x="859" y="126868"/>
                  </a:lnTo>
                  <a:lnTo>
                    <a:pt x="859" y="87166"/>
                  </a:lnTo>
                  <a:cubicBezTo>
                    <a:pt x="859" y="82370"/>
                    <a:pt x="2997" y="56594"/>
                    <a:pt x="859" y="49708"/>
                  </a:cubicBezTo>
                  <a:cubicBezTo>
                    <a:pt x="-1272" y="42830"/>
                    <a:pt x="1288" y="24523"/>
                    <a:pt x="859" y="21112"/>
                  </a:cubicBezTo>
                  <a:cubicBezTo>
                    <a:pt x="437" y="17694"/>
                    <a:pt x="5079" y="1898"/>
                    <a:pt x="8440" y="245"/>
                  </a:cubicBezTo>
                  <a:cubicBezTo>
                    <a:pt x="11802" y="-1408"/>
                    <a:pt x="17295" y="5689"/>
                    <a:pt x="17724" y="990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5" name="Freihandform: Form 190">
              <a:extLst>
                <a:ext uri="{FF2B5EF4-FFF2-40B4-BE49-F238E27FC236}">
                  <a16:creationId xmlns:a16="http://schemas.microsoft.com/office/drawing/2014/main" id="{FC817F5B-EA58-4B4C-A31F-9219576CA212}"/>
                </a:ext>
              </a:extLst>
            </p:cNvPr>
            <p:cNvSpPr/>
            <p:nvPr/>
          </p:nvSpPr>
          <p:spPr>
            <a:xfrm>
              <a:off x="8323848" y="3728368"/>
              <a:ext cx="82588" cy="77064"/>
            </a:xfrm>
            <a:custGeom>
              <a:avLst/>
              <a:gdLst>
                <a:gd name="connsiteX0" fmla="*/ 10725 w 82588"/>
                <a:gd name="connsiteY0" fmla="*/ 59785 h 77064"/>
                <a:gd name="connsiteX1" fmla="*/ 10725 w 82588"/>
                <a:gd name="connsiteY1" fmla="*/ 75314 h 77064"/>
                <a:gd name="connsiteX2" fmla="*/ 0 w 82588"/>
                <a:gd name="connsiteY2" fmla="*/ 71953 h 77064"/>
                <a:gd name="connsiteX3" fmla="*/ 0 w 82588"/>
                <a:gd name="connsiteY3" fmla="*/ 59785 h 77064"/>
                <a:gd name="connsiteX4" fmla="*/ 6724 w 82588"/>
                <a:gd name="connsiteY4" fmla="*/ 47140 h 77064"/>
                <a:gd name="connsiteX5" fmla="*/ 13869 w 82588"/>
                <a:gd name="connsiteY5" fmla="*/ 44306 h 77064"/>
                <a:gd name="connsiteX6" fmla="*/ 23153 w 82588"/>
                <a:gd name="connsiteY6" fmla="*/ 39136 h 77064"/>
                <a:gd name="connsiteX7" fmla="*/ 23153 w 82588"/>
                <a:gd name="connsiteY7" fmla="*/ 32835 h 77064"/>
                <a:gd name="connsiteX8" fmla="*/ 27317 w 82588"/>
                <a:gd name="connsiteY8" fmla="*/ 24831 h 77064"/>
                <a:gd name="connsiteX9" fmla="*/ 27317 w 82588"/>
                <a:gd name="connsiteY9" fmla="*/ 17678 h 77064"/>
                <a:gd name="connsiteX10" fmla="*/ 27317 w 82588"/>
                <a:gd name="connsiteY10" fmla="*/ 3809 h 77064"/>
                <a:gd name="connsiteX11" fmla="*/ 42895 w 82588"/>
                <a:gd name="connsiteY11" fmla="*/ 447 h 77064"/>
                <a:gd name="connsiteX12" fmla="*/ 55111 w 82588"/>
                <a:gd name="connsiteY12" fmla="*/ 20189 h 77064"/>
                <a:gd name="connsiteX13" fmla="*/ 65625 w 82588"/>
                <a:gd name="connsiteY13" fmla="*/ 28622 h 77064"/>
                <a:gd name="connsiteX14" fmla="*/ 77842 w 82588"/>
                <a:gd name="connsiteY14" fmla="*/ 32835 h 77064"/>
                <a:gd name="connsiteX15" fmla="*/ 82428 w 82588"/>
                <a:gd name="connsiteY15" fmla="*/ 44306 h 77064"/>
                <a:gd name="connsiteX16" fmla="*/ 77842 w 82588"/>
                <a:gd name="connsiteY16" fmla="*/ 44306 h 77064"/>
                <a:gd name="connsiteX17" fmla="*/ 62264 w 82588"/>
                <a:gd name="connsiteY17" fmla="*/ 49644 h 77064"/>
                <a:gd name="connsiteX18" fmla="*/ 55111 w 82588"/>
                <a:gd name="connsiteY18" fmla="*/ 49644 h 77064"/>
                <a:gd name="connsiteX19" fmla="*/ 50469 w 82588"/>
                <a:gd name="connsiteY19" fmla="*/ 67733 h 77064"/>
                <a:gd name="connsiteX20" fmla="*/ 35742 w 82588"/>
                <a:gd name="connsiteY20" fmla="*/ 64695 h 77064"/>
                <a:gd name="connsiteX21" fmla="*/ 31100 w 82588"/>
                <a:gd name="connsiteY21" fmla="*/ 56796 h 77064"/>
                <a:gd name="connsiteX22" fmla="*/ 10725 w 82588"/>
                <a:gd name="connsiteY22" fmla="*/ 59785 h 77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588" h="77064">
                  <a:moveTo>
                    <a:pt x="10725" y="59785"/>
                  </a:moveTo>
                  <a:cubicBezTo>
                    <a:pt x="6295" y="61066"/>
                    <a:pt x="10725" y="68591"/>
                    <a:pt x="10725" y="75314"/>
                  </a:cubicBezTo>
                  <a:cubicBezTo>
                    <a:pt x="6541" y="79668"/>
                    <a:pt x="1829" y="74885"/>
                    <a:pt x="0" y="71953"/>
                  </a:cubicBezTo>
                  <a:lnTo>
                    <a:pt x="0" y="59785"/>
                  </a:lnTo>
                  <a:cubicBezTo>
                    <a:pt x="0" y="55854"/>
                    <a:pt x="4480" y="49714"/>
                    <a:pt x="6724" y="47140"/>
                  </a:cubicBezTo>
                  <a:lnTo>
                    <a:pt x="13869" y="44306"/>
                  </a:lnTo>
                  <a:cubicBezTo>
                    <a:pt x="16964" y="43152"/>
                    <a:pt x="23153" y="40501"/>
                    <a:pt x="23153" y="39136"/>
                  </a:cubicBezTo>
                  <a:lnTo>
                    <a:pt x="23153" y="32835"/>
                  </a:lnTo>
                  <a:lnTo>
                    <a:pt x="27317" y="24831"/>
                  </a:lnTo>
                  <a:lnTo>
                    <a:pt x="27317" y="17678"/>
                  </a:lnTo>
                  <a:cubicBezTo>
                    <a:pt x="26620" y="14732"/>
                    <a:pt x="25650" y="7818"/>
                    <a:pt x="27317" y="3809"/>
                  </a:cubicBezTo>
                  <a:cubicBezTo>
                    <a:pt x="29398" y="-1205"/>
                    <a:pt x="35742" y="19"/>
                    <a:pt x="42895" y="447"/>
                  </a:cubicBezTo>
                  <a:cubicBezTo>
                    <a:pt x="50047" y="870"/>
                    <a:pt x="52607" y="17678"/>
                    <a:pt x="55111" y="20189"/>
                  </a:cubicBezTo>
                  <a:cubicBezTo>
                    <a:pt x="57622" y="22700"/>
                    <a:pt x="62264" y="26540"/>
                    <a:pt x="65625" y="28622"/>
                  </a:cubicBezTo>
                  <a:cubicBezTo>
                    <a:pt x="68987" y="30704"/>
                    <a:pt x="71118" y="30753"/>
                    <a:pt x="77842" y="32835"/>
                  </a:cubicBezTo>
                  <a:cubicBezTo>
                    <a:pt x="84566" y="34916"/>
                    <a:pt x="82055" y="41267"/>
                    <a:pt x="82428" y="44306"/>
                  </a:cubicBezTo>
                  <a:cubicBezTo>
                    <a:pt x="82730" y="46739"/>
                    <a:pt x="79495" y="45325"/>
                    <a:pt x="77842" y="44306"/>
                  </a:cubicBezTo>
                  <a:lnTo>
                    <a:pt x="62264" y="49644"/>
                  </a:lnTo>
                  <a:lnTo>
                    <a:pt x="55111" y="49644"/>
                  </a:lnTo>
                  <a:lnTo>
                    <a:pt x="50469" y="67733"/>
                  </a:lnTo>
                  <a:lnTo>
                    <a:pt x="35742" y="64695"/>
                  </a:lnTo>
                  <a:cubicBezTo>
                    <a:pt x="35461" y="62345"/>
                    <a:pt x="34132" y="57479"/>
                    <a:pt x="31100" y="56796"/>
                  </a:cubicBezTo>
                  <a:cubicBezTo>
                    <a:pt x="27317" y="55945"/>
                    <a:pt x="15149" y="58505"/>
                    <a:pt x="10725" y="5978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6" name="Freihandform: Form 191">
              <a:extLst>
                <a:ext uri="{FF2B5EF4-FFF2-40B4-BE49-F238E27FC236}">
                  <a16:creationId xmlns:a16="http://schemas.microsoft.com/office/drawing/2014/main" id="{49C897D9-87F4-C741-917A-D5A02C4C1364}"/>
                </a:ext>
              </a:extLst>
            </p:cNvPr>
            <p:cNvSpPr/>
            <p:nvPr/>
          </p:nvSpPr>
          <p:spPr>
            <a:xfrm>
              <a:off x="8166493" y="3818678"/>
              <a:ext cx="184671" cy="183660"/>
            </a:xfrm>
            <a:custGeom>
              <a:avLst/>
              <a:gdLst>
                <a:gd name="connsiteX0" fmla="*/ 176295 w 184671"/>
                <a:gd name="connsiteY0" fmla="*/ 1012 h 183660"/>
                <a:gd name="connsiteX1" fmla="*/ 157355 w 184671"/>
                <a:gd name="connsiteY1" fmla="*/ 3944 h 183660"/>
                <a:gd name="connsiteX2" fmla="*/ 157355 w 184671"/>
                <a:gd name="connsiteY2" fmla="*/ 27104 h 183660"/>
                <a:gd name="connsiteX3" fmla="*/ 143057 w 184671"/>
                <a:gd name="connsiteY3" fmla="*/ 64133 h 183660"/>
                <a:gd name="connsiteX4" fmla="*/ 135053 w 184671"/>
                <a:gd name="connsiteY4" fmla="*/ 68993 h 183660"/>
                <a:gd name="connsiteX5" fmla="*/ 119046 w 184671"/>
                <a:gd name="connsiteY5" fmla="*/ 78868 h 183660"/>
                <a:gd name="connsiteX6" fmla="*/ 105599 w 184671"/>
                <a:gd name="connsiteY6" fmla="*/ 101598 h 183660"/>
                <a:gd name="connsiteX7" fmla="*/ 97595 w 184671"/>
                <a:gd name="connsiteY7" fmla="*/ 107893 h 183660"/>
                <a:gd name="connsiteX8" fmla="*/ 84950 w 184671"/>
                <a:gd name="connsiteY8" fmla="*/ 111417 h 183660"/>
                <a:gd name="connsiteX9" fmla="*/ 55981 w 184671"/>
                <a:gd name="connsiteY9" fmla="*/ 111417 h 183660"/>
                <a:gd name="connsiteX10" fmla="*/ 28608 w 184671"/>
                <a:gd name="connsiteY10" fmla="*/ 126087 h 183660"/>
                <a:gd name="connsiteX11" fmla="*/ 18100 w 184671"/>
                <a:gd name="connsiteY11" fmla="*/ 135266 h 183660"/>
                <a:gd name="connsiteX12" fmla="*/ 6890 w 184671"/>
                <a:gd name="connsiteY12" fmla="*/ 138205 h 183660"/>
                <a:gd name="connsiteX13" fmla="*/ 6735 w 184671"/>
                <a:gd name="connsiteY13" fmla="*/ 138205 h 183660"/>
                <a:gd name="connsiteX14" fmla="*/ 3802 w 184671"/>
                <a:gd name="connsiteY14" fmla="*/ 146631 h 183660"/>
                <a:gd name="connsiteX15" fmla="*/ 1242 w 184671"/>
                <a:gd name="connsiteY15" fmla="*/ 167231 h 183660"/>
                <a:gd name="connsiteX16" fmla="*/ 1242 w 184671"/>
                <a:gd name="connsiteY16" fmla="*/ 179447 h 183660"/>
                <a:gd name="connsiteX17" fmla="*/ 14366 w 184671"/>
                <a:gd name="connsiteY17" fmla="*/ 183611 h 183660"/>
                <a:gd name="connsiteX18" fmla="*/ 23966 w 184671"/>
                <a:gd name="connsiteY18" fmla="*/ 171873 h 183660"/>
                <a:gd name="connsiteX19" fmla="*/ 32342 w 184671"/>
                <a:gd name="connsiteY19" fmla="*/ 154156 h 183660"/>
                <a:gd name="connsiteX20" fmla="*/ 43335 w 184671"/>
                <a:gd name="connsiteY20" fmla="*/ 150422 h 183660"/>
                <a:gd name="connsiteX21" fmla="*/ 63506 w 184671"/>
                <a:gd name="connsiteY21" fmla="*/ 141989 h 183660"/>
                <a:gd name="connsiteX22" fmla="*/ 82017 w 184671"/>
                <a:gd name="connsiteY22" fmla="*/ 138205 h 183660"/>
                <a:gd name="connsiteX23" fmla="*/ 97595 w 184671"/>
                <a:gd name="connsiteY23" fmla="*/ 138205 h 183660"/>
                <a:gd name="connsiteX24" fmla="*/ 103095 w 184671"/>
                <a:gd name="connsiteY24" fmla="*/ 123049 h 183660"/>
                <a:gd name="connsiteX25" fmla="*/ 113602 w 184671"/>
                <a:gd name="connsiteY25" fmla="*/ 115468 h 183660"/>
                <a:gd name="connsiteX26" fmla="*/ 135053 w 184671"/>
                <a:gd name="connsiteY26" fmla="*/ 115468 h 183660"/>
                <a:gd name="connsiteX27" fmla="*/ 150631 w 184671"/>
                <a:gd name="connsiteY27" fmla="*/ 107893 h 183660"/>
                <a:gd name="connsiteX28" fmla="*/ 168080 w 184671"/>
                <a:gd name="connsiteY28" fmla="*/ 104531 h 183660"/>
                <a:gd name="connsiteX29" fmla="*/ 168080 w 184671"/>
                <a:gd name="connsiteY29" fmla="*/ 82011 h 183660"/>
                <a:gd name="connsiteX30" fmla="*/ 171224 w 184671"/>
                <a:gd name="connsiteY30" fmla="*/ 53520 h 183660"/>
                <a:gd name="connsiteX31" fmla="*/ 180508 w 184671"/>
                <a:gd name="connsiteY31" fmla="*/ 40551 h 183660"/>
                <a:gd name="connsiteX32" fmla="*/ 184671 w 184671"/>
                <a:gd name="connsiteY32" fmla="*/ 17603 h 183660"/>
                <a:gd name="connsiteX33" fmla="*/ 176295 w 184671"/>
                <a:gd name="connsiteY33" fmla="*/ 1012 h 18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4671" h="183660">
                  <a:moveTo>
                    <a:pt x="176295" y="1012"/>
                  </a:moveTo>
                  <a:cubicBezTo>
                    <a:pt x="172075" y="-1921"/>
                    <a:pt x="157355" y="2292"/>
                    <a:pt x="157355" y="3944"/>
                  </a:cubicBezTo>
                  <a:cubicBezTo>
                    <a:pt x="153564" y="6033"/>
                    <a:pt x="157355" y="20381"/>
                    <a:pt x="157355" y="27104"/>
                  </a:cubicBezTo>
                  <a:cubicBezTo>
                    <a:pt x="157355" y="33828"/>
                    <a:pt x="157355" y="48555"/>
                    <a:pt x="143057" y="64133"/>
                  </a:cubicBezTo>
                  <a:cubicBezTo>
                    <a:pt x="135475" y="68782"/>
                    <a:pt x="139266" y="68993"/>
                    <a:pt x="135053" y="68993"/>
                  </a:cubicBezTo>
                  <a:cubicBezTo>
                    <a:pt x="130833" y="68993"/>
                    <a:pt x="128329" y="74219"/>
                    <a:pt x="119046" y="78868"/>
                  </a:cubicBezTo>
                  <a:cubicBezTo>
                    <a:pt x="109762" y="83509"/>
                    <a:pt x="113602" y="82011"/>
                    <a:pt x="105599" y="101598"/>
                  </a:cubicBezTo>
                  <a:cubicBezTo>
                    <a:pt x="99733" y="115897"/>
                    <a:pt x="101386" y="106240"/>
                    <a:pt x="97595" y="107893"/>
                  </a:cubicBezTo>
                  <a:cubicBezTo>
                    <a:pt x="93811" y="109546"/>
                    <a:pt x="88368" y="111417"/>
                    <a:pt x="84950" y="111417"/>
                  </a:cubicBezTo>
                  <a:lnTo>
                    <a:pt x="55981" y="111417"/>
                  </a:lnTo>
                  <a:cubicBezTo>
                    <a:pt x="48455" y="111417"/>
                    <a:pt x="41204" y="115468"/>
                    <a:pt x="28608" y="126087"/>
                  </a:cubicBezTo>
                  <a:cubicBezTo>
                    <a:pt x="21884" y="133775"/>
                    <a:pt x="23966" y="132277"/>
                    <a:pt x="18100" y="135266"/>
                  </a:cubicBezTo>
                  <a:cubicBezTo>
                    <a:pt x="12333" y="138205"/>
                    <a:pt x="9759" y="138205"/>
                    <a:pt x="6890" y="138205"/>
                  </a:cubicBezTo>
                  <a:lnTo>
                    <a:pt x="6735" y="138205"/>
                  </a:lnTo>
                  <a:cubicBezTo>
                    <a:pt x="3802" y="138205"/>
                    <a:pt x="5884" y="142847"/>
                    <a:pt x="3802" y="146631"/>
                  </a:cubicBezTo>
                  <a:cubicBezTo>
                    <a:pt x="1720" y="150422"/>
                    <a:pt x="3802" y="163018"/>
                    <a:pt x="1242" y="167231"/>
                  </a:cubicBezTo>
                  <a:cubicBezTo>
                    <a:pt x="-1325" y="171444"/>
                    <a:pt x="813" y="176887"/>
                    <a:pt x="1242" y="179447"/>
                  </a:cubicBezTo>
                  <a:cubicBezTo>
                    <a:pt x="1664" y="182014"/>
                    <a:pt x="10948" y="182809"/>
                    <a:pt x="14366" y="183611"/>
                  </a:cubicBezTo>
                  <a:cubicBezTo>
                    <a:pt x="17777" y="184413"/>
                    <a:pt x="23115" y="175234"/>
                    <a:pt x="23966" y="171873"/>
                  </a:cubicBezTo>
                  <a:cubicBezTo>
                    <a:pt x="24824" y="168511"/>
                    <a:pt x="32342" y="157947"/>
                    <a:pt x="32342" y="154156"/>
                  </a:cubicBezTo>
                  <a:cubicBezTo>
                    <a:pt x="32342" y="150366"/>
                    <a:pt x="39973" y="150795"/>
                    <a:pt x="43335" y="150422"/>
                  </a:cubicBezTo>
                  <a:cubicBezTo>
                    <a:pt x="46697" y="150049"/>
                    <a:pt x="60144" y="144500"/>
                    <a:pt x="63506" y="141989"/>
                  </a:cubicBezTo>
                  <a:cubicBezTo>
                    <a:pt x="66868" y="139485"/>
                    <a:pt x="77002" y="138205"/>
                    <a:pt x="82017" y="138205"/>
                  </a:cubicBezTo>
                  <a:cubicBezTo>
                    <a:pt x="87032" y="138205"/>
                    <a:pt x="94233" y="139056"/>
                    <a:pt x="97595" y="138205"/>
                  </a:cubicBezTo>
                  <a:cubicBezTo>
                    <a:pt x="100957" y="137347"/>
                    <a:pt x="102666" y="128493"/>
                    <a:pt x="103095" y="123049"/>
                  </a:cubicBezTo>
                  <a:cubicBezTo>
                    <a:pt x="103517" y="117605"/>
                    <a:pt x="111893" y="118407"/>
                    <a:pt x="113602" y="115468"/>
                  </a:cubicBezTo>
                  <a:cubicBezTo>
                    <a:pt x="115311" y="112535"/>
                    <a:pt x="128759" y="116326"/>
                    <a:pt x="135053" y="115468"/>
                  </a:cubicBezTo>
                  <a:cubicBezTo>
                    <a:pt x="141348" y="114616"/>
                    <a:pt x="147270" y="111417"/>
                    <a:pt x="150631" y="107893"/>
                  </a:cubicBezTo>
                  <a:cubicBezTo>
                    <a:pt x="153993" y="104369"/>
                    <a:pt x="164078" y="107042"/>
                    <a:pt x="168080" y="104531"/>
                  </a:cubicBezTo>
                  <a:cubicBezTo>
                    <a:pt x="171280" y="102527"/>
                    <a:pt x="169410" y="88686"/>
                    <a:pt x="168080" y="82011"/>
                  </a:cubicBezTo>
                  <a:cubicBezTo>
                    <a:pt x="169128" y="74099"/>
                    <a:pt x="171224" y="57318"/>
                    <a:pt x="171224" y="53520"/>
                  </a:cubicBezTo>
                  <a:cubicBezTo>
                    <a:pt x="171224" y="48766"/>
                    <a:pt x="180508" y="46473"/>
                    <a:pt x="180508" y="40551"/>
                  </a:cubicBezTo>
                  <a:cubicBezTo>
                    <a:pt x="180508" y="34630"/>
                    <a:pt x="184671" y="22462"/>
                    <a:pt x="184671" y="17603"/>
                  </a:cubicBezTo>
                  <a:cubicBezTo>
                    <a:pt x="184671" y="12750"/>
                    <a:pt x="180508" y="3944"/>
                    <a:pt x="176295" y="1012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7" name="Freihandform: Form 192">
              <a:extLst>
                <a:ext uri="{FF2B5EF4-FFF2-40B4-BE49-F238E27FC236}">
                  <a16:creationId xmlns:a16="http://schemas.microsoft.com/office/drawing/2014/main" id="{876407F4-0BEA-D747-A8BB-026E2AD002A1}"/>
                </a:ext>
              </a:extLst>
            </p:cNvPr>
            <p:cNvSpPr/>
            <p:nvPr/>
          </p:nvSpPr>
          <p:spPr>
            <a:xfrm>
              <a:off x="8017010" y="4113868"/>
              <a:ext cx="25234" cy="42050"/>
            </a:xfrm>
            <a:custGeom>
              <a:avLst/>
              <a:gdLst>
                <a:gd name="connsiteX0" fmla="*/ 0 w 25234"/>
                <a:gd name="connsiteY0" fmla="*/ 19158 h 42050"/>
                <a:gd name="connsiteX1" fmla="*/ 20382 w 25234"/>
                <a:gd name="connsiteY1" fmla="*/ 0 h 42050"/>
                <a:gd name="connsiteX2" fmla="*/ 25235 w 25234"/>
                <a:gd name="connsiteY2" fmla="*/ 9980 h 42050"/>
                <a:gd name="connsiteX3" fmla="*/ 15473 w 25234"/>
                <a:gd name="connsiteY3" fmla="*/ 33302 h 42050"/>
                <a:gd name="connsiteX4" fmla="*/ 0 w 25234"/>
                <a:gd name="connsiteY4" fmla="*/ 42051 h 42050"/>
                <a:gd name="connsiteX5" fmla="*/ 0 w 25234"/>
                <a:gd name="connsiteY5" fmla="*/ 19158 h 4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234" h="42050">
                  <a:moveTo>
                    <a:pt x="0" y="19158"/>
                  </a:moveTo>
                  <a:cubicBezTo>
                    <a:pt x="0" y="14193"/>
                    <a:pt x="11253" y="3313"/>
                    <a:pt x="20382" y="0"/>
                  </a:cubicBezTo>
                  <a:cubicBezTo>
                    <a:pt x="21999" y="1941"/>
                    <a:pt x="25235" y="6646"/>
                    <a:pt x="25235" y="9980"/>
                  </a:cubicBezTo>
                  <a:cubicBezTo>
                    <a:pt x="25235" y="14144"/>
                    <a:pt x="20382" y="26627"/>
                    <a:pt x="15473" y="33302"/>
                  </a:cubicBezTo>
                  <a:cubicBezTo>
                    <a:pt x="11541" y="38633"/>
                    <a:pt x="3517" y="41354"/>
                    <a:pt x="0" y="42051"/>
                  </a:cubicBezTo>
                  <a:lnTo>
                    <a:pt x="0" y="1915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8" name="Freihandform: Form 193">
              <a:extLst>
                <a:ext uri="{FF2B5EF4-FFF2-40B4-BE49-F238E27FC236}">
                  <a16:creationId xmlns:a16="http://schemas.microsoft.com/office/drawing/2014/main" id="{69A8CD19-2DCE-6A4A-A462-E3D3B079B1FB}"/>
                </a:ext>
              </a:extLst>
            </p:cNvPr>
            <p:cNvSpPr/>
            <p:nvPr/>
          </p:nvSpPr>
          <p:spPr>
            <a:xfrm>
              <a:off x="7843286" y="4200368"/>
              <a:ext cx="31359" cy="21666"/>
            </a:xfrm>
            <a:custGeom>
              <a:avLst/>
              <a:gdLst>
                <a:gd name="connsiteX0" fmla="*/ 26093 w 31359"/>
                <a:gd name="connsiteY0" fmla="*/ 0 h 21666"/>
                <a:gd name="connsiteX1" fmla="*/ 26093 w 31359"/>
                <a:gd name="connsiteY1" fmla="*/ 18300 h 21666"/>
                <a:gd name="connsiteX2" fmla="*/ 9446 w 31359"/>
                <a:gd name="connsiteY2" fmla="*/ 18300 h 21666"/>
                <a:gd name="connsiteX3" fmla="*/ 0 w 31359"/>
                <a:gd name="connsiteY3" fmla="*/ 13503 h 21666"/>
                <a:gd name="connsiteX4" fmla="*/ 4108 w 31359"/>
                <a:gd name="connsiteY4" fmla="*/ 0 h 21666"/>
                <a:gd name="connsiteX5" fmla="*/ 26093 w 31359"/>
                <a:gd name="connsiteY5" fmla="*/ 0 h 21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59" h="21666">
                  <a:moveTo>
                    <a:pt x="26093" y="0"/>
                  </a:moveTo>
                  <a:cubicBezTo>
                    <a:pt x="33562" y="0"/>
                    <a:pt x="32655" y="13503"/>
                    <a:pt x="26093" y="18300"/>
                  </a:cubicBezTo>
                  <a:cubicBezTo>
                    <a:pt x="22309" y="23103"/>
                    <a:pt x="16971" y="22464"/>
                    <a:pt x="9446" y="18300"/>
                  </a:cubicBezTo>
                  <a:cubicBezTo>
                    <a:pt x="1920" y="14143"/>
                    <a:pt x="0" y="18300"/>
                    <a:pt x="0" y="13503"/>
                  </a:cubicBezTo>
                  <a:cubicBezTo>
                    <a:pt x="0" y="8700"/>
                    <a:pt x="0" y="0"/>
                    <a:pt x="4108" y="0"/>
                  </a:cubicBezTo>
                  <a:lnTo>
                    <a:pt x="26093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9" name="Freihandform: Form 194">
              <a:extLst>
                <a:ext uri="{FF2B5EF4-FFF2-40B4-BE49-F238E27FC236}">
                  <a16:creationId xmlns:a16="http://schemas.microsoft.com/office/drawing/2014/main" id="{D57FB88E-5E1C-EC45-A2A3-267F81126AD1}"/>
                </a:ext>
              </a:extLst>
            </p:cNvPr>
            <p:cNvSpPr/>
            <p:nvPr/>
          </p:nvSpPr>
          <p:spPr>
            <a:xfrm>
              <a:off x="7394378" y="4367594"/>
              <a:ext cx="27070" cy="47662"/>
            </a:xfrm>
            <a:custGeom>
              <a:avLst/>
              <a:gdLst>
                <a:gd name="connsiteX0" fmla="*/ 3723 w 27070"/>
                <a:gd name="connsiteY0" fmla="*/ 42485 h 47662"/>
                <a:gd name="connsiteX1" fmla="*/ 3723 w 27070"/>
                <a:gd name="connsiteY1" fmla="*/ 807 h 47662"/>
                <a:gd name="connsiteX2" fmla="*/ 24105 w 27070"/>
                <a:gd name="connsiteY2" fmla="*/ 11961 h 47662"/>
                <a:gd name="connsiteX3" fmla="*/ 24105 w 27070"/>
                <a:gd name="connsiteY3" fmla="*/ 37681 h 47662"/>
                <a:gd name="connsiteX4" fmla="*/ 3723 w 27070"/>
                <a:gd name="connsiteY4" fmla="*/ 42485 h 47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70" h="47662">
                  <a:moveTo>
                    <a:pt x="3723" y="42485"/>
                  </a:moveTo>
                  <a:cubicBezTo>
                    <a:pt x="-4654" y="35276"/>
                    <a:pt x="3723" y="5287"/>
                    <a:pt x="3723" y="807"/>
                  </a:cubicBezTo>
                  <a:cubicBezTo>
                    <a:pt x="8955" y="-3673"/>
                    <a:pt x="17437" y="11961"/>
                    <a:pt x="24105" y="11961"/>
                  </a:cubicBezTo>
                  <a:cubicBezTo>
                    <a:pt x="30779" y="11961"/>
                    <a:pt x="24105" y="24874"/>
                    <a:pt x="24105" y="37681"/>
                  </a:cubicBezTo>
                  <a:cubicBezTo>
                    <a:pt x="24105" y="50488"/>
                    <a:pt x="12099" y="49687"/>
                    <a:pt x="3723" y="4248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0" name="Freihandform: Form 195">
              <a:extLst>
                <a:ext uri="{FF2B5EF4-FFF2-40B4-BE49-F238E27FC236}">
                  <a16:creationId xmlns:a16="http://schemas.microsoft.com/office/drawing/2014/main" id="{D0085F2A-2F51-D440-BE91-9D89F62CE07B}"/>
                </a:ext>
              </a:extLst>
            </p:cNvPr>
            <p:cNvSpPr/>
            <p:nvPr/>
          </p:nvSpPr>
          <p:spPr>
            <a:xfrm>
              <a:off x="7628437" y="4430834"/>
              <a:ext cx="180281" cy="172230"/>
            </a:xfrm>
            <a:custGeom>
              <a:avLst/>
              <a:gdLst>
                <a:gd name="connsiteX0" fmla="*/ 52119 w 180281"/>
                <a:gd name="connsiteY0" fmla="*/ 17238 h 172230"/>
                <a:gd name="connsiteX1" fmla="*/ 1382 w 180281"/>
                <a:gd name="connsiteY1" fmla="*/ 0 h 172230"/>
                <a:gd name="connsiteX2" fmla="*/ 14239 w 180281"/>
                <a:gd name="connsiteY2" fmla="*/ 21669 h 172230"/>
                <a:gd name="connsiteX3" fmla="*/ 40760 w 180281"/>
                <a:gd name="connsiteY3" fmla="*/ 45623 h 172230"/>
                <a:gd name="connsiteX4" fmla="*/ 68288 w 180281"/>
                <a:gd name="connsiteY4" fmla="*/ 74065 h 172230"/>
                <a:gd name="connsiteX5" fmla="*/ 82586 w 180281"/>
                <a:gd name="connsiteY5" fmla="*/ 100692 h 172230"/>
                <a:gd name="connsiteX6" fmla="*/ 106435 w 180281"/>
                <a:gd name="connsiteY6" fmla="*/ 127319 h 172230"/>
                <a:gd name="connsiteX7" fmla="*/ 133646 w 180281"/>
                <a:gd name="connsiteY7" fmla="*/ 166437 h 172230"/>
                <a:gd name="connsiteX8" fmla="*/ 165126 w 180281"/>
                <a:gd name="connsiteY8" fmla="*/ 168941 h 172230"/>
                <a:gd name="connsiteX9" fmla="*/ 170246 w 180281"/>
                <a:gd name="connsiteY9" fmla="*/ 142314 h 172230"/>
                <a:gd name="connsiteX10" fmla="*/ 177342 w 180281"/>
                <a:gd name="connsiteY10" fmla="*/ 127319 h 172230"/>
                <a:gd name="connsiteX11" fmla="*/ 170246 w 180281"/>
                <a:gd name="connsiteY11" fmla="*/ 111523 h 172230"/>
                <a:gd name="connsiteX12" fmla="*/ 156961 w 180281"/>
                <a:gd name="connsiteY12" fmla="*/ 120652 h 172230"/>
                <a:gd name="connsiteX13" fmla="*/ 130073 w 180281"/>
                <a:gd name="connsiteY13" fmla="*/ 95734 h 172230"/>
                <a:gd name="connsiteX14" fmla="*/ 100724 w 180281"/>
                <a:gd name="connsiteY14" fmla="*/ 63558 h 172230"/>
                <a:gd name="connsiteX15" fmla="*/ 52119 w 180281"/>
                <a:gd name="connsiteY15" fmla="*/ 17238 h 172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0281" h="172230">
                  <a:moveTo>
                    <a:pt x="52119" y="17238"/>
                  </a:moveTo>
                  <a:cubicBezTo>
                    <a:pt x="35957" y="4480"/>
                    <a:pt x="25604" y="858"/>
                    <a:pt x="1382" y="0"/>
                  </a:cubicBezTo>
                  <a:cubicBezTo>
                    <a:pt x="-4434" y="13553"/>
                    <a:pt x="9702" y="17238"/>
                    <a:pt x="14239" y="21669"/>
                  </a:cubicBezTo>
                  <a:cubicBezTo>
                    <a:pt x="18775" y="26093"/>
                    <a:pt x="37771" y="38316"/>
                    <a:pt x="40760" y="45623"/>
                  </a:cubicBezTo>
                  <a:cubicBezTo>
                    <a:pt x="43743" y="52938"/>
                    <a:pt x="60446" y="68249"/>
                    <a:pt x="68288" y="74065"/>
                  </a:cubicBezTo>
                  <a:cubicBezTo>
                    <a:pt x="76130" y="79881"/>
                    <a:pt x="76720" y="90712"/>
                    <a:pt x="82586" y="100692"/>
                  </a:cubicBezTo>
                  <a:cubicBezTo>
                    <a:pt x="88458" y="110672"/>
                    <a:pt x="100724" y="127319"/>
                    <a:pt x="106435" y="127319"/>
                  </a:cubicBezTo>
                  <a:cubicBezTo>
                    <a:pt x="112146" y="127319"/>
                    <a:pt x="125164" y="155599"/>
                    <a:pt x="133646" y="166437"/>
                  </a:cubicBezTo>
                  <a:cubicBezTo>
                    <a:pt x="142128" y="177268"/>
                    <a:pt x="150455" y="169743"/>
                    <a:pt x="165126" y="168941"/>
                  </a:cubicBezTo>
                  <a:cubicBezTo>
                    <a:pt x="179797" y="168139"/>
                    <a:pt x="170246" y="153095"/>
                    <a:pt x="170246" y="142314"/>
                  </a:cubicBezTo>
                  <a:cubicBezTo>
                    <a:pt x="170246" y="131539"/>
                    <a:pt x="170246" y="132334"/>
                    <a:pt x="177342" y="127319"/>
                  </a:cubicBezTo>
                  <a:cubicBezTo>
                    <a:pt x="184439" y="122305"/>
                    <a:pt x="177342" y="120652"/>
                    <a:pt x="170246" y="111523"/>
                  </a:cubicBezTo>
                  <a:cubicBezTo>
                    <a:pt x="163150" y="102401"/>
                    <a:pt x="156961" y="115687"/>
                    <a:pt x="156961" y="120652"/>
                  </a:cubicBezTo>
                  <a:cubicBezTo>
                    <a:pt x="156961" y="125610"/>
                    <a:pt x="139835" y="104856"/>
                    <a:pt x="130073" y="95734"/>
                  </a:cubicBezTo>
                  <a:cubicBezTo>
                    <a:pt x="120311" y="86605"/>
                    <a:pt x="111288" y="72412"/>
                    <a:pt x="100724" y="63558"/>
                  </a:cubicBezTo>
                  <a:cubicBezTo>
                    <a:pt x="90161" y="54696"/>
                    <a:pt x="68288" y="29989"/>
                    <a:pt x="52119" y="1723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1" name="Freihandform: Form 196">
              <a:extLst>
                <a:ext uri="{FF2B5EF4-FFF2-40B4-BE49-F238E27FC236}">
                  <a16:creationId xmlns:a16="http://schemas.microsoft.com/office/drawing/2014/main" id="{236C1208-66FA-C548-802C-06C1D687B318}"/>
                </a:ext>
              </a:extLst>
            </p:cNvPr>
            <p:cNvSpPr/>
            <p:nvPr/>
          </p:nvSpPr>
          <p:spPr>
            <a:xfrm>
              <a:off x="7798682" y="4610557"/>
              <a:ext cx="131596" cy="33294"/>
            </a:xfrm>
            <a:custGeom>
              <a:avLst/>
              <a:gdLst>
                <a:gd name="connsiteX0" fmla="*/ 0 w 131596"/>
                <a:gd name="connsiteY0" fmla="*/ 11682 h 33294"/>
                <a:gd name="connsiteX1" fmla="*/ 7097 w 131596"/>
                <a:gd name="connsiteY1" fmla="*/ 0 h 33294"/>
                <a:gd name="connsiteX2" fmla="*/ 36446 w 131596"/>
                <a:gd name="connsiteY2" fmla="*/ 5014 h 33294"/>
                <a:gd name="connsiteX3" fmla="*/ 66533 w 131596"/>
                <a:gd name="connsiteY3" fmla="*/ 11682 h 33294"/>
                <a:gd name="connsiteX4" fmla="*/ 94011 w 131596"/>
                <a:gd name="connsiteY4" fmla="*/ 17498 h 33294"/>
                <a:gd name="connsiteX5" fmla="*/ 129760 w 131596"/>
                <a:gd name="connsiteY5" fmla="*/ 27478 h 33294"/>
                <a:gd name="connsiteX6" fmla="*/ 129760 w 131596"/>
                <a:gd name="connsiteY6" fmla="*/ 33294 h 33294"/>
                <a:gd name="connsiteX7" fmla="*/ 106494 w 131596"/>
                <a:gd name="connsiteY7" fmla="*/ 33294 h 33294"/>
                <a:gd name="connsiteX8" fmla="*/ 77258 w 131596"/>
                <a:gd name="connsiteY8" fmla="*/ 27478 h 33294"/>
                <a:gd name="connsiteX9" fmla="*/ 36446 w 131596"/>
                <a:gd name="connsiteY9" fmla="*/ 21662 h 33294"/>
                <a:gd name="connsiteX10" fmla="*/ 0 w 131596"/>
                <a:gd name="connsiteY10" fmla="*/ 11682 h 33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1596" h="33294">
                  <a:moveTo>
                    <a:pt x="0" y="11682"/>
                  </a:moveTo>
                  <a:cubicBezTo>
                    <a:pt x="0" y="5865"/>
                    <a:pt x="0" y="0"/>
                    <a:pt x="7097" y="0"/>
                  </a:cubicBezTo>
                  <a:lnTo>
                    <a:pt x="36446" y="5014"/>
                  </a:lnTo>
                  <a:cubicBezTo>
                    <a:pt x="42311" y="7237"/>
                    <a:pt x="56546" y="11682"/>
                    <a:pt x="66533" y="11682"/>
                  </a:cubicBezTo>
                  <a:cubicBezTo>
                    <a:pt x="76520" y="11682"/>
                    <a:pt x="89010" y="15564"/>
                    <a:pt x="94011" y="17498"/>
                  </a:cubicBezTo>
                  <a:cubicBezTo>
                    <a:pt x="104539" y="18891"/>
                    <a:pt x="126426" y="22829"/>
                    <a:pt x="129760" y="27478"/>
                  </a:cubicBezTo>
                  <a:cubicBezTo>
                    <a:pt x="133086" y="32134"/>
                    <a:pt x="131146" y="33294"/>
                    <a:pt x="129760" y="33294"/>
                  </a:cubicBezTo>
                  <a:lnTo>
                    <a:pt x="106494" y="33294"/>
                  </a:lnTo>
                  <a:cubicBezTo>
                    <a:pt x="96747" y="31909"/>
                    <a:pt x="77258" y="28800"/>
                    <a:pt x="77258" y="27478"/>
                  </a:cubicBezTo>
                  <a:cubicBezTo>
                    <a:pt x="77258" y="25825"/>
                    <a:pt x="44604" y="21662"/>
                    <a:pt x="36446" y="21662"/>
                  </a:cubicBezTo>
                  <a:cubicBezTo>
                    <a:pt x="28280" y="21662"/>
                    <a:pt x="0" y="17498"/>
                    <a:pt x="0" y="1168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2" name="Freihandform: Form 197">
              <a:extLst>
                <a:ext uri="{FF2B5EF4-FFF2-40B4-BE49-F238E27FC236}">
                  <a16:creationId xmlns:a16="http://schemas.microsoft.com/office/drawing/2014/main" id="{51AB31F8-95E7-E241-9DE0-4BC4E6A1B2F7}"/>
                </a:ext>
              </a:extLst>
            </p:cNvPr>
            <p:cNvSpPr/>
            <p:nvPr/>
          </p:nvSpPr>
          <p:spPr>
            <a:xfrm>
              <a:off x="7837794" y="4406875"/>
              <a:ext cx="154879" cy="166272"/>
            </a:xfrm>
            <a:custGeom>
              <a:avLst/>
              <a:gdLst>
                <a:gd name="connsiteX0" fmla="*/ 152273 w 154879"/>
                <a:gd name="connsiteY0" fmla="*/ 35647 h 166272"/>
                <a:gd name="connsiteX1" fmla="*/ 136427 w 154879"/>
                <a:gd name="connsiteY1" fmla="*/ 51444 h 166272"/>
                <a:gd name="connsiteX2" fmla="*/ 141385 w 154879"/>
                <a:gd name="connsiteY2" fmla="*/ 69582 h 166272"/>
                <a:gd name="connsiteX3" fmla="*/ 152273 w 154879"/>
                <a:gd name="connsiteY3" fmla="*/ 93065 h 166272"/>
                <a:gd name="connsiteX4" fmla="*/ 128100 w 154879"/>
                <a:gd name="connsiteY4" fmla="*/ 107202 h 166272"/>
                <a:gd name="connsiteX5" fmla="*/ 118873 w 154879"/>
                <a:gd name="connsiteY5" fmla="*/ 124651 h 166272"/>
                <a:gd name="connsiteX6" fmla="*/ 118873 w 154879"/>
                <a:gd name="connsiteY6" fmla="*/ 144611 h 166272"/>
                <a:gd name="connsiteX7" fmla="*/ 103983 w 154879"/>
                <a:gd name="connsiteY7" fmla="*/ 159605 h 166272"/>
                <a:gd name="connsiteX8" fmla="*/ 90649 w 154879"/>
                <a:gd name="connsiteY8" fmla="*/ 166272 h 166272"/>
                <a:gd name="connsiteX9" fmla="*/ 61518 w 154879"/>
                <a:gd name="connsiteY9" fmla="*/ 151278 h 166272"/>
                <a:gd name="connsiteX10" fmla="*/ 49885 w 154879"/>
                <a:gd name="connsiteY10" fmla="*/ 151278 h 166272"/>
                <a:gd name="connsiteX11" fmla="*/ 27422 w 154879"/>
                <a:gd name="connsiteY11" fmla="*/ 151278 h 166272"/>
                <a:gd name="connsiteX12" fmla="*/ 19102 w 154879"/>
                <a:gd name="connsiteY12" fmla="*/ 135482 h 166272"/>
                <a:gd name="connsiteX13" fmla="*/ 5493 w 154879"/>
                <a:gd name="connsiteY13" fmla="*/ 114671 h 166272"/>
                <a:gd name="connsiteX14" fmla="*/ 0 w 154879"/>
                <a:gd name="connsiteY14" fmla="*/ 83887 h 166272"/>
                <a:gd name="connsiteX15" fmla="*/ 19102 w 154879"/>
                <a:gd name="connsiteY15" fmla="*/ 79724 h 166272"/>
                <a:gd name="connsiteX16" fmla="*/ 31585 w 154879"/>
                <a:gd name="connsiteY16" fmla="*/ 79724 h 166272"/>
                <a:gd name="connsiteX17" fmla="*/ 38147 w 154879"/>
                <a:gd name="connsiteY17" fmla="*/ 69582 h 166272"/>
                <a:gd name="connsiteX18" fmla="*/ 54900 w 154879"/>
                <a:gd name="connsiteY18" fmla="*/ 58913 h 166272"/>
                <a:gd name="connsiteX19" fmla="*/ 74853 w 154879"/>
                <a:gd name="connsiteY19" fmla="*/ 41197 h 166272"/>
                <a:gd name="connsiteX20" fmla="*/ 103983 w 154879"/>
                <a:gd name="connsiteY20" fmla="*/ 29191 h 166272"/>
                <a:gd name="connsiteX21" fmla="*/ 118873 w 154879"/>
                <a:gd name="connsiteY21" fmla="*/ 3204 h 166272"/>
                <a:gd name="connsiteX22" fmla="*/ 136427 w 154879"/>
                <a:gd name="connsiteY22" fmla="*/ 3204 h 166272"/>
                <a:gd name="connsiteX23" fmla="*/ 152273 w 154879"/>
                <a:gd name="connsiteY23" fmla="*/ 19000 h 166272"/>
                <a:gd name="connsiteX24" fmla="*/ 152273 w 154879"/>
                <a:gd name="connsiteY24" fmla="*/ 35647 h 16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4879" h="166272">
                  <a:moveTo>
                    <a:pt x="152273" y="35647"/>
                  </a:moveTo>
                  <a:cubicBezTo>
                    <a:pt x="152273" y="42104"/>
                    <a:pt x="143038" y="41197"/>
                    <a:pt x="136427" y="51444"/>
                  </a:cubicBezTo>
                  <a:cubicBezTo>
                    <a:pt x="132453" y="55945"/>
                    <a:pt x="138080" y="65411"/>
                    <a:pt x="141385" y="69582"/>
                  </a:cubicBezTo>
                  <a:lnTo>
                    <a:pt x="152273" y="93065"/>
                  </a:lnTo>
                  <a:cubicBezTo>
                    <a:pt x="148925" y="94718"/>
                    <a:pt x="139409" y="99859"/>
                    <a:pt x="128100" y="107202"/>
                  </a:cubicBezTo>
                  <a:cubicBezTo>
                    <a:pt x="123142" y="113018"/>
                    <a:pt x="122283" y="117182"/>
                    <a:pt x="118873" y="124651"/>
                  </a:cubicBezTo>
                  <a:cubicBezTo>
                    <a:pt x="116137" y="130629"/>
                    <a:pt x="117733" y="140447"/>
                    <a:pt x="118873" y="144611"/>
                  </a:cubicBezTo>
                  <a:cubicBezTo>
                    <a:pt x="115848" y="148218"/>
                    <a:pt x="108639" y="156271"/>
                    <a:pt x="103983" y="159605"/>
                  </a:cubicBezTo>
                  <a:cubicBezTo>
                    <a:pt x="99335" y="162932"/>
                    <a:pt x="93153" y="165435"/>
                    <a:pt x="90649" y="166272"/>
                  </a:cubicBezTo>
                  <a:cubicBezTo>
                    <a:pt x="82055" y="162376"/>
                    <a:pt x="64204" y="153929"/>
                    <a:pt x="61518" y="151278"/>
                  </a:cubicBezTo>
                  <a:cubicBezTo>
                    <a:pt x="58156" y="147972"/>
                    <a:pt x="54900" y="151278"/>
                    <a:pt x="49885" y="151278"/>
                  </a:cubicBezTo>
                  <a:lnTo>
                    <a:pt x="27422" y="151278"/>
                  </a:lnTo>
                  <a:cubicBezTo>
                    <a:pt x="16696" y="151278"/>
                    <a:pt x="22464" y="141298"/>
                    <a:pt x="19102" y="135482"/>
                  </a:cubicBezTo>
                  <a:cubicBezTo>
                    <a:pt x="16408" y="130833"/>
                    <a:pt x="8911" y="119671"/>
                    <a:pt x="5493" y="114671"/>
                  </a:cubicBezTo>
                  <a:lnTo>
                    <a:pt x="0" y="83887"/>
                  </a:lnTo>
                  <a:cubicBezTo>
                    <a:pt x="4979" y="82495"/>
                    <a:pt x="15768" y="79724"/>
                    <a:pt x="19102" y="79724"/>
                  </a:cubicBezTo>
                  <a:lnTo>
                    <a:pt x="31585" y="79724"/>
                  </a:lnTo>
                  <a:lnTo>
                    <a:pt x="38147" y="69582"/>
                  </a:lnTo>
                  <a:cubicBezTo>
                    <a:pt x="42346" y="67148"/>
                    <a:pt x="51573" y="61599"/>
                    <a:pt x="54900" y="58913"/>
                  </a:cubicBezTo>
                  <a:cubicBezTo>
                    <a:pt x="59064" y="55551"/>
                    <a:pt x="67383" y="45627"/>
                    <a:pt x="74853" y="41197"/>
                  </a:cubicBezTo>
                  <a:cubicBezTo>
                    <a:pt x="80831" y="37652"/>
                    <a:pt x="96768" y="31716"/>
                    <a:pt x="103983" y="29191"/>
                  </a:cubicBezTo>
                  <a:cubicBezTo>
                    <a:pt x="107029" y="22925"/>
                    <a:pt x="114259" y="8964"/>
                    <a:pt x="118873" y="3204"/>
                  </a:cubicBezTo>
                  <a:cubicBezTo>
                    <a:pt x="124633" y="-4005"/>
                    <a:pt x="131412" y="3204"/>
                    <a:pt x="136427" y="3204"/>
                  </a:cubicBezTo>
                  <a:cubicBezTo>
                    <a:pt x="141442" y="3204"/>
                    <a:pt x="146400" y="19000"/>
                    <a:pt x="152273" y="19000"/>
                  </a:cubicBezTo>
                  <a:cubicBezTo>
                    <a:pt x="158138" y="19000"/>
                    <a:pt x="152273" y="29191"/>
                    <a:pt x="152273" y="35647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3" name="Freihandform: Form 198">
              <a:extLst>
                <a:ext uri="{FF2B5EF4-FFF2-40B4-BE49-F238E27FC236}">
                  <a16:creationId xmlns:a16="http://schemas.microsoft.com/office/drawing/2014/main" id="{9BA7FF9A-3733-1F4E-BDB3-2E96B3AF619A}"/>
                </a:ext>
              </a:extLst>
            </p:cNvPr>
            <p:cNvSpPr/>
            <p:nvPr/>
          </p:nvSpPr>
          <p:spPr>
            <a:xfrm>
              <a:off x="8013430" y="4218668"/>
              <a:ext cx="35977" cy="71973"/>
            </a:xfrm>
            <a:custGeom>
              <a:avLst/>
              <a:gdLst>
                <a:gd name="connsiteX0" fmla="*/ 3580 w 35977"/>
                <a:gd name="connsiteY0" fmla="*/ 31698 h 71973"/>
                <a:gd name="connsiteX1" fmla="*/ 11049 w 35977"/>
                <a:gd name="connsiteY1" fmla="*/ 1927 h 71973"/>
                <a:gd name="connsiteX2" fmla="*/ 15156 w 35977"/>
                <a:gd name="connsiteY2" fmla="*/ 0 h 71973"/>
                <a:gd name="connsiteX3" fmla="*/ 26943 w 35977"/>
                <a:gd name="connsiteY3" fmla="*/ 11154 h 71973"/>
                <a:gd name="connsiteX4" fmla="*/ 34152 w 35977"/>
                <a:gd name="connsiteY4" fmla="*/ 19904 h 71973"/>
                <a:gd name="connsiteX5" fmla="*/ 34152 w 35977"/>
                <a:gd name="connsiteY5" fmla="*/ 39920 h 71973"/>
                <a:gd name="connsiteX6" fmla="*/ 26943 w 35977"/>
                <a:gd name="connsiteY6" fmla="*/ 47494 h 71973"/>
                <a:gd name="connsiteX7" fmla="*/ 23849 w 35977"/>
                <a:gd name="connsiteY7" fmla="*/ 63073 h 71973"/>
                <a:gd name="connsiteX8" fmla="*/ 19053 w 35977"/>
                <a:gd name="connsiteY8" fmla="*/ 71829 h 71973"/>
                <a:gd name="connsiteX9" fmla="*/ 3580 w 35977"/>
                <a:gd name="connsiteY9" fmla="*/ 63073 h 71973"/>
                <a:gd name="connsiteX10" fmla="*/ 218 w 35977"/>
                <a:gd name="connsiteY10" fmla="*/ 47494 h 71973"/>
                <a:gd name="connsiteX11" fmla="*/ 3580 w 35977"/>
                <a:gd name="connsiteY11" fmla="*/ 31698 h 71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977" h="71973">
                  <a:moveTo>
                    <a:pt x="3580" y="31698"/>
                  </a:moveTo>
                  <a:cubicBezTo>
                    <a:pt x="3580" y="23483"/>
                    <a:pt x="8433" y="1927"/>
                    <a:pt x="11049" y="1927"/>
                  </a:cubicBezTo>
                  <a:lnTo>
                    <a:pt x="15156" y="0"/>
                  </a:lnTo>
                  <a:cubicBezTo>
                    <a:pt x="18054" y="2173"/>
                    <a:pt x="24468" y="7441"/>
                    <a:pt x="26943" y="11154"/>
                  </a:cubicBezTo>
                  <a:cubicBezTo>
                    <a:pt x="30038" y="15796"/>
                    <a:pt x="30038" y="14249"/>
                    <a:pt x="34152" y="19904"/>
                  </a:cubicBezTo>
                  <a:cubicBezTo>
                    <a:pt x="38260" y="25565"/>
                    <a:pt x="34152" y="25987"/>
                    <a:pt x="34152" y="39920"/>
                  </a:cubicBezTo>
                  <a:cubicBezTo>
                    <a:pt x="33133" y="48134"/>
                    <a:pt x="30573" y="44076"/>
                    <a:pt x="26943" y="47494"/>
                  </a:cubicBezTo>
                  <a:cubicBezTo>
                    <a:pt x="23322" y="50912"/>
                    <a:pt x="24384" y="54323"/>
                    <a:pt x="23849" y="63073"/>
                  </a:cubicBezTo>
                  <a:cubicBezTo>
                    <a:pt x="23322" y="71829"/>
                    <a:pt x="19053" y="72363"/>
                    <a:pt x="19053" y="71829"/>
                  </a:cubicBezTo>
                  <a:cubicBezTo>
                    <a:pt x="19053" y="71294"/>
                    <a:pt x="8433" y="65640"/>
                    <a:pt x="3580" y="63073"/>
                  </a:cubicBezTo>
                  <a:cubicBezTo>
                    <a:pt x="-1280" y="60512"/>
                    <a:pt x="218" y="53845"/>
                    <a:pt x="218" y="47494"/>
                  </a:cubicBezTo>
                  <a:cubicBezTo>
                    <a:pt x="218" y="41143"/>
                    <a:pt x="3580" y="39920"/>
                    <a:pt x="3580" y="3169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4" name="Freihandform: Form 199">
              <a:extLst>
                <a:ext uri="{FF2B5EF4-FFF2-40B4-BE49-F238E27FC236}">
                  <a16:creationId xmlns:a16="http://schemas.microsoft.com/office/drawing/2014/main" id="{A414977E-CDCB-8741-A361-FBB256821D7C}"/>
                </a:ext>
              </a:extLst>
            </p:cNvPr>
            <p:cNvSpPr/>
            <p:nvPr/>
          </p:nvSpPr>
          <p:spPr>
            <a:xfrm>
              <a:off x="8045630" y="4287842"/>
              <a:ext cx="57148" cy="91926"/>
            </a:xfrm>
            <a:custGeom>
              <a:avLst/>
              <a:gdLst>
                <a:gd name="connsiteX0" fmla="*/ 16890 w 57148"/>
                <a:gd name="connsiteY0" fmla="*/ 19780 h 91926"/>
                <a:gd name="connsiteX1" fmla="*/ 6594 w 57148"/>
                <a:gd name="connsiteY1" fmla="*/ 2654 h 91926"/>
                <a:gd name="connsiteX2" fmla="*/ 19450 w 57148"/>
                <a:gd name="connsiteY2" fmla="*/ 94 h 91926"/>
                <a:gd name="connsiteX3" fmla="*/ 29746 w 57148"/>
                <a:gd name="connsiteY3" fmla="*/ 5214 h 91926"/>
                <a:gd name="connsiteX4" fmla="*/ 35401 w 57148"/>
                <a:gd name="connsiteY4" fmla="*/ 14069 h 91926"/>
                <a:gd name="connsiteX5" fmla="*/ 45163 w 57148"/>
                <a:gd name="connsiteY5" fmla="*/ 26722 h 91926"/>
                <a:gd name="connsiteX6" fmla="*/ 54397 w 57148"/>
                <a:gd name="connsiteY6" fmla="*/ 38087 h 91926"/>
                <a:gd name="connsiteX7" fmla="*/ 54397 w 57148"/>
                <a:gd name="connsiteY7" fmla="*/ 48918 h 91926"/>
                <a:gd name="connsiteX8" fmla="*/ 48208 w 57148"/>
                <a:gd name="connsiteY8" fmla="*/ 59214 h 91926"/>
                <a:gd name="connsiteX9" fmla="*/ 35401 w 57148"/>
                <a:gd name="connsiteY9" fmla="*/ 64447 h 91926"/>
                <a:gd name="connsiteX10" fmla="*/ 28677 w 57148"/>
                <a:gd name="connsiteY10" fmla="*/ 74159 h 91926"/>
                <a:gd name="connsiteX11" fmla="*/ 14808 w 57148"/>
                <a:gd name="connsiteY11" fmla="*/ 86967 h 91926"/>
                <a:gd name="connsiteX12" fmla="*/ 6594 w 57148"/>
                <a:gd name="connsiteY12" fmla="*/ 91714 h 91926"/>
                <a:gd name="connsiteX13" fmla="*/ 405 w 57148"/>
                <a:gd name="connsiteY13" fmla="*/ 74159 h 91926"/>
                <a:gd name="connsiteX14" fmla="*/ 6298 w 57148"/>
                <a:gd name="connsiteY14" fmla="*/ 59545 h 91926"/>
                <a:gd name="connsiteX15" fmla="*/ 6594 w 57148"/>
                <a:gd name="connsiteY15" fmla="*/ 59214 h 91926"/>
                <a:gd name="connsiteX16" fmla="*/ 16890 w 57148"/>
                <a:gd name="connsiteY16" fmla="*/ 59214 h 91926"/>
                <a:gd name="connsiteX17" fmla="*/ 22545 w 57148"/>
                <a:gd name="connsiteY17" fmla="*/ 53616 h 91926"/>
                <a:gd name="connsiteX18" fmla="*/ 32306 w 57148"/>
                <a:gd name="connsiteY18" fmla="*/ 48918 h 91926"/>
                <a:gd name="connsiteX19" fmla="*/ 32306 w 57148"/>
                <a:gd name="connsiteY19" fmla="*/ 41716 h 91926"/>
                <a:gd name="connsiteX20" fmla="*/ 32306 w 57148"/>
                <a:gd name="connsiteY20" fmla="*/ 32482 h 91926"/>
                <a:gd name="connsiteX21" fmla="*/ 28677 w 57148"/>
                <a:gd name="connsiteY21" fmla="*/ 26722 h 91926"/>
                <a:gd name="connsiteX22" fmla="*/ 16890 w 57148"/>
                <a:gd name="connsiteY22" fmla="*/ 19780 h 9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148" h="91926">
                  <a:moveTo>
                    <a:pt x="16890" y="19780"/>
                  </a:moveTo>
                  <a:cubicBezTo>
                    <a:pt x="12783" y="19780"/>
                    <a:pt x="7606" y="9427"/>
                    <a:pt x="6594" y="2654"/>
                  </a:cubicBezTo>
                  <a:cubicBezTo>
                    <a:pt x="9330" y="1571"/>
                    <a:pt x="15737" y="-461"/>
                    <a:pt x="19450" y="94"/>
                  </a:cubicBezTo>
                  <a:cubicBezTo>
                    <a:pt x="24092" y="784"/>
                    <a:pt x="25583" y="2654"/>
                    <a:pt x="29746" y="5214"/>
                  </a:cubicBezTo>
                  <a:cubicBezTo>
                    <a:pt x="33910" y="7775"/>
                    <a:pt x="32306" y="9427"/>
                    <a:pt x="35401" y="14069"/>
                  </a:cubicBezTo>
                  <a:cubicBezTo>
                    <a:pt x="38496" y="18718"/>
                    <a:pt x="38446" y="19780"/>
                    <a:pt x="45163" y="26722"/>
                  </a:cubicBezTo>
                  <a:cubicBezTo>
                    <a:pt x="51886" y="33656"/>
                    <a:pt x="48208" y="32482"/>
                    <a:pt x="54397" y="38087"/>
                  </a:cubicBezTo>
                  <a:cubicBezTo>
                    <a:pt x="60586" y="43685"/>
                    <a:pt x="54397" y="41716"/>
                    <a:pt x="54397" y="48918"/>
                  </a:cubicBezTo>
                  <a:cubicBezTo>
                    <a:pt x="54397" y="56120"/>
                    <a:pt x="52850" y="53616"/>
                    <a:pt x="48208" y="59214"/>
                  </a:cubicBezTo>
                  <a:cubicBezTo>
                    <a:pt x="43567" y="64820"/>
                    <a:pt x="42554" y="59214"/>
                    <a:pt x="35401" y="64447"/>
                  </a:cubicBezTo>
                  <a:cubicBezTo>
                    <a:pt x="28256" y="69672"/>
                    <a:pt x="32306" y="68983"/>
                    <a:pt x="28677" y="74159"/>
                  </a:cubicBezTo>
                  <a:cubicBezTo>
                    <a:pt x="25048" y="79336"/>
                    <a:pt x="22545" y="80560"/>
                    <a:pt x="14808" y="86967"/>
                  </a:cubicBezTo>
                  <a:cubicBezTo>
                    <a:pt x="8619" y="92087"/>
                    <a:pt x="6748" y="92263"/>
                    <a:pt x="6594" y="91714"/>
                  </a:cubicBezTo>
                  <a:cubicBezTo>
                    <a:pt x="5047" y="87994"/>
                    <a:pt x="1642" y="79280"/>
                    <a:pt x="405" y="74159"/>
                  </a:cubicBezTo>
                  <a:cubicBezTo>
                    <a:pt x="-1115" y="67886"/>
                    <a:pt x="1818" y="64588"/>
                    <a:pt x="6298" y="59545"/>
                  </a:cubicBezTo>
                  <a:lnTo>
                    <a:pt x="6594" y="59214"/>
                  </a:lnTo>
                  <a:lnTo>
                    <a:pt x="16890" y="59214"/>
                  </a:lnTo>
                  <a:cubicBezTo>
                    <a:pt x="16890" y="57351"/>
                    <a:pt x="18022" y="53616"/>
                    <a:pt x="22545" y="53616"/>
                  </a:cubicBezTo>
                  <a:cubicBezTo>
                    <a:pt x="27067" y="53616"/>
                    <a:pt x="30935" y="50479"/>
                    <a:pt x="32306" y="48918"/>
                  </a:cubicBezTo>
                  <a:lnTo>
                    <a:pt x="32306" y="41716"/>
                  </a:lnTo>
                  <a:cubicBezTo>
                    <a:pt x="32468" y="39486"/>
                    <a:pt x="32693" y="34528"/>
                    <a:pt x="32306" y="32482"/>
                  </a:cubicBezTo>
                  <a:cubicBezTo>
                    <a:pt x="31927" y="30435"/>
                    <a:pt x="29725" y="27784"/>
                    <a:pt x="28677" y="26722"/>
                  </a:cubicBezTo>
                  <a:cubicBezTo>
                    <a:pt x="26118" y="24408"/>
                    <a:pt x="20174" y="19780"/>
                    <a:pt x="16890" y="1978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5" name="Freihandform: Form 200">
              <a:extLst>
                <a:ext uri="{FF2B5EF4-FFF2-40B4-BE49-F238E27FC236}">
                  <a16:creationId xmlns:a16="http://schemas.microsoft.com/office/drawing/2014/main" id="{86F4A0E7-03E5-EA42-82F3-A2AD266A7779}"/>
                </a:ext>
              </a:extLst>
            </p:cNvPr>
            <p:cNvSpPr/>
            <p:nvPr/>
          </p:nvSpPr>
          <p:spPr>
            <a:xfrm>
              <a:off x="7970964" y="4341458"/>
              <a:ext cx="37563" cy="45356"/>
            </a:xfrm>
            <a:custGeom>
              <a:avLst/>
              <a:gdLst>
                <a:gd name="connsiteX0" fmla="*/ 27260 w 37563"/>
                <a:gd name="connsiteY0" fmla="*/ 10831 h 45356"/>
                <a:gd name="connsiteX1" fmla="*/ 33934 w 37563"/>
                <a:gd name="connsiteY1" fmla="*/ 0 h 45356"/>
                <a:gd name="connsiteX2" fmla="*/ 37564 w 37563"/>
                <a:gd name="connsiteY2" fmla="*/ 5598 h 45356"/>
                <a:gd name="connsiteX3" fmla="*/ 33934 w 37563"/>
                <a:gd name="connsiteY3" fmla="*/ 10831 h 45356"/>
                <a:gd name="connsiteX4" fmla="*/ 30355 w 37563"/>
                <a:gd name="connsiteY4" fmla="*/ 26944 h 45356"/>
                <a:gd name="connsiteX5" fmla="*/ 12378 w 37563"/>
                <a:gd name="connsiteY5" fmla="*/ 38098 h 45356"/>
                <a:gd name="connsiteX6" fmla="*/ 0 w 37563"/>
                <a:gd name="connsiteY6" fmla="*/ 45356 h 45356"/>
                <a:gd name="connsiteX7" fmla="*/ 0 w 37563"/>
                <a:gd name="connsiteY7" fmla="*/ 38098 h 45356"/>
                <a:gd name="connsiteX8" fmla="*/ 3257 w 37563"/>
                <a:gd name="connsiteY8" fmla="*/ 31424 h 45356"/>
                <a:gd name="connsiteX9" fmla="*/ 19102 w 37563"/>
                <a:gd name="connsiteY9" fmla="*/ 20544 h 45356"/>
                <a:gd name="connsiteX10" fmla="*/ 27260 w 37563"/>
                <a:gd name="connsiteY10" fmla="*/ 10831 h 45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63" h="45356">
                  <a:moveTo>
                    <a:pt x="27260" y="10831"/>
                  </a:moveTo>
                  <a:lnTo>
                    <a:pt x="33934" y="0"/>
                  </a:lnTo>
                  <a:lnTo>
                    <a:pt x="37564" y="5598"/>
                  </a:lnTo>
                  <a:cubicBezTo>
                    <a:pt x="37564" y="7342"/>
                    <a:pt x="36832" y="10831"/>
                    <a:pt x="33934" y="10831"/>
                  </a:cubicBezTo>
                  <a:cubicBezTo>
                    <a:pt x="30306" y="10831"/>
                    <a:pt x="33934" y="18089"/>
                    <a:pt x="30355" y="26944"/>
                  </a:cubicBezTo>
                  <a:cubicBezTo>
                    <a:pt x="26782" y="29771"/>
                    <a:pt x="16485" y="38098"/>
                    <a:pt x="12378" y="38098"/>
                  </a:cubicBezTo>
                  <a:cubicBezTo>
                    <a:pt x="9094" y="38098"/>
                    <a:pt x="2757" y="42937"/>
                    <a:pt x="0" y="45356"/>
                  </a:cubicBezTo>
                  <a:lnTo>
                    <a:pt x="0" y="38098"/>
                  </a:lnTo>
                  <a:lnTo>
                    <a:pt x="3257" y="31424"/>
                  </a:lnTo>
                  <a:cubicBezTo>
                    <a:pt x="7483" y="27802"/>
                    <a:pt x="16584" y="20544"/>
                    <a:pt x="19102" y="20544"/>
                  </a:cubicBezTo>
                  <a:cubicBezTo>
                    <a:pt x="21620" y="20544"/>
                    <a:pt x="25593" y="14066"/>
                    <a:pt x="27260" y="1083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6" name="Freihandform: Form 201">
              <a:extLst>
                <a:ext uri="{FF2B5EF4-FFF2-40B4-BE49-F238E27FC236}">
                  <a16:creationId xmlns:a16="http://schemas.microsoft.com/office/drawing/2014/main" id="{DC4AC485-805A-F34A-9F09-701B395C4973}"/>
                </a:ext>
              </a:extLst>
            </p:cNvPr>
            <p:cNvSpPr/>
            <p:nvPr/>
          </p:nvSpPr>
          <p:spPr>
            <a:xfrm>
              <a:off x="8059321" y="4372496"/>
              <a:ext cx="49889" cy="48090"/>
            </a:xfrm>
            <a:custGeom>
              <a:avLst/>
              <a:gdLst>
                <a:gd name="connsiteX0" fmla="*/ 28863 w 49889"/>
                <a:gd name="connsiteY0" fmla="*/ 14317 h 48090"/>
                <a:gd name="connsiteX1" fmla="*/ 40707 w 49889"/>
                <a:gd name="connsiteY1" fmla="*/ 2312 h 48090"/>
                <a:gd name="connsiteX2" fmla="*/ 49456 w 49889"/>
                <a:gd name="connsiteY2" fmla="*/ 4387 h 48090"/>
                <a:gd name="connsiteX3" fmla="*/ 47908 w 49889"/>
                <a:gd name="connsiteY3" fmla="*/ 14317 h 48090"/>
                <a:gd name="connsiteX4" fmla="*/ 47908 w 49889"/>
                <a:gd name="connsiteY4" fmla="*/ 24452 h 48090"/>
                <a:gd name="connsiteX5" fmla="*/ 44336 w 49889"/>
                <a:gd name="connsiteY5" fmla="*/ 24452 h 48090"/>
                <a:gd name="connsiteX6" fmla="*/ 34517 w 49889"/>
                <a:gd name="connsiteY6" fmla="*/ 24452 h 48090"/>
                <a:gd name="connsiteX7" fmla="*/ 37612 w 49889"/>
                <a:gd name="connsiteY7" fmla="*/ 32779 h 48090"/>
                <a:gd name="connsiteX8" fmla="*/ 37612 w 49889"/>
                <a:gd name="connsiteY8" fmla="*/ 48090 h 48090"/>
                <a:gd name="connsiteX9" fmla="*/ 28863 w 49889"/>
                <a:gd name="connsiteY9" fmla="*/ 48090 h 48090"/>
                <a:gd name="connsiteX10" fmla="*/ 21710 w 49889"/>
                <a:gd name="connsiteY10" fmla="*/ 44785 h 48090"/>
                <a:gd name="connsiteX11" fmla="*/ 18616 w 49889"/>
                <a:gd name="connsiteY11" fmla="*/ 32779 h 48090"/>
                <a:gd name="connsiteX12" fmla="*/ 14987 w 49889"/>
                <a:gd name="connsiteY12" fmla="*/ 24452 h 48090"/>
                <a:gd name="connsiteX13" fmla="*/ 3199 w 49889"/>
                <a:gd name="connsiteY13" fmla="*/ 19972 h 48090"/>
                <a:gd name="connsiteX14" fmla="*/ 1118 w 49889"/>
                <a:gd name="connsiteY14" fmla="*/ 14317 h 48090"/>
                <a:gd name="connsiteX15" fmla="*/ 18616 w 49889"/>
                <a:gd name="connsiteY15" fmla="*/ 14317 h 48090"/>
                <a:gd name="connsiteX16" fmla="*/ 28863 w 49889"/>
                <a:gd name="connsiteY16" fmla="*/ 14317 h 48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9889" h="48090">
                  <a:moveTo>
                    <a:pt x="28863" y="14317"/>
                  </a:moveTo>
                  <a:cubicBezTo>
                    <a:pt x="31958" y="11188"/>
                    <a:pt x="38653" y="4401"/>
                    <a:pt x="40707" y="2312"/>
                  </a:cubicBezTo>
                  <a:cubicBezTo>
                    <a:pt x="40707" y="174"/>
                    <a:pt x="42458" y="-2400"/>
                    <a:pt x="49456" y="4387"/>
                  </a:cubicBezTo>
                  <a:cubicBezTo>
                    <a:pt x="51003" y="8396"/>
                    <a:pt x="47908" y="11061"/>
                    <a:pt x="47908" y="14317"/>
                  </a:cubicBezTo>
                  <a:cubicBezTo>
                    <a:pt x="47908" y="17574"/>
                    <a:pt x="48443" y="19972"/>
                    <a:pt x="47908" y="24452"/>
                  </a:cubicBezTo>
                  <a:cubicBezTo>
                    <a:pt x="47479" y="28039"/>
                    <a:pt x="45349" y="25950"/>
                    <a:pt x="44336" y="24452"/>
                  </a:cubicBezTo>
                  <a:lnTo>
                    <a:pt x="34517" y="24452"/>
                  </a:lnTo>
                  <a:cubicBezTo>
                    <a:pt x="31423" y="24452"/>
                    <a:pt x="34517" y="32779"/>
                    <a:pt x="37612" y="32779"/>
                  </a:cubicBezTo>
                  <a:cubicBezTo>
                    <a:pt x="40707" y="32779"/>
                    <a:pt x="40707" y="37583"/>
                    <a:pt x="37612" y="48090"/>
                  </a:cubicBezTo>
                  <a:lnTo>
                    <a:pt x="28863" y="48090"/>
                  </a:lnTo>
                  <a:lnTo>
                    <a:pt x="21710" y="44785"/>
                  </a:lnTo>
                  <a:lnTo>
                    <a:pt x="18616" y="32779"/>
                  </a:lnTo>
                  <a:cubicBezTo>
                    <a:pt x="17765" y="30522"/>
                    <a:pt x="15845" y="25690"/>
                    <a:pt x="14987" y="24452"/>
                  </a:cubicBezTo>
                  <a:cubicBezTo>
                    <a:pt x="13925" y="22905"/>
                    <a:pt x="8854" y="19972"/>
                    <a:pt x="3199" y="19972"/>
                  </a:cubicBezTo>
                  <a:cubicBezTo>
                    <a:pt x="-1330" y="19972"/>
                    <a:pt x="-78" y="16202"/>
                    <a:pt x="1118" y="14317"/>
                  </a:cubicBezTo>
                  <a:lnTo>
                    <a:pt x="18616" y="14317"/>
                  </a:lnTo>
                  <a:lnTo>
                    <a:pt x="28863" y="1431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7" name="Freihandform: Form 202">
              <a:extLst>
                <a:ext uri="{FF2B5EF4-FFF2-40B4-BE49-F238E27FC236}">
                  <a16:creationId xmlns:a16="http://schemas.microsoft.com/office/drawing/2014/main" id="{B01DA6C2-F228-E14C-A180-BDD428C00EB6}"/>
                </a:ext>
              </a:extLst>
            </p:cNvPr>
            <p:cNvSpPr/>
            <p:nvPr/>
          </p:nvSpPr>
          <p:spPr>
            <a:xfrm>
              <a:off x="8198835" y="4508562"/>
              <a:ext cx="135737" cy="135288"/>
            </a:xfrm>
            <a:custGeom>
              <a:avLst/>
              <a:gdLst>
                <a:gd name="connsiteX0" fmla="*/ 135738 w 135737"/>
                <a:gd name="connsiteY0" fmla="*/ 49591 h 135288"/>
                <a:gd name="connsiteX1" fmla="*/ 135738 w 135737"/>
                <a:gd name="connsiteY1" fmla="*/ 135289 h 135288"/>
                <a:gd name="connsiteX2" fmla="*/ 102711 w 135737"/>
                <a:gd name="connsiteY2" fmla="*/ 135289 h 135288"/>
                <a:gd name="connsiteX3" fmla="*/ 102711 w 135737"/>
                <a:gd name="connsiteY3" fmla="*/ 113676 h 135288"/>
                <a:gd name="connsiteX4" fmla="*/ 81260 w 135737"/>
                <a:gd name="connsiteY4" fmla="*/ 91213 h 135288"/>
                <a:gd name="connsiteX5" fmla="*/ 65253 w 135737"/>
                <a:gd name="connsiteY5" fmla="*/ 76113 h 135288"/>
                <a:gd name="connsiteX6" fmla="*/ 36924 w 135737"/>
                <a:gd name="connsiteY6" fmla="*/ 68165 h 135288"/>
                <a:gd name="connsiteX7" fmla="*/ 23638 w 135737"/>
                <a:gd name="connsiteY7" fmla="*/ 68165 h 135288"/>
                <a:gd name="connsiteX8" fmla="*/ 10993 w 135737"/>
                <a:gd name="connsiteY8" fmla="*/ 57918 h 135288"/>
                <a:gd name="connsiteX9" fmla="*/ 0 w 135737"/>
                <a:gd name="connsiteY9" fmla="*/ 33795 h 135288"/>
                <a:gd name="connsiteX10" fmla="*/ 10993 w 135737"/>
                <a:gd name="connsiteY10" fmla="*/ 5515 h 135288"/>
                <a:gd name="connsiteX11" fmla="*/ 23638 w 135737"/>
                <a:gd name="connsiteY11" fmla="*/ 5515 h 135288"/>
                <a:gd name="connsiteX12" fmla="*/ 36924 w 135737"/>
                <a:gd name="connsiteY12" fmla="*/ 33795 h 135288"/>
                <a:gd name="connsiteX13" fmla="*/ 47586 w 135737"/>
                <a:gd name="connsiteY13" fmla="*/ 47003 h 135288"/>
                <a:gd name="connsiteX14" fmla="*/ 52607 w 135737"/>
                <a:gd name="connsiteY14" fmla="*/ 42924 h 135288"/>
                <a:gd name="connsiteX15" fmla="*/ 93695 w 135737"/>
                <a:gd name="connsiteY15" fmla="*/ 22964 h 135288"/>
                <a:gd name="connsiteX16" fmla="*/ 110715 w 135737"/>
                <a:gd name="connsiteY16" fmla="*/ 33795 h 135288"/>
                <a:gd name="connsiteX17" fmla="*/ 135738 w 135737"/>
                <a:gd name="connsiteY17" fmla="*/ 49591 h 135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5737" h="135288">
                  <a:moveTo>
                    <a:pt x="135738" y="49591"/>
                  </a:moveTo>
                  <a:lnTo>
                    <a:pt x="135738" y="135289"/>
                  </a:lnTo>
                  <a:lnTo>
                    <a:pt x="102711" y="135289"/>
                  </a:lnTo>
                  <a:cubicBezTo>
                    <a:pt x="86704" y="135289"/>
                    <a:pt x="102711" y="120351"/>
                    <a:pt x="102711" y="113676"/>
                  </a:cubicBezTo>
                  <a:cubicBezTo>
                    <a:pt x="102711" y="108345"/>
                    <a:pt x="88413" y="96481"/>
                    <a:pt x="81260" y="91213"/>
                  </a:cubicBezTo>
                  <a:cubicBezTo>
                    <a:pt x="81119" y="87513"/>
                    <a:pt x="77715" y="79313"/>
                    <a:pt x="65253" y="76113"/>
                  </a:cubicBezTo>
                  <a:cubicBezTo>
                    <a:pt x="52790" y="72913"/>
                    <a:pt x="41172" y="69481"/>
                    <a:pt x="36924" y="68165"/>
                  </a:cubicBezTo>
                  <a:lnTo>
                    <a:pt x="23638" y="68165"/>
                  </a:lnTo>
                  <a:cubicBezTo>
                    <a:pt x="19425" y="67526"/>
                    <a:pt x="10993" y="64579"/>
                    <a:pt x="10993" y="57918"/>
                  </a:cubicBezTo>
                  <a:cubicBezTo>
                    <a:pt x="10993" y="49591"/>
                    <a:pt x="0" y="44633"/>
                    <a:pt x="0" y="33795"/>
                  </a:cubicBezTo>
                  <a:cubicBezTo>
                    <a:pt x="0" y="25130"/>
                    <a:pt x="7329" y="11331"/>
                    <a:pt x="10993" y="5515"/>
                  </a:cubicBezTo>
                  <a:cubicBezTo>
                    <a:pt x="12702" y="1351"/>
                    <a:pt x="17618" y="-4472"/>
                    <a:pt x="23638" y="5515"/>
                  </a:cubicBezTo>
                  <a:cubicBezTo>
                    <a:pt x="29659" y="15509"/>
                    <a:pt x="35004" y="28534"/>
                    <a:pt x="36924" y="33795"/>
                  </a:cubicBezTo>
                  <a:lnTo>
                    <a:pt x="47586" y="47003"/>
                  </a:lnTo>
                  <a:cubicBezTo>
                    <a:pt x="48598" y="45990"/>
                    <a:pt x="50209" y="44654"/>
                    <a:pt x="52607" y="42924"/>
                  </a:cubicBezTo>
                  <a:cubicBezTo>
                    <a:pt x="69128" y="35624"/>
                    <a:pt x="86880" y="26579"/>
                    <a:pt x="93695" y="22964"/>
                  </a:cubicBezTo>
                  <a:lnTo>
                    <a:pt x="110715" y="33795"/>
                  </a:lnTo>
                  <a:lnTo>
                    <a:pt x="135738" y="4959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8" name="Freihandform: Form 203">
              <a:extLst>
                <a:ext uri="{FF2B5EF4-FFF2-40B4-BE49-F238E27FC236}">
                  <a16:creationId xmlns:a16="http://schemas.microsoft.com/office/drawing/2014/main" id="{BE56ACE6-C9E9-1044-B5F0-5C6CCA0D485F}"/>
                </a:ext>
              </a:extLst>
            </p:cNvPr>
            <p:cNvSpPr/>
            <p:nvPr/>
          </p:nvSpPr>
          <p:spPr>
            <a:xfrm>
              <a:off x="7995280" y="4521546"/>
              <a:ext cx="72894" cy="79338"/>
            </a:xfrm>
            <a:custGeom>
              <a:avLst/>
              <a:gdLst>
                <a:gd name="connsiteX0" fmla="*/ 41998 w 72894"/>
                <a:gd name="connsiteY0" fmla="*/ 20811 h 79338"/>
                <a:gd name="connsiteX1" fmla="*/ 67240 w 72894"/>
                <a:gd name="connsiteY1" fmla="*/ 9980 h 79338"/>
                <a:gd name="connsiteX2" fmla="*/ 56944 w 72894"/>
                <a:gd name="connsiteY2" fmla="*/ 0 h 79338"/>
                <a:gd name="connsiteX3" fmla="*/ 14365 w 72894"/>
                <a:gd name="connsiteY3" fmla="*/ 0 h 79338"/>
                <a:gd name="connsiteX4" fmla="*/ 14365 w 72894"/>
                <a:gd name="connsiteY4" fmla="*/ 9980 h 79338"/>
                <a:gd name="connsiteX5" fmla="*/ 2944 w 72894"/>
                <a:gd name="connsiteY5" fmla="*/ 29940 h 79338"/>
                <a:gd name="connsiteX6" fmla="*/ 2944 w 72894"/>
                <a:gd name="connsiteY6" fmla="*/ 44934 h 79338"/>
                <a:gd name="connsiteX7" fmla="*/ 9618 w 72894"/>
                <a:gd name="connsiteY7" fmla="*/ 55181 h 79338"/>
                <a:gd name="connsiteX8" fmla="*/ 9618 w 72894"/>
                <a:gd name="connsiteY8" fmla="*/ 78229 h 79338"/>
                <a:gd name="connsiteX9" fmla="*/ 21729 w 72894"/>
                <a:gd name="connsiteY9" fmla="*/ 78229 h 79338"/>
                <a:gd name="connsiteX10" fmla="*/ 21729 w 72894"/>
                <a:gd name="connsiteY10" fmla="*/ 63129 h 79338"/>
                <a:gd name="connsiteX11" fmla="*/ 18367 w 72894"/>
                <a:gd name="connsiteY11" fmla="*/ 36607 h 79338"/>
                <a:gd name="connsiteX12" fmla="*/ 42111 w 72894"/>
                <a:gd name="connsiteY12" fmla="*/ 44934 h 79338"/>
                <a:gd name="connsiteX13" fmla="*/ 45093 w 72894"/>
                <a:gd name="connsiteY13" fmla="*/ 75725 h 79338"/>
                <a:gd name="connsiteX14" fmla="*/ 72895 w 72894"/>
                <a:gd name="connsiteY14" fmla="*/ 75725 h 79338"/>
                <a:gd name="connsiteX15" fmla="*/ 65158 w 72894"/>
                <a:gd name="connsiteY15" fmla="*/ 55181 h 79338"/>
                <a:gd name="connsiteX16" fmla="*/ 55129 w 72894"/>
                <a:gd name="connsiteY16" fmla="*/ 55181 h 79338"/>
                <a:gd name="connsiteX17" fmla="*/ 41998 w 72894"/>
                <a:gd name="connsiteY17" fmla="*/ 20811 h 79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2894" h="79338">
                  <a:moveTo>
                    <a:pt x="41998" y="20811"/>
                  </a:moveTo>
                  <a:lnTo>
                    <a:pt x="67240" y="9980"/>
                  </a:lnTo>
                  <a:lnTo>
                    <a:pt x="56944" y="0"/>
                  </a:lnTo>
                  <a:lnTo>
                    <a:pt x="14365" y="0"/>
                  </a:lnTo>
                  <a:lnTo>
                    <a:pt x="14365" y="9980"/>
                  </a:lnTo>
                  <a:cubicBezTo>
                    <a:pt x="12783" y="13595"/>
                    <a:pt x="8282" y="22639"/>
                    <a:pt x="2944" y="29940"/>
                  </a:cubicBezTo>
                  <a:cubicBezTo>
                    <a:pt x="-2387" y="37240"/>
                    <a:pt x="721" y="42979"/>
                    <a:pt x="2944" y="44934"/>
                  </a:cubicBezTo>
                  <a:lnTo>
                    <a:pt x="9618" y="55181"/>
                  </a:lnTo>
                  <a:lnTo>
                    <a:pt x="9618" y="78229"/>
                  </a:lnTo>
                  <a:cubicBezTo>
                    <a:pt x="9618" y="80240"/>
                    <a:pt x="17692" y="79066"/>
                    <a:pt x="21729" y="78229"/>
                  </a:cubicBezTo>
                  <a:lnTo>
                    <a:pt x="21729" y="63129"/>
                  </a:lnTo>
                  <a:lnTo>
                    <a:pt x="18367" y="36607"/>
                  </a:lnTo>
                  <a:lnTo>
                    <a:pt x="42111" y="44934"/>
                  </a:lnTo>
                  <a:lnTo>
                    <a:pt x="45093" y="75725"/>
                  </a:lnTo>
                  <a:lnTo>
                    <a:pt x="72895" y="75725"/>
                  </a:lnTo>
                  <a:lnTo>
                    <a:pt x="65158" y="55181"/>
                  </a:lnTo>
                  <a:lnTo>
                    <a:pt x="55129" y="55181"/>
                  </a:lnTo>
                  <a:lnTo>
                    <a:pt x="41998" y="2081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9" name="Freihandform: Form 204">
              <a:extLst>
                <a:ext uri="{FF2B5EF4-FFF2-40B4-BE49-F238E27FC236}">
                  <a16:creationId xmlns:a16="http://schemas.microsoft.com/office/drawing/2014/main" id="{0D2A5572-1688-894B-AC45-54929ECCB270}"/>
                </a:ext>
              </a:extLst>
            </p:cNvPr>
            <p:cNvSpPr/>
            <p:nvPr/>
          </p:nvSpPr>
          <p:spPr>
            <a:xfrm>
              <a:off x="7956666" y="4638035"/>
              <a:ext cx="89368" cy="42957"/>
            </a:xfrm>
            <a:custGeom>
              <a:avLst/>
              <a:gdLst>
                <a:gd name="connsiteX0" fmla="*/ 26085 w 89368"/>
                <a:gd name="connsiteY0" fmla="*/ 15213 h 42957"/>
                <a:gd name="connsiteX1" fmla="*/ 0 w 89368"/>
                <a:gd name="connsiteY1" fmla="*/ 5816 h 42957"/>
                <a:gd name="connsiteX2" fmla="*/ 26085 w 89368"/>
                <a:gd name="connsiteY2" fmla="*/ 0 h 42957"/>
                <a:gd name="connsiteX3" fmla="*/ 44653 w 89368"/>
                <a:gd name="connsiteY3" fmla="*/ 5816 h 42957"/>
                <a:gd name="connsiteX4" fmla="*/ 89369 w 89368"/>
                <a:gd name="connsiteY4" fmla="*/ 0 h 42957"/>
                <a:gd name="connsiteX5" fmla="*/ 75816 w 89368"/>
                <a:gd name="connsiteY5" fmla="*/ 15213 h 42957"/>
                <a:gd name="connsiteX6" fmla="*/ 56981 w 89368"/>
                <a:gd name="connsiteY6" fmla="*/ 15213 h 42957"/>
                <a:gd name="connsiteX7" fmla="*/ 67813 w 89368"/>
                <a:gd name="connsiteY7" fmla="*/ 42958 h 42957"/>
                <a:gd name="connsiteX8" fmla="*/ 41558 w 89368"/>
                <a:gd name="connsiteY8" fmla="*/ 28442 h 42957"/>
                <a:gd name="connsiteX9" fmla="*/ 26085 w 89368"/>
                <a:gd name="connsiteY9" fmla="*/ 15213 h 42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368" h="42957">
                  <a:moveTo>
                    <a:pt x="26085" y="15213"/>
                  </a:moveTo>
                  <a:lnTo>
                    <a:pt x="0" y="5816"/>
                  </a:lnTo>
                  <a:lnTo>
                    <a:pt x="26085" y="0"/>
                  </a:lnTo>
                  <a:lnTo>
                    <a:pt x="44653" y="5816"/>
                  </a:lnTo>
                  <a:lnTo>
                    <a:pt x="89369" y="0"/>
                  </a:lnTo>
                  <a:cubicBezTo>
                    <a:pt x="87484" y="5071"/>
                    <a:pt x="82132" y="15213"/>
                    <a:pt x="75816" y="15213"/>
                  </a:cubicBezTo>
                  <a:lnTo>
                    <a:pt x="56981" y="15213"/>
                  </a:lnTo>
                  <a:lnTo>
                    <a:pt x="67813" y="42958"/>
                  </a:lnTo>
                  <a:lnTo>
                    <a:pt x="41558" y="28442"/>
                  </a:lnTo>
                  <a:lnTo>
                    <a:pt x="26085" y="1521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0" name="Freihandform: Form 205">
              <a:extLst>
                <a:ext uri="{FF2B5EF4-FFF2-40B4-BE49-F238E27FC236}">
                  <a16:creationId xmlns:a16="http://schemas.microsoft.com/office/drawing/2014/main" id="{7CAF9F1D-2FFC-0D42-97D0-8989E28C9535}"/>
                </a:ext>
              </a:extLst>
            </p:cNvPr>
            <p:cNvSpPr/>
            <p:nvPr/>
          </p:nvSpPr>
          <p:spPr>
            <a:xfrm>
              <a:off x="8068175" y="4638035"/>
              <a:ext cx="65407" cy="28441"/>
            </a:xfrm>
            <a:custGeom>
              <a:avLst/>
              <a:gdLst>
                <a:gd name="connsiteX0" fmla="*/ 35482 w 65407"/>
                <a:gd name="connsiteY0" fmla="*/ 15213 h 28441"/>
                <a:gd name="connsiteX1" fmla="*/ 65407 w 65407"/>
                <a:gd name="connsiteY1" fmla="*/ 15213 h 28441"/>
                <a:gd name="connsiteX2" fmla="*/ 45827 w 65407"/>
                <a:gd name="connsiteY2" fmla="*/ 0 h 28441"/>
                <a:gd name="connsiteX3" fmla="*/ 12856 w 65407"/>
                <a:gd name="connsiteY3" fmla="*/ 0 h 28441"/>
                <a:gd name="connsiteX4" fmla="*/ 6133 w 65407"/>
                <a:gd name="connsiteY4" fmla="*/ 5816 h 28441"/>
                <a:gd name="connsiteX5" fmla="*/ 0 w 65407"/>
                <a:gd name="connsiteY5" fmla="*/ 28442 h 28441"/>
                <a:gd name="connsiteX6" fmla="*/ 35482 w 65407"/>
                <a:gd name="connsiteY6" fmla="*/ 15213 h 2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407" h="28441">
                  <a:moveTo>
                    <a:pt x="35482" y="15213"/>
                  </a:moveTo>
                  <a:lnTo>
                    <a:pt x="65407" y="15213"/>
                  </a:lnTo>
                  <a:lnTo>
                    <a:pt x="45827" y="0"/>
                  </a:lnTo>
                  <a:lnTo>
                    <a:pt x="12856" y="0"/>
                  </a:lnTo>
                  <a:lnTo>
                    <a:pt x="6133" y="5816"/>
                  </a:lnTo>
                  <a:lnTo>
                    <a:pt x="0" y="28442"/>
                  </a:lnTo>
                  <a:lnTo>
                    <a:pt x="35482" y="1521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1" name="Freihandform: Form 206">
              <a:extLst>
                <a:ext uri="{FF2B5EF4-FFF2-40B4-BE49-F238E27FC236}">
                  <a16:creationId xmlns:a16="http://schemas.microsoft.com/office/drawing/2014/main" id="{899C1C80-B9CB-2E48-8BB4-E364753E135F}"/>
                </a:ext>
              </a:extLst>
            </p:cNvPr>
            <p:cNvSpPr/>
            <p:nvPr/>
          </p:nvSpPr>
          <p:spPr>
            <a:xfrm>
              <a:off x="8126275" y="4551486"/>
              <a:ext cx="56528" cy="14994"/>
            </a:xfrm>
            <a:custGeom>
              <a:avLst/>
              <a:gdLst>
                <a:gd name="connsiteX0" fmla="*/ 0 w 56528"/>
                <a:gd name="connsiteY0" fmla="*/ 6667 h 14994"/>
                <a:gd name="connsiteX1" fmla="*/ 31747 w 56528"/>
                <a:gd name="connsiteY1" fmla="*/ 0 h 14994"/>
                <a:gd name="connsiteX2" fmla="*/ 27802 w 56528"/>
                <a:gd name="connsiteY2" fmla="*/ 14994 h 14994"/>
                <a:gd name="connsiteX3" fmla="*/ 0 w 56528"/>
                <a:gd name="connsiteY3" fmla="*/ 6667 h 1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528" h="14994">
                  <a:moveTo>
                    <a:pt x="0" y="6667"/>
                  </a:moveTo>
                  <a:cubicBezTo>
                    <a:pt x="6513" y="4445"/>
                    <a:pt x="21971" y="0"/>
                    <a:pt x="31747" y="0"/>
                  </a:cubicBezTo>
                  <a:cubicBezTo>
                    <a:pt x="82540" y="9122"/>
                    <a:pt x="41776" y="14994"/>
                    <a:pt x="27802" y="14994"/>
                  </a:cubicBezTo>
                  <a:cubicBezTo>
                    <a:pt x="16619" y="14994"/>
                    <a:pt x="4607" y="9445"/>
                    <a:pt x="0" y="6667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2" name="Freihandform: Form 207">
              <a:extLst>
                <a:ext uri="{FF2B5EF4-FFF2-40B4-BE49-F238E27FC236}">
                  <a16:creationId xmlns:a16="http://schemas.microsoft.com/office/drawing/2014/main" id="{C510A23E-DDB5-1D42-BE8A-AD0279C7876F}"/>
                </a:ext>
              </a:extLst>
            </p:cNvPr>
            <p:cNvSpPr/>
            <p:nvPr/>
          </p:nvSpPr>
          <p:spPr>
            <a:xfrm>
              <a:off x="8108380" y="4481901"/>
              <a:ext cx="37107" cy="37458"/>
            </a:xfrm>
            <a:custGeom>
              <a:avLst/>
              <a:gdLst>
                <a:gd name="connsiteX0" fmla="*/ 20940 w 37107"/>
                <a:gd name="connsiteY0" fmla="*/ 15262 h 37458"/>
                <a:gd name="connsiteX1" fmla="*/ 28564 w 37107"/>
                <a:gd name="connsiteY1" fmla="*/ 0 h 37458"/>
                <a:gd name="connsiteX2" fmla="*/ 35661 w 37107"/>
                <a:gd name="connsiteY2" fmla="*/ 4698 h 37458"/>
                <a:gd name="connsiteX3" fmla="*/ 35661 w 37107"/>
                <a:gd name="connsiteY3" fmla="*/ 22998 h 37458"/>
                <a:gd name="connsiteX4" fmla="*/ 20940 w 37107"/>
                <a:gd name="connsiteY4" fmla="*/ 34954 h 37458"/>
                <a:gd name="connsiteX5" fmla="*/ 5622 w 37107"/>
                <a:gd name="connsiteY5" fmla="*/ 34954 h 37458"/>
                <a:gd name="connsiteX6" fmla="*/ 397 w 37107"/>
                <a:gd name="connsiteY6" fmla="*/ 27267 h 37458"/>
                <a:gd name="connsiteX7" fmla="*/ 20940 w 37107"/>
                <a:gd name="connsiteY7" fmla="*/ 15262 h 3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07" h="37458">
                  <a:moveTo>
                    <a:pt x="20940" y="15262"/>
                  </a:moveTo>
                  <a:cubicBezTo>
                    <a:pt x="23978" y="7526"/>
                    <a:pt x="25202" y="4698"/>
                    <a:pt x="28564" y="0"/>
                  </a:cubicBezTo>
                  <a:cubicBezTo>
                    <a:pt x="30934" y="0"/>
                    <a:pt x="35661" y="942"/>
                    <a:pt x="35661" y="4698"/>
                  </a:cubicBezTo>
                  <a:cubicBezTo>
                    <a:pt x="35661" y="9389"/>
                    <a:pt x="38917" y="12491"/>
                    <a:pt x="35661" y="22998"/>
                  </a:cubicBezTo>
                  <a:cubicBezTo>
                    <a:pt x="33473" y="22998"/>
                    <a:pt x="25209" y="44667"/>
                    <a:pt x="20940" y="34954"/>
                  </a:cubicBezTo>
                  <a:cubicBezTo>
                    <a:pt x="16671" y="25242"/>
                    <a:pt x="13309" y="36551"/>
                    <a:pt x="5622" y="34954"/>
                  </a:cubicBezTo>
                  <a:cubicBezTo>
                    <a:pt x="-525" y="33674"/>
                    <a:pt x="-419" y="29293"/>
                    <a:pt x="397" y="27267"/>
                  </a:cubicBezTo>
                  <a:cubicBezTo>
                    <a:pt x="3772" y="27091"/>
                    <a:pt x="12613" y="24440"/>
                    <a:pt x="20940" y="1526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3" name="Freihandform: Form 208">
              <a:extLst>
                <a:ext uri="{FF2B5EF4-FFF2-40B4-BE49-F238E27FC236}">
                  <a16:creationId xmlns:a16="http://schemas.microsoft.com/office/drawing/2014/main" id="{39578494-4293-F04E-BF43-5619FE124E5C}"/>
                </a:ext>
              </a:extLst>
            </p:cNvPr>
            <p:cNvSpPr/>
            <p:nvPr/>
          </p:nvSpPr>
          <p:spPr>
            <a:xfrm>
              <a:off x="7513738" y="3578427"/>
              <a:ext cx="488709" cy="233561"/>
            </a:xfrm>
            <a:custGeom>
              <a:avLst/>
              <a:gdLst>
                <a:gd name="connsiteX0" fmla="*/ 0 w 488709"/>
                <a:gd name="connsiteY0" fmla="*/ 68074 h 233561"/>
                <a:gd name="connsiteX1" fmla="*/ 197 w 488709"/>
                <a:gd name="connsiteY1" fmla="*/ 68074 h 233561"/>
                <a:gd name="connsiteX2" fmla="*/ 992 w 488709"/>
                <a:gd name="connsiteY2" fmla="*/ 73250 h 233561"/>
                <a:gd name="connsiteX3" fmla="*/ 2511 w 488709"/>
                <a:gd name="connsiteY3" fmla="*/ 79889 h 233561"/>
                <a:gd name="connsiteX4" fmla="*/ 2975 w 488709"/>
                <a:gd name="connsiteY4" fmla="*/ 81605 h 233561"/>
                <a:gd name="connsiteX5" fmla="*/ 5444 w 488709"/>
                <a:gd name="connsiteY5" fmla="*/ 85326 h 233561"/>
                <a:gd name="connsiteX6" fmla="*/ 7357 w 488709"/>
                <a:gd name="connsiteY6" fmla="*/ 87970 h 233561"/>
                <a:gd name="connsiteX7" fmla="*/ 11541 w 488709"/>
                <a:gd name="connsiteY7" fmla="*/ 91191 h 233561"/>
                <a:gd name="connsiteX8" fmla="*/ 14910 w 488709"/>
                <a:gd name="connsiteY8" fmla="*/ 93533 h 233561"/>
                <a:gd name="connsiteX9" fmla="*/ 26845 w 488709"/>
                <a:gd name="connsiteY9" fmla="*/ 98309 h 233561"/>
                <a:gd name="connsiteX10" fmla="*/ 37585 w 488709"/>
                <a:gd name="connsiteY10" fmla="*/ 103084 h 233561"/>
                <a:gd name="connsiteX11" fmla="*/ 45145 w 488709"/>
                <a:gd name="connsiteY11" fmla="*/ 116208 h 233561"/>
                <a:gd name="connsiteX12" fmla="*/ 46179 w 488709"/>
                <a:gd name="connsiteY12" fmla="*/ 118451 h 233561"/>
                <a:gd name="connsiteX13" fmla="*/ 47930 w 488709"/>
                <a:gd name="connsiteY13" fmla="*/ 122974 h 233561"/>
                <a:gd name="connsiteX14" fmla="*/ 46179 w 488709"/>
                <a:gd name="connsiteY14" fmla="*/ 128748 h 233561"/>
                <a:gd name="connsiteX15" fmla="*/ 45145 w 488709"/>
                <a:gd name="connsiteY15" fmla="*/ 131723 h 233561"/>
                <a:gd name="connsiteX16" fmla="*/ 43556 w 488709"/>
                <a:gd name="connsiteY16" fmla="*/ 142462 h 233561"/>
                <a:gd name="connsiteX17" fmla="*/ 44540 w 488709"/>
                <a:gd name="connsiteY17" fmla="*/ 149242 h 233561"/>
                <a:gd name="connsiteX18" fmla="*/ 45145 w 488709"/>
                <a:gd name="connsiteY18" fmla="*/ 152013 h 233561"/>
                <a:gd name="connsiteX19" fmla="*/ 50090 w 488709"/>
                <a:gd name="connsiteY19" fmla="*/ 155607 h 233561"/>
                <a:gd name="connsiteX20" fmla="*/ 53894 w 488709"/>
                <a:gd name="connsiteY20" fmla="*/ 157583 h 233561"/>
                <a:gd name="connsiteX21" fmla="*/ 61525 w 488709"/>
                <a:gd name="connsiteY21" fmla="*/ 159398 h 233561"/>
                <a:gd name="connsiteX22" fmla="*/ 61525 w 488709"/>
                <a:gd name="connsiteY22" fmla="*/ 159398 h 233561"/>
                <a:gd name="connsiteX23" fmla="*/ 66624 w 488709"/>
                <a:gd name="connsiteY23" fmla="*/ 160369 h 233561"/>
                <a:gd name="connsiteX24" fmla="*/ 86120 w 488709"/>
                <a:gd name="connsiteY24" fmla="*/ 161958 h 233561"/>
                <a:gd name="connsiteX25" fmla="*/ 96712 w 488709"/>
                <a:gd name="connsiteY25" fmla="*/ 170939 h 233561"/>
                <a:gd name="connsiteX26" fmla="*/ 96712 w 488709"/>
                <a:gd name="connsiteY26" fmla="*/ 170939 h 233561"/>
                <a:gd name="connsiteX27" fmla="*/ 96712 w 488709"/>
                <a:gd name="connsiteY27" fmla="*/ 170939 h 233561"/>
                <a:gd name="connsiteX28" fmla="*/ 96859 w 488709"/>
                <a:gd name="connsiteY28" fmla="*/ 171108 h 233561"/>
                <a:gd name="connsiteX29" fmla="*/ 112768 w 488709"/>
                <a:gd name="connsiteY29" fmla="*/ 178268 h 233561"/>
                <a:gd name="connsiteX30" fmla="*/ 115567 w 488709"/>
                <a:gd name="connsiteY30" fmla="*/ 180603 h 233561"/>
                <a:gd name="connsiteX31" fmla="*/ 115954 w 488709"/>
                <a:gd name="connsiteY31" fmla="*/ 181447 h 233561"/>
                <a:gd name="connsiteX32" fmla="*/ 117614 w 488709"/>
                <a:gd name="connsiteY32" fmla="*/ 186194 h 233561"/>
                <a:gd name="connsiteX33" fmla="*/ 117621 w 488709"/>
                <a:gd name="connsiteY33" fmla="*/ 186194 h 233561"/>
                <a:gd name="connsiteX34" fmla="*/ 117621 w 488709"/>
                <a:gd name="connsiteY34" fmla="*/ 186194 h 233561"/>
                <a:gd name="connsiteX35" fmla="*/ 122319 w 488709"/>
                <a:gd name="connsiteY35" fmla="*/ 198551 h 233561"/>
                <a:gd name="connsiteX36" fmla="*/ 125695 w 488709"/>
                <a:gd name="connsiteY36" fmla="*/ 203474 h 233561"/>
                <a:gd name="connsiteX37" fmla="*/ 125695 w 488709"/>
                <a:gd name="connsiteY37" fmla="*/ 203474 h 233561"/>
                <a:gd name="connsiteX38" fmla="*/ 130273 w 488709"/>
                <a:gd name="connsiteY38" fmla="*/ 210486 h 233561"/>
                <a:gd name="connsiteX39" fmla="*/ 148517 w 488709"/>
                <a:gd name="connsiteY39" fmla="*/ 210781 h 233561"/>
                <a:gd name="connsiteX40" fmla="*/ 153743 w 488709"/>
                <a:gd name="connsiteY40" fmla="*/ 210486 h 233561"/>
                <a:gd name="connsiteX41" fmla="*/ 159299 w 488709"/>
                <a:gd name="connsiteY41" fmla="*/ 211773 h 233561"/>
                <a:gd name="connsiteX42" fmla="*/ 166079 w 488709"/>
                <a:gd name="connsiteY42" fmla="*/ 213271 h 233561"/>
                <a:gd name="connsiteX43" fmla="*/ 173569 w 488709"/>
                <a:gd name="connsiteY43" fmla="*/ 214924 h 233561"/>
                <a:gd name="connsiteX44" fmla="*/ 180398 w 488709"/>
                <a:gd name="connsiteY44" fmla="*/ 216457 h 233561"/>
                <a:gd name="connsiteX45" fmla="*/ 189478 w 488709"/>
                <a:gd name="connsiteY45" fmla="*/ 214734 h 233561"/>
                <a:gd name="connsiteX46" fmla="*/ 189478 w 488709"/>
                <a:gd name="connsiteY46" fmla="*/ 214734 h 233561"/>
                <a:gd name="connsiteX47" fmla="*/ 196307 w 488709"/>
                <a:gd name="connsiteY47" fmla="*/ 213271 h 233561"/>
                <a:gd name="connsiteX48" fmla="*/ 204971 w 488709"/>
                <a:gd name="connsiteY48" fmla="*/ 214291 h 233561"/>
                <a:gd name="connsiteX49" fmla="*/ 204971 w 488709"/>
                <a:gd name="connsiteY49" fmla="*/ 214291 h 233561"/>
                <a:gd name="connsiteX50" fmla="*/ 211822 w 488709"/>
                <a:gd name="connsiteY50" fmla="*/ 215261 h 233561"/>
                <a:gd name="connsiteX51" fmla="*/ 226352 w 488709"/>
                <a:gd name="connsiteY51" fmla="*/ 223596 h 233561"/>
                <a:gd name="connsiteX52" fmla="*/ 228532 w 488709"/>
                <a:gd name="connsiteY52" fmla="*/ 225206 h 233561"/>
                <a:gd name="connsiteX53" fmla="*/ 247057 w 488709"/>
                <a:gd name="connsiteY53" fmla="*/ 227499 h 233561"/>
                <a:gd name="connsiteX54" fmla="*/ 252796 w 488709"/>
                <a:gd name="connsiteY54" fmla="*/ 227590 h 233561"/>
                <a:gd name="connsiteX55" fmla="*/ 263536 w 488709"/>
                <a:gd name="connsiteY55" fmla="*/ 233561 h 233561"/>
                <a:gd name="connsiteX56" fmla="*/ 270301 w 488709"/>
                <a:gd name="connsiteY56" fmla="*/ 229187 h 233561"/>
                <a:gd name="connsiteX57" fmla="*/ 287406 w 488709"/>
                <a:gd name="connsiteY57" fmla="*/ 220832 h 233561"/>
                <a:gd name="connsiteX58" fmla="*/ 296134 w 488709"/>
                <a:gd name="connsiteY58" fmla="*/ 218314 h 233561"/>
                <a:gd name="connsiteX59" fmla="*/ 296134 w 488709"/>
                <a:gd name="connsiteY59" fmla="*/ 218314 h 233561"/>
                <a:gd name="connsiteX60" fmla="*/ 296134 w 488709"/>
                <a:gd name="connsiteY60" fmla="*/ 218314 h 233561"/>
                <a:gd name="connsiteX61" fmla="*/ 302520 w 488709"/>
                <a:gd name="connsiteY61" fmla="*/ 216457 h 233561"/>
                <a:gd name="connsiteX62" fmla="*/ 311199 w 488709"/>
                <a:gd name="connsiteY62" fmla="*/ 216084 h 233561"/>
                <a:gd name="connsiteX63" fmla="*/ 326784 w 488709"/>
                <a:gd name="connsiteY63" fmla="*/ 215261 h 233561"/>
                <a:gd name="connsiteX64" fmla="*/ 342411 w 488709"/>
                <a:gd name="connsiteY64" fmla="*/ 208467 h 233561"/>
                <a:gd name="connsiteX65" fmla="*/ 344683 w 488709"/>
                <a:gd name="connsiteY65" fmla="*/ 207307 h 233561"/>
                <a:gd name="connsiteX66" fmla="*/ 365374 w 488709"/>
                <a:gd name="connsiteY66" fmla="*/ 188212 h 233561"/>
                <a:gd name="connsiteX67" fmla="*/ 359804 w 488709"/>
                <a:gd name="connsiteY67" fmla="*/ 175082 h 233561"/>
                <a:gd name="connsiteX68" fmla="*/ 367358 w 488709"/>
                <a:gd name="connsiteY68" fmla="*/ 162753 h 233561"/>
                <a:gd name="connsiteX69" fmla="*/ 376507 w 488709"/>
                <a:gd name="connsiteY69" fmla="*/ 162753 h 233561"/>
                <a:gd name="connsiteX70" fmla="*/ 385658 w 488709"/>
                <a:gd name="connsiteY70" fmla="*/ 165538 h 233561"/>
                <a:gd name="connsiteX71" fmla="*/ 386909 w 488709"/>
                <a:gd name="connsiteY71" fmla="*/ 165791 h 233561"/>
                <a:gd name="connsiteX72" fmla="*/ 386909 w 488709"/>
                <a:gd name="connsiteY72" fmla="*/ 165791 h 233561"/>
                <a:gd name="connsiteX73" fmla="*/ 392423 w 488709"/>
                <a:gd name="connsiteY73" fmla="*/ 166733 h 233561"/>
                <a:gd name="connsiteX74" fmla="*/ 402762 w 488709"/>
                <a:gd name="connsiteY74" fmla="*/ 159173 h 233561"/>
                <a:gd name="connsiteX75" fmla="*/ 412707 w 488709"/>
                <a:gd name="connsiteY75" fmla="*/ 152808 h 233561"/>
                <a:gd name="connsiteX76" fmla="*/ 421463 w 488709"/>
                <a:gd name="connsiteY76" fmla="*/ 150818 h 233561"/>
                <a:gd name="connsiteX77" fmla="*/ 429417 w 488709"/>
                <a:gd name="connsiteY77" fmla="*/ 146443 h 233561"/>
                <a:gd name="connsiteX78" fmla="*/ 440558 w 488709"/>
                <a:gd name="connsiteY78" fmla="*/ 134114 h 233561"/>
                <a:gd name="connsiteX79" fmla="*/ 449475 w 488709"/>
                <a:gd name="connsiteY79" fmla="*/ 128326 h 233561"/>
                <a:gd name="connsiteX80" fmla="*/ 449475 w 488709"/>
                <a:gd name="connsiteY80" fmla="*/ 128326 h 233561"/>
                <a:gd name="connsiteX81" fmla="*/ 454476 w 488709"/>
                <a:gd name="connsiteY81" fmla="*/ 125358 h 233561"/>
                <a:gd name="connsiteX82" fmla="*/ 481525 w 488709"/>
                <a:gd name="connsiteY82" fmla="*/ 125358 h 233561"/>
                <a:gd name="connsiteX83" fmla="*/ 488692 w 488709"/>
                <a:gd name="connsiteY83" fmla="*/ 120590 h 233561"/>
                <a:gd name="connsiteX84" fmla="*/ 484465 w 488709"/>
                <a:gd name="connsiteY84" fmla="*/ 114900 h 233561"/>
                <a:gd name="connsiteX85" fmla="*/ 479936 w 488709"/>
                <a:gd name="connsiteY85" fmla="*/ 109843 h 233561"/>
                <a:gd name="connsiteX86" fmla="*/ 461636 w 488709"/>
                <a:gd name="connsiteY86" fmla="*/ 95524 h 233561"/>
                <a:gd name="connsiteX87" fmla="*/ 448906 w 488709"/>
                <a:gd name="connsiteY87" fmla="*/ 103879 h 233561"/>
                <a:gd name="connsiteX88" fmla="*/ 443343 w 488709"/>
                <a:gd name="connsiteY88" fmla="*/ 100693 h 233561"/>
                <a:gd name="connsiteX89" fmla="*/ 426632 w 488709"/>
                <a:gd name="connsiteY89" fmla="*/ 100693 h 233561"/>
                <a:gd name="connsiteX90" fmla="*/ 426632 w 488709"/>
                <a:gd name="connsiteY90" fmla="*/ 81999 h 233561"/>
                <a:gd name="connsiteX91" fmla="*/ 441746 w 488709"/>
                <a:gd name="connsiteY91" fmla="*/ 52960 h 233561"/>
                <a:gd name="connsiteX92" fmla="*/ 448906 w 488709"/>
                <a:gd name="connsiteY92" fmla="*/ 56539 h 233561"/>
                <a:gd name="connsiteX93" fmla="*/ 460046 w 488709"/>
                <a:gd name="connsiteY93" fmla="*/ 60520 h 233561"/>
                <a:gd name="connsiteX94" fmla="*/ 479936 w 488709"/>
                <a:gd name="connsiteY94" fmla="*/ 47790 h 233561"/>
                <a:gd name="connsiteX95" fmla="*/ 479936 w 488709"/>
                <a:gd name="connsiteY95" fmla="*/ 44140 h 233561"/>
                <a:gd name="connsiteX96" fmla="*/ 443990 w 488709"/>
                <a:gd name="connsiteY96" fmla="*/ 46904 h 233561"/>
                <a:gd name="connsiteX97" fmla="*/ 417264 w 488709"/>
                <a:gd name="connsiteY97" fmla="*/ 37761 h 233561"/>
                <a:gd name="connsiteX98" fmla="*/ 382451 w 488709"/>
                <a:gd name="connsiteY98" fmla="*/ 51827 h 233561"/>
                <a:gd name="connsiteX99" fmla="*/ 330933 w 488709"/>
                <a:gd name="connsiteY99" fmla="*/ 58572 h 233561"/>
                <a:gd name="connsiteX100" fmla="*/ 324076 w 488709"/>
                <a:gd name="connsiteY100" fmla="*/ 58509 h 233561"/>
                <a:gd name="connsiteX101" fmla="*/ 297948 w 488709"/>
                <a:gd name="connsiteY101" fmla="*/ 41137 h 233561"/>
                <a:gd name="connsiteX102" fmla="*/ 295241 w 488709"/>
                <a:gd name="connsiteY102" fmla="*/ 37761 h 233561"/>
                <a:gd name="connsiteX103" fmla="*/ 266053 w 488709"/>
                <a:gd name="connsiteY103" fmla="*/ 28970 h 233561"/>
                <a:gd name="connsiteX104" fmla="*/ 237921 w 488709"/>
                <a:gd name="connsiteY104" fmla="*/ 37761 h 233561"/>
                <a:gd name="connsiteX105" fmla="*/ 217877 w 488709"/>
                <a:gd name="connsiteY105" fmla="*/ 19124 h 233561"/>
                <a:gd name="connsiteX106" fmla="*/ 191876 w 488709"/>
                <a:gd name="connsiteY106" fmla="*/ 3517 h 233561"/>
                <a:gd name="connsiteX107" fmla="*/ 188338 w 488709"/>
                <a:gd name="connsiteY107" fmla="*/ 1893 h 233561"/>
                <a:gd name="connsiteX108" fmla="*/ 168815 w 488709"/>
                <a:gd name="connsiteY108" fmla="*/ 3194 h 233561"/>
                <a:gd name="connsiteX109" fmla="*/ 159854 w 488709"/>
                <a:gd name="connsiteY109" fmla="*/ 6464 h 233561"/>
                <a:gd name="connsiteX110" fmla="*/ 147842 w 488709"/>
                <a:gd name="connsiteY110" fmla="*/ 28337 h 233561"/>
                <a:gd name="connsiteX111" fmla="*/ 144733 w 488709"/>
                <a:gd name="connsiteY111" fmla="*/ 43388 h 233561"/>
                <a:gd name="connsiteX112" fmla="*/ 136455 w 488709"/>
                <a:gd name="connsiteY112" fmla="*/ 48128 h 233561"/>
                <a:gd name="connsiteX113" fmla="*/ 129261 w 488709"/>
                <a:gd name="connsiteY113" fmla="*/ 43388 h 233561"/>
                <a:gd name="connsiteX114" fmla="*/ 74403 w 488709"/>
                <a:gd name="connsiteY114" fmla="*/ 24750 h 233561"/>
                <a:gd name="connsiteX115" fmla="*/ 5127 w 488709"/>
                <a:gd name="connsiteY115" fmla="*/ 58509 h 233561"/>
                <a:gd name="connsiteX116" fmla="*/ 0 w 488709"/>
                <a:gd name="connsiteY116" fmla="*/ 68074 h 23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488709" h="233561">
                  <a:moveTo>
                    <a:pt x="0" y="68074"/>
                  </a:moveTo>
                  <a:lnTo>
                    <a:pt x="197" y="68074"/>
                  </a:lnTo>
                  <a:cubicBezTo>
                    <a:pt x="457" y="69269"/>
                    <a:pt x="992" y="71977"/>
                    <a:pt x="992" y="73250"/>
                  </a:cubicBezTo>
                  <a:cubicBezTo>
                    <a:pt x="992" y="74446"/>
                    <a:pt x="1892" y="77688"/>
                    <a:pt x="2511" y="79889"/>
                  </a:cubicBezTo>
                  <a:cubicBezTo>
                    <a:pt x="2708" y="80607"/>
                    <a:pt x="2884" y="81211"/>
                    <a:pt x="2975" y="81605"/>
                  </a:cubicBezTo>
                  <a:cubicBezTo>
                    <a:pt x="3207" y="82520"/>
                    <a:pt x="4361" y="83961"/>
                    <a:pt x="5444" y="85326"/>
                  </a:cubicBezTo>
                  <a:cubicBezTo>
                    <a:pt x="6252" y="86332"/>
                    <a:pt x="7019" y="87295"/>
                    <a:pt x="7357" y="87970"/>
                  </a:cubicBezTo>
                  <a:cubicBezTo>
                    <a:pt x="7814" y="88877"/>
                    <a:pt x="9705" y="90052"/>
                    <a:pt x="11541" y="91191"/>
                  </a:cubicBezTo>
                  <a:cubicBezTo>
                    <a:pt x="12906" y="92035"/>
                    <a:pt x="14235" y="92858"/>
                    <a:pt x="14910" y="93533"/>
                  </a:cubicBezTo>
                  <a:cubicBezTo>
                    <a:pt x="16507" y="95130"/>
                    <a:pt x="23666" y="97514"/>
                    <a:pt x="26845" y="98309"/>
                  </a:cubicBezTo>
                  <a:cubicBezTo>
                    <a:pt x="30031" y="99104"/>
                    <a:pt x="35594" y="101889"/>
                    <a:pt x="37585" y="103084"/>
                  </a:cubicBezTo>
                  <a:cubicBezTo>
                    <a:pt x="39575" y="104280"/>
                    <a:pt x="45145" y="114618"/>
                    <a:pt x="45145" y="116208"/>
                  </a:cubicBezTo>
                  <a:cubicBezTo>
                    <a:pt x="45145" y="116869"/>
                    <a:pt x="45624" y="117593"/>
                    <a:pt x="46179" y="118451"/>
                  </a:cubicBezTo>
                  <a:cubicBezTo>
                    <a:pt x="46974" y="119654"/>
                    <a:pt x="47930" y="121110"/>
                    <a:pt x="47930" y="122974"/>
                  </a:cubicBezTo>
                  <a:cubicBezTo>
                    <a:pt x="47930" y="124838"/>
                    <a:pt x="46974" y="126976"/>
                    <a:pt x="46179" y="128748"/>
                  </a:cubicBezTo>
                  <a:cubicBezTo>
                    <a:pt x="45624" y="130000"/>
                    <a:pt x="45145" y="131069"/>
                    <a:pt x="45145" y="131723"/>
                  </a:cubicBezTo>
                  <a:cubicBezTo>
                    <a:pt x="45145" y="133312"/>
                    <a:pt x="43950" y="140479"/>
                    <a:pt x="43556" y="142462"/>
                  </a:cubicBezTo>
                  <a:cubicBezTo>
                    <a:pt x="43275" y="143855"/>
                    <a:pt x="43964" y="146788"/>
                    <a:pt x="44540" y="149242"/>
                  </a:cubicBezTo>
                  <a:cubicBezTo>
                    <a:pt x="44793" y="150311"/>
                    <a:pt x="45026" y="151289"/>
                    <a:pt x="45145" y="152013"/>
                  </a:cubicBezTo>
                  <a:cubicBezTo>
                    <a:pt x="45398" y="153518"/>
                    <a:pt x="47712" y="154552"/>
                    <a:pt x="50090" y="155607"/>
                  </a:cubicBezTo>
                  <a:cubicBezTo>
                    <a:pt x="51468" y="156226"/>
                    <a:pt x="52875" y="156852"/>
                    <a:pt x="53894" y="157583"/>
                  </a:cubicBezTo>
                  <a:cubicBezTo>
                    <a:pt x="55491" y="158723"/>
                    <a:pt x="58663" y="159081"/>
                    <a:pt x="61525" y="159398"/>
                  </a:cubicBezTo>
                  <a:lnTo>
                    <a:pt x="61525" y="159398"/>
                  </a:lnTo>
                  <a:cubicBezTo>
                    <a:pt x="63649" y="159637"/>
                    <a:pt x="65611" y="159855"/>
                    <a:pt x="66624" y="160369"/>
                  </a:cubicBezTo>
                  <a:cubicBezTo>
                    <a:pt x="69015" y="161557"/>
                    <a:pt x="83335" y="161958"/>
                    <a:pt x="86120" y="161958"/>
                  </a:cubicBezTo>
                  <a:cubicBezTo>
                    <a:pt x="88856" y="161958"/>
                    <a:pt x="93898" y="167725"/>
                    <a:pt x="96712" y="170939"/>
                  </a:cubicBezTo>
                  <a:lnTo>
                    <a:pt x="96712" y="170939"/>
                  </a:lnTo>
                  <a:lnTo>
                    <a:pt x="96712" y="170939"/>
                  </a:lnTo>
                  <a:lnTo>
                    <a:pt x="96859" y="171108"/>
                  </a:lnTo>
                  <a:cubicBezTo>
                    <a:pt x="99644" y="174287"/>
                    <a:pt x="110384" y="177867"/>
                    <a:pt x="112768" y="178268"/>
                  </a:cubicBezTo>
                  <a:cubicBezTo>
                    <a:pt x="114709" y="178591"/>
                    <a:pt x="115075" y="179442"/>
                    <a:pt x="115567" y="180603"/>
                  </a:cubicBezTo>
                  <a:cubicBezTo>
                    <a:pt x="115687" y="180870"/>
                    <a:pt x="115806" y="181151"/>
                    <a:pt x="115954" y="181447"/>
                  </a:cubicBezTo>
                  <a:cubicBezTo>
                    <a:pt x="116228" y="182002"/>
                    <a:pt x="116847" y="183866"/>
                    <a:pt x="117614" y="186194"/>
                  </a:cubicBezTo>
                  <a:lnTo>
                    <a:pt x="117621" y="186194"/>
                  </a:lnTo>
                  <a:lnTo>
                    <a:pt x="117621" y="186194"/>
                  </a:lnTo>
                  <a:cubicBezTo>
                    <a:pt x="119056" y="190533"/>
                    <a:pt x="121025" y="196483"/>
                    <a:pt x="122319" y="198551"/>
                  </a:cubicBezTo>
                  <a:cubicBezTo>
                    <a:pt x="123100" y="199810"/>
                    <a:pt x="124380" y="201624"/>
                    <a:pt x="125695" y="203474"/>
                  </a:cubicBezTo>
                  <a:lnTo>
                    <a:pt x="125695" y="203474"/>
                  </a:lnTo>
                  <a:cubicBezTo>
                    <a:pt x="127706" y="206329"/>
                    <a:pt x="129795" y="209283"/>
                    <a:pt x="130273" y="210486"/>
                  </a:cubicBezTo>
                  <a:cubicBezTo>
                    <a:pt x="130864" y="211970"/>
                    <a:pt x="141589" y="211246"/>
                    <a:pt x="148517" y="210781"/>
                  </a:cubicBezTo>
                  <a:cubicBezTo>
                    <a:pt x="150894" y="210620"/>
                    <a:pt x="152828" y="210486"/>
                    <a:pt x="153743" y="210486"/>
                  </a:cubicBezTo>
                  <a:cubicBezTo>
                    <a:pt x="155445" y="210486"/>
                    <a:pt x="157322" y="211119"/>
                    <a:pt x="159299" y="211773"/>
                  </a:cubicBezTo>
                  <a:cubicBezTo>
                    <a:pt x="161479" y="212504"/>
                    <a:pt x="163779" y="213271"/>
                    <a:pt x="166079" y="213271"/>
                  </a:cubicBezTo>
                  <a:cubicBezTo>
                    <a:pt x="168315" y="213271"/>
                    <a:pt x="170974" y="214108"/>
                    <a:pt x="173569" y="214924"/>
                  </a:cubicBezTo>
                  <a:cubicBezTo>
                    <a:pt x="176037" y="215697"/>
                    <a:pt x="178457" y="216457"/>
                    <a:pt x="180398" y="216457"/>
                  </a:cubicBezTo>
                  <a:cubicBezTo>
                    <a:pt x="182634" y="216457"/>
                    <a:pt x="186137" y="215571"/>
                    <a:pt x="189478" y="214734"/>
                  </a:cubicBezTo>
                  <a:lnTo>
                    <a:pt x="189478" y="214734"/>
                  </a:lnTo>
                  <a:cubicBezTo>
                    <a:pt x="192073" y="214080"/>
                    <a:pt x="194569" y="213447"/>
                    <a:pt x="196307" y="213271"/>
                  </a:cubicBezTo>
                  <a:cubicBezTo>
                    <a:pt x="198508" y="213053"/>
                    <a:pt x="201792" y="213686"/>
                    <a:pt x="204971" y="214291"/>
                  </a:cubicBezTo>
                  <a:lnTo>
                    <a:pt x="204971" y="214291"/>
                  </a:lnTo>
                  <a:cubicBezTo>
                    <a:pt x="207546" y="214783"/>
                    <a:pt x="210042" y="215261"/>
                    <a:pt x="211822" y="215261"/>
                  </a:cubicBezTo>
                  <a:cubicBezTo>
                    <a:pt x="215211" y="215261"/>
                    <a:pt x="221780" y="220171"/>
                    <a:pt x="226352" y="223596"/>
                  </a:cubicBezTo>
                  <a:cubicBezTo>
                    <a:pt x="227147" y="224186"/>
                    <a:pt x="227885" y="224735"/>
                    <a:pt x="228532" y="225206"/>
                  </a:cubicBezTo>
                  <a:cubicBezTo>
                    <a:pt x="231746" y="227548"/>
                    <a:pt x="240559" y="227520"/>
                    <a:pt x="247057" y="227499"/>
                  </a:cubicBezTo>
                  <a:cubicBezTo>
                    <a:pt x="249392" y="227492"/>
                    <a:pt x="251425" y="227485"/>
                    <a:pt x="252796" y="227590"/>
                  </a:cubicBezTo>
                  <a:cubicBezTo>
                    <a:pt x="256931" y="227914"/>
                    <a:pt x="261679" y="231705"/>
                    <a:pt x="263536" y="233561"/>
                  </a:cubicBezTo>
                  <a:cubicBezTo>
                    <a:pt x="265392" y="232499"/>
                    <a:pt x="269345" y="230136"/>
                    <a:pt x="270301" y="229187"/>
                  </a:cubicBezTo>
                  <a:cubicBezTo>
                    <a:pt x="271490" y="227991"/>
                    <a:pt x="283425" y="221626"/>
                    <a:pt x="287406" y="220832"/>
                  </a:cubicBezTo>
                  <a:cubicBezTo>
                    <a:pt x="289523" y="220410"/>
                    <a:pt x="292990" y="219305"/>
                    <a:pt x="296134" y="218314"/>
                  </a:cubicBezTo>
                  <a:lnTo>
                    <a:pt x="296134" y="218314"/>
                  </a:lnTo>
                  <a:lnTo>
                    <a:pt x="296134" y="218314"/>
                  </a:lnTo>
                  <a:cubicBezTo>
                    <a:pt x="298898" y="217435"/>
                    <a:pt x="301401" y="216640"/>
                    <a:pt x="302520" y="216457"/>
                  </a:cubicBezTo>
                  <a:cubicBezTo>
                    <a:pt x="303504" y="216288"/>
                    <a:pt x="307056" y="216197"/>
                    <a:pt x="311199" y="216084"/>
                  </a:cubicBezTo>
                  <a:cubicBezTo>
                    <a:pt x="317106" y="215923"/>
                    <a:pt x="324210" y="215733"/>
                    <a:pt x="326784" y="215261"/>
                  </a:cubicBezTo>
                  <a:cubicBezTo>
                    <a:pt x="330462" y="214593"/>
                    <a:pt x="337805" y="210831"/>
                    <a:pt x="342411" y="208467"/>
                  </a:cubicBezTo>
                  <a:cubicBezTo>
                    <a:pt x="343283" y="208017"/>
                    <a:pt x="344057" y="207624"/>
                    <a:pt x="344683" y="207307"/>
                  </a:cubicBezTo>
                  <a:cubicBezTo>
                    <a:pt x="348664" y="205317"/>
                    <a:pt x="365374" y="189802"/>
                    <a:pt x="365374" y="188212"/>
                  </a:cubicBezTo>
                  <a:cubicBezTo>
                    <a:pt x="365374" y="186623"/>
                    <a:pt x="360599" y="176277"/>
                    <a:pt x="359804" y="175082"/>
                  </a:cubicBezTo>
                  <a:cubicBezTo>
                    <a:pt x="359009" y="173893"/>
                    <a:pt x="365374" y="164342"/>
                    <a:pt x="367358" y="162753"/>
                  </a:cubicBezTo>
                  <a:cubicBezTo>
                    <a:pt x="369348" y="161163"/>
                    <a:pt x="375319" y="162352"/>
                    <a:pt x="376507" y="162753"/>
                  </a:cubicBezTo>
                  <a:cubicBezTo>
                    <a:pt x="377703" y="163154"/>
                    <a:pt x="383667" y="165137"/>
                    <a:pt x="385658" y="165538"/>
                  </a:cubicBezTo>
                  <a:cubicBezTo>
                    <a:pt x="386030" y="165608"/>
                    <a:pt x="386452" y="165699"/>
                    <a:pt x="386909" y="165791"/>
                  </a:cubicBezTo>
                  <a:lnTo>
                    <a:pt x="386909" y="165791"/>
                  </a:lnTo>
                  <a:cubicBezTo>
                    <a:pt x="388900" y="166206"/>
                    <a:pt x="391453" y="166733"/>
                    <a:pt x="392423" y="166733"/>
                  </a:cubicBezTo>
                  <a:cubicBezTo>
                    <a:pt x="393612" y="166733"/>
                    <a:pt x="402368" y="159968"/>
                    <a:pt x="402762" y="159173"/>
                  </a:cubicBezTo>
                  <a:cubicBezTo>
                    <a:pt x="403163" y="158378"/>
                    <a:pt x="411912" y="153209"/>
                    <a:pt x="412707" y="152808"/>
                  </a:cubicBezTo>
                  <a:cubicBezTo>
                    <a:pt x="413501" y="152407"/>
                    <a:pt x="418277" y="150818"/>
                    <a:pt x="421463" y="150818"/>
                  </a:cubicBezTo>
                  <a:cubicBezTo>
                    <a:pt x="424642" y="150818"/>
                    <a:pt x="428622" y="147238"/>
                    <a:pt x="429417" y="146443"/>
                  </a:cubicBezTo>
                  <a:cubicBezTo>
                    <a:pt x="430212" y="145648"/>
                    <a:pt x="439362" y="136097"/>
                    <a:pt x="440558" y="134114"/>
                  </a:cubicBezTo>
                  <a:cubicBezTo>
                    <a:pt x="441296" y="132869"/>
                    <a:pt x="445748" y="130401"/>
                    <a:pt x="449475" y="128326"/>
                  </a:cubicBezTo>
                  <a:lnTo>
                    <a:pt x="449475" y="128326"/>
                  </a:lnTo>
                  <a:cubicBezTo>
                    <a:pt x="451733" y="127067"/>
                    <a:pt x="453731" y="125963"/>
                    <a:pt x="454476" y="125358"/>
                  </a:cubicBezTo>
                  <a:cubicBezTo>
                    <a:pt x="456467" y="123768"/>
                    <a:pt x="477945" y="124964"/>
                    <a:pt x="481525" y="125358"/>
                  </a:cubicBezTo>
                  <a:cubicBezTo>
                    <a:pt x="485105" y="125759"/>
                    <a:pt x="488291" y="122573"/>
                    <a:pt x="488692" y="120590"/>
                  </a:cubicBezTo>
                  <a:cubicBezTo>
                    <a:pt x="488924" y="119415"/>
                    <a:pt x="486807" y="117277"/>
                    <a:pt x="484465" y="114900"/>
                  </a:cubicBezTo>
                  <a:cubicBezTo>
                    <a:pt x="482826" y="113247"/>
                    <a:pt x="481082" y="111482"/>
                    <a:pt x="479936" y="109843"/>
                  </a:cubicBezTo>
                  <a:cubicBezTo>
                    <a:pt x="477706" y="106664"/>
                    <a:pt x="466812" y="98970"/>
                    <a:pt x="461636" y="95524"/>
                  </a:cubicBezTo>
                  <a:cubicBezTo>
                    <a:pt x="458724" y="97781"/>
                    <a:pt x="452092" y="102606"/>
                    <a:pt x="448906" y="103879"/>
                  </a:cubicBezTo>
                  <a:cubicBezTo>
                    <a:pt x="445727" y="105152"/>
                    <a:pt x="443870" y="102290"/>
                    <a:pt x="443343" y="100693"/>
                  </a:cubicBezTo>
                  <a:cubicBezTo>
                    <a:pt x="440023" y="100960"/>
                    <a:pt x="432040" y="101333"/>
                    <a:pt x="426632" y="100693"/>
                  </a:cubicBezTo>
                  <a:cubicBezTo>
                    <a:pt x="421224" y="100060"/>
                    <a:pt x="424374" y="87970"/>
                    <a:pt x="426632" y="81999"/>
                  </a:cubicBezTo>
                  <a:lnTo>
                    <a:pt x="441746" y="52960"/>
                  </a:lnTo>
                  <a:lnTo>
                    <a:pt x="448906" y="56539"/>
                  </a:lnTo>
                  <a:cubicBezTo>
                    <a:pt x="451825" y="57869"/>
                    <a:pt x="458140" y="60520"/>
                    <a:pt x="460046" y="60520"/>
                  </a:cubicBezTo>
                  <a:cubicBezTo>
                    <a:pt x="461959" y="60520"/>
                    <a:pt x="474105" y="52031"/>
                    <a:pt x="479936" y="47790"/>
                  </a:cubicBezTo>
                  <a:lnTo>
                    <a:pt x="479936" y="44140"/>
                  </a:lnTo>
                  <a:cubicBezTo>
                    <a:pt x="471841" y="44358"/>
                    <a:pt x="453667" y="45357"/>
                    <a:pt x="443990" y="46904"/>
                  </a:cubicBezTo>
                  <a:cubicBezTo>
                    <a:pt x="440122" y="42213"/>
                    <a:pt x="427673" y="37761"/>
                    <a:pt x="417264" y="37761"/>
                  </a:cubicBezTo>
                  <a:cubicBezTo>
                    <a:pt x="404253" y="37761"/>
                    <a:pt x="395110" y="43388"/>
                    <a:pt x="382451" y="51827"/>
                  </a:cubicBezTo>
                  <a:cubicBezTo>
                    <a:pt x="371493" y="59135"/>
                    <a:pt x="347095" y="58797"/>
                    <a:pt x="330933" y="58572"/>
                  </a:cubicBezTo>
                  <a:cubicBezTo>
                    <a:pt x="328423" y="58544"/>
                    <a:pt x="326109" y="58509"/>
                    <a:pt x="324076" y="58509"/>
                  </a:cubicBezTo>
                  <a:cubicBezTo>
                    <a:pt x="311403" y="58509"/>
                    <a:pt x="303174" y="47889"/>
                    <a:pt x="297948" y="41137"/>
                  </a:cubicBezTo>
                  <a:cubicBezTo>
                    <a:pt x="296936" y="39836"/>
                    <a:pt x="296035" y="38676"/>
                    <a:pt x="295241" y="37761"/>
                  </a:cubicBezTo>
                  <a:cubicBezTo>
                    <a:pt x="290317" y="32135"/>
                    <a:pt x="269218" y="24750"/>
                    <a:pt x="266053" y="28970"/>
                  </a:cubicBezTo>
                  <a:cubicBezTo>
                    <a:pt x="262889" y="33190"/>
                    <a:pt x="245306" y="39168"/>
                    <a:pt x="237921" y="37761"/>
                  </a:cubicBezTo>
                  <a:cubicBezTo>
                    <a:pt x="230537" y="36355"/>
                    <a:pt x="221042" y="24750"/>
                    <a:pt x="217877" y="19124"/>
                  </a:cubicBezTo>
                  <a:cubicBezTo>
                    <a:pt x="215064" y="14130"/>
                    <a:pt x="201729" y="8025"/>
                    <a:pt x="191876" y="3517"/>
                  </a:cubicBezTo>
                  <a:cubicBezTo>
                    <a:pt x="190631" y="2948"/>
                    <a:pt x="189442" y="2406"/>
                    <a:pt x="188338" y="1893"/>
                  </a:cubicBezTo>
                  <a:cubicBezTo>
                    <a:pt x="180939" y="-1539"/>
                    <a:pt x="176523" y="184"/>
                    <a:pt x="168815" y="3194"/>
                  </a:cubicBezTo>
                  <a:cubicBezTo>
                    <a:pt x="166261" y="4192"/>
                    <a:pt x="163350" y="5325"/>
                    <a:pt x="159854" y="6464"/>
                  </a:cubicBezTo>
                  <a:cubicBezTo>
                    <a:pt x="150409" y="9538"/>
                    <a:pt x="149206" y="18315"/>
                    <a:pt x="147842" y="28337"/>
                  </a:cubicBezTo>
                  <a:cubicBezTo>
                    <a:pt x="147174" y="33232"/>
                    <a:pt x="146463" y="38422"/>
                    <a:pt x="144733" y="43388"/>
                  </a:cubicBezTo>
                  <a:cubicBezTo>
                    <a:pt x="141372" y="53016"/>
                    <a:pt x="139585" y="51237"/>
                    <a:pt x="136455" y="48128"/>
                  </a:cubicBezTo>
                  <a:cubicBezTo>
                    <a:pt x="134669" y="46356"/>
                    <a:pt x="132454" y="44154"/>
                    <a:pt x="129261" y="43388"/>
                  </a:cubicBezTo>
                  <a:cubicBezTo>
                    <a:pt x="120469" y="41278"/>
                    <a:pt x="98315" y="35300"/>
                    <a:pt x="74403" y="24750"/>
                  </a:cubicBezTo>
                  <a:cubicBezTo>
                    <a:pt x="55273" y="16310"/>
                    <a:pt x="20248" y="43739"/>
                    <a:pt x="5127" y="58509"/>
                  </a:cubicBezTo>
                  <a:cubicBezTo>
                    <a:pt x="3137" y="60302"/>
                    <a:pt x="1435" y="63713"/>
                    <a:pt x="0" y="6807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4" name="Freihandform: Form 209">
              <a:extLst>
                <a:ext uri="{FF2B5EF4-FFF2-40B4-BE49-F238E27FC236}">
                  <a16:creationId xmlns:a16="http://schemas.microsoft.com/office/drawing/2014/main" id="{D44DA6AC-D080-D847-9896-F8BE41149DC6}"/>
                </a:ext>
              </a:extLst>
            </p:cNvPr>
            <p:cNvSpPr/>
            <p:nvPr/>
          </p:nvSpPr>
          <p:spPr>
            <a:xfrm>
              <a:off x="6568348" y="2543644"/>
              <a:ext cx="2511816" cy="1261733"/>
            </a:xfrm>
            <a:custGeom>
              <a:avLst/>
              <a:gdLst>
                <a:gd name="connsiteX0" fmla="*/ 81583 w 2511816"/>
                <a:gd name="connsiteY0" fmla="*/ 445547 h 1261733"/>
                <a:gd name="connsiteX1" fmla="*/ 71969 w 2511816"/>
                <a:gd name="connsiteY1" fmla="*/ 448754 h 1261733"/>
                <a:gd name="connsiteX2" fmla="*/ 64352 w 2511816"/>
                <a:gd name="connsiteY2" fmla="*/ 451877 h 1261733"/>
                <a:gd name="connsiteX3" fmla="*/ 61891 w 2511816"/>
                <a:gd name="connsiteY3" fmla="*/ 445547 h 1261733"/>
                <a:gd name="connsiteX4" fmla="*/ 21802 w 2511816"/>
                <a:gd name="connsiteY4" fmla="*/ 434294 h 1261733"/>
                <a:gd name="connsiteX5" fmla="*/ 4923 w 2511816"/>
                <a:gd name="connsiteY5" fmla="*/ 494075 h 1261733"/>
                <a:gd name="connsiteX6" fmla="*/ 16528 w 2511816"/>
                <a:gd name="connsiteY6" fmla="*/ 778914 h 1261733"/>
                <a:gd name="connsiteX7" fmla="*/ 33055 w 2511816"/>
                <a:gd name="connsiteY7" fmla="*/ 786650 h 1261733"/>
                <a:gd name="connsiteX8" fmla="*/ 43253 w 2511816"/>
                <a:gd name="connsiteY8" fmla="*/ 790518 h 1261733"/>
                <a:gd name="connsiteX9" fmla="*/ 58374 w 2511816"/>
                <a:gd name="connsiteY9" fmla="*/ 800013 h 1261733"/>
                <a:gd name="connsiteX10" fmla="*/ 43253 w 2511816"/>
                <a:gd name="connsiteY10" fmla="*/ 807398 h 1261733"/>
                <a:gd name="connsiteX11" fmla="*/ 20748 w 2511816"/>
                <a:gd name="connsiteY11" fmla="*/ 814079 h 1261733"/>
                <a:gd name="connsiteX12" fmla="*/ 2813 w 2511816"/>
                <a:gd name="connsiteY12" fmla="*/ 820057 h 1261733"/>
                <a:gd name="connsiteX13" fmla="*/ 0 w 2511816"/>
                <a:gd name="connsiteY13" fmla="*/ 892849 h 1261733"/>
                <a:gd name="connsiteX14" fmla="*/ 39385 w 2511816"/>
                <a:gd name="connsiteY14" fmla="*/ 980411 h 1261733"/>
                <a:gd name="connsiteX15" fmla="*/ 197277 w 2511816"/>
                <a:gd name="connsiteY15" fmla="*/ 1128808 h 1261733"/>
                <a:gd name="connsiteX16" fmla="*/ 192706 w 2511816"/>
                <a:gd name="connsiteY16" fmla="*/ 1139006 h 1261733"/>
                <a:gd name="connsiteX17" fmla="*/ 183914 w 2511816"/>
                <a:gd name="connsiteY17" fmla="*/ 1162567 h 1261733"/>
                <a:gd name="connsiteX18" fmla="*/ 164573 w 2511816"/>
                <a:gd name="connsiteY18" fmla="*/ 1187534 h 1261733"/>
                <a:gd name="connsiteX19" fmla="*/ 183914 w 2511816"/>
                <a:gd name="connsiteY19" fmla="*/ 1207227 h 1261733"/>
                <a:gd name="connsiteX20" fmla="*/ 213840 w 2511816"/>
                <a:gd name="connsiteY20" fmla="*/ 1218149 h 1261733"/>
                <a:gd name="connsiteX21" fmla="*/ 227871 w 2511816"/>
                <a:gd name="connsiteY21" fmla="*/ 1220590 h 1261733"/>
                <a:gd name="connsiteX22" fmla="*/ 236585 w 2511816"/>
                <a:gd name="connsiteY22" fmla="*/ 1223087 h 1261733"/>
                <a:gd name="connsiteX23" fmla="*/ 236585 w 2511816"/>
                <a:gd name="connsiteY23" fmla="*/ 1223087 h 1261733"/>
                <a:gd name="connsiteX24" fmla="*/ 250377 w 2511816"/>
                <a:gd name="connsiteY24" fmla="*/ 1228678 h 1261733"/>
                <a:gd name="connsiteX25" fmla="*/ 266511 w 2511816"/>
                <a:gd name="connsiteY25" fmla="*/ 1232525 h 1261733"/>
                <a:gd name="connsiteX26" fmla="*/ 278861 w 2511816"/>
                <a:gd name="connsiteY26" fmla="*/ 1235359 h 1261733"/>
                <a:gd name="connsiteX27" fmla="*/ 281055 w 2511816"/>
                <a:gd name="connsiteY27" fmla="*/ 1236920 h 1261733"/>
                <a:gd name="connsiteX28" fmla="*/ 281076 w 2511816"/>
                <a:gd name="connsiteY28" fmla="*/ 1236935 h 1261733"/>
                <a:gd name="connsiteX29" fmla="*/ 281083 w 2511816"/>
                <a:gd name="connsiteY29" fmla="*/ 1236942 h 1261733"/>
                <a:gd name="connsiteX30" fmla="*/ 303828 w 2511816"/>
                <a:gd name="connsiteY30" fmla="*/ 1253997 h 1261733"/>
                <a:gd name="connsiteX31" fmla="*/ 318597 w 2511816"/>
                <a:gd name="connsiteY31" fmla="*/ 1261733 h 1261733"/>
                <a:gd name="connsiteX32" fmla="*/ 322817 w 2511816"/>
                <a:gd name="connsiteY32" fmla="*/ 1239227 h 1261733"/>
                <a:gd name="connsiteX33" fmla="*/ 320307 w 2511816"/>
                <a:gd name="connsiteY33" fmla="*/ 1229008 h 1261733"/>
                <a:gd name="connsiteX34" fmla="*/ 318597 w 2511816"/>
                <a:gd name="connsiteY34" fmla="*/ 1224106 h 1261733"/>
                <a:gd name="connsiteX35" fmla="*/ 311170 w 2511816"/>
                <a:gd name="connsiteY35" fmla="*/ 1213388 h 1261733"/>
                <a:gd name="connsiteX36" fmla="*/ 303828 w 2511816"/>
                <a:gd name="connsiteY36" fmla="*/ 1203710 h 1261733"/>
                <a:gd name="connsiteX37" fmla="*/ 315433 w 2511816"/>
                <a:gd name="connsiteY37" fmla="*/ 1180150 h 1261733"/>
                <a:gd name="connsiteX38" fmla="*/ 341806 w 2511816"/>
                <a:gd name="connsiteY38" fmla="*/ 1157292 h 1261733"/>
                <a:gd name="connsiteX39" fmla="*/ 341089 w 2511816"/>
                <a:gd name="connsiteY39" fmla="*/ 1148037 h 1261733"/>
                <a:gd name="connsiteX40" fmla="*/ 337235 w 2511816"/>
                <a:gd name="connsiteY40" fmla="*/ 1139006 h 1261733"/>
                <a:gd name="connsiteX41" fmla="*/ 322817 w 2511816"/>
                <a:gd name="connsiteY41" fmla="*/ 1125292 h 1261733"/>
                <a:gd name="connsiteX42" fmla="*/ 307696 w 2511816"/>
                <a:gd name="connsiteY42" fmla="*/ 1094698 h 1261733"/>
                <a:gd name="connsiteX43" fmla="*/ 315433 w 2511816"/>
                <a:gd name="connsiteY43" fmla="*/ 1071841 h 1261733"/>
                <a:gd name="connsiteX44" fmla="*/ 328092 w 2511816"/>
                <a:gd name="connsiteY44" fmla="*/ 1071841 h 1261733"/>
                <a:gd name="connsiteX45" fmla="*/ 351653 w 2511816"/>
                <a:gd name="connsiteY45" fmla="*/ 1052148 h 1261733"/>
                <a:gd name="connsiteX46" fmla="*/ 359241 w 2511816"/>
                <a:gd name="connsiteY46" fmla="*/ 1045227 h 1261733"/>
                <a:gd name="connsiteX47" fmla="*/ 385411 w 2511816"/>
                <a:gd name="connsiteY47" fmla="*/ 1028587 h 1261733"/>
                <a:gd name="connsiteX48" fmla="*/ 411785 w 2511816"/>
                <a:gd name="connsiteY48" fmla="*/ 1028587 h 1261733"/>
                <a:gd name="connsiteX49" fmla="*/ 429699 w 2511816"/>
                <a:gd name="connsiteY49" fmla="*/ 1038778 h 1261733"/>
                <a:gd name="connsiteX50" fmla="*/ 454687 w 2511816"/>
                <a:gd name="connsiteY50" fmla="*/ 1052148 h 1261733"/>
                <a:gd name="connsiteX51" fmla="*/ 493369 w 2511816"/>
                <a:gd name="connsiteY51" fmla="*/ 1052148 h 1261733"/>
                <a:gd name="connsiteX52" fmla="*/ 523611 w 2511816"/>
                <a:gd name="connsiteY52" fmla="*/ 1052148 h 1261733"/>
                <a:gd name="connsiteX53" fmla="*/ 529132 w 2511816"/>
                <a:gd name="connsiteY53" fmla="*/ 1036303 h 1261733"/>
                <a:gd name="connsiteX54" fmla="*/ 528182 w 2511816"/>
                <a:gd name="connsiteY54" fmla="*/ 1028587 h 1261733"/>
                <a:gd name="connsiteX55" fmla="*/ 528182 w 2511816"/>
                <a:gd name="connsiteY55" fmla="*/ 1001862 h 1261733"/>
                <a:gd name="connsiteX56" fmla="*/ 539358 w 2511816"/>
                <a:gd name="connsiteY56" fmla="*/ 986530 h 1261733"/>
                <a:gd name="connsiteX57" fmla="*/ 545765 w 2511816"/>
                <a:gd name="connsiteY57" fmla="*/ 980411 h 1261733"/>
                <a:gd name="connsiteX58" fmla="*/ 571787 w 2511816"/>
                <a:gd name="connsiteY58" fmla="*/ 970565 h 1261733"/>
                <a:gd name="connsiteX59" fmla="*/ 598351 w 2511816"/>
                <a:gd name="connsiteY59" fmla="*/ 955669 h 1261733"/>
                <a:gd name="connsiteX60" fmla="*/ 616799 w 2511816"/>
                <a:gd name="connsiteY60" fmla="*/ 944894 h 1261733"/>
                <a:gd name="connsiteX61" fmla="*/ 623023 w 2511816"/>
                <a:gd name="connsiteY61" fmla="*/ 944971 h 1261733"/>
                <a:gd name="connsiteX62" fmla="*/ 666030 w 2511816"/>
                <a:gd name="connsiteY62" fmla="*/ 944894 h 1261733"/>
                <a:gd name="connsiteX63" fmla="*/ 720185 w 2511816"/>
                <a:gd name="connsiteY63" fmla="*/ 975136 h 1261733"/>
                <a:gd name="connsiteX64" fmla="*/ 738119 w 2511816"/>
                <a:gd name="connsiteY64" fmla="*/ 980411 h 1261733"/>
                <a:gd name="connsiteX65" fmla="*/ 768010 w 2511816"/>
                <a:gd name="connsiteY65" fmla="*/ 970565 h 1261733"/>
                <a:gd name="connsiteX66" fmla="*/ 791922 w 2511816"/>
                <a:gd name="connsiteY66" fmla="*/ 980411 h 1261733"/>
                <a:gd name="connsiteX67" fmla="*/ 811263 w 2511816"/>
                <a:gd name="connsiteY67" fmla="*/ 1013818 h 1261733"/>
                <a:gd name="connsiteX68" fmla="*/ 825329 w 2511816"/>
                <a:gd name="connsiteY68" fmla="*/ 1052148 h 1261733"/>
                <a:gd name="connsiteX69" fmla="*/ 852055 w 2511816"/>
                <a:gd name="connsiteY69" fmla="*/ 1054532 h 1261733"/>
                <a:gd name="connsiteX70" fmla="*/ 871044 w 2511816"/>
                <a:gd name="connsiteY70" fmla="*/ 1052148 h 1261733"/>
                <a:gd name="connsiteX71" fmla="*/ 900505 w 2511816"/>
                <a:gd name="connsiteY71" fmla="*/ 1067522 h 1261733"/>
                <a:gd name="connsiteX72" fmla="*/ 928363 w 2511816"/>
                <a:gd name="connsiteY72" fmla="*/ 1088017 h 1261733"/>
                <a:gd name="connsiteX73" fmla="*/ 949005 w 2511816"/>
                <a:gd name="connsiteY73" fmla="*/ 1095036 h 1261733"/>
                <a:gd name="connsiteX74" fmla="*/ 950517 w 2511816"/>
                <a:gd name="connsiteY74" fmla="*/ 1093291 h 1261733"/>
                <a:gd name="connsiteX75" fmla="*/ 1019793 w 2511816"/>
                <a:gd name="connsiteY75" fmla="*/ 1059533 h 1261733"/>
                <a:gd name="connsiteX76" fmla="*/ 1074651 w 2511816"/>
                <a:gd name="connsiteY76" fmla="*/ 1078170 h 1261733"/>
                <a:gd name="connsiteX77" fmla="*/ 1081846 w 2511816"/>
                <a:gd name="connsiteY77" fmla="*/ 1082911 h 1261733"/>
                <a:gd name="connsiteX78" fmla="*/ 1090123 w 2511816"/>
                <a:gd name="connsiteY78" fmla="*/ 1078170 h 1261733"/>
                <a:gd name="connsiteX79" fmla="*/ 1093232 w 2511816"/>
                <a:gd name="connsiteY79" fmla="*/ 1063120 h 1261733"/>
                <a:gd name="connsiteX80" fmla="*/ 1093232 w 2511816"/>
                <a:gd name="connsiteY80" fmla="*/ 1063120 h 1261733"/>
                <a:gd name="connsiteX81" fmla="*/ 1105245 w 2511816"/>
                <a:gd name="connsiteY81" fmla="*/ 1041247 h 1261733"/>
                <a:gd name="connsiteX82" fmla="*/ 1114205 w 2511816"/>
                <a:gd name="connsiteY82" fmla="*/ 1037977 h 1261733"/>
                <a:gd name="connsiteX83" fmla="*/ 1114205 w 2511816"/>
                <a:gd name="connsiteY83" fmla="*/ 1037977 h 1261733"/>
                <a:gd name="connsiteX84" fmla="*/ 1133728 w 2511816"/>
                <a:gd name="connsiteY84" fmla="*/ 1036675 h 1261733"/>
                <a:gd name="connsiteX85" fmla="*/ 1137266 w 2511816"/>
                <a:gd name="connsiteY85" fmla="*/ 1038300 h 1261733"/>
                <a:gd name="connsiteX86" fmla="*/ 1163267 w 2511816"/>
                <a:gd name="connsiteY86" fmla="*/ 1053906 h 1261733"/>
                <a:gd name="connsiteX87" fmla="*/ 1183311 w 2511816"/>
                <a:gd name="connsiteY87" fmla="*/ 1072544 h 1261733"/>
                <a:gd name="connsiteX88" fmla="*/ 1211444 w 2511816"/>
                <a:gd name="connsiteY88" fmla="*/ 1063753 h 1261733"/>
                <a:gd name="connsiteX89" fmla="*/ 1240631 w 2511816"/>
                <a:gd name="connsiteY89" fmla="*/ 1072544 h 1261733"/>
                <a:gd name="connsiteX90" fmla="*/ 1243339 w 2511816"/>
                <a:gd name="connsiteY90" fmla="*/ 1075920 h 1261733"/>
                <a:gd name="connsiteX91" fmla="*/ 1269466 w 2511816"/>
                <a:gd name="connsiteY91" fmla="*/ 1093291 h 1261733"/>
                <a:gd name="connsiteX92" fmla="*/ 1276324 w 2511816"/>
                <a:gd name="connsiteY92" fmla="*/ 1093355 h 1261733"/>
                <a:gd name="connsiteX93" fmla="*/ 1276324 w 2511816"/>
                <a:gd name="connsiteY93" fmla="*/ 1093355 h 1261733"/>
                <a:gd name="connsiteX94" fmla="*/ 1327841 w 2511816"/>
                <a:gd name="connsiteY94" fmla="*/ 1086610 h 1261733"/>
                <a:gd name="connsiteX95" fmla="*/ 1362654 w 2511816"/>
                <a:gd name="connsiteY95" fmla="*/ 1072544 h 1261733"/>
                <a:gd name="connsiteX96" fmla="*/ 1389380 w 2511816"/>
                <a:gd name="connsiteY96" fmla="*/ 1081687 h 1261733"/>
                <a:gd name="connsiteX97" fmla="*/ 1425326 w 2511816"/>
                <a:gd name="connsiteY97" fmla="*/ 1078923 h 1261733"/>
                <a:gd name="connsiteX98" fmla="*/ 1425326 w 2511816"/>
                <a:gd name="connsiteY98" fmla="*/ 1082573 h 1261733"/>
                <a:gd name="connsiteX99" fmla="*/ 1425326 w 2511816"/>
                <a:gd name="connsiteY99" fmla="*/ 1071433 h 1261733"/>
                <a:gd name="connsiteX100" fmla="*/ 1436860 w 2511816"/>
                <a:gd name="connsiteY100" fmla="*/ 1050749 h 1261733"/>
                <a:gd name="connsiteX101" fmla="*/ 1447206 w 2511816"/>
                <a:gd name="connsiteY101" fmla="*/ 1038420 h 1261733"/>
                <a:gd name="connsiteX102" fmla="*/ 1447206 w 2511816"/>
                <a:gd name="connsiteY102" fmla="*/ 1022905 h 1261733"/>
                <a:gd name="connsiteX103" fmla="*/ 1439251 w 2511816"/>
                <a:gd name="connsiteY103" fmla="*/ 1017334 h 1261733"/>
                <a:gd name="connsiteX104" fmla="*/ 1449196 w 2511816"/>
                <a:gd name="connsiteY104" fmla="*/ 1007390 h 1261733"/>
                <a:gd name="connsiteX105" fmla="*/ 1458191 w 2511816"/>
                <a:gd name="connsiteY105" fmla="*/ 1003156 h 1261733"/>
                <a:gd name="connsiteX106" fmla="*/ 1463515 w 2511816"/>
                <a:gd name="connsiteY106" fmla="*/ 1001025 h 1261733"/>
                <a:gd name="connsiteX107" fmla="*/ 1483166 w 2511816"/>
                <a:gd name="connsiteY107" fmla="*/ 999421 h 1261733"/>
                <a:gd name="connsiteX108" fmla="*/ 1483187 w 2511816"/>
                <a:gd name="connsiteY108" fmla="*/ 999421 h 1261733"/>
                <a:gd name="connsiteX109" fmla="*/ 1485789 w 2511816"/>
                <a:gd name="connsiteY109" fmla="*/ 999435 h 1261733"/>
                <a:gd name="connsiteX110" fmla="*/ 1502985 w 2511816"/>
                <a:gd name="connsiteY110" fmla="*/ 1002811 h 1261733"/>
                <a:gd name="connsiteX111" fmla="*/ 1503203 w 2511816"/>
                <a:gd name="connsiteY111" fmla="*/ 1002867 h 1261733"/>
                <a:gd name="connsiteX112" fmla="*/ 1503695 w 2511816"/>
                <a:gd name="connsiteY112" fmla="*/ 1003015 h 1261733"/>
                <a:gd name="connsiteX113" fmla="*/ 1513408 w 2511816"/>
                <a:gd name="connsiteY113" fmla="*/ 1007453 h 1261733"/>
                <a:gd name="connsiteX114" fmla="*/ 1515272 w 2511816"/>
                <a:gd name="connsiteY114" fmla="*/ 1008395 h 1261733"/>
                <a:gd name="connsiteX115" fmla="*/ 1516418 w 2511816"/>
                <a:gd name="connsiteY115" fmla="*/ 1008972 h 1261733"/>
                <a:gd name="connsiteX116" fmla="*/ 1517220 w 2511816"/>
                <a:gd name="connsiteY116" fmla="*/ 1009380 h 1261733"/>
                <a:gd name="connsiteX117" fmla="*/ 1529549 w 2511816"/>
                <a:gd name="connsiteY117" fmla="*/ 1026084 h 1261733"/>
                <a:gd name="connsiteX118" fmla="*/ 1531356 w 2511816"/>
                <a:gd name="connsiteY118" fmla="*/ 1030634 h 1261733"/>
                <a:gd name="connsiteX119" fmla="*/ 1536314 w 2511816"/>
                <a:gd name="connsiteY119" fmla="*/ 1043983 h 1261733"/>
                <a:gd name="connsiteX120" fmla="*/ 1541399 w 2511816"/>
                <a:gd name="connsiteY120" fmla="*/ 1053885 h 1261733"/>
                <a:gd name="connsiteX121" fmla="*/ 1545859 w 2511816"/>
                <a:gd name="connsiteY121" fmla="*/ 1061889 h 1261733"/>
                <a:gd name="connsiteX122" fmla="*/ 1551421 w 2511816"/>
                <a:gd name="connsiteY122" fmla="*/ 1083037 h 1261733"/>
                <a:gd name="connsiteX123" fmla="*/ 1553018 w 2511816"/>
                <a:gd name="connsiteY123" fmla="*/ 1089733 h 1261733"/>
                <a:gd name="connsiteX124" fmla="*/ 1559376 w 2511816"/>
                <a:gd name="connsiteY124" fmla="*/ 1093383 h 1261733"/>
                <a:gd name="connsiteX125" fmla="*/ 1561373 w 2511816"/>
                <a:gd name="connsiteY125" fmla="*/ 1094107 h 1261733"/>
                <a:gd name="connsiteX126" fmla="*/ 1568104 w 2511816"/>
                <a:gd name="connsiteY126" fmla="*/ 1095500 h 1261733"/>
                <a:gd name="connsiteX127" fmla="*/ 1568111 w 2511816"/>
                <a:gd name="connsiteY127" fmla="*/ 1095507 h 1261733"/>
                <a:gd name="connsiteX128" fmla="*/ 1568118 w 2511816"/>
                <a:gd name="connsiteY128" fmla="*/ 1095507 h 1261733"/>
                <a:gd name="connsiteX129" fmla="*/ 1568118 w 2511816"/>
                <a:gd name="connsiteY129" fmla="*/ 1095507 h 1261733"/>
                <a:gd name="connsiteX130" fmla="*/ 1576888 w 2511816"/>
                <a:gd name="connsiteY130" fmla="*/ 1097293 h 1261733"/>
                <a:gd name="connsiteX131" fmla="*/ 1585244 w 2511816"/>
                <a:gd name="connsiteY131" fmla="*/ 1104052 h 1261733"/>
                <a:gd name="connsiteX132" fmla="*/ 1589695 w 2511816"/>
                <a:gd name="connsiteY132" fmla="*/ 1108054 h 1261733"/>
                <a:gd name="connsiteX133" fmla="*/ 1599162 w 2511816"/>
                <a:gd name="connsiteY133" fmla="*/ 1117978 h 1261733"/>
                <a:gd name="connsiteX134" fmla="*/ 1602742 w 2511816"/>
                <a:gd name="connsiteY134" fmla="*/ 1133492 h 1261733"/>
                <a:gd name="connsiteX135" fmla="*/ 1621836 w 2511816"/>
                <a:gd name="connsiteY135" fmla="*/ 1135877 h 1261733"/>
                <a:gd name="connsiteX136" fmla="*/ 1629798 w 2511816"/>
                <a:gd name="connsiteY136" fmla="*/ 1133492 h 1261733"/>
                <a:gd name="connsiteX137" fmla="*/ 1643716 w 2511816"/>
                <a:gd name="connsiteY137" fmla="*/ 1125932 h 1261733"/>
                <a:gd name="connsiteX138" fmla="*/ 1655651 w 2511816"/>
                <a:gd name="connsiteY138" fmla="*/ 1122753 h 1261733"/>
                <a:gd name="connsiteX139" fmla="*/ 1663606 w 2511816"/>
                <a:gd name="connsiteY139" fmla="*/ 1122753 h 1261733"/>
                <a:gd name="connsiteX140" fmla="*/ 1660026 w 2511816"/>
                <a:gd name="connsiteY140" fmla="*/ 1133492 h 1261733"/>
                <a:gd name="connsiteX141" fmla="*/ 1655468 w 2511816"/>
                <a:gd name="connsiteY141" fmla="*/ 1142319 h 1261733"/>
                <a:gd name="connsiteX142" fmla="*/ 1655468 w 2511816"/>
                <a:gd name="connsiteY142" fmla="*/ 1142326 h 1261733"/>
                <a:gd name="connsiteX143" fmla="*/ 1655462 w 2511816"/>
                <a:gd name="connsiteY143" fmla="*/ 1142333 h 1261733"/>
                <a:gd name="connsiteX144" fmla="*/ 1655447 w 2511816"/>
                <a:gd name="connsiteY144" fmla="*/ 1142354 h 1261733"/>
                <a:gd name="connsiteX145" fmla="*/ 1655447 w 2511816"/>
                <a:gd name="connsiteY145" fmla="*/ 1142361 h 1261733"/>
                <a:gd name="connsiteX146" fmla="*/ 1650876 w 2511816"/>
                <a:gd name="connsiteY146" fmla="*/ 1151392 h 1261733"/>
                <a:gd name="connsiteX147" fmla="*/ 1649090 w 2511816"/>
                <a:gd name="connsiteY147" fmla="*/ 1158101 h 1261733"/>
                <a:gd name="connsiteX148" fmla="*/ 1648492 w 2511816"/>
                <a:gd name="connsiteY148" fmla="*/ 1160542 h 1261733"/>
                <a:gd name="connsiteX149" fmla="*/ 1641606 w 2511816"/>
                <a:gd name="connsiteY149" fmla="*/ 1179671 h 1261733"/>
                <a:gd name="connsiteX150" fmla="*/ 1641599 w 2511816"/>
                <a:gd name="connsiteY150" fmla="*/ 1179686 h 1261733"/>
                <a:gd name="connsiteX151" fmla="*/ 1641557 w 2511816"/>
                <a:gd name="connsiteY151" fmla="*/ 1179791 h 1261733"/>
                <a:gd name="connsiteX152" fmla="*/ 1640136 w 2511816"/>
                <a:gd name="connsiteY152" fmla="*/ 1183610 h 1261733"/>
                <a:gd name="connsiteX153" fmla="*/ 1638427 w 2511816"/>
                <a:gd name="connsiteY153" fmla="*/ 1187548 h 1261733"/>
                <a:gd name="connsiteX154" fmla="*/ 1638427 w 2511816"/>
                <a:gd name="connsiteY154" fmla="*/ 1187556 h 1261733"/>
                <a:gd name="connsiteX155" fmla="*/ 1635361 w 2511816"/>
                <a:gd name="connsiteY155" fmla="*/ 1194750 h 1261733"/>
                <a:gd name="connsiteX156" fmla="*/ 1629080 w 2511816"/>
                <a:gd name="connsiteY156" fmla="*/ 1194110 h 1261733"/>
                <a:gd name="connsiteX157" fmla="*/ 1621836 w 2511816"/>
                <a:gd name="connsiteY157" fmla="*/ 1192366 h 1261733"/>
                <a:gd name="connsiteX158" fmla="*/ 1609908 w 2511816"/>
                <a:gd name="connsiteY158" fmla="*/ 1194750 h 1261733"/>
                <a:gd name="connsiteX159" fmla="*/ 1604732 w 2511816"/>
                <a:gd name="connsiteY159" fmla="*/ 1199920 h 1261733"/>
                <a:gd name="connsiteX160" fmla="*/ 1607918 w 2511816"/>
                <a:gd name="connsiteY160" fmla="*/ 1206284 h 1261733"/>
                <a:gd name="connsiteX161" fmla="*/ 1607918 w 2511816"/>
                <a:gd name="connsiteY161" fmla="*/ 1228657 h 1261733"/>
                <a:gd name="connsiteX162" fmla="*/ 1610569 w 2511816"/>
                <a:gd name="connsiteY162" fmla="*/ 1229733 h 1261733"/>
                <a:gd name="connsiteX163" fmla="*/ 1628855 w 2511816"/>
                <a:gd name="connsiteY163" fmla="*/ 1234304 h 1261733"/>
                <a:gd name="connsiteX164" fmla="*/ 1648639 w 2511816"/>
                <a:gd name="connsiteY164" fmla="*/ 1231266 h 1261733"/>
                <a:gd name="connsiteX165" fmla="*/ 1652065 w 2511816"/>
                <a:gd name="connsiteY165" fmla="*/ 1229733 h 1261733"/>
                <a:gd name="connsiteX166" fmla="*/ 1663550 w 2511816"/>
                <a:gd name="connsiteY166" fmla="*/ 1221391 h 1261733"/>
                <a:gd name="connsiteX167" fmla="*/ 1663550 w 2511816"/>
                <a:gd name="connsiteY167" fmla="*/ 1221391 h 1261733"/>
                <a:gd name="connsiteX168" fmla="*/ 1686526 w 2511816"/>
                <a:gd name="connsiteY168" fmla="*/ 1205469 h 1261733"/>
                <a:gd name="connsiteX169" fmla="*/ 1709553 w 2511816"/>
                <a:gd name="connsiteY169" fmla="*/ 1168454 h 1261733"/>
                <a:gd name="connsiteX170" fmla="*/ 1709553 w 2511816"/>
                <a:gd name="connsiteY170" fmla="*/ 1168454 h 1261733"/>
                <a:gd name="connsiteX171" fmla="*/ 1717472 w 2511816"/>
                <a:gd name="connsiteY171" fmla="*/ 1150611 h 1261733"/>
                <a:gd name="connsiteX172" fmla="*/ 1723520 w 2511816"/>
                <a:gd name="connsiteY172" fmla="*/ 1139492 h 1261733"/>
                <a:gd name="connsiteX173" fmla="*/ 1723520 w 2511816"/>
                <a:gd name="connsiteY173" fmla="*/ 1139492 h 1261733"/>
                <a:gd name="connsiteX174" fmla="*/ 1742791 w 2511816"/>
                <a:gd name="connsiteY174" fmla="*/ 1107358 h 1261733"/>
                <a:gd name="connsiteX175" fmla="*/ 1755450 w 2511816"/>
                <a:gd name="connsiteY175" fmla="*/ 1036675 h 1261733"/>
                <a:gd name="connsiteX176" fmla="*/ 1755943 w 2511816"/>
                <a:gd name="connsiteY176" fmla="*/ 1030993 h 1261733"/>
                <a:gd name="connsiteX177" fmla="*/ 1757012 w 2511816"/>
                <a:gd name="connsiteY177" fmla="*/ 1031260 h 1261733"/>
                <a:gd name="connsiteX178" fmla="*/ 1760725 w 2511816"/>
                <a:gd name="connsiteY178" fmla="*/ 1032104 h 1261733"/>
                <a:gd name="connsiteX179" fmla="*/ 1767955 w 2511816"/>
                <a:gd name="connsiteY179" fmla="*/ 1016730 h 1261733"/>
                <a:gd name="connsiteX180" fmla="*/ 1768462 w 2511816"/>
                <a:gd name="connsiteY180" fmla="*/ 1013818 h 1261733"/>
                <a:gd name="connsiteX181" fmla="*/ 1764242 w 2511816"/>
                <a:gd name="connsiteY181" fmla="*/ 1001313 h 1261733"/>
                <a:gd name="connsiteX182" fmla="*/ 1760725 w 2511816"/>
                <a:gd name="connsiteY182" fmla="*/ 994829 h 1261733"/>
                <a:gd name="connsiteX183" fmla="*/ 1755450 w 2511816"/>
                <a:gd name="connsiteY183" fmla="*/ 980411 h 1261733"/>
                <a:gd name="connsiteX184" fmla="*/ 1736461 w 2511816"/>
                <a:gd name="connsiteY184" fmla="*/ 970565 h 1261733"/>
                <a:gd name="connsiteX185" fmla="*/ 1728401 w 2511816"/>
                <a:gd name="connsiteY185" fmla="*/ 979588 h 1261733"/>
                <a:gd name="connsiteX186" fmla="*/ 1724505 w 2511816"/>
                <a:gd name="connsiteY186" fmla="*/ 986389 h 1261733"/>
                <a:gd name="connsiteX187" fmla="*/ 1704461 w 2511816"/>
                <a:gd name="connsiteY187" fmla="*/ 980411 h 1261733"/>
                <a:gd name="connsiteX188" fmla="*/ 1693271 w 2511816"/>
                <a:gd name="connsiteY188" fmla="*/ 967843 h 1261733"/>
                <a:gd name="connsiteX189" fmla="*/ 1690043 w 2511816"/>
                <a:gd name="connsiteY189" fmla="*/ 963883 h 1261733"/>
                <a:gd name="connsiteX190" fmla="*/ 1683432 w 2511816"/>
                <a:gd name="connsiteY190" fmla="*/ 960655 h 1261733"/>
                <a:gd name="connsiteX191" fmla="*/ 1672109 w 2511816"/>
                <a:gd name="connsiteY191" fmla="*/ 953685 h 1261733"/>
                <a:gd name="connsiteX192" fmla="*/ 1679318 w 2511816"/>
                <a:gd name="connsiteY192" fmla="*/ 943424 h 1261733"/>
                <a:gd name="connsiteX193" fmla="*/ 1686526 w 2511816"/>
                <a:gd name="connsiteY193" fmla="*/ 939971 h 1261733"/>
                <a:gd name="connsiteX194" fmla="*/ 1755450 w 2511816"/>
                <a:gd name="connsiteY194" fmla="*/ 852058 h 1261733"/>
                <a:gd name="connsiteX195" fmla="*/ 1819310 w 2511816"/>
                <a:gd name="connsiteY195" fmla="*/ 827020 h 1261733"/>
                <a:gd name="connsiteX196" fmla="*/ 1847232 w 2511816"/>
                <a:gd name="connsiteY196" fmla="*/ 827090 h 1261733"/>
                <a:gd name="connsiteX197" fmla="*/ 1862029 w 2511816"/>
                <a:gd name="connsiteY197" fmla="*/ 824094 h 1261733"/>
                <a:gd name="connsiteX198" fmla="*/ 1889782 w 2511816"/>
                <a:gd name="connsiteY198" fmla="*/ 814431 h 1261733"/>
                <a:gd name="connsiteX199" fmla="*/ 1899150 w 2511816"/>
                <a:gd name="connsiteY199" fmla="*/ 812778 h 1261733"/>
                <a:gd name="connsiteX200" fmla="*/ 1904200 w 2511816"/>
                <a:gd name="connsiteY200" fmla="*/ 814431 h 1261733"/>
                <a:gd name="connsiteX201" fmla="*/ 1916121 w 2511816"/>
                <a:gd name="connsiteY201" fmla="*/ 824481 h 1261733"/>
                <a:gd name="connsiteX202" fmla="*/ 1916690 w 2511816"/>
                <a:gd name="connsiteY202" fmla="*/ 825318 h 1261733"/>
                <a:gd name="connsiteX203" fmla="*/ 1917914 w 2511816"/>
                <a:gd name="connsiteY203" fmla="*/ 827090 h 1261733"/>
                <a:gd name="connsiteX204" fmla="*/ 1944640 w 2511816"/>
                <a:gd name="connsiteY204" fmla="*/ 840102 h 1261733"/>
                <a:gd name="connsiteX205" fmla="*/ 1956793 w 2511816"/>
                <a:gd name="connsiteY205" fmla="*/ 836198 h 1261733"/>
                <a:gd name="connsiteX206" fmla="*/ 1959057 w 2511816"/>
                <a:gd name="connsiteY206" fmla="*/ 833068 h 1261733"/>
                <a:gd name="connsiteX207" fmla="*/ 1969607 w 2511816"/>
                <a:gd name="connsiteY207" fmla="*/ 821112 h 1261733"/>
                <a:gd name="connsiteX208" fmla="*/ 1955189 w 2511816"/>
                <a:gd name="connsiteY208" fmla="*/ 807046 h 1261733"/>
                <a:gd name="connsiteX209" fmla="*/ 1977343 w 2511816"/>
                <a:gd name="connsiteY209" fmla="*/ 783485 h 1261733"/>
                <a:gd name="connsiteX210" fmla="*/ 2004463 w 2511816"/>
                <a:gd name="connsiteY210" fmla="*/ 760734 h 1261733"/>
                <a:gd name="connsiteX211" fmla="*/ 2012860 w 2511816"/>
                <a:gd name="connsiteY211" fmla="*/ 754650 h 1261733"/>
                <a:gd name="connsiteX212" fmla="*/ 2036801 w 2511816"/>
                <a:gd name="connsiteY212" fmla="*/ 745704 h 1261733"/>
                <a:gd name="connsiteX213" fmla="*/ 2036808 w 2511816"/>
                <a:gd name="connsiteY213" fmla="*/ 745704 h 1261733"/>
                <a:gd name="connsiteX214" fmla="*/ 2040289 w 2511816"/>
                <a:gd name="connsiteY214" fmla="*/ 745859 h 1261733"/>
                <a:gd name="connsiteX215" fmla="*/ 2046661 w 2511816"/>
                <a:gd name="connsiteY215" fmla="*/ 754165 h 1261733"/>
                <a:gd name="connsiteX216" fmla="*/ 2050839 w 2511816"/>
                <a:gd name="connsiteY216" fmla="*/ 766254 h 1261733"/>
                <a:gd name="connsiteX217" fmla="*/ 2059771 w 2511816"/>
                <a:gd name="connsiteY217" fmla="*/ 767949 h 1261733"/>
                <a:gd name="connsiteX218" fmla="*/ 2067718 w 2511816"/>
                <a:gd name="connsiteY218" fmla="*/ 761683 h 1261733"/>
                <a:gd name="connsiteX219" fmla="*/ 2080300 w 2511816"/>
                <a:gd name="connsiteY219" fmla="*/ 752976 h 1261733"/>
                <a:gd name="connsiteX220" fmla="*/ 2097257 w 2511816"/>
                <a:gd name="connsiteY220" fmla="*/ 741990 h 1261733"/>
                <a:gd name="connsiteX221" fmla="*/ 2108861 w 2511816"/>
                <a:gd name="connsiteY221" fmla="*/ 724408 h 1261733"/>
                <a:gd name="connsiteX222" fmla="*/ 2119411 w 2511816"/>
                <a:gd name="connsiteY222" fmla="*/ 717726 h 1261733"/>
                <a:gd name="connsiteX223" fmla="*/ 2136994 w 2511816"/>
                <a:gd name="connsiteY223" fmla="*/ 728276 h 1261733"/>
                <a:gd name="connsiteX224" fmla="*/ 2115895 w 2511816"/>
                <a:gd name="connsiteY224" fmla="*/ 766254 h 1261733"/>
                <a:gd name="connsiteX225" fmla="*/ 2067718 w 2511816"/>
                <a:gd name="connsiteY225" fmla="*/ 814431 h 1261733"/>
                <a:gd name="connsiteX226" fmla="*/ 2036759 w 2511816"/>
                <a:gd name="connsiteY226" fmla="*/ 847683 h 1261733"/>
                <a:gd name="connsiteX227" fmla="*/ 2036759 w 2511816"/>
                <a:gd name="connsiteY227" fmla="*/ 847683 h 1261733"/>
                <a:gd name="connsiteX228" fmla="*/ 2036759 w 2511816"/>
                <a:gd name="connsiteY228" fmla="*/ 847683 h 1261733"/>
                <a:gd name="connsiteX229" fmla="*/ 2020597 w 2511816"/>
                <a:gd name="connsiteY229" fmla="*/ 866475 h 1261733"/>
                <a:gd name="connsiteX230" fmla="*/ 1997845 w 2511816"/>
                <a:gd name="connsiteY230" fmla="*/ 900410 h 1261733"/>
                <a:gd name="connsiteX231" fmla="*/ 1997838 w 2511816"/>
                <a:gd name="connsiteY231" fmla="*/ 900410 h 1261733"/>
                <a:gd name="connsiteX232" fmla="*/ 1997838 w 2511816"/>
                <a:gd name="connsiteY232" fmla="*/ 900410 h 1261733"/>
                <a:gd name="connsiteX233" fmla="*/ 1992464 w 2511816"/>
                <a:gd name="connsiteY233" fmla="*/ 909729 h 1261733"/>
                <a:gd name="connsiteX234" fmla="*/ 1994898 w 2511816"/>
                <a:gd name="connsiteY234" fmla="*/ 963588 h 1261733"/>
                <a:gd name="connsiteX235" fmla="*/ 1994905 w 2511816"/>
                <a:gd name="connsiteY235" fmla="*/ 963609 h 1261733"/>
                <a:gd name="connsiteX236" fmla="*/ 1997036 w 2511816"/>
                <a:gd name="connsiteY236" fmla="*/ 986389 h 1261733"/>
                <a:gd name="connsiteX237" fmla="*/ 2012860 w 2511816"/>
                <a:gd name="connsiteY237" fmla="*/ 1041950 h 1261733"/>
                <a:gd name="connsiteX238" fmla="*/ 2020597 w 2511816"/>
                <a:gd name="connsiteY238" fmla="*/ 1032104 h 1261733"/>
                <a:gd name="connsiteX239" fmla="*/ 2032904 w 2511816"/>
                <a:gd name="connsiteY239" fmla="*/ 1000807 h 1261733"/>
                <a:gd name="connsiteX240" fmla="*/ 2052112 w 2511816"/>
                <a:gd name="connsiteY240" fmla="*/ 980235 h 1261733"/>
                <a:gd name="connsiteX241" fmla="*/ 2052119 w 2511816"/>
                <a:gd name="connsiteY241" fmla="*/ 980235 h 1261733"/>
                <a:gd name="connsiteX242" fmla="*/ 2057872 w 2511816"/>
                <a:gd name="connsiteY242" fmla="*/ 975136 h 1261733"/>
                <a:gd name="connsiteX243" fmla="*/ 2080026 w 2511816"/>
                <a:gd name="connsiteY243" fmla="*/ 939971 h 1261733"/>
                <a:gd name="connsiteX244" fmla="*/ 2083373 w 2511816"/>
                <a:gd name="connsiteY244" fmla="*/ 927178 h 1261733"/>
                <a:gd name="connsiteX245" fmla="*/ 2085301 w 2511816"/>
                <a:gd name="connsiteY245" fmla="*/ 920278 h 1261733"/>
                <a:gd name="connsiteX246" fmla="*/ 2101828 w 2511816"/>
                <a:gd name="connsiteY246" fmla="*/ 894608 h 1261733"/>
                <a:gd name="connsiteX247" fmla="*/ 2097257 w 2511816"/>
                <a:gd name="connsiteY247" fmla="*/ 870344 h 1261733"/>
                <a:gd name="connsiteX248" fmla="*/ 2085301 w 2511816"/>
                <a:gd name="connsiteY248" fmla="*/ 846783 h 1261733"/>
                <a:gd name="connsiteX249" fmla="*/ 2099050 w 2511816"/>
                <a:gd name="connsiteY249" fmla="*/ 824594 h 1261733"/>
                <a:gd name="connsiteX250" fmla="*/ 2105697 w 2511816"/>
                <a:gd name="connsiteY250" fmla="*/ 814431 h 1261733"/>
                <a:gd name="connsiteX251" fmla="*/ 2115895 w 2511816"/>
                <a:gd name="connsiteY251" fmla="*/ 801068 h 1261733"/>
                <a:gd name="connsiteX252" fmla="*/ 2131473 w 2511816"/>
                <a:gd name="connsiteY252" fmla="*/ 795090 h 1261733"/>
                <a:gd name="connsiteX253" fmla="*/ 2132422 w 2511816"/>
                <a:gd name="connsiteY253" fmla="*/ 795090 h 1261733"/>
                <a:gd name="connsiteX254" fmla="*/ 2147895 w 2511816"/>
                <a:gd name="connsiteY254" fmla="*/ 801068 h 1261733"/>
                <a:gd name="connsiteX255" fmla="*/ 2167939 w 2511816"/>
                <a:gd name="connsiteY255" fmla="*/ 795090 h 1261733"/>
                <a:gd name="connsiteX256" fmla="*/ 2181654 w 2511816"/>
                <a:gd name="connsiteY256" fmla="*/ 786650 h 1261733"/>
                <a:gd name="connsiteX257" fmla="*/ 2205939 w 2511816"/>
                <a:gd name="connsiteY257" fmla="*/ 793360 h 1261733"/>
                <a:gd name="connsiteX258" fmla="*/ 2205946 w 2511816"/>
                <a:gd name="connsiteY258" fmla="*/ 793367 h 1261733"/>
                <a:gd name="connsiteX259" fmla="*/ 2209082 w 2511816"/>
                <a:gd name="connsiteY259" fmla="*/ 795090 h 1261733"/>
                <a:gd name="connsiteX260" fmla="*/ 2221390 w 2511816"/>
                <a:gd name="connsiteY260" fmla="*/ 795090 h 1261733"/>
                <a:gd name="connsiteX261" fmla="*/ 2236160 w 2511816"/>
                <a:gd name="connsiteY261" fmla="*/ 776804 h 1261733"/>
                <a:gd name="connsiteX262" fmla="*/ 2266121 w 2511816"/>
                <a:gd name="connsiteY262" fmla="*/ 752463 h 1261733"/>
                <a:gd name="connsiteX263" fmla="*/ 2287149 w 2511816"/>
                <a:gd name="connsiteY263" fmla="*/ 736716 h 1261733"/>
                <a:gd name="connsiteX264" fmla="*/ 2320324 w 2511816"/>
                <a:gd name="connsiteY264" fmla="*/ 720033 h 1261733"/>
                <a:gd name="connsiteX265" fmla="*/ 2320331 w 2511816"/>
                <a:gd name="connsiteY265" fmla="*/ 720033 h 1261733"/>
                <a:gd name="connsiteX266" fmla="*/ 2326534 w 2511816"/>
                <a:gd name="connsiteY266" fmla="*/ 717726 h 1261733"/>
                <a:gd name="connsiteX267" fmla="*/ 2342668 w 2511816"/>
                <a:gd name="connsiteY267" fmla="*/ 721088 h 1261733"/>
                <a:gd name="connsiteX268" fmla="*/ 2350447 w 2511816"/>
                <a:gd name="connsiteY268" fmla="*/ 724056 h 1261733"/>
                <a:gd name="connsiteX269" fmla="*/ 2349301 w 2511816"/>
                <a:gd name="connsiteY269" fmla="*/ 693308 h 1261733"/>
                <a:gd name="connsiteX270" fmla="*/ 2349301 w 2511816"/>
                <a:gd name="connsiteY270" fmla="*/ 693308 h 1261733"/>
                <a:gd name="connsiteX271" fmla="*/ 2349293 w 2511816"/>
                <a:gd name="connsiteY271" fmla="*/ 693301 h 1261733"/>
                <a:gd name="connsiteX272" fmla="*/ 2347985 w 2511816"/>
                <a:gd name="connsiteY272" fmla="*/ 686078 h 1261733"/>
                <a:gd name="connsiteX273" fmla="*/ 2342014 w 2511816"/>
                <a:gd name="connsiteY273" fmla="*/ 671758 h 1261733"/>
                <a:gd name="connsiteX274" fmla="*/ 2338842 w 2511816"/>
                <a:gd name="connsiteY274" fmla="*/ 666737 h 1261733"/>
                <a:gd name="connsiteX275" fmla="*/ 2321773 w 2511816"/>
                <a:gd name="connsiteY275" fmla="*/ 654183 h 1261733"/>
                <a:gd name="connsiteX276" fmla="*/ 2321766 w 2511816"/>
                <a:gd name="connsiteY276" fmla="*/ 654183 h 1261733"/>
                <a:gd name="connsiteX277" fmla="*/ 2318798 w 2511816"/>
                <a:gd name="connsiteY277" fmla="*/ 652671 h 1261733"/>
                <a:gd name="connsiteX278" fmla="*/ 2314930 w 2511816"/>
                <a:gd name="connsiteY278" fmla="*/ 637550 h 1261733"/>
                <a:gd name="connsiteX279" fmla="*/ 2334911 w 2511816"/>
                <a:gd name="connsiteY279" fmla="*/ 646200 h 1261733"/>
                <a:gd name="connsiteX280" fmla="*/ 2338842 w 2511816"/>
                <a:gd name="connsiteY280" fmla="*/ 648099 h 1261733"/>
                <a:gd name="connsiteX281" fmla="*/ 2361932 w 2511816"/>
                <a:gd name="connsiteY281" fmla="*/ 637683 h 1261733"/>
                <a:gd name="connsiteX282" fmla="*/ 2362051 w 2511816"/>
                <a:gd name="connsiteY282" fmla="*/ 637550 h 1261733"/>
                <a:gd name="connsiteX283" fmla="*/ 2372249 w 2511816"/>
                <a:gd name="connsiteY283" fmla="*/ 621022 h 1261733"/>
                <a:gd name="connsiteX284" fmla="*/ 2367228 w 2511816"/>
                <a:gd name="connsiteY284" fmla="*/ 612547 h 1261733"/>
                <a:gd name="connsiteX285" fmla="*/ 2362051 w 2511816"/>
                <a:gd name="connsiteY285" fmla="*/ 606604 h 1261733"/>
                <a:gd name="connsiteX286" fmla="*/ 2372249 w 2511816"/>
                <a:gd name="connsiteY286" fmla="*/ 586912 h 1261733"/>
                <a:gd name="connsiteX287" fmla="*/ 2381814 w 2511816"/>
                <a:gd name="connsiteY287" fmla="*/ 590724 h 1261733"/>
                <a:gd name="connsiteX288" fmla="*/ 2384206 w 2511816"/>
                <a:gd name="connsiteY288" fmla="*/ 592890 h 1261733"/>
                <a:gd name="connsiteX289" fmla="*/ 2385464 w 2511816"/>
                <a:gd name="connsiteY289" fmla="*/ 604579 h 1261733"/>
                <a:gd name="connsiteX290" fmla="*/ 2385464 w 2511816"/>
                <a:gd name="connsiteY290" fmla="*/ 604586 h 1261733"/>
                <a:gd name="connsiteX291" fmla="*/ 2385612 w 2511816"/>
                <a:gd name="connsiteY291" fmla="*/ 616450 h 1261733"/>
                <a:gd name="connsiteX292" fmla="*/ 2405101 w 2511816"/>
                <a:gd name="connsiteY292" fmla="*/ 623174 h 1261733"/>
                <a:gd name="connsiteX293" fmla="*/ 2407766 w 2511816"/>
                <a:gd name="connsiteY293" fmla="*/ 623132 h 1261733"/>
                <a:gd name="connsiteX294" fmla="*/ 2416958 w 2511816"/>
                <a:gd name="connsiteY294" fmla="*/ 618131 h 1261733"/>
                <a:gd name="connsiteX295" fmla="*/ 2421129 w 2511816"/>
                <a:gd name="connsiteY295" fmla="*/ 614692 h 1261733"/>
                <a:gd name="connsiteX296" fmla="*/ 2429407 w 2511816"/>
                <a:gd name="connsiteY296" fmla="*/ 621134 h 1261733"/>
                <a:gd name="connsiteX297" fmla="*/ 2430624 w 2511816"/>
                <a:gd name="connsiteY297" fmla="*/ 623132 h 1261733"/>
                <a:gd name="connsiteX298" fmla="*/ 2432579 w 2511816"/>
                <a:gd name="connsiteY298" fmla="*/ 626515 h 1261733"/>
                <a:gd name="connsiteX299" fmla="*/ 2432579 w 2511816"/>
                <a:gd name="connsiteY299" fmla="*/ 626515 h 1261733"/>
                <a:gd name="connsiteX300" fmla="*/ 2444338 w 2511816"/>
                <a:gd name="connsiteY300" fmla="*/ 641769 h 1261733"/>
                <a:gd name="connsiteX301" fmla="*/ 2459811 w 2511816"/>
                <a:gd name="connsiteY301" fmla="*/ 657945 h 1261733"/>
                <a:gd name="connsiteX302" fmla="*/ 2483020 w 2511816"/>
                <a:gd name="connsiteY302" fmla="*/ 660055 h 1261733"/>
                <a:gd name="connsiteX303" fmla="*/ 2484370 w 2511816"/>
                <a:gd name="connsiteY303" fmla="*/ 647529 h 1261733"/>
                <a:gd name="connsiteX304" fmla="*/ 2483020 w 2511816"/>
                <a:gd name="connsiteY304" fmla="*/ 641769 h 1261733"/>
                <a:gd name="connsiteX305" fmla="*/ 2493921 w 2511816"/>
                <a:gd name="connsiteY305" fmla="*/ 614692 h 1261733"/>
                <a:gd name="connsiteX306" fmla="*/ 2505413 w 2511816"/>
                <a:gd name="connsiteY306" fmla="*/ 606400 h 1261733"/>
                <a:gd name="connsiteX307" fmla="*/ 2511504 w 2511816"/>
                <a:gd name="connsiteY307" fmla="*/ 602033 h 1261733"/>
                <a:gd name="connsiteX308" fmla="*/ 2511637 w 2511816"/>
                <a:gd name="connsiteY308" fmla="*/ 599283 h 1261733"/>
                <a:gd name="connsiteX309" fmla="*/ 2511637 w 2511816"/>
                <a:gd name="connsiteY309" fmla="*/ 599283 h 1261733"/>
                <a:gd name="connsiteX310" fmla="*/ 2511504 w 2511816"/>
                <a:gd name="connsiteY310" fmla="*/ 590428 h 1261733"/>
                <a:gd name="connsiteX311" fmla="*/ 2501496 w 2511816"/>
                <a:gd name="connsiteY311" fmla="*/ 574857 h 1261733"/>
                <a:gd name="connsiteX312" fmla="*/ 2496734 w 2511816"/>
                <a:gd name="connsiteY312" fmla="*/ 568626 h 1261733"/>
                <a:gd name="connsiteX313" fmla="*/ 2467547 w 2511816"/>
                <a:gd name="connsiteY313" fmla="*/ 558076 h 1261733"/>
                <a:gd name="connsiteX314" fmla="*/ 2464607 w 2511816"/>
                <a:gd name="connsiteY314" fmla="*/ 575026 h 1261733"/>
                <a:gd name="connsiteX315" fmla="*/ 2467547 w 2511816"/>
                <a:gd name="connsiteY315" fmla="*/ 584802 h 1261733"/>
                <a:gd name="connsiteX316" fmla="*/ 2458306 w 2511816"/>
                <a:gd name="connsiteY316" fmla="*/ 590477 h 1261733"/>
                <a:gd name="connsiteX317" fmla="*/ 2458285 w 2511816"/>
                <a:gd name="connsiteY317" fmla="*/ 590477 h 1261733"/>
                <a:gd name="connsiteX318" fmla="*/ 2457701 w 2511816"/>
                <a:gd name="connsiteY318" fmla="*/ 590428 h 1261733"/>
                <a:gd name="connsiteX319" fmla="*/ 2444338 w 2511816"/>
                <a:gd name="connsiteY319" fmla="*/ 573900 h 1261733"/>
                <a:gd name="connsiteX320" fmla="*/ 2438712 w 2511816"/>
                <a:gd name="connsiteY320" fmla="*/ 541900 h 1261733"/>
                <a:gd name="connsiteX321" fmla="*/ 2426812 w 2511816"/>
                <a:gd name="connsiteY321" fmla="*/ 527616 h 1261733"/>
                <a:gd name="connsiteX322" fmla="*/ 2414096 w 2511816"/>
                <a:gd name="connsiteY322" fmla="*/ 518339 h 1261733"/>
                <a:gd name="connsiteX323" fmla="*/ 2393939 w 2511816"/>
                <a:gd name="connsiteY323" fmla="*/ 498513 h 1261733"/>
                <a:gd name="connsiteX324" fmla="*/ 2393932 w 2511816"/>
                <a:gd name="connsiteY324" fmla="*/ 498513 h 1261733"/>
                <a:gd name="connsiteX325" fmla="*/ 2384206 w 2511816"/>
                <a:gd name="connsiteY325" fmla="*/ 489504 h 1261733"/>
                <a:gd name="connsiteX326" fmla="*/ 2341304 w 2511816"/>
                <a:gd name="connsiteY326" fmla="*/ 459613 h 1261733"/>
                <a:gd name="connsiteX327" fmla="*/ 2291018 w 2511816"/>
                <a:gd name="connsiteY327" fmla="*/ 440624 h 1261733"/>
                <a:gd name="connsiteX328" fmla="*/ 2285405 w 2511816"/>
                <a:gd name="connsiteY328" fmla="*/ 441081 h 1261733"/>
                <a:gd name="connsiteX329" fmla="*/ 2255852 w 2511816"/>
                <a:gd name="connsiteY329" fmla="*/ 440624 h 1261733"/>
                <a:gd name="connsiteX330" fmla="*/ 2237791 w 2511816"/>
                <a:gd name="connsiteY330" fmla="*/ 434583 h 1261733"/>
                <a:gd name="connsiteX331" fmla="*/ 2231588 w 2511816"/>
                <a:gd name="connsiteY331" fmla="*/ 431833 h 1261733"/>
                <a:gd name="connsiteX332" fmla="*/ 2219752 w 2511816"/>
                <a:gd name="connsiteY332" fmla="*/ 437909 h 1261733"/>
                <a:gd name="connsiteX333" fmla="*/ 2217874 w 2511816"/>
                <a:gd name="connsiteY333" fmla="*/ 440624 h 1261733"/>
                <a:gd name="connsiteX334" fmla="*/ 2223866 w 2511816"/>
                <a:gd name="connsiteY334" fmla="*/ 455436 h 1261733"/>
                <a:gd name="connsiteX335" fmla="*/ 2227720 w 2511816"/>
                <a:gd name="connsiteY335" fmla="*/ 459613 h 1261733"/>
                <a:gd name="connsiteX336" fmla="*/ 2226574 w 2511816"/>
                <a:gd name="connsiteY336" fmla="*/ 478019 h 1261733"/>
                <a:gd name="connsiteX337" fmla="*/ 2225610 w 2511816"/>
                <a:gd name="connsiteY337" fmla="*/ 480009 h 1261733"/>
                <a:gd name="connsiteX338" fmla="*/ 2211038 w 2511816"/>
                <a:gd name="connsiteY338" fmla="*/ 489152 h 1261733"/>
                <a:gd name="connsiteX339" fmla="*/ 2206621 w 2511816"/>
                <a:gd name="connsiteY339" fmla="*/ 489504 h 1261733"/>
                <a:gd name="connsiteX340" fmla="*/ 2197373 w 2511816"/>
                <a:gd name="connsiteY340" fmla="*/ 482422 h 1261733"/>
                <a:gd name="connsiteX341" fmla="*/ 2188687 w 2511816"/>
                <a:gd name="connsiteY341" fmla="*/ 472976 h 1261733"/>
                <a:gd name="connsiteX342" fmla="*/ 2190797 w 2511816"/>
                <a:gd name="connsiteY342" fmla="*/ 459613 h 1261733"/>
                <a:gd name="connsiteX343" fmla="*/ 2197478 w 2511816"/>
                <a:gd name="connsiteY343" fmla="*/ 440624 h 1261733"/>
                <a:gd name="connsiteX344" fmla="*/ 2186225 w 2511816"/>
                <a:gd name="connsiteY344" fmla="*/ 434294 h 1261733"/>
                <a:gd name="connsiteX345" fmla="*/ 2180838 w 2511816"/>
                <a:gd name="connsiteY345" fmla="*/ 438788 h 1261733"/>
                <a:gd name="connsiteX346" fmla="*/ 2167236 w 2511816"/>
                <a:gd name="connsiteY346" fmla="*/ 448712 h 1261733"/>
                <a:gd name="connsiteX347" fmla="*/ 2137345 w 2511816"/>
                <a:gd name="connsiteY347" fmla="*/ 448712 h 1261733"/>
                <a:gd name="connsiteX348" fmla="*/ 2116134 w 2511816"/>
                <a:gd name="connsiteY348" fmla="*/ 448389 h 1261733"/>
                <a:gd name="connsiteX349" fmla="*/ 2107103 w 2511816"/>
                <a:gd name="connsiteY349" fmla="*/ 448712 h 1261733"/>
                <a:gd name="connsiteX350" fmla="*/ 2070883 w 2511816"/>
                <a:gd name="connsiteY350" fmla="*/ 446954 h 1261733"/>
                <a:gd name="connsiteX351" fmla="*/ 2051190 w 2511816"/>
                <a:gd name="connsiteY351" fmla="*/ 446954 h 1261733"/>
                <a:gd name="connsiteX352" fmla="*/ 2048103 w 2511816"/>
                <a:gd name="connsiteY352" fmla="*/ 438978 h 1261733"/>
                <a:gd name="connsiteX353" fmla="*/ 2046971 w 2511816"/>
                <a:gd name="connsiteY353" fmla="*/ 431833 h 1261733"/>
                <a:gd name="connsiteX354" fmla="*/ 2047526 w 2511816"/>
                <a:gd name="connsiteY354" fmla="*/ 420903 h 1261733"/>
                <a:gd name="connsiteX355" fmla="*/ 2046971 w 2511816"/>
                <a:gd name="connsiteY355" fmla="*/ 398074 h 1261733"/>
                <a:gd name="connsiteX356" fmla="*/ 2004906 w 2511816"/>
                <a:gd name="connsiteY356" fmla="*/ 387525 h 1261733"/>
                <a:gd name="connsiteX357" fmla="*/ 2004899 w 2511816"/>
                <a:gd name="connsiteY357" fmla="*/ 387525 h 1261733"/>
                <a:gd name="connsiteX358" fmla="*/ 2004069 w 2511816"/>
                <a:gd name="connsiteY358" fmla="*/ 387525 h 1261733"/>
                <a:gd name="connsiteX359" fmla="*/ 1998850 w 2511816"/>
                <a:gd name="connsiteY359" fmla="*/ 387292 h 1261733"/>
                <a:gd name="connsiteX360" fmla="*/ 1978750 w 2511816"/>
                <a:gd name="connsiteY360" fmla="*/ 387525 h 1261733"/>
                <a:gd name="connsiteX361" fmla="*/ 1968517 w 2511816"/>
                <a:gd name="connsiteY361" fmla="*/ 392511 h 1261733"/>
                <a:gd name="connsiteX362" fmla="*/ 1958002 w 2511816"/>
                <a:gd name="connsiteY362" fmla="*/ 398074 h 1261733"/>
                <a:gd name="connsiteX363" fmla="*/ 1941468 w 2511816"/>
                <a:gd name="connsiteY363" fmla="*/ 398545 h 1261733"/>
                <a:gd name="connsiteX364" fmla="*/ 1936552 w 2511816"/>
                <a:gd name="connsiteY364" fmla="*/ 398074 h 1261733"/>
                <a:gd name="connsiteX365" fmla="*/ 1927894 w 2511816"/>
                <a:gd name="connsiteY365" fmla="*/ 386920 h 1261733"/>
                <a:gd name="connsiteX366" fmla="*/ 1925650 w 2511816"/>
                <a:gd name="connsiteY366" fmla="*/ 382250 h 1261733"/>
                <a:gd name="connsiteX367" fmla="*/ 1906661 w 2511816"/>
                <a:gd name="connsiteY367" fmla="*/ 368184 h 1261733"/>
                <a:gd name="connsiteX368" fmla="*/ 1888727 w 2511816"/>
                <a:gd name="connsiteY368" fmla="*/ 346381 h 1261733"/>
                <a:gd name="connsiteX369" fmla="*/ 1891955 w 2511816"/>
                <a:gd name="connsiteY369" fmla="*/ 340916 h 1261733"/>
                <a:gd name="connsiteX370" fmla="*/ 1895408 w 2511816"/>
                <a:gd name="connsiteY370" fmla="*/ 331963 h 1261733"/>
                <a:gd name="connsiteX371" fmla="*/ 1884331 w 2511816"/>
                <a:gd name="connsiteY371" fmla="*/ 328897 h 1261733"/>
                <a:gd name="connsiteX372" fmla="*/ 1873254 w 2511816"/>
                <a:gd name="connsiteY372" fmla="*/ 326689 h 1261733"/>
                <a:gd name="connsiteX373" fmla="*/ 1847583 w 2511816"/>
                <a:gd name="connsiteY373" fmla="*/ 329502 h 1261733"/>
                <a:gd name="connsiteX374" fmla="*/ 1846676 w 2511816"/>
                <a:gd name="connsiteY374" fmla="*/ 335902 h 1261733"/>
                <a:gd name="connsiteX375" fmla="*/ 1846676 w 2511816"/>
                <a:gd name="connsiteY375" fmla="*/ 335902 h 1261733"/>
                <a:gd name="connsiteX376" fmla="*/ 1843012 w 2511816"/>
                <a:gd name="connsiteY376" fmla="*/ 354469 h 1261733"/>
                <a:gd name="connsiteX377" fmla="*/ 1823671 w 2511816"/>
                <a:gd name="connsiteY377" fmla="*/ 354469 h 1261733"/>
                <a:gd name="connsiteX378" fmla="*/ 1828243 w 2511816"/>
                <a:gd name="connsiteY378" fmla="*/ 337238 h 1261733"/>
                <a:gd name="connsiteX379" fmla="*/ 1826569 w 2511816"/>
                <a:gd name="connsiteY379" fmla="*/ 331619 h 1261733"/>
                <a:gd name="connsiteX380" fmla="*/ 1823671 w 2511816"/>
                <a:gd name="connsiteY380" fmla="*/ 329502 h 1261733"/>
                <a:gd name="connsiteX381" fmla="*/ 1816800 w 2511816"/>
                <a:gd name="connsiteY381" fmla="*/ 327715 h 1261733"/>
                <a:gd name="connsiteX382" fmla="*/ 1811363 w 2511816"/>
                <a:gd name="connsiteY382" fmla="*/ 326689 h 1261733"/>
                <a:gd name="connsiteX383" fmla="*/ 1815260 w 2511816"/>
                <a:gd name="connsiteY383" fmla="*/ 320633 h 1261733"/>
                <a:gd name="connsiteX384" fmla="*/ 1815266 w 2511816"/>
                <a:gd name="connsiteY384" fmla="*/ 320633 h 1261733"/>
                <a:gd name="connsiteX385" fmla="*/ 1819803 w 2511816"/>
                <a:gd name="connsiteY385" fmla="*/ 316842 h 1261733"/>
                <a:gd name="connsiteX386" fmla="*/ 1823587 w 2511816"/>
                <a:gd name="connsiteY386" fmla="*/ 313375 h 1261733"/>
                <a:gd name="connsiteX387" fmla="*/ 1827188 w 2511816"/>
                <a:gd name="connsiteY387" fmla="*/ 307699 h 1261733"/>
                <a:gd name="connsiteX388" fmla="*/ 1804864 w 2511816"/>
                <a:gd name="connsiteY388" fmla="*/ 307221 h 1261733"/>
                <a:gd name="connsiteX389" fmla="*/ 1794132 w 2511816"/>
                <a:gd name="connsiteY389" fmla="*/ 307699 h 1261733"/>
                <a:gd name="connsiteX390" fmla="*/ 1780108 w 2511816"/>
                <a:gd name="connsiteY390" fmla="*/ 303536 h 1261733"/>
                <a:gd name="connsiteX391" fmla="*/ 1768110 w 2511816"/>
                <a:gd name="connsiteY391" fmla="*/ 299611 h 1261733"/>
                <a:gd name="connsiteX392" fmla="*/ 1764024 w 2511816"/>
                <a:gd name="connsiteY392" fmla="*/ 307826 h 1261733"/>
                <a:gd name="connsiteX393" fmla="*/ 1759670 w 2511816"/>
                <a:gd name="connsiteY393" fmla="*/ 316842 h 1261733"/>
                <a:gd name="connsiteX394" fmla="*/ 1750429 w 2511816"/>
                <a:gd name="connsiteY394" fmla="*/ 314444 h 1261733"/>
                <a:gd name="connsiteX395" fmla="*/ 1742439 w 2511816"/>
                <a:gd name="connsiteY395" fmla="*/ 312271 h 1261733"/>
                <a:gd name="connsiteX396" fmla="*/ 1735758 w 2511816"/>
                <a:gd name="connsiteY396" fmla="*/ 323524 h 1261733"/>
                <a:gd name="connsiteX397" fmla="*/ 1740829 w 2511816"/>
                <a:gd name="connsiteY397" fmla="*/ 329783 h 1261733"/>
                <a:gd name="connsiteX398" fmla="*/ 1749824 w 2511816"/>
                <a:gd name="connsiteY398" fmla="*/ 335480 h 1261733"/>
                <a:gd name="connsiteX399" fmla="*/ 1752912 w 2511816"/>
                <a:gd name="connsiteY399" fmla="*/ 346318 h 1261733"/>
                <a:gd name="connsiteX400" fmla="*/ 1749824 w 2511816"/>
                <a:gd name="connsiteY400" fmla="*/ 359744 h 1261733"/>
                <a:gd name="connsiteX401" fmla="*/ 1745309 w 2511816"/>
                <a:gd name="connsiteY401" fmla="*/ 369246 h 1261733"/>
                <a:gd name="connsiteX402" fmla="*/ 1742439 w 2511816"/>
                <a:gd name="connsiteY402" fmla="*/ 368184 h 1261733"/>
                <a:gd name="connsiteX403" fmla="*/ 1729076 w 2511816"/>
                <a:gd name="connsiteY403" fmla="*/ 361854 h 1261733"/>
                <a:gd name="connsiteX404" fmla="*/ 1729076 w 2511816"/>
                <a:gd name="connsiteY404" fmla="*/ 376975 h 1261733"/>
                <a:gd name="connsiteX405" fmla="*/ 1716417 w 2511816"/>
                <a:gd name="connsiteY405" fmla="*/ 382250 h 1261733"/>
                <a:gd name="connsiteX406" fmla="*/ 1711367 w 2511816"/>
                <a:gd name="connsiteY406" fmla="*/ 376018 h 1261733"/>
                <a:gd name="connsiteX407" fmla="*/ 1707274 w 2511816"/>
                <a:gd name="connsiteY407" fmla="*/ 370645 h 1261733"/>
                <a:gd name="connsiteX408" fmla="*/ 1703807 w 2511816"/>
                <a:gd name="connsiteY408" fmla="*/ 366538 h 1261733"/>
                <a:gd name="connsiteX409" fmla="*/ 1692505 w 2511816"/>
                <a:gd name="connsiteY409" fmla="*/ 354469 h 1261733"/>
                <a:gd name="connsiteX410" fmla="*/ 1676329 w 2511816"/>
                <a:gd name="connsiteY410" fmla="*/ 359744 h 1261733"/>
                <a:gd name="connsiteX411" fmla="*/ 1676040 w 2511816"/>
                <a:gd name="connsiteY411" fmla="*/ 360159 h 1261733"/>
                <a:gd name="connsiteX412" fmla="*/ 1661207 w 2511816"/>
                <a:gd name="connsiteY412" fmla="*/ 374513 h 1261733"/>
                <a:gd name="connsiteX413" fmla="*/ 1651671 w 2511816"/>
                <a:gd name="connsiteY413" fmla="*/ 371742 h 1261733"/>
                <a:gd name="connsiteX414" fmla="*/ 1650306 w 2511816"/>
                <a:gd name="connsiteY414" fmla="*/ 370645 h 1261733"/>
                <a:gd name="connsiteX415" fmla="*/ 1647535 w 2511816"/>
                <a:gd name="connsiteY415" fmla="*/ 362726 h 1261733"/>
                <a:gd name="connsiteX416" fmla="*/ 1647535 w 2511816"/>
                <a:gd name="connsiteY416" fmla="*/ 362726 h 1261733"/>
                <a:gd name="connsiteX417" fmla="*/ 1646086 w 2511816"/>
                <a:gd name="connsiteY417" fmla="*/ 356227 h 1261733"/>
                <a:gd name="connsiteX418" fmla="*/ 1631669 w 2511816"/>
                <a:gd name="connsiteY418" fmla="*/ 343568 h 1261733"/>
                <a:gd name="connsiteX419" fmla="*/ 1629488 w 2511816"/>
                <a:gd name="connsiteY419" fmla="*/ 353991 h 1261733"/>
                <a:gd name="connsiteX420" fmla="*/ 1629910 w 2511816"/>
                <a:gd name="connsiteY420" fmla="*/ 361854 h 1261733"/>
                <a:gd name="connsiteX421" fmla="*/ 1623932 w 2511816"/>
                <a:gd name="connsiteY421" fmla="*/ 391041 h 1261733"/>
                <a:gd name="connsiteX422" fmla="*/ 1613031 w 2511816"/>
                <a:gd name="connsiteY422" fmla="*/ 401591 h 1261733"/>
                <a:gd name="connsiteX423" fmla="*/ 1606638 w 2511816"/>
                <a:gd name="connsiteY423" fmla="*/ 401302 h 1261733"/>
                <a:gd name="connsiteX424" fmla="*/ 1603185 w 2511816"/>
                <a:gd name="connsiteY424" fmla="*/ 398074 h 1261733"/>
                <a:gd name="connsiteX425" fmla="*/ 1594998 w 2511816"/>
                <a:gd name="connsiteY425" fmla="*/ 387229 h 1261733"/>
                <a:gd name="connsiteX426" fmla="*/ 1592284 w 2511816"/>
                <a:gd name="connsiteY426" fmla="*/ 382250 h 1261733"/>
                <a:gd name="connsiteX427" fmla="*/ 1577191 w 2511816"/>
                <a:gd name="connsiteY427" fmla="*/ 362663 h 1261733"/>
                <a:gd name="connsiteX428" fmla="*/ 1577183 w 2511816"/>
                <a:gd name="connsiteY428" fmla="*/ 362663 h 1261733"/>
                <a:gd name="connsiteX429" fmla="*/ 1577183 w 2511816"/>
                <a:gd name="connsiteY429" fmla="*/ 362656 h 1261733"/>
                <a:gd name="connsiteX430" fmla="*/ 1568020 w 2511816"/>
                <a:gd name="connsiteY430" fmla="*/ 350953 h 1261733"/>
                <a:gd name="connsiteX431" fmla="*/ 1564074 w 2511816"/>
                <a:gd name="connsiteY431" fmla="*/ 343617 h 1261733"/>
                <a:gd name="connsiteX432" fmla="*/ 1554305 w 2511816"/>
                <a:gd name="connsiteY432" fmla="*/ 330205 h 1261733"/>
                <a:gd name="connsiteX433" fmla="*/ 1543052 w 2511816"/>
                <a:gd name="connsiteY433" fmla="*/ 312271 h 1261733"/>
                <a:gd name="connsiteX434" fmla="*/ 1565010 w 2511816"/>
                <a:gd name="connsiteY434" fmla="*/ 304084 h 1261733"/>
                <a:gd name="connsiteX435" fmla="*/ 1568020 w 2511816"/>
                <a:gd name="connsiteY435" fmla="*/ 303480 h 1261733"/>
                <a:gd name="connsiteX436" fmla="*/ 1574349 w 2511816"/>
                <a:gd name="connsiteY436" fmla="*/ 281178 h 1261733"/>
                <a:gd name="connsiteX437" fmla="*/ 1574349 w 2511816"/>
                <a:gd name="connsiteY437" fmla="*/ 280580 h 1261733"/>
                <a:gd name="connsiteX438" fmla="*/ 1574349 w 2511816"/>
                <a:gd name="connsiteY438" fmla="*/ 280270 h 1261733"/>
                <a:gd name="connsiteX439" fmla="*/ 1565910 w 2511816"/>
                <a:gd name="connsiteY439" fmla="*/ 265501 h 1261733"/>
                <a:gd name="connsiteX440" fmla="*/ 1543713 w 2511816"/>
                <a:gd name="connsiteY440" fmla="*/ 264200 h 1261733"/>
                <a:gd name="connsiteX441" fmla="*/ 1524063 w 2511816"/>
                <a:gd name="connsiteY441" fmla="*/ 263391 h 1261733"/>
                <a:gd name="connsiteX442" fmla="*/ 1518029 w 2511816"/>
                <a:gd name="connsiteY442" fmla="*/ 258159 h 1261733"/>
                <a:gd name="connsiteX443" fmla="*/ 1509294 w 2511816"/>
                <a:gd name="connsiteY443" fmla="*/ 250380 h 1261733"/>
                <a:gd name="connsiteX444" fmla="*/ 1491359 w 2511816"/>
                <a:gd name="connsiteY444" fmla="*/ 258820 h 1261733"/>
                <a:gd name="connsiteX445" fmla="*/ 1492569 w 2511816"/>
                <a:gd name="connsiteY445" fmla="*/ 273097 h 1261733"/>
                <a:gd name="connsiteX446" fmla="*/ 1494172 w 2511816"/>
                <a:gd name="connsiteY446" fmla="*/ 283084 h 1261733"/>
                <a:gd name="connsiteX447" fmla="*/ 1482413 w 2511816"/>
                <a:gd name="connsiteY447" fmla="*/ 290806 h 1261733"/>
                <a:gd name="connsiteX448" fmla="*/ 1476238 w 2511816"/>
                <a:gd name="connsiteY448" fmla="*/ 293282 h 1261733"/>
                <a:gd name="connsiteX449" fmla="*/ 1444941 w 2511816"/>
                <a:gd name="connsiteY449" fmla="*/ 293282 h 1261733"/>
                <a:gd name="connsiteX450" fmla="*/ 1443499 w 2511816"/>
                <a:gd name="connsiteY450" fmla="*/ 292656 h 1261733"/>
                <a:gd name="connsiteX451" fmla="*/ 1443478 w 2511816"/>
                <a:gd name="connsiteY451" fmla="*/ 292649 h 1261733"/>
                <a:gd name="connsiteX452" fmla="*/ 1399578 w 2511816"/>
                <a:gd name="connsiteY452" fmla="*/ 268314 h 1261733"/>
                <a:gd name="connsiteX453" fmla="*/ 1378014 w 2511816"/>
                <a:gd name="connsiteY453" fmla="*/ 257308 h 1261733"/>
                <a:gd name="connsiteX454" fmla="*/ 1370039 w 2511816"/>
                <a:gd name="connsiteY454" fmla="*/ 254951 h 1261733"/>
                <a:gd name="connsiteX455" fmla="*/ 1347533 w 2511816"/>
                <a:gd name="connsiteY455" fmla="*/ 265501 h 1261733"/>
                <a:gd name="connsiteX456" fmla="*/ 1334874 w 2511816"/>
                <a:gd name="connsiteY456" fmla="*/ 278161 h 1261733"/>
                <a:gd name="connsiteX457" fmla="*/ 1330731 w 2511816"/>
                <a:gd name="connsiteY457" fmla="*/ 264446 h 1261733"/>
                <a:gd name="connsiteX458" fmla="*/ 1329951 w 2511816"/>
                <a:gd name="connsiteY458" fmla="*/ 258820 h 1261733"/>
                <a:gd name="connsiteX459" fmla="*/ 1319753 w 2511816"/>
                <a:gd name="connsiteY459" fmla="*/ 251126 h 1261733"/>
                <a:gd name="connsiteX460" fmla="*/ 1310961 w 2511816"/>
                <a:gd name="connsiteY460" fmla="*/ 245105 h 1261733"/>
                <a:gd name="connsiteX461" fmla="*/ 1288456 w 2511816"/>
                <a:gd name="connsiteY461" fmla="*/ 239479 h 1261733"/>
                <a:gd name="connsiteX462" fmla="*/ 1291670 w 2511816"/>
                <a:gd name="connsiteY462" fmla="*/ 251414 h 1261733"/>
                <a:gd name="connsiteX463" fmla="*/ 1293730 w 2511816"/>
                <a:gd name="connsiteY463" fmla="*/ 254951 h 1261733"/>
                <a:gd name="connsiteX464" fmla="*/ 1253994 w 2511816"/>
                <a:gd name="connsiteY464" fmla="*/ 280270 h 1261733"/>
                <a:gd name="connsiteX465" fmla="*/ 1239583 w 2511816"/>
                <a:gd name="connsiteY465" fmla="*/ 287339 h 1261733"/>
                <a:gd name="connsiteX466" fmla="*/ 1219180 w 2511816"/>
                <a:gd name="connsiteY466" fmla="*/ 295743 h 1261733"/>
                <a:gd name="connsiteX467" fmla="*/ 1230081 w 2511816"/>
                <a:gd name="connsiteY467" fmla="*/ 265501 h 1261733"/>
                <a:gd name="connsiteX468" fmla="*/ 1305335 w 2511816"/>
                <a:gd name="connsiteY468" fmla="*/ 190951 h 1261733"/>
                <a:gd name="connsiteX469" fmla="*/ 1310244 w 2511816"/>
                <a:gd name="connsiteY469" fmla="*/ 186281 h 1261733"/>
                <a:gd name="connsiteX470" fmla="*/ 1334874 w 2511816"/>
                <a:gd name="connsiteY470" fmla="*/ 161060 h 1261733"/>
                <a:gd name="connsiteX471" fmla="*/ 1334663 w 2511816"/>
                <a:gd name="connsiteY471" fmla="*/ 155152 h 1261733"/>
                <a:gd name="connsiteX472" fmla="*/ 1329951 w 2511816"/>
                <a:gd name="connsiteY472" fmla="*/ 126950 h 1261733"/>
                <a:gd name="connsiteX473" fmla="*/ 1305335 w 2511816"/>
                <a:gd name="connsiteY473" fmla="*/ 73850 h 1261733"/>
                <a:gd name="connsiteX474" fmla="*/ 1255752 w 2511816"/>
                <a:gd name="connsiteY474" fmla="*/ 73850 h 1261733"/>
                <a:gd name="connsiteX475" fmla="*/ 1232543 w 2511816"/>
                <a:gd name="connsiteY475" fmla="*/ 76664 h 1261733"/>
                <a:gd name="connsiteX476" fmla="*/ 1239245 w 2511816"/>
                <a:gd name="connsiteY476" fmla="*/ 58140 h 1261733"/>
                <a:gd name="connsiteX477" fmla="*/ 1244851 w 2511816"/>
                <a:gd name="connsiteY477" fmla="*/ 50641 h 1261733"/>
                <a:gd name="connsiteX478" fmla="*/ 1219658 w 2511816"/>
                <a:gd name="connsiteY478" fmla="*/ 46823 h 1261733"/>
                <a:gd name="connsiteX479" fmla="*/ 1197378 w 2511816"/>
                <a:gd name="connsiteY479" fmla="*/ 43960 h 1261733"/>
                <a:gd name="connsiteX480" fmla="*/ 1211240 w 2511816"/>
                <a:gd name="connsiteY480" fmla="*/ 28809 h 1261733"/>
                <a:gd name="connsiteX481" fmla="*/ 1211240 w 2511816"/>
                <a:gd name="connsiteY481" fmla="*/ 28808 h 1261733"/>
                <a:gd name="connsiteX482" fmla="*/ 1227268 w 2511816"/>
                <a:gd name="connsiteY482" fmla="*/ 11959 h 1261733"/>
                <a:gd name="connsiteX483" fmla="*/ 1195268 w 2511816"/>
                <a:gd name="connsiteY483" fmla="*/ 3 h 1261733"/>
                <a:gd name="connsiteX484" fmla="*/ 1153421 w 2511816"/>
                <a:gd name="connsiteY484" fmla="*/ 32707 h 1261733"/>
                <a:gd name="connsiteX485" fmla="*/ 1146388 w 2511816"/>
                <a:gd name="connsiteY485" fmla="*/ 73850 h 1261733"/>
                <a:gd name="connsiteX486" fmla="*/ 1139707 w 2511816"/>
                <a:gd name="connsiteY486" fmla="*/ 81587 h 1261733"/>
                <a:gd name="connsiteX487" fmla="*/ 1122476 w 2511816"/>
                <a:gd name="connsiteY487" fmla="*/ 81587 h 1261733"/>
                <a:gd name="connsiteX488" fmla="*/ 1118896 w 2511816"/>
                <a:gd name="connsiteY488" fmla="*/ 88457 h 1261733"/>
                <a:gd name="connsiteX489" fmla="*/ 1109464 w 2511816"/>
                <a:gd name="connsiteY489" fmla="*/ 103389 h 1261733"/>
                <a:gd name="connsiteX490" fmla="*/ 1100427 w 2511816"/>
                <a:gd name="connsiteY490" fmla="*/ 104713 h 1261733"/>
                <a:gd name="connsiteX491" fmla="*/ 1095750 w 2511816"/>
                <a:gd name="connsiteY491" fmla="*/ 105499 h 1261733"/>
                <a:gd name="connsiteX492" fmla="*/ 1089701 w 2511816"/>
                <a:gd name="connsiteY492" fmla="*/ 109888 h 1261733"/>
                <a:gd name="connsiteX493" fmla="*/ 1078871 w 2511816"/>
                <a:gd name="connsiteY493" fmla="*/ 117104 h 1261733"/>
                <a:gd name="connsiteX494" fmla="*/ 1074651 w 2511816"/>
                <a:gd name="connsiteY494" fmla="*/ 109367 h 1261733"/>
                <a:gd name="connsiteX495" fmla="*/ 1074651 w 2511816"/>
                <a:gd name="connsiteY495" fmla="*/ 91081 h 1261733"/>
                <a:gd name="connsiteX496" fmla="*/ 1058580 w 2511816"/>
                <a:gd name="connsiteY496" fmla="*/ 99368 h 1261733"/>
                <a:gd name="connsiteX497" fmla="*/ 1058580 w 2511816"/>
                <a:gd name="connsiteY497" fmla="*/ 99369 h 1261733"/>
                <a:gd name="connsiteX498" fmla="*/ 1053903 w 2511816"/>
                <a:gd name="connsiteY498" fmla="*/ 103389 h 1261733"/>
                <a:gd name="connsiteX499" fmla="*/ 1041082 w 2511816"/>
                <a:gd name="connsiteY499" fmla="*/ 105545 h 1261733"/>
                <a:gd name="connsiteX500" fmla="*/ 1033859 w 2511816"/>
                <a:gd name="connsiteY500" fmla="*/ 105499 h 1261733"/>
                <a:gd name="connsiteX501" fmla="*/ 1023127 w 2511816"/>
                <a:gd name="connsiteY501" fmla="*/ 118972 h 1261733"/>
                <a:gd name="connsiteX502" fmla="*/ 1014870 w 2511816"/>
                <a:gd name="connsiteY502" fmla="*/ 131170 h 1261733"/>
                <a:gd name="connsiteX503" fmla="*/ 991126 w 2511816"/>
                <a:gd name="connsiteY503" fmla="*/ 143253 h 1261733"/>
                <a:gd name="connsiteX504" fmla="*/ 991126 w 2511816"/>
                <a:gd name="connsiteY504" fmla="*/ 143253 h 1261733"/>
                <a:gd name="connsiteX505" fmla="*/ 955792 w 2511816"/>
                <a:gd name="connsiteY505" fmla="*/ 161764 h 1261733"/>
                <a:gd name="connsiteX506" fmla="*/ 949511 w 2511816"/>
                <a:gd name="connsiteY506" fmla="*/ 166792 h 1261733"/>
                <a:gd name="connsiteX507" fmla="*/ 920627 w 2511816"/>
                <a:gd name="connsiteY507" fmla="*/ 196577 h 1261733"/>
                <a:gd name="connsiteX508" fmla="*/ 921682 w 2511816"/>
                <a:gd name="connsiteY508" fmla="*/ 210038 h 1261733"/>
                <a:gd name="connsiteX509" fmla="*/ 924143 w 2511816"/>
                <a:gd name="connsiteY509" fmla="*/ 220138 h 1261733"/>
                <a:gd name="connsiteX510" fmla="*/ 924945 w 2511816"/>
                <a:gd name="connsiteY510" fmla="*/ 229386 h 1261733"/>
                <a:gd name="connsiteX511" fmla="*/ 924143 w 2511816"/>
                <a:gd name="connsiteY511" fmla="*/ 239127 h 1261733"/>
                <a:gd name="connsiteX512" fmla="*/ 912124 w 2511816"/>
                <a:gd name="connsiteY512" fmla="*/ 246449 h 1261733"/>
                <a:gd name="connsiteX513" fmla="*/ 902341 w 2511816"/>
                <a:gd name="connsiteY513" fmla="*/ 250028 h 1261733"/>
                <a:gd name="connsiteX514" fmla="*/ 874856 w 2511816"/>
                <a:gd name="connsiteY514" fmla="*/ 250549 h 1261733"/>
                <a:gd name="connsiteX515" fmla="*/ 870692 w 2511816"/>
                <a:gd name="connsiteY515" fmla="*/ 250028 h 1261733"/>
                <a:gd name="connsiteX516" fmla="*/ 836933 w 2511816"/>
                <a:gd name="connsiteY516" fmla="*/ 256710 h 1261733"/>
                <a:gd name="connsiteX517" fmla="*/ 830604 w 2511816"/>
                <a:gd name="connsiteY517" fmla="*/ 282380 h 1261733"/>
                <a:gd name="connsiteX518" fmla="*/ 833361 w 2511816"/>
                <a:gd name="connsiteY518" fmla="*/ 294090 h 1261733"/>
                <a:gd name="connsiteX519" fmla="*/ 834824 w 2511816"/>
                <a:gd name="connsiteY519" fmla="*/ 298556 h 1261733"/>
                <a:gd name="connsiteX520" fmla="*/ 835168 w 2511816"/>
                <a:gd name="connsiteY520" fmla="*/ 302614 h 1261733"/>
                <a:gd name="connsiteX521" fmla="*/ 836933 w 2511816"/>
                <a:gd name="connsiteY521" fmla="*/ 308051 h 1261733"/>
                <a:gd name="connsiteX522" fmla="*/ 837208 w 2511816"/>
                <a:gd name="connsiteY522" fmla="*/ 308550 h 1261733"/>
                <a:gd name="connsiteX523" fmla="*/ 840577 w 2511816"/>
                <a:gd name="connsiteY523" fmla="*/ 313481 h 1261733"/>
                <a:gd name="connsiteX524" fmla="*/ 841618 w 2511816"/>
                <a:gd name="connsiteY524" fmla="*/ 313452 h 1261733"/>
                <a:gd name="connsiteX525" fmla="*/ 843263 w 2511816"/>
                <a:gd name="connsiteY525" fmla="*/ 313326 h 1261733"/>
                <a:gd name="connsiteX526" fmla="*/ 850296 w 2511816"/>
                <a:gd name="connsiteY526" fmla="*/ 319606 h 1261733"/>
                <a:gd name="connsiteX527" fmla="*/ 852758 w 2511816"/>
                <a:gd name="connsiteY527" fmla="*/ 322820 h 1261733"/>
                <a:gd name="connsiteX528" fmla="*/ 855198 w 2511816"/>
                <a:gd name="connsiteY528" fmla="*/ 327286 h 1261733"/>
                <a:gd name="connsiteX529" fmla="*/ 859088 w 2511816"/>
                <a:gd name="connsiteY529" fmla="*/ 334073 h 1261733"/>
                <a:gd name="connsiteX530" fmla="*/ 863357 w 2511816"/>
                <a:gd name="connsiteY530" fmla="*/ 337934 h 1261733"/>
                <a:gd name="connsiteX531" fmla="*/ 866121 w 2511816"/>
                <a:gd name="connsiteY531" fmla="*/ 342513 h 1261733"/>
                <a:gd name="connsiteX532" fmla="*/ 862604 w 2511816"/>
                <a:gd name="connsiteY532" fmla="*/ 352711 h 1261733"/>
                <a:gd name="connsiteX533" fmla="*/ 857456 w 2511816"/>
                <a:gd name="connsiteY533" fmla="*/ 353400 h 1261733"/>
                <a:gd name="connsiteX534" fmla="*/ 854868 w 2511816"/>
                <a:gd name="connsiteY534" fmla="*/ 352711 h 1261733"/>
                <a:gd name="connsiteX535" fmla="*/ 839747 w 2511816"/>
                <a:gd name="connsiteY535" fmla="*/ 349546 h 1261733"/>
                <a:gd name="connsiteX536" fmla="*/ 833979 w 2511816"/>
                <a:gd name="connsiteY536" fmla="*/ 343941 h 1261733"/>
                <a:gd name="connsiteX537" fmla="*/ 833065 w 2511816"/>
                <a:gd name="connsiteY537" fmla="*/ 342513 h 1261733"/>
                <a:gd name="connsiteX538" fmla="*/ 822867 w 2511816"/>
                <a:gd name="connsiteY538" fmla="*/ 329150 h 1261733"/>
                <a:gd name="connsiteX539" fmla="*/ 815483 w 2511816"/>
                <a:gd name="connsiteY539" fmla="*/ 322820 h 1261733"/>
                <a:gd name="connsiteX540" fmla="*/ 805636 w 2511816"/>
                <a:gd name="connsiteY540" fmla="*/ 319656 h 1261733"/>
                <a:gd name="connsiteX541" fmla="*/ 800615 w 2511816"/>
                <a:gd name="connsiteY541" fmla="*/ 313502 h 1261733"/>
                <a:gd name="connsiteX542" fmla="*/ 799307 w 2511816"/>
                <a:gd name="connsiteY542" fmla="*/ 310161 h 1261733"/>
                <a:gd name="connsiteX543" fmla="*/ 788764 w 2511816"/>
                <a:gd name="connsiteY543" fmla="*/ 307960 h 1261733"/>
                <a:gd name="connsiteX544" fmla="*/ 788764 w 2511816"/>
                <a:gd name="connsiteY544" fmla="*/ 307960 h 1261733"/>
                <a:gd name="connsiteX545" fmla="*/ 784889 w 2511816"/>
                <a:gd name="connsiteY545" fmla="*/ 308051 h 1261733"/>
                <a:gd name="connsiteX546" fmla="*/ 779248 w 2511816"/>
                <a:gd name="connsiteY546" fmla="*/ 312742 h 1261733"/>
                <a:gd name="connsiteX547" fmla="*/ 779262 w 2511816"/>
                <a:gd name="connsiteY547" fmla="*/ 313326 h 1261733"/>
                <a:gd name="connsiteX548" fmla="*/ 779262 w 2511816"/>
                <a:gd name="connsiteY548" fmla="*/ 325282 h 1261733"/>
                <a:gd name="connsiteX549" fmla="*/ 787161 w 2511816"/>
                <a:gd name="connsiteY549" fmla="*/ 331541 h 1261733"/>
                <a:gd name="connsiteX550" fmla="*/ 791219 w 2511816"/>
                <a:gd name="connsiteY550" fmla="*/ 334073 h 1261733"/>
                <a:gd name="connsiteX551" fmla="*/ 794222 w 2511816"/>
                <a:gd name="connsiteY551" fmla="*/ 343350 h 1261733"/>
                <a:gd name="connsiteX552" fmla="*/ 794384 w 2511816"/>
                <a:gd name="connsiteY552" fmla="*/ 344271 h 1261733"/>
                <a:gd name="connsiteX553" fmla="*/ 782779 w 2511816"/>
                <a:gd name="connsiteY553" fmla="*/ 349546 h 1261733"/>
                <a:gd name="connsiteX554" fmla="*/ 779424 w 2511816"/>
                <a:gd name="connsiteY554" fmla="*/ 343906 h 1261733"/>
                <a:gd name="connsiteX555" fmla="*/ 779262 w 2511816"/>
                <a:gd name="connsiteY555" fmla="*/ 342513 h 1261733"/>
                <a:gd name="connsiteX556" fmla="*/ 777511 w 2511816"/>
                <a:gd name="connsiteY556" fmla="*/ 341711 h 1261733"/>
                <a:gd name="connsiteX557" fmla="*/ 766251 w 2511816"/>
                <a:gd name="connsiteY557" fmla="*/ 338293 h 1261733"/>
                <a:gd name="connsiteX558" fmla="*/ 762031 w 2511816"/>
                <a:gd name="connsiteY558" fmla="*/ 352711 h 1261733"/>
                <a:gd name="connsiteX559" fmla="*/ 767046 w 2511816"/>
                <a:gd name="connsiteY559" fmla="*/ 358084 h 1261733"/>
                <a:gd name="connsiteX560" fmla="*/ 770823 w 2511816"/>
                <a:gd name="connsiteY560" fmla="*/ 361854 h 1261733"/>
                <a:gd name="connsiteX561" fmla="*/ 782779 w 2511816"/>
                <a:gd name="connsiteY561" fmla="*/ 374162 h 1261733"/>
                <a:gd name="connsiteX562" fmla="*/ 792829 w 2511816"/>
                <a:gd name="connsiteY562" fmla="*/ 376229 h 1261733"/>
                <a:gd name="connsiteX563" fmla="*/ 799307 w 2511816"/>
                <a:gd name="connsiteY563" fmla="*/ 377678 h 1261733"/>
                <a:gd name="connsiteX564" fmla="*/ 801065 w 2511816"/>
                <a:gd name="connsiteY564" fmla="*/ 390689 h 1261733"/>
                <a:gd name="connsiteX565" fmla="*/ 788405 w 2511816"/>
                <a:gd name="connsiteY565" fmla="*/ 390689 h 1261733"/>
                <a:gd name="connsiteX566" fmla="*/ 780578 w 2511816"/>
                <a:gd name="connsiteY566" fmla="*/ 387799 h 1261733"/>
                <a:gd name="connsiteX567" fmla="*/ 775394 w 2511816"/>
                <a:gd name="connsiteY567" fmla="*/ 386118 h 1261733"/>
                <a:gd name="connsiteX568" fmla="*/ 765140 w 2511816"/>
                <a:gd name="connsiteY568" fmla="*/ 380182 h 1261733"/>
                <a:gd name="connsiteX569" fmla="*/ 757812 w 2511816"/>
                <a:gd name="connsiteY569" fmla="*/ 376272 h 1261733"/>
                <a:gd name="connsiteX570" fmla="*/ 744934 w 2511816"/>
                <a:gd name="connsiteY570" fmla="*/ 360799 h 1261733"/>
                <a:gd name="connsiteX571" fmla="*/ 744927 w 2511816"/>
                <a:gd name="connsiteY571" fmla="*/ 360799 h 1261733"/>
                <a:gd name="connsiteX572" fmla="*/ 743042 w 2511816"/>
                <a:gd name="connsiteY572" fmla="*/ 357986 h 1261733"/>
                <a:gd name="connsiteX573" fmla="*/ 744519 w 2511816"/>
                <a:gd name="connsiteY573" fmla="*/ 344750 h 1261733"/>
                <a:gd name="connsiteX574" fmla="*/ 746207 w 2511816"/>
                <a:gd name="connsiteY574" fmla="*/ 338293 h 1261733"/>
                <a:gd name="connsiteX575" fmla="*/ 741615 w 2511816"/>
                <a:gd name="connsiteY575" fmla="*/ 334383 h 1261733"/>
                <a:gd name="connsiteX576" fmla="*/ 739526 w 2511816"/>
                <a:gd name="connsiteY576" fmla="*/ 334073 h 1261733"/>
                <a:gd name="connsiteX577" fmla="*/ 728435 w 2511816"/>
                <a:gd name="connsiteY577" fmla="*/ 341950 h 1261733"/>
                <a:gd name="connsiteX578" fmla="*/ 727921 w 2511816"/>
                <a:gd name="connsiteY578" fmla="*/ 342513 h 1261733"/>
                <a:gd name="connsiteX579" fmla="*/ 718778 w 2511816"/>
                <a:gd name="connsiteY579" fmla="*/ 372052 h 1261733"/>
                <a:gd name="connsiteX580" fmla="*/ 726036 w 2511816"/>
                <a:gd name="connsiteY580" fmla="*/ 376476 h 1261733"/>
                <a:gd name="connsiteX581" fmla="*/ 727921 w 2511816"/>
                <a:gd name="connsiteY581" fmla="*/ 376272 h 1261733"/>
                <a:gd name="connsiteX582" fmla="*/ 731107 w 2511816"/>
                <a:gd name="connsiteY582" fmla="*/ 385661 h 1261733"/>
                <a:gd name="connsiteX583" fmla="*/ 734603 w 2511816"/>
                <a:gd name="connsiteY583" fmla="*/ 396316 h 1261733"/>
                <a:gd name="connsiteX584" fmla="*/ 736523 w 2511816"/>
                <a:gd name="connsiteY584" fmla="*/ 407562 h 1261733"/>
                <a:gd name="connsiteX585" fmla="*/ 736361 w 2511816"/>
                <a:gd name="connsiteY585" fmla="*/ 412492 h 1261733"/>
                <a:gd name="connsiteX586" fmla="*/ 733618 w 2511816"/>
                <a:gd name="connsiteY586" fmla="*/ 417717 h 1261733"/>
                <a:gd name="connsiteX587" fmla="*/ 731438 w 2511816"/>
                <a:gd name="connsiteY587" fmla="*/ 421283 h 1261733"/>
                <a:gd name="connsiteX588" fmla="*/ 731128 w 2511816"/>
                <a:gd name="connsiteY588" fmla="*/ 428309 h 1261733"/>
                <a:gd name="connsiteX589" fmla="*/ 731438 w 2511816"/>
                <a:gd name="connsiteY589" fmla="*/ 463481 h 1261733"/>
                <a:gd name="connsiteX590" fmla="*/ 744836 w 2511816"/>
                <a:gd name="connsiteY590" fmla="*/ 467399 h 1261733"/>
                <a:gd name="connsiteX591" fmla="*/ 754295 w 2511816"/>
                <a:gd name="connsiteY591" fmla="*/ 467350 h 1261733"/>
                <a:gd name="connsiteX592" fmla="*/ 782779 w 2511816"/>
                <a:gd name="connsiteY592" fmla="*/ 476141 h 1261733"/>
                <a:gd name="connsiteX593" fmla="*/ 793329 w 2511816"/>
                <a:gd name="connsiteY593" fmla="*/ 488097 h 1261733"/>
                <a:gd name="connsiteX594" fmla="*/ 793898 w 2511816"/>
                <a:gd name="connsiteY594" fmla="*/ 509344 h 1261733"/>
                <a:gd name="connsiteX595" fmla="*/ 793329 w 2511816"/>
                <a:gd name="connsiteY595" fmla="*/ 520098 h 1261733"/>
                <a:gd name="connsiteX596" fmla="*/ 793673 w 2511816"/>
                <a:gd name="connsiteY596" fmla="*/ 529030 h 1261733"/>
                <a:gd name="connsiteX597" fmla="*/ 793673 w 2511816"/>
                <a:gd name="connsiteY597" fmla="*/ 529030 h 1261733"/>
                <a:gd name="connsiteX598" fmla="*/ 793673 w 2511816"/>
                <a:gd name="connsiteY598" fmla="*/ 529037 h 1261733"/>
                <a:gd name="connsiteX599" fmla="*/ 793329 w 2511816"/>
                <a:gd name="connsiteY599" fmla="*/ 541548 h 1261733"/>
                <a:gd name="connsiteX600" fmla="*/ 782779 w 2511816"/>
                <a:gd name="connsiteY600" fmla="*/ 530647 h 1261733"/>
                <a:gd name="connsiteX601" fmla="*/ 777153 w 2511816"/>
                <a:gd name="connsiteY601" fmla="*/ 498998 h 1261733"/>
                <a:gd name="connsiteX602" fmla="*/ 754295 w 2511816"/>
                <a:gd name="connsiteY602" fmla="*/ 481416 h 1261733"/>
                <a:gd name="connsiteX603" fmla="*/ 747452 w 2511816"/>
                <a:gd name="connsiteY603" fmla="*/ 489377 h 1261733"/>
                <a:gd name="connsiteX604" fmla="*/ 747452 w 2511816"/>
                <a:gd name="connsiteY604" fmla="*/ 489377 h 1261733"/>
                <a:gd name="connsiteX605" fmla="*/ 746207 w 2511816"/>
                <a:gd name="connsiteY605" fmla="*/ 493372 h 1261733"/>
                <a:gd name="connsiteX606" fmla="*/ 743042 w 2511816"/>
                <a:gd name="connsiteY606" fmla="*/ 514823 h 1261733"/>
                <a:gd name="connsiteX607" fmla="*/ 745025 w 2511816"/>
                <a:gd name="connsiteY607" fmla="*/ 518487 h 1261733"/>
                <a:gd name="connsiteX608" fmla="*/ 748317 w 2511816"/>
                <a:gd name="connsiteY608" fmla="*/ 530647 h 1261733"/>
                <a:gd name="connsiteX609" fmla="*/ 733189 w 2511816"/>
                <a:gd name="connsiteY609" fmla="*/ 553575 h 1261733"/>
                <a:gd name="connsiteX610" fmla="*/ 728976 w 2511816"/>
                <a:gd name="connsiteY610" fmla="*/ 558779 h 1261733"/>
                <a:gd name="connsiteX611" fmla="*/ 726451 w 2511816"/>
                <a:gd name="connsiteY611" fmla="*/ 562240 h 1261733"/>
                <a:gd name="connsiteX612" fmla="*/ 709987 w 2511816"/>
                <a:gd name="connsiteY612" fmla="*/ 584098 h 1261733"/>
                <a:gd name="connsiteX613" fmla="*/ 666734 w 2511816"/>
                <a:gd name="connsiteY613" fmla="*/ 587615 h 1261733"/>
                <a:gd name="connsiteX614" fmla="*/ 650206 w 2511816"/>
                <a:gd name="connsiteY614" fmla="*/ 561944 h 1261733"/>
                <a:gd name="connsiteX615" fmla="*/ 658090 w 2511816"/>
                <a:gd name="connsiteY615" fmla="*/ 560045 h 1261733"/>
                <a:gd name="connsiteX616" fmla="*/ 664272 w 2511816"/>
                <a:gd name="connsiteY616" fmla="*/ 561944 h 1261733"/>
                <a:gd name="connsiteX617" fmla="*/ 673936 w 2511816"/>
                <a:gd name="connsiteY617" fmla="*/ 565904 h 1261733"/>
                <a:gd name="connsiteX618" fmla="*/ 681855 w 2511816"/>
                <a:gd name="connsiteY618" fmla="*/ 568977 h 1261733"/>
                <a:gd name="connsiteX619" fmla="*/ 694641 w 2511816"/>
                <a:gd name="connsiteY619" fmla="*/ 551057 h 1261733"/>
                <a:gd name="connsiteX620" fmla="*/ 694641 w 2511816"/>
                <a:gd name="connsiteY620" fmla="*/ 551057 h 1261733"/>
                <a:gd name="connsiteX621" fmla="*/ 698734 w 2511816"/>
                <a:gd name="connsiteY621" fmla="*/ 544010 h 1261733"/>
                <a:gd name="connsiteX622" fmla="*/ 713503 w 2511816"/>
                <a:gd name="connsiteY622" fmla="*/ 522207 h 1261733"/>
                <a:gd name="connsiteX623" fmla="*/ 713609 w 2511816"/>
                <a:gd name="connsiteY623" fmla="*/ 516602 h 1261733"/>
                <a:gd name="connsiteX624" fmla="*/ 713609 w 2511816"/>
                <a:gd name="connsiteY624" fmla="*/ 516602 h 1261733"/>
                <a:gd name="connsiteX625" fmla="*/ 713503 w 2511816"/>
                <a:gd name="connsiteY625" fmla="*/ 493372 h 1261733"/>
                <a:gd name="connsiteX626" fmla="*/ 706653 w 2511816"/>
                <a:gd name="connsiteY626" fmla="*/ 482429 h 1261733"/>
                <a:gd name="connsiteX627" fmla="*/ 705064 w 2511816"/>
                <a:gd name="connsiteY627" fmla="*/ 481416 h 1261733"/>
                <a:gd name="connsiteX628" fmla="*/ 702075 w 2511816"/>
                <a:gd name="connsiteY628" fmla="*/ 450470 h 1261733"/>
                <a:gd name="connsiteX629" fmla="*/ 702602 w 2511816"/>
                <a:gd name="connsiteY629" fmla="*/ 439569 h 1261733"/>
                <a:gd name="connsiteX630" fmla="*/ 705415 w 2511816"/>
                <a:gd name="connsiteY630" fmla="*/ 417513 h 1261733"/>
                <a:gd name="connsiteX631" fmla="*/ 706822 w 2511816"/>
                <a:gd name="connsiteY631" fmla="*/ 407920 h 1261733"/>
                <a:gd name="connsiteX632" fmla="*/ 696272 w 2511816"/>
                <a:gd name="connsiteY632" fmla="*/ 376272 h 1261733"/>
                <a:gd name="connsiteX633" fmla="*/ 696272 w 2511816"/>
                <a:gd name="connsiteY633" fmla="*/ 357986 h 1261733"/>
                <a:gd name="connsiteX634" fmla="*/ 709284 w 2511816"/>
                <a:gd name="connsiteY634" fmla="*/ 319656 h 1261733"/>
                <a:gd name="connsiteX635" fmla="*/ 709284 w 2511816"/>
                <a:gd name="connsiteY635" fmla="*/ 319388 h 1261733"/>
                <a:gd name="connsiteX636" fmla="*/ 709290 w 2511816"/>
                <a:gd name="connsiteY636" fmla="*/ 319114 h 1261733"/>
                <a:gd name="connsiteX637" fmla="*/ 706822 w 2511816"/>
                <a:gd name="connsiteY637" fmla="*/ 301018 h 1261733"/>
                <a:gd name="connsiteX638" fmla="*/ 671664 w 2511816"/>
                <a:gd name="connsiteY638" fmla="*/ 295757 h 1261733"/>
                <a:gd name="connsiteX639" fmla="*/ 671664 w 2511816"/>
                <a:gd name="connsiteY639" fmla="*/ 295757 h 1261733"/>
                <a:gd name="connsiteX640" fmla="*/ 666030 w 2511816"/>
                <a:gd name="connsiteY640" fmla="*/ 295743 h 1261733"/>
                <a:gd name="connsiteX641" fmla="*/ 652667 w 2511816"/>
                <a:gd name="connsiteY641" fmla="*/ 298908 h 1261733"/>
                <a:gd name="connsiteX642" fmla="*/ 647393 w 2511816"/>
                <a:gd name="connsiteY642" fmla="*/ 354469 h 1261733"/>
                <a:gd name="connsiteX643" fmla="*/ 633917 w 2511816"/>
                <a:gd name="connsiteY643" fmla="*/ 368711 h 1261733"/>
                <a:gd name="connsiteX644" fmla="*/ 633917 w 2511816"/>
                <a:gd name="connsiteY644" fmla="*/ 368711 h 1261733"/>
                <a:gd name="connsiteX645" fmla="*/ 629458 w 2511816"/>
                <a:gd name="connsiteY645" fmla="*/ 372052 h 1261733"/>
                <a:gd name="connsiteX646" fmla="*/ 616447 w 2511816"/>
                <a:gd name="connsiteY646" fmla="*/ 390689 h 1261733"/>
                <a:gd name="connsiteX647" fmla="*/ 627700 w 2511816"/>
                <a:gd name="connsiteY647" fmla="*/ 394909 h 1261733"/>
                <a:gd name="connsiteX648" fmla="*/ 627700 w 2511816"/>
                <a:gd name="connsiteY648" fmla="*/ 431833 h 1261733"/>
                <a:gd name="connsiteX649" fmla="*/ 620344 w 2511816"/>
                <a:gd name="connsiteY649" fmla="*/ 443339 h 1261733"/>
                <a:gd name="connsiteX650" fmla="*/ 616447 w 2511816"/>
                <a:gd name="connsiteY650" fmla="*/ 445547 h 1261733"/>
                <a:gd name="connsiteX651" fmla="*/ 636843 w 2511816"/>
                <a:gd name="connsiteY651" fmla="*/ 449415 h 1261733"/>
                <a:gd name="connsiteX652" fmla="*/ 639523 w 2511816"/>
                <a:gd name="connsiteY652" fmla="*/ 461217 h 1261733"/>
                <a:gd name="connsiteX653" fmla="*/ 642118 w 2511816"/>
                <a:gd name="connsiteY653" fmla="*/ 478954 h 1261733"/>
                <a:gd name="connsiteX654" fmla="*/ 648933 w 2511816"/>
                <a:gd name="connsiteY654" fmla="*/ 485516 h 1261733"/>
                <a:gd name="connsiteX655" fmla="*/ 654777 w 2511816"/>
                <a:gd name="connsiteY655" fmla="*/ 490559 h 1261733"/>
                <a:gd name="connsiteX656" fmla="*/ 645487 w 2511816"/>
                <a:gd name="connsiteY656" fmla="*/ 510406 h 1261733"/>
                <a:gd name="connsiteX657" fmla="*/ 644903 w 2511816"/>
                <a:gd name="connsiteY657" fmla="*/ 510990 h 1261733"/>
                <a:gd name="connsiteX658" fmla="*/ 644579 w 2511816"/>
                <a:gd name="connsiteY658" fmla="*/ 511306 h 1261733"/>
                <a:gd name="connsiteX659" fmla="*/ 627700 w 2511816"/>
                <a:gd name="connsiteY659" fmla="*/ 501108 h 1261733"/>
                <a:gd name="connsiteX660" fmla="*/ 577765 w 2511816"/>
                <a:gd name="connsiteY660" fmla="*/ 457152 h 1261733"/>
                <a:gd name="connsiteX661" fmla="*/ 537121 w 2511816"/>
                <a:gd name="connsiteY661" fmla="*/ 449169 h 1261733"/>
                <a:gd name="connsiteX662" fmla="*/ 534864 w 2511816"/>
                <a:gd name="connsiteY662" fmla="*/ 449415 h 1261733"/>
                <a:gd name="connsiteX663" fmla="*/ 516226 w 2511816"/>
                <a:gd name="connsiteY663" fmla="*/ 427613 h 1261733"/>
                <a:gd name="connsiteX664" fmla="*/ 495830 w 2511816"/>
                <a:gd name="connsiteY664" fmla="*/ 416360 h 1261733"/>
                <a:gd name="connsiteX665" fmla="*/ 485632 w 2511816"/>
                <a:gd name="connsiteY665" fmla="*/ 431833 h 1261733"/>
                <a:gd name="connsiteX666" fmla="*/ 497047 w 2511816"/>
                <a:gd name="connsiteY666" fmla="*/ 440476 h 1261733"/>
                <a:gd name="connsiteX667" fmla="*/ 502160 w 2511816"/>
                <a:gd name="connsiteY667" fmla="*/ 442031 h 1261733"/>
                <a:gd name="connsiteX668" fmla="*/ 521501 w 2511816"/>
                <a:gd name="connsiteY668" fmla="*/ 459613 h 1261733"/>
                <a:gd name="connsiteX669" fmla="*/ 523337 w 2511816"/>
                <a:gd name="connsiteY669" fmla="*/ 462286 h 1261733"/>
                <a:gd name="connsiteX670" fmla="*/ 523337 w 2511816"/>
                <a:gd name="connsiteY670" fmla="*/ 462286 h 1261733"/>
                <a:gd name="connsiteX671" fmla="*/ 530292 w 2511816"/>
                <a:gd name="connsiteY671" fmla="*/ 476141 h 1261733"/>
                <a:gd name="connsiteX672" fmla="*/ 516226 w 2511816"/>
                <a:gd name="connsiteY672" fmla="*/ 493372 h 1261733"/>
                <a:gd name="connsiteX673" fmla="*/ 495830 w 2511816"/>
                <a:gd name="connsiteY673" fmla="*/ 501108 h 1261733"/>
                <a:gd name="connsiteX674" fmla="*/ 494178 w 2511816"/>
                <a:gd name="connsiteY674" fmla="*/ 494701 h 1261733"/>
                <a:gd name="connsiteX675" fmla="*/ 488446 w 2511816"/>
                <a:gd name="connsiteY675" fmla="*/ 478954 h 1261733"/>
                <a:gd name="connsiteX676" fmla="*/ 479781 w 2511816"/>
                <a:gd name="connsiteY676" fmla="*/ 487317 h 1261733"/>
                <a:gd name="connsiteX677" fmla="*/ 472621 w 2511816"/>
                <a:gd name="connsiteY677" fmla="*/ 496185 h 1261733"/>
                <a:gd name="connsiteX678" fmla="*/ 438159 w 2511816"/>
                <a:gd name="connsiteY678" fmla="*/ 501108 h 1261733"/>
                <a:gd name="connsiteX679" fmla="*/ 436619 w 2511816"/>
                <a:gd name="connsiteY679" fmla="*/ 502466 h 1261733"/>
                <a:gd name="connsiteX680" fmla="*/ 436598 w 2511816"/>
                <a:gd name="connsiteY680" fmla="*/ 502480 h 1261733"/>
                <a:gd name="connsiteX681" fmla="*/ 417763 w 2511816"/>
                <a:gd name="connsiteY681" fmla="*/ 514823 h 1261733"/>
                <a:gd name="connsiteX682" fmla="*/ 414360 w 2511816"/>
                <a:gd name="connsiteY682" fmla="*/ 496558 h 1261733"/>
                <a:gd name="connsiteX683" fmla="*/ 414950 w 2511816"/>
                <a:gd name="connsiteY683" fmla="*/ 490559 h 1261733"/>
                <a:gd name="connsiteX684" fmla="*/ 407917 w 2511816"/>
                <a:gd name="connsiteY684" fmla="*/ 485284 h 1261733"/>
                <a:gd name="connsiteX685" fmla="*/ 401081 w 2511816"/>
                <a:gd name="connsiteY685" fmla="*/ 492022 h 1261733"/>
                <a:gd name="connsiteX686" fmla="*/ 389280 w 2511816"/>
                <a:gd name="connsiteY686" fmla="*/ 501108 h 1261733"/>
                <a:gd name="connsiteX687" fmla="*/ 368785 w 2511816"/>
                <a:gd name="connsiteY687" fmla="*/ 511320 h 1261733"/>
                <a:gd name="connsiteX688" fmla="*/ 359037 w 2511816"/>
                <a:gd name="connsiteY688" fmla="*/ 518339 h 1261733"/>
                <a:gd name="connsiteX689" fmla="*/ 349254 w 2511816"/>
                <a:gd name="connsiteY689" fmla="*/ 524641 h 1261733"/>
                <a:gd name="connsiteX690" fmla="*/ 349247 w 2511816"/>
                <a:gd name="connsiteY690" fmla="*/ 524641 h 1261733"/>
                <a:gd name="connsiteX691" fmla="*/ 330905 w 2511816"/>
                <a:gd name="connsiteY691" fmla="*/ 537680 h 1261733"/>
                <a:gd name="connsiteX692" fmla="*/ 325384 w 2511816"/>
                <a:gd name="connsiteY692" fmla="*/ 556796 h 1261733"/>
                <a:gd name="connsiteX693" fmla="*/ 325384 w 2511816"/>
                <a:gd name="connsiteY693" fmla="*/ 556796 h 1261733"/>
                <a:gd name="connsiteX694" fmla="*/ 323872 w 2511816"/>
                <a:gd name="connsiteY694" fmla="*/ 563703 h 1261733"/>
                <a:gd name="connsiteX695" fmla="*/ 303476 w 2511816"/>
                <a:gd name="connsiteY695" fmla="*/ 568977 h 1261733"/>
                <a:gd name="connsiteX696" fmla="*/ 288573 w 2511816"/>
                <a:gd name="connsiteY696" fmla="*/ 560474 h 1261733"/>
                <a:gd name="connsiteX697" fmla="*/ 286597 w 2511816"/>
                <a:gd name="connsiteY697" fmla="*/ 558779 h 1261733"/>
                <a:gd name="connsiteX698" fmla="*/ 286597 w 2511816"/>
                <a:gd name="connsiteY698" fmla="*/ 530647 h 1261733"/>
                <a:gd name="connsiteX699" fmla="*/ 294354 w 2511816"/>
                <a:gd name="connsiteY699" fmla="*/ 523347 h 1261733"/>
                <a:gd name="connsiteX700" fmla="*/ 301366 w 2511816"/>
                <a:gd name="connsiteY700" fmla="*/ 518339 h 1261733"/>
                <a:gd name="connsiteX701" fmla="*/ 300065 w 2511816"/>
                <a:gd name="connsiteY701" fmla="*/ 510997 h 1261733"/>
                <a:gd name="connsiteX702" fmla="*/ 297147 w 2511816"/>
                <a:gd name="connsiteY702" fmla="*/ 507438 h 1261733"/>
                <a:gd name="connsiteX703" fmla="*/ 275344 w 2511816"/>
                <a:gd name="connsiteY703" fmla="*/ 496185 h 1261733"/>
                <a:gd name="connsiteX704" fmla="*/ 271912 w 2511816"/>
                <a:gd name="connsiteY704" fmla="*/ 509365 h 1261733"/>
                <a:gd name="connsiteX705" fmla="*/ 271124 w 2511816"/>
                <a:gd name="connsiteY705" fmla="*/ 518339 h 1261733"/>
                <a:gd name="connsiteX706" fmla="*/ 269141 w 2511816"/>
                <a:gd name="connsiteY706" fmla="*/ 525963 h 1261733"/>
                <a:gd name="connsiteX707" fmla="*/ 264091 w 2511816"/>
                <a:gd name="connsiteY707" fmla="*/ 554911 h 1261733"/>
                <a:gd name="connsiteX708" fmla="*/ 268845 w 2511816"/>
                <a:gd name="connsiteY708" fmla="*/ 564497 h 1261733"/>
                <a:gd name="connsiteX709" fmla="*/ 275344 w 2511816"/>
                <a:gd name="connsiteY709" fmla="*/ 579175 h 1261733"/>
                <a:gd name="connsiteX710" fmla="*/ 261981 w 2511816"/>
                <a:gd name="connsiteY710" fmla="*/ 593593 h 1261733"/>
                <a:gd name="connsiteX711" fmla="*/ 248471 w 2511816"/>
                <a:gd name="connsiteY711" fmla="*/ 586208 h 1261733"/>
                <a:gd name="connsiteX712" fmla="*/ 244047 w 2511816"/>
                <a:gd name="connsiteY712" fmla="*/ 582692 h 1261733"/>
                <a:gd name="connsiteX713" fmla="*/ 229243 w 2511816"/>
                <a:gd name="connsiteY713" fmla="*/ 592489 h 1261733"/>
                <a:gd name="connsiteX714" fmla="*/ 229243 w 2511816"/>
                <a:gd name="connsiteY714" fmla="*/ 592489 h 1261733"/>
                <a:gd name="connsiteX715" fmla="*/ 216618 w 2511816"/>
                <a:gd name="connsiteY715" fmla="*/ 602736 h 1261733"/>
                <a:gd name="connsiteX716" fmla="*/ 200660 w 2511816"/>
                <a:gd name="connsiteY716" fmla="*/ 645398 h 1261733"/>
                <a:gd name="connsiteX717" fmla="*/ 200660 w 2511816"/>
                <a:gd name="connsiteY717" fmla="*/ 645406 h 1261733"/>
                <a:gd name="connsiteX718" fmla="*/ 200090 w 2511816"/>
                <a:gd name="connsiteY718" fmla="*/ 648099 h 1261733"/>
                <a:gd name="connsiteX719" fmla="*/ 194147 w 2511816"/>
                <a:gd name="connsiteY719" fmla="*/ 650518 h 1261733"/>
                <a:gd name="connsiteX720" fmla="*/ 185321 w 2511816"/>
                <a:gd name="connsiteY720" fmla="*/ 648099 h 1261733"/>
                <a:gd name="connsiteX721" fmla="*/ 173653 w 2511816"/>
                <a:gd name="connsiteY721" fmla="*/ 639842 h 1261733"/>
                <a:gd name="connsiteX722" fmla="*/ 168793 w 2511816"/>
                <a:gd name="connsiteY722" fmla="*/ 633681 h 1261733"/>
                <a:gd name="connsiteX723" fmla="*/ 151914 w 2511816"/>
                <a:gd name="connsiteY723" fmla="*/ 644231 h 1261733"/>
                <a:gd name="connsiteX724" fmla="*/ 163870 w 2511816"/>
                <a:gd name="connsiteY724" fmla="*/ 655836 h 1261733"/>
                <a:gd name="connsiteX725" fmla="*/ 174771 w 2511816"/>
                <a:gd name="connsiteY725" fmla="*/ 669550 h 1261733"/>
                <a:gd name="connsiteX726" fmla="*/ 165396 w 2511816"/>
                <a:gd name="connsiteY726" fmla="*/ 677364 h 1261733"/>
                <a:gd name="connsiteX727" fmla="*/ 163870 w 2511816"/>
                <a:gd name="connsiteY727" fmla="*/ 677638 h 1261733"/>
                <a:gd name="connsiteX728" fmla="*/ 123782 w 2511816"/>
                <a:gd name="connsiteY728" fmla="*/ 650912 h 1261733"/>
                <a:gd name="connsiteX729" fmla="*/ 119210 w 2511816"/>
                <a:gd name="connsiteY729" fmla="*/ 611914 h 1261733"/>
                <a:gd name="connsiteX730" fmla="*/ 119210 w 2511816"/>
                <a:gd name="connsiteY730" fmla="*/ 610121 h 1261733"/>
                <a:gd name="connsiteX731" fmla="*/ 99869 w 2511816"/>
                <a:gd name="connsiteY731" fmla="*/ 582692 h 1261733"/>
                <a:gd name="connsiteX732" fmla="*/ 90023 w 2511816"/>
                <a:gd name="connsiteY732" fmla="*/ 554911 h 1261733"/>
                <a:gd name="connsiteX733" fmla="*/ 128705 w 2511816"/>
                <a:gd name="connsiteY733" fmla="*/ 579175 h 1261733"/>
                <a:gd name="connsiteX734" fmla="*/ 194464 w 2511816"/>
                <a:gd name="connsiteY734" fmla="*/ 593593 h 1261733"/>
                <a:gd name="connsiteX735" fmla="*/ 225128 w 2511816"/>
                <a:gd name="connsiteY735" fmla="*/ 557366 h 1261733"/>
                <a:gd name="connsiteX736" fmla="*/ 225409 w 2511816"/>
                <a:gd name="connsiteY736" fmla="*/ 556669 h 1261733"/>
                <a:gd name="connsiteX737" fmla="*/ 148749 w 2511816"/>
                <a:gd name="connsiteY737" fmla="*/ 478954 h 1261733"/>
                <a:gd name="connsiteX738" fmla="*/ 87597 w 2511816"/>
                <a:gd name="connsiteY738" fmla="*/ 459740 h 1261733"/>
                <a:gd name="connsiteX739" fmla="*/ 87590 w 2511816"/>
                <a:gd name="connsiteY739" fmla="*/ 459740 h 1261733"/>
                <a:gd name="connsiteX740" fmla="*/ 86507 w 2511816"/>
                <a:gd name="connsiteY740" fmla="*/ 459613 h 1261733"/>
                <a:gd name="connsiteX741" fmla="*/ 84847 w 2511816"/>
                <a:gd name="connsiteY741" fmla="*/ 454324 h 1261733"/>
                <a:gd name="connsiteX742" fmla="*/ 81583 w 2511816"/>
                <a:gd name="connsiteY742" fmla="*/ 445547 h 1261733"/>
                <a:gd name="connsiteX743" fmla="*/ 1396104 w 2511816"/>
                <a:gd name="connsiteY743" fmla="*/ 1162419 h 1261733"/>
                <a:gd name="connsiteX744" fmla="*/ 1394873 w 2511816"/>
                <a:gd name="connsiteY744" fmla="*/ 1163102 h 1261733"/>
                <a:gd name="connsiteX745" fmla="*/ 1394866 w 2511816"/>
                <a:gd name="connsiteY745" fmla="*/ 1163109 h 1261733"/>
                <a:gd name="connsiteX746" fmla="*/ 1396104 w 2511816"/>
                <a:gd name="connsiteY746" fmla="*/ 1162419 h 1261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</a:cxnLst>
              <a:rect l="l" t="t" r="r" b="b"/>
              <a:pathLst>
                <a:path w="2511816" h="1261733">
                  <a:moveTo>
                    <a:pt x="81583" y="445547"/>
                  </a:moveTo>
                  <a:cubicBezTo>
                    <a:pt x="79255" y="444577"/>
                    <a:pt x="75542" y="446708"/>
                    <a:pt x="71969" y="448754"/>
                  </a:cubicBezTo>
                  <a:cubicBezTo>
                    <a:pt x="69065" y="450421"/>
                    <a:pt x="66244" y="452032"/>
                    <a:pt x="64352" y="451877"/>
                  </a:cubicBezTo>
                  <a:lnTo>
                    <a:pt x="61891" y="445547"/>
                  </a:lnTo>
                  <a:lnTo>
                    <a:pt x="21802" y="434294"/>
                  </a:lnTo>
                  <a:lnTo>
                    <a:pt x="4923" y="494075"/>
                  </a:lnTo>
                  <a:lnTo>
                    <a:pt x="16528" y="778914"/>
                  </a:lnTo>
                  <a:lnTo>
                    <a:pt x="33055" y="786650"/>
                  </a:lnTo>
                  <a:cubicBezTo>
                    <a:pt x="35869" y="787705"/>
                    <a:pt x="41847" y="789956"/>
                    <a:pt x="43253" y="790518"/>
                  </a:cubicBezTo>
                  <a:cubicBezTo>
                    <a:pt x="44660" y="791081"/>
                    <a:pt x="53922" y="797080"/>
                    <a:pt x="58374" y="800013"/>
                  </a:cubicBezTo>
                  <a:cubicBezTo>
                    <a:pt x="57552" y="801891"/>
                    <a:pt x="53381" y="805991"/>
                    <a:pt x="43253" y="807398"/>
                  </a:cubicBezTo>
                  <a:cubicBezTo>
                    <a:pt x="33126" y="808804"/>
                    <a:pt x="24032" y="812441"/>
                    <a:pt x="20748" y="814079"/>
                  </a:cubicBezTo>
                  <a:lnTo>
                    <a:pt x="2813" y="820057"/>
                  </a:lnTo>
                  <a:lnTo>
                    <a:pt x="0" y="892849"/>
                  </a:lnTo>
                  <a:lnTo>
                    <a:pt x="39385" y="980411"/>
                  </a:lnTo>
                  <a:lnTo>
                    <a:pt x="197277" y="1128808"/>
                  </a:lnTo>
                  <a:cubicBezTo>
                    <a:pt x="196103" y="1131038"/>
                    <a:pt x="193550" y="1136193"/>
                    <a:pt x="192706" y="1139006"/>
                  </a:cubicBezTo>
                  <a:cubicBezTo>
                    <a:pt x="191651" y="1142523"/>
                    <a:pt x="185321" y="1159754"/>
                    <a:pt x="183914" y="1162567"/>
                  </a:cubicBezTo>
                  <a:cubicBezTo>
                    <a:pt x="182789" y="1164818"/>
                    <a:pt x="170552" y="1180150"/>
                    <a:pt x="164573" y="1187534"/>
                  </a:cubicBezTo>
                  <a:cubicBezTo>
                    <a:pt x="167619" y="1190115"/>
                    <a:pt x="175756" y="1197662"/>
                    <a:pt x="183914" y="1207227"/>
                  </a:cubicBezTo>
                  <a:cubicBezTo>
                    <a:pt x="190863" y="1215378"/>
                    <a:pt x="202883" y="1216827"/>
                    <a:pt x="213840" y="1218149"/>
                  </a:cubicBezTo>
                  <a:cubicBezTo>
                    <a:pt x="218953" y="1218768"/>
                    <a:pt x="223841" y="1219359"/>
                    <a:pt x="227871" y="1220590"/>
                  </a:cubicBezTo>
                  <a:cubicBezTo>
                    <a:pt x="231493" y="1221694"/>
                    <a:pt x="234278" y="1222460"/>
                    <a:pt x="236585" y="1223087"/>
                  </a:cubicBezTo>
                  <a:lnTo>
                    <a:pt x="236585" y="1223087"/>
                  </a:lnTo>
                  <a:cubicBezTo>
                    <a:pt x="242345" y="1224662"/>
                    <a:pt x="245102" y="1225414"/>
                    <a:pt x="250377" y="1228678"/>
                  </a:cubicBezTo>
                  <a:cubicBezTo>
                    <a:pt x="254280" y="1231097"/>
                    <a:pt x="260645" y="1231843"/>
                    <a:pt x="266511" y="1232525"/>
                  </a:cubicBezTo>
                  <a:cubicBezTo>
                    <a:pt x="271722" y="1233137"/>
                    <a:pt x="276540" y="1233699"/>
                    <a:pt x="278861" y="1235359"/>
                  </a:cubicBezTo>
                  <a:cubicBezTo>
                    <a:pt x="279444" y="1235774"/>
                    <a:pt x="280190" y="1236302"/>
                    <a:pt x="281055" y="1236920"/>
                  </a:cubicBezTo>
                  <a:lnTo>
                    <a:pt x="281076" y="1236935"/>
                  </a:lnTo>
                  <a:lnTo>
                    <a:pt x="281083" y="1236942"/>
                  </a:lnTo>
                  <a:cubicBezTo>
                    <a:pt x="287547" y="1241534"/>
                    <a:pt x="300733" y="1250902"/>
                    <a:pt x="303828" y="1253997"/>
                  </a:cubicBezTo>
                  <a:cubicBezTo>
                    <a:pt x="306641" y="1256810"/>
                    <a:pt x="314849" y="1260326"/>
                    <a:pt x="318597" y="1261733"/>
                  </a:cubicBezTo>
                  <a:cubicBezTo>
                    <a:pt x="320004" y="1256339"/>
                    <a:pt x="322817" y="1244291"/>
                    <a:pt x="322817" y="1239227"/>
                  </a:cubicBezTo>
                  <a:cubicBezTo>
                    <a:pt x="322817" y="1235169"/>
                    <a:pt x="321516" y="1231976"/>
                    <a:pt x="320307" y="1229008"/>
                  </a:cubicBezTo>
                  <a:cubicBezTo>
                    <a:pt x="319624" y="1227342"/>
                    <a:pt x="318977" y="1225745"/>
                    <a:pt x="318597" y="1224106"/>
                  </a:cubicBezTo>
                  <a:cubicBezTo>
                    <a:pt x="318007" y="1221553"/>
                    <a:pt x="314673" y="1217565"/>
                    <a:pt x="311170" y="1213388"/>
                  </a:cubicBezTo>
                  <a:cubicBezTo>
                    <a:pt x="308406" y="1210082"/>
                    <a:pt x="305537" y="1206657"/>
                    <a:pt x="303828" y="1203710"/>
                  </a:cubicBezTo>
                  <a:cubicBezTo>
                    <a:pt x="299960" y="1197029"/>
                    <a:pt x="307696" y="1184018"/>
                    <a:pt x="315433" y="1180150"/>
                  </a:cubicBezTo>
                  <a:cubicBezTo>
                    <a:pt x="323169" y="1176282"/>
                    <a:pt x="337235" y="1163974"/>
                    <a:pt x="341806" y="1157292"/>
                  </a:cubicBezTo>
                  <a:cubicBezTo>
                    <a:pt x="344472" y="1153389"/>
                    <a:pt x="343072" y="1151166"/>
                    <a:pt x="341089" y="1148037"/>
                  </a:cubicBezTo>
                  <a:cubicBezTo>
                    <a:pt x="339676" y="1145800"/>
                    <a:pt x="337966" y="1143107"/>
                    <a:pt x="337235" y="1139006"/>
                  </a:cubicBezTo>
                  <a:cubicBezTo>
                    <a:pt x="335477" y="1129160"/>
                    <a:pt x="328092" y="1126698"/>
                    <a:pt x="322817" y="1125292"/>
                  </a:cubicBezTo>
                  <a:cubicBezTo>
                    <a:pt x="317542" y="1123885"/>
                    <a:pt x="309103" y="1103138"/>
                    <a:pt x="307696" y="1094698"/>
                  </a:cubicBezTo>
                  <a:cubicBezTo>
                    <a:pt x="306290" y="1086258"/>
                    <a:pt x="309806" y="1078170"/>
                    <a:pt x="315433" y="1071841"/>
                  </a:cubicBezTo>
                  <a:cubicBezTo>
                    <a:pt x="319934" y="1066777"/>
                    <a:pt x="325750" y="1069731"/>
                    <a:pt x="328092" y="1071841"/>
                  </a:cubicBezTo>
                  <a:cubicBezTo>
                    <a:pt x="333486" y="1067037"/>
                    <a:pt x="345745" y="1056368"/>
                    <a:pt x="351653" y="1052148"/>
                  </a:cubicBezTo>
                  <a:cubicBezTo>
                    <a:pt x="353749" y="1050650"/>
                    <a:pt x="356323" y="1048104"/>
                    <a:pt x="359241" y="1045227"/>
                  </a:cubicBezTo>
                  <a:cubicBezTo>
                    <a:pt x="366591" y="1037970"/>
                    <a:pt x="376093" y="1028587"/>
                    <a:pt x="385411" y="1028587"/>
                  </a:cubicBezTo>
                  <a:lnTo>
                    <a:pt x="411785" y="1028587"/>
                  </a:lnTo>
                  <a:cubicBezTo>
                    <a:pt x="415464" y="1028587"/>
                    <a:pt x="422279" y="1033468"/>
                    <a:pt x="429699" y="1038778"/>
                  </a:cubicBezTo>
                  <a:cubicBezTo>
                    <a:pt x="438588" y="1045150"/>
                    <a:pt x="448364" y="1052148"/>
                    <a:pt x="454687" y="1052148"/>
                  </a:cubicBezTo>
                  <a:lnTo>
                    <a:pt x="493369" y="1052148"/>
                  </a:lnTo>
                  <a:lnTo>
                    <a:pt x="523611" y="1052148"/>
                  </a:lnTo>
                  <a:cubicBezTo>
                    <a:pt x="531882" y="1052148"/>
                    <a:pt x="530461" y="1043983"/>
                    <a:pt x="529132" y="1036303"/>
                  </a:cubicBezTo>
                  <a:cubicBezTo>
                    <a:pt x="528654" y="1033532"/>
                    <a:pt x="528182" y="1030824"/>
                    <a:pt x="528182" y="1028587"/>
                  </a:cubicBezTo>
                  <a:lnTo>
                    <a:pt x="528182" y="1001862"/>
                  </a:lnTo>
                  <a:cubicBezTo>
                    <a:pt x="528182" y="996749"/>
                    <a:pt x="533577" y="991819"/>
                    <a:pt x="539358" y="986530"/>
                  </a:cubicBezTo>
                  <a:cubicBezTo>
                    <a:pt x="541531" y="984553"/>
                    <a:pt x="543754" y="982521"/>
                    <a:pt x="545765" y="980411"/>
                  </a:cubicBezTo>
                  <a:cubicBezTo>
                    <a:pt x="553150" y="972675"/>
                    <a:pt x="564754" y="970565"/>
                    <a:pt x="571787" y="970565"/>
                  </a:cubicBezTo>
                  <a:cubicBezTo>
                    <a:pt x="575684" y="970565"/>
                    <a:pt x="587661" y="962695"/>
                    <a:pt x="598351" y="955669"/>
                  </a:cubicBezTo>
                  <a:cubicBezTo>
                    <a:pt x="606974" y="950007"/>
                    <a:pt x="614759" y="944894"/>
                    <a:pt x="616799" y="944894"/>
                  </a:cubicBezTo>
                  <a:cubicBezTo>
                    <a:pt x="617777" y="944894"/>
                    <a:pt x="620006" y="944929"/>
                    <a:pt x="623023" y="944971"/>
                  </a:cubicBezTo>
                  <a:cubicBezTo>
                    <a:pt x="634079" y="945133"/>
                    <a:pt x="655811" y="945450"/>
                    <a:pt x="666030" y="944894"/>
                  </a:cubicBezTo>
                  <a:cubicBezTo>
                    <a:pt x="676439" y="944331"/>
                    <a:pt x="706470" y="964819"/>
                    <a:pt x="720185" y="975136"/>
                  </a:cubicBezTo>
                  <a:lnTo>
                    <a:pt x="738119" y="980411"/>
                  </a:lnTo>
                  <a:cubicBezTo>
                    <a:pt x="745384" y="977127"/>
                    <a:pt x="761539" y="970565"/>
                    <a:pt x="768010" y="970565"/>
                  </a:cubicBezTo>
                  <a:cubicBezTo>
                    <a:pt x="776098" y="970565"/>
                    <a:pt x="784889" y="975136"/>
                    <a:pt x="791922" y="980411"/>
                  </a:cubicBezTo>
                  <a:cubicBezTo>
                    <a:pt x="797548" y="984631"/>
                    <a:pt x="807163" y="1004443"/>
                    <a:pt x="811263" y="1013818"/>
                  </a:cubicBezTo>
                  <a:cubicBezTo>
                    <a:pt x="814428" y="1023193"/>
                    <a:pt x="821672" y="1043990"/>
                    <a:pt x="825329" y="1052148"/>
                  </a:cubicBezTo>
                  <a:cubicBezTo>
                    <a:pt x="828325" y="1058830"/>
                    <a:pt x="839768" y="1056755"/>
                    <a:pt x="852055" y="1054532"/>
                  </a:cubicBezTo>
                  <a:cubicBezTo>
                    <a:pt x="858525" y="1053358"/>
                    <a:pt x="865221" y="1052148"/>
                    <a:pt x="871044" y="1052148"/>
                  </a:cubicBezTo>
                  <a:cubicBezTo>
                    <a:pt x="881467" y="1052148"/>
                    <a:pt x="888943" y="1058183"/>
                    <a:pt x="900505" y="1067522"/>
                  </a:cubicBezTo>
                  <a:cubicBezTo>
                    <a:pt x="907665" y="1073304"/>
                    <a:pt x="916393" y="1080351"/>
                    <a:pt x="928363" y="1088017"/>
                  </a:cubicBezTo>
                  <a:cubicBezTo>
                    <a:pt x="931050" y="1089733"/>
                    <a:pt x="938174" y="1092117"/>
                    <a:pt x="949005" y="1095036"/>
                  </a:cubicBezTo>
                  <a:cubicBezTo>
                    <a:pt x="949491" y="1094346"/>
                    <a:pt x="949990" y="1093763"/>
                    <a:pt x="950517" y="1093291"/>
                  </a:cubicBezTo>
                  <a:cubicBezTo>
                    <a:pt x="965638" y="1078522"/>
                    <a:pt x="1000663" y="1051093"/>
                    <a:pt x="1019793" y="1059533"/>
                  </a:cubicBezTo>
                  <a:cubicBezTo>
                    <a:pt x="1043705" y="1070082"/>
                    <a:pt x="1065859" y="1076060"/>
                    <a:pt x="1074651" y="1078170"/>
                  </a:cubicBezTo>
                  <a:cubicBezTo>
                    <a:pt x="1077844" y="1078937"/>
                    <a:pt x="1080059" y="1081138"/>
                    <a:pt x="1081846" y="1082911"/>
                  </a:cubicBezTo>
                  <a:cubicBezTo>
                    <a:pt x="1084975" y="1086019"/>
                    <a:pt x="1086762" y="1087799"/>
                    <a:pt x="1090123" y="1078170"/>
                  </a:cubicBezTo>
                  <a:cubicBezTo>
                    <a:pt x="1091854" y="1073205"/>
                    <a:pt x="1092564" y="1068015"/>
                    <a:pt x="1093232" y="1063120"/>
                  </a:cubicBezTo>
                  <a:lnTo>
                    <a:pt x="1093232" y="1063120"/>
                  </a:lnTo>
                  <a:cubicBezTo>
                    <a:pt x="1094596" y="1053098"/>
                    <a:pt x="1095799" y="1044320"/>
                    <a:pt x="1105245" y="1041247"/>
                  </a:cubicBezTo>
                  <a:cubicBezTo>
                    <a:pt x="1108740" y="1040107"/>
                    <a:pt x="1111652" y="1038975"/>
                    <a:pt x="1114205" y="1037977"/>
                  </a:cubicBezTo>
                  <a:lnTo>
                    <a:pt x="1114205" y="1037977"/>
                  </a:lnTo>
                  <a:cubicBezTo>
                    <a:pt x="1121913" y="1034966"/>
                    <a:pt x="1126330" y="1033243"/>
                    <a:pt x="1133728" y="1036675"/>
                  </a:cubicBezTo>
                  <a:cubicBezTo>
                    <a:pt x="1134832" y="1037189"/>
                    <a:pt x="1136021" y="1037730"/>
                    <a:pt x="1137266" y="1038300"/>
                  </a:cubicBezTo>
                  <a:cubicBezTo>
                    <a:pt x="1147119" y="1042808"/>
                    <a:pt x="1160454" y="1048913"/>
                    <a:pt x="1163267" y="1053906"/>
                  </a:cubicBezTo>
                  <a:cubicBezTo>
                    <a:pt x="1166432" y="1059533"/>
                    <a:pt x="1175927" y="1071137"/>
                    <a:pt x="1183311" y="1072544"/>
                  </a:cubicBezTo>
                  <a:cubicBezTo>
                    <a:pt x="1190696" y="1073951"/>
                    <a:pt x="1208279" y="1067972"/>
                    <a:pt x="1211444" y="1063753"/>
                  </a:cubicBezTo>
                  <a:cubicBezTo>
                    <a:pt x="1214609" y="1059533"/>
                    <a:pt x="1235708" y="1066918"/>
                    <a:pt x="1240631" y="1072544"/>
                  </a:cubicBezTo>
                  <a:cubicBezTo>
                    <a:pt x="1241425" y="1073458"/>
                    <a:pt x="1242326" y="1074612"/>
                    <a:pt x="1243339" y="1075920"/>
                  </a:cubicBezTo>
                  <a:cubicBezTo>
                    <a:pt x="1248564" y="1082671"/>
                    <a:pt x="1256793" y="1093291"/>
                    <a:pt x="1269466" y="1093291"/>
                  </a:cubicBezTo>
                  <a:cubicBezTo>
                    <a:pt x="1271499" y="1093291"/>
                    <a:pt x="1273813" y="1093320"/>
                    <a:pt x="1276324" y="1093355"/>
                  </a:cubicBezTo>
                  <a:lnTo>
                    <a:pt x="1276324" y="1093355"/>
                  </a:lnTo>
                  <a:cubicBezTo>
                    <a:pt x="1292493" y="1093580"/>
                    <a:pt x="1316883" y="1093917"/>
                    <a:pt x="1327841" y="1086610"/>
                  </a:cubicBezTo>
                  <a:cubicBezTo>
                    <a:pt x="1340500" y="1078170"/>
                    <a:pt x="1349643" y="1072544"/>
                    <a:pt x="1362654" y="1072544"/>
                  </a:cubicBezTo>
                  <a:cubicBezTo>
                    <a:pt x="1373063" y="1072544"/>
                    <a:pt x="1385512" y="1076996"/>
                    <a:pt x="1389380" y="1081687"/>
                  </a:cubicBezTo>
                  <a:cubicBezTo>
                    <a:pt x="1399057" y="1080140"/>
                    <a:pt x="1417231" y="1079141"/>
                    <a:pt x="1425326" y="1078923"/>
                  </a:cubicBezTo>
                  <a:lnTo>
                    <a:pt x="1425326" y="1082573"/>
                  </a:lnTo>
                  <a:lnTo>
                    <a:pt x="1425326" y="1071433"/>
                  </a:lnTo>
                  <a:cubicBezTo>
                    <a:pt x="1425326" y="1070237"/>
                    <a:pt x="1434476" y="1054729"/>
                    <a:pt x="1436860" y="1050749"/>
                  </a:cubicBezTo>
                  <a:cubicBezTo>
                    <a:pt x="1438773" y="1047563"/>
                    <a:pt x="1444554" y="1041198"/>
                    <a:pt x="1447206" y="1038420"/>
                  </a:cubicBezTo>
                  <a:lnTo>
                    <a:pt x="1447206" y="1022905"/>
                  </a:lnTo>
                  <a:lnTo>
                    <a:pt x="1439251" y="1017334"/>
                  </a:lnTo>
                  <a:lnTo>
                    <a:pt x="1449196" y="1007390"/>
                  </a:lnTo>
                  <a:cubicBezTo>
                    <a:pt x="1450511" y="1006075"/>
                    <a:pt x="1454422" y="1004590"/>
                    <a:pt x="1458191" y="1003156"/>
                  </a:cubicBezTo>
                  <a:cubicBezTo>
                    <a:pt x="1460125" y="1002424"/>
                    <a:pt x="1462031" y="1001700"/>
                    <a:pt x="1463515" y="1001025"/>
                  </a:cubicBezTo>
                  <a:cubicBezTo>
                    <a:pt x="1467320" y="999295"/>
                    <a:pt x="1476822" y="999372"/>
                    <a:pt x="1483166" y="999421"/>
                  </a:cubicBezTo>
                  <a:lnTo>
                    <a:pt x="1483187" y="999421"/>
                  </a:lnTo>
                  <a:cubicBezTo>
                    <a:pt x="1484136" y="999428"/>
                    <a:pt x="1485015" y="999435"/>
                    <a:pt x="1485789" y="999435"/>
                  </a:cubicBezTo>
                  <a:cubicBezTo>
                    <a:pt x="1491324" y="999435"/>
                    <a:pt x="1499595" y="1001827"/>
                    <a:pt x="1502985" y="1002811"/>
                  </a:cubicBezTo>
                  <a:lnTo>
                    <a:pt x="1503203" y="1002867"/>
                  </a:lnTo>
                  <a:cubicBezTo>
                    <a:pt x="1503379" y="1002924"/>
                    <a:pt x="1503548" y="1002973"/>
                    <a:pt x="1503695" y="1003015"/>
                  </a:cubicBezTo>
                  <a:cubicBezTo>
                    <a:pt x="1505882" y="1003641"/>
                    <a:pt x="1509055" y="1005245"/>
                    <a:pt x="1513408" y="1007453"/>
                  </a:cubicBezTo>
                  <a:cubicBezTo>
                    <a:pt x="1514006" y="1007755"/>
                    <a:pt x="1514625" y="1008072"/>
                    <a:pt x="1515272" y="1008395"/>
                  </a:cubicBezTo>
                  <a:cubicBezTo>
                    <a:pt x="1515644" y="1008585"/>
                    <a:pt x="1516024" y="1008782"/>
                    <a:pt x="1516418" y="1008972"/>
                  </a:cubicBezTo>
                  <a:cubicBezTo>
                    <a:pt x="1516678" y="1009106"/>
                    <a:pt x="1516945" y="1009239"/>
                    <a:pt x="1517220" y="1009380"/>
                  </a:cubicBezTo>
                  <a:cubicBezTo>
                    <a:pt x="1523585" y="1012559"/>
                    <a:pt x="1528754" y="1023699"/>
                    <a:pt x="1529549" y="1026084"/>
                  </a:cubicBezTo>
                  <a:cubicBezTo>
                    <a:pt x="1529809" y="1026871"/>
                    <a:pt x="1530505" y="1028552"/>
                    <a:pt x="1531356" y="1030634"/>
                  </a:cubicBezTo>
                  <a:cubicBezTo>
                    <a:pt x="1533093" y="1034882"/>
                    <a:pt x="1535513" y="1040783"/>
                    <a:pt x="1536314" y="1043983"/>
                  </a:cubicBezTo>
                  <a:cubicBezTo>
                    <a:pt x="1536990" y="1046683"/>
                    <a:pt x="1539184" y="1050270"/>
                    <a:pt x="1541399" y="1053885"/>
                  </a:cubicBezTo>
                  <a:cubicBezTo>
                    <a:pt x="1543108" y="1056663"/>
                    <a:pt x="1544825" y="1059462"/>
                    <a:pt x="1545859" y="1061889"/>
                  </a:cubicBezTo>
                  <a:cubicBezTo>
                    <a:pt x="1547476" y="1065659"/>
                    <a:pt x="1549825" y="1076011"/>
                    <a:pt x="1551421" y="1083037"/>
                  </a:cubicBezTo>
                  <a:cubicBezTo>
                    <a:pt x="1552174" y="1086378"/>
                    <a:pt x="1552765" y="1088966"/>
                    <a:pt x="1553018" y="1089733"/>
                  </a:cubicBezTo>
                  <a:cubicBezTo>
                    <a:pt x="1553609" y="1091491"/>
                    <a:pt x="1556992" y="1092602"/>
                    <a:pt x="1559376" y="1093383"/>
                  </a:cubicBezTo>
                  <a:cubicBezTo>
                    <a:pt x="1560227" y="1093657"/>
                    <a:pt x="1560951" y="1093896"/>
                    <a:pt x="1561373" y="1094107"/>
                  </a:cubicBezTo>
                  <a:cubicBezTo>
                    <a:pt x="1562147" y="1094494"/>
                    <a:pt x="1564981" y="1094972"/>
                    <a:pt x="1568104" y="1095500"/>
                  </a:cubicBezTo>
                  <a:lnTo>
                    <a:pt x="1568111" y="1095507"/>
                  </a:lnTo>
                  <a:lnTo>
                    <a:pt x="1568118" y="1095507"/>
                  </a:lnTo>
                  <a:lnTo>
                    <a:pt x="1568118" y="1095507"/>
                  </a:lnTo>
                  <a:cubicBezTo>
                    <a:pt x="1571423" y="1096062"/>
                    <a:pt x="1575046" y="1096674"/>
                    <a:pt x="1576888" y="1097293"/>
                  </a:cubicBezTo>
                  <a:cubicBezTo>
                    <a:pt x="1580468" y="1098482"/>
                    <a:pt x="1583253" y="1101267"/>
                    <a:pt x="1585244" y="1104052"/>
                  </a:cubicBezTo>
                  <a:cubicBezTo>
                    <a:pt x="1585961" y="1105065"/>
                    <a:pt x="1587684" y="1106443"/>
                    <a:pt x="1589695" y="1108054"/>
                  </a:cubicBezTo>
                  <a:cubicBezTo>
                    <a:pt x="1593219" y="1110881"/>
                    <a:pt x="1597643" y="1114433"/>
                    <a:pt x="1599162" y="1117978"/>
                  </a:cubicBezTo>
                  <a:cubicBezTo>
                    <a:pt x="1601075" y="1122429"/>
                    <a:pt x="1602348" y="1130173"/>
                    <a:pt x="1602742" y="1133492"/>
                  </a:cubicBezTo>
                  <a:cubicBezTo>
                    <a:pt x="1607918" y="1134154"/>
                    <a:pt x="1618974" y="1135560"/>
                    <a:pt x="1621836" y="1135877"/>
                  </a:cubicBezTo>
                  <a:cubicBezTo>
                    <a:pt x="1624706" y="1136193"/>
                    <a:pt x="1628335" y="1134421"/>
                    <a:pt x="1629798" y="1133492"/>
                  </a:cubicBezTo>
                  <a:cubicBezTo>
                    <a:pt x="1633244" y="1131636"/>
                    <a:pt x="1640854" y="1127521"/>
                    <a:pt x="1643716" y="1125932"/>
                  </a:cubicBezTo>
                  <a:cubicBezTo>
                    <a:pt x="1647296" y="1123942"/>
                    <a:pt x="1654062" y="1122753"/>
                    <a:pt x="1655651" y="1122753"/>
                  </a:cubicBezTo>
                  <a:lnTo>
                    <a:pt x="1663606" y="1122753"/>
                  </a:lnTo>
                  <a:cubicBezTo>
                    <a:pt x="1663078" y="1124870"/>
                    <a:pt x="1661615" y="1129990"/>
                    <a:pt x="1660026" y="1133492"/>
                  </a:cubicBezTo>
                  <a:cubicBezTo>
                    <a:pt x="1659112" y="1135504"/>
                    <a:pt x="1657269" y="1138950"/>
                    <a:pt x="1655468" y="1142319"/>
                  </a:cubicBezTo>
                  <a:lnTo>
                    <a:pt x="1655468" y="1142326"/>
                  </a:lnTo>
                  <a:lnTo>
                    <a:pt x="1655462" y="1142333"/>
                  </a:lnTo>
                  <a:lnTo>
                    <a:pt x="1655447" y="1142354"/>
                  </a:lnTo>
                  <a:lnTo>
                    <a:pt x="1655447" y="1142361"/>
                  </a:lnTo>
                  <a:cubicBezTo>
                    <a:pt x="1653344" y="1146293"/>
                    <a:pt x="1651305" y="1150104"/>
                    <a:pt x="1650876" y="1151392"/>
                  </a:cubicBezTo>
                  <a:cubicBezTo>
                    <a:pt x="1650285" y="1153178"/>
                    <a:pt x="1649687" y="1155639"/>
                    <a:pt x="1649090" y="1158101"/>
                  </a:cubicBezTo>
                  <a:cubicBezTo>
                    <a:pt x="1648893" y="1158924"/>
                    <a:pt x="1648689" y="1159747"/>
                    <a:pt x="1648492" y="1160542"/>
                  </a:cubicBezTo>
                  <a:cubicBezTo>
                    <a:pt x="1647901" y="1162891"/>
                    <a:pt x="1643850" y="1173693"/>
                    <a:pt x="1641606" y="1179671"/>
                  </a:cubicBezTo>
                  <a:lnTo>
                    <a:pt x="1641599" y="1179686"/>
                  </a:lnTo>
                  <a:lnTo>
                    <a:pt x="1641557" y="1179791"/>
                  </a:lnTo>
                  <a:cubicBezTo>
                    <a:pt x="1640791" y="1181845"/>
                    <a:pt x="1640242" y="1183308"/>
                    <a:pt x="1640136" y="1183610"/>
                  </a:cubicBezTo>
                  <a:cubicBezTo>
                    <a:pt x="1639975" y="1184109"/>
                    <a:pt x="1639264" y="1185692"/>
                    <a:pt x="1638427" y="1187548"/>
                  </a:cubicBezTo>
                  <a:lnTo>
                    <a:pt x="1638427" y="1187556"/>
                  </a:lnTo>
                  <a:cubicBezTo>
                    <a:pt x="1637253" y="1190179"/>
                    <a:pt x="1635832" y="1193351"/>
                    <a:pt x="1635361" y="1194750"/>
                  </a:cubicBezTo>
                  <a:cubicBezTo>
                    <a:pt x="1634918" y="1196094"/>
                    <a:pt x="1632210" y="1195172"/>
                    <a:pt x="1629080" y="1194110"/>
                  </a:cubicBezTo>
                  <a:cubicBezTo>
                    <a:pt x="1626640" y="1193280"/>
                    <a:pt x="1623932" y="1192366"/>
                    <a:pt x="1621836" y="1192366"/>
                  </a:cubicBezTo>
                  <a:cubicBezTo>
                    <a:pt x="1617068" y="1192366"/>
                    <a:pt x="1611097" y="1194349"/>
                    <a:pt x="1609908" y="1194750"/>
                  </a:cubicBezTo>
                  <a:cubicBezTo>
                    <a:pt x="1608713" y="1195151"/>
                    <a:pt x="1605928" y="1197134"/>
                    <a:pt x="1604732" y="1199920"/>
                  </a:cubicBezTo>
                  <a:cubicBezTo>
                    <a:pt x="1603775" y="1202149"/>
                    <a:pt x="1606455" y="1205096"/>
                    <a:pt x="1607918" y="1206284"/>
                  </a:cubicBezTo>
                  <a:lnTo>
                    <a:pt x="1607918" y="1228657"/>
                  </a:lnTo>
                  <a:lnTo>
                    <a:pt x="1610569" y="1229733"/>
                  </a:lnTo>
                  <a:cubicBezTo>
                    <a:pt x="1614789" y="1229733"/>
                    <a:pt x="1624354" y="1230647"/>
                    <a:pt x="1628855" y="1234304"/>
                  </a:cubicBezTo>
                  <a:cubicBezTo>
                    <a:pt x="1633596" y="1238158"/>
                    <a:pt x="1642085" y="1234269"/>
                    <a:pt x="1648639" y="1231266"/>
                  </a:cubicBezTo>
                  <a:cubicBezTo>
                    <a:pt x="1649856" y="1230703"/>
                    <a:pt x="1651016" y="1230176"/>
                    <a:pt x="1652065" y="1229733"/>
                  </a:cubicBezTo>
                  <a:cubicBezTo>
                    <a:pt x="1654864" y="1228558"/>
                    <a:pt x="1658823" y="1225288"/>
                    <a:pt x="1663550" y="1221391"/>
                  </a:cubicBezTo>
                  <a:lnTo>
                    <a:pt x="1663550" y="1221391"/>
                  </a:lnTo>
                  <a:cubicBezTo>
                    <a:pt x="1670118" y="1215976"/>
                    <a:pt x="1678143" y="1209351"/>
                    <a:pt x="1686526" y="1205469"/>
                  </a:cubicBezTo>
                  <a:cubicBezTo>
                    <a:pt x="1696492" y="1200848"/>
                    <a:pt x="1703434" y="1183638"/>
                    <a:pt x="1709553" y="1168454"/>
                  </a:cubicBezTo>
                  <a:lnTo>
                    <a:pt x="1709553" y="1168454"/>
                  </a:lnTo>
                  <a:cubicBezTo>
                    <a:pt x="1712288" y="1161667"/>
                    <a:pt x="1714863" y="1155281"/>
                    <a:pt x="1717472" y="1150611"/>
                  </a:cubicBezTo>
                  <a:cubicBezTo>
                    <a:pt x="1719645" y="1146722"/>
                    <a:pt x="1721607" y="1143057"/>
                    <a:pt x="1723520" y="1139492"/>
                  </a:cubicBezTo>
                  <a:lnTo>
                    <a:pt x="1723520" y="1139492"/>
                  </a:lnTo>
                  <a:cubicBezTo>
                    <a:pt x="1729048" y="1129188"/>
                    <a:pt x="1734175" y="1119630"/>
                    <a:pt x="1742791" y="1107358"/>
                  </a:cubicBezTo>
                  <a:cubicBezTo>
                    <a:pt x="1754395" y="1090830"/>
                    <a:pt x="1755450" y="1045818"/>
                    <a:pt x="1755450" y="1036675"/>
                  </a:cubicBezTo>
                  <a:cubicBezTo>
                    <a:pt x="1755450" y="1032540"/>
                    <a:pt x="1755450" y="1031211"/>
                    <a:pt x="1755943" y="1030993"/>
                  </a:cubicBezTo>
                  <a:cubicBezTo>
                    <a:pt x="1756168" y="1030894"/>
                    <a:pt x="1756512" y="1031042"/>
                    <a:pt x="1757012" y="1031260"/>
                  </a:cubicBezTo>
                  <a:cubicBezTo>
                    <a:pt x="1757792" y="1031598"/>
                    <a:pt x="1758967" y="1032104"/>
                    <a:pt x="1760725" y="1032104"/>
                  </a:cubicBezTo>
                  <a:cubicBezTo>
                    <a:pt x="1765360" y="1032104"/>
                    <a:pt x="1766738" y="1023953"/>
                    <a:pt x="1767955" y="1016730"/>
                  </a:cubicBezTo>
                  <a:cubicBezTo>
                    <a:pt x="1768124" y="1015731"/>
                    <a:pt x="1768293" y="1014753"/>
                    <a:pt x="1768462" y="1013818"/>
                  </a:cubicBezTo>
                  <a:cubicBezTo>
                    <a:pt x="1769348" y="1008937"/>
                    <a:pt x="1766731" y="1005034"/>
                    <a:pt x="1764242" y="1001313"/>
                  </a:cubicBezTo>
                  <a:cubicBezTo>
                    <a:pt x="1762786" y="999140"/>
                    <a:pt x="1761372" y="997030"/>
                    <a:pt x="1760725" y="994829"/>
                  </a:cubicBezTo>
                  <a:cubicBezTo>
                    <a:pt x="1759319" y="990046"/>
                    <a:pt x="1756625" y="983224"/>
                    <a:pt x="1755450" y="980411"/>
                  </a:cubicBezTo>
                  <a:cubicBezTo>
                    <a:pt x="1751231" y="976662"/>
                    <a:pt x="1741525" y="969439"/>
                    <a:pt x="1736461" y="970565"/>
                  </a:cubicBezTo>
                  <a:cubicBezTo>
                    <a:pt x="1732354" y="971479"/>
                    <a:pt x="1730469" y="975347"/>
                    <a:pt x="1728401" y="979588"/>
                  </a:cubicBezTo>
                  <a:cubicBezTo>
                    <a:pt x="1727283" y="981881"/>
                    <a:pt x="1726108" y="984286"/>
                    <a:pt x="1724505" y="986389"/>
                  </a:cubicBezTo>
                  <a:cubicBezTo>
                    <a:pt x="1719933" y="992367"/>
                    <a:pt x="1710791" y="986389"/>
                    <a:pt x="1704461" y="980411"/>
                  </a:cubicBezTo>
                  <a:cubicBezTo>
                    <a:pt x="1699833" y="976036"/>
                    <a:pt x="1696331" y="971662"/>
                    <a:pt x="1693271" y="967843"/>
                  </a:cubicBezTo>
                  <a:cubicBezTo>
                    <a:pt x="1692146" y="966443"/>
                    <a:pt x="1691084" y="965114"/>
                    <a:pt x="1690043" y="963883"/>
                  </a:cubicBezTo>
                  <a:cubicBezTo>
                    <a:pt x="1688426" y="961970"/>
                    <a:pt x="1686069" y="961351"/>
                    <a:pt x="1683432" y="960655"/>
                  </a:cubicBezTo>
                  <a:cubicBezTo>
                    <a:pt x="1679775" y="959699"/>
                    <a:pt x="1675583" y="958594"/>
                    <a:pt x="1672109" y="953685"/>
                  </a:cubicBezTo>
                  <a:cubicBezTo>
                    <a:pt x="1667966" y="947834"/>
                    <a:pt x="1673452" y="945703"/>
                    <a:pt x="1679318" y="943424"/>
                  </a:cubicBezTo>
                  <a:cubicBezTo>
                    <a:pt x="1681913" y="942411"/>
                    <a:pt x="1684586" y="941370"/>
                    <a:pt x="1686526" y="939971"/>
                  </a:cubicBezTo>
                  <a:cubicBezTo>
                    <a:pt x="1692856" y="935399"/>
                    <a:pt x="1728725" y="894608"/>
                    <a:pt x="1755450" y="852058"/>
                  </a:cubicBezTo>
                  <a:cubicBezTo>
                    <a:pt x="1773997" y="822533"/>
                    <a:pt x="1797276" y="824840"/>
                    <a:pt x="1819310" y="827020"/>
                  </a:cubicBezTo>
                  <a:cubicBezTo>
                    <a:pt x="1829037" y="827984"/>
                    <a:pt x="1838511" y="828919"/>
                    <a:pt x="1847232" y="827090"/>
                  </a:cubicBezTo>
                  <a:cubicBezTo>
                    <a:pt x="1852992" y="825881"/>
                    <a:pt x="1857866" y="824917"/>
                    <a:pt x="1862029" y="824094"/>
                  </a:cubicBezTo>
                  <a:cubicBezTo>
                    <a:pt x="1878444" y="820838"/>
                    <a:pt x="1883888" y="819762"/>
                    <a:pt x="1889782" y="814431"/>
                  </a:cubicBezTo>
                  <a:cubicBezTo>
                    <a:pt x="1894522" y="810148"/>
                    <a:pt x="1896653" y="811357"/>
                    <a:pt x="1899150" y="812778"/>
                  </a:cubicBezTo>
                  <a:cubicBezTo>
                    <a:pt x="1900542" y="813573"/>
                    <a:pt x="1902055" y="814431"/>
                    <a:pt x="1904200" y="814431"/>
                  </a:cubicBezTo>
                  <a:cubicBezTo>
                    <a:pt x="1909313" y="814431"/>
                    <a:pt x="1912625" y="819319"/>
                    <a:pt x="1916121" y="824481"/>
                  </a:cubicBezTo>
                  <a:cubicBezTo>
                    <a:pt x="1916311" y="824755"/>
                    <a:pt x="1916500" y="825037"/>
                    <a:pt x="1916690" y="825318"/>
                  </a:cubicBezTo>
                  <a:cubicBezTo>
                    <a:pt x="1917091" y="825909"/>
                    <a:pt x="1917499" y="826507"/>
                    <a:pt x="1917914" y="827090"/>
                  </a:cubicBezTo>
                  <a:cubicBezTo>
                    <a:pt x="1922134" y="833068"/>
                    <a:pt x="1930925" y="836937"/>
                    <a:pt x="1944640" y="840102"/>
                  </a:cubicBezTo>
                  <a:cubicBezTo>
                    <a:pt x="1954148" y="842296"/>
                    <a:pt x="1955541" y="839082"/>
                    <a:pt x="1956793" y="836198"/>
                  </a:cubicBezTo>
                  <a:cubicBezTo>
                    <a:pt x="1957348" y="834925"/>
                    <a:pt x="1957869" y="833716"/>
                    <a:pt x="1959057" y="833068"/>
                  </a:cubicBezTo>
                  <a:cubicBezTo>
                    <a:pt x="1962152" y="831381"/>
                    <a:pt x="1967377" y="824397"/>
                    <a:pt x="1969607" y="821112"/>
                  </a:cubicBezTo>
                  <a:lnTo>
                    <a:pt x="1955189" y="807046"/>
                  </a:lnTo>
                  <a:cubicBezTo>
                    <a:pt x="1959057" y="803058"/>
                    <a:pt x="1968904" y="792769"/>
                    <a:pt x="1977343" y="783485"/>
                  </a:cubicBezTo>
                  <a:cubicBezTo>
                    <a:pt x="1985874" y="774096"/>
                    <a:pt x="1993491" y="768625"/>
                    <a:pt x="2004463" y="760734"/>
                  </a:cubicBezTo>
                  <a:cubicBezTo>
                    <a:pt x="2007058" y="758863"/>
                    <a:pt x="2009836" y="756865"/>
                    <a:pt x="2012860" y="754650"/>
                  </a:cubicBezTo>
                  <a:cubicBezTo>
                    <a:pt x="2026054" y="744972"/>
                    <a:pt x="2031181" y="745324"/>
                    <a:pt x="2036801" y="745704"/>
                  </a:cubicBezTo>
                  <a:lnTo>
                    <a:pt x="2036808" y="745704"/>
                  </a:lnTo>
                  <a:cubicBezTo>
                    <a:pt x="2037926" y="745781"/>
                    <a:pt x="2039065" y="745859"/>
                    <a:pt x="2040289" y="745859"/>
                  </a:cubicBezTo>
                  <a:cubicBezTo>
                    <a:pt x="2044706" y="745859"/>
                    <a:pt x="2045473" y="749129"/>
                    <a:pt x="2046661" y="754165"/>
                  </a:cubicBezTo>
                  <a:cubicBezTo>
                    <a:pt x="2047456" y="757548"/>
                    <a:pt x="2048433" y="761732"/>
                    <a:pt x="2050839" y="766254"/>
                  </a:cubicBezTo>
                  <a:cubicBezTo>
                    <a:pt x="2054630" y="773393"/>
                    <a:pt x="2056444" y="771473"/>
                    <a:pt x="2059771" y="767949"/>
                  </a:cubicBezTo>
                  <a:cubicBezTo>
                    <a:pt x="2061691" y="765924"/>
                    <a:pt x="2064117" y="763357"/>
                    <a:pt x="2067718" y="761683"/>
                  </a:cubicBezTo>
                  <a:cubicBezTo>
                    <a:pt x="2072149" y="759629"/>
                    <a:pt x="2076151" y="756359"/>
                    <a:pt x="2080300" y="752976"/>
                  </a:cubicBezTo>
                  <a:cubicBezTo>
                    <a:pt x="2085378" y="748834"/>
                    <a:pt x="2090681" y="744508"/>
                    <a:pt x="2097257" y="741990"/>
                  </a:cubicBezTo>
                  <a:cubicBezTo>
                    <a:pt x="2106822" y="738333"/>
                    <a:pt x="2108981" y="728747"/>
                    <a:pt x="2108861" y="724408"/>
                  </a:cubicBezTo>
                  <a:lnTo>
                    <a:pt x="2119411" y="717726"/>
                  </a:lnTo>
                  <a:lnTo>
                    <a:pt x="2136994" y="728276"/>
                  </a:lnTo>
                  <a:cubicBezTo>
                    <a:pt x="2131838" y="738593"/>
                    <a:pt x="2120396" y="760628"/>
                    <a:pt x="2115895" y="766254"/>
                  </a:cubicBezTo>
                  <a:cubicBezTo>
                    <a:pt x="2110268" y="773288"/>
                    <a:pt x="2085301" y="801068"/>
                    <a:pt x="2067718" y="814431"/>
                  </a:cubicBezTo>
                  <a:cubicBezTo>
                    <a:pt x="2056915" y="822646"/>
                    <a:pt x="2046239" y="835903"/>
                    <a:pt x="2036759" y="847683"/>
                  </a:cubicBezTo>
                  <a:lnTo>
                    <a:pt x="2036759" y="847683"/>
                  </a:lnTo>
                  <a:lnTo>
                    <a:pt x="2036759" y="847683"/>
                  </a:lnTo>
                  <a:cubicBezTo>
                    <a:pt x="2030815" y="855068"/>
                    <a:pt x="2025337" y="861869"/>
                    <a:pt x="2020597" y="866475"/>
                  </a:cubicBezTo>
                  <a:cubicBezTo>
                    <a:pt x="2011784" y="875042"/>
                    <a:pt x="2003506" y="890100"/>
                    <a:pt x="1997845" y="900410"/>
                  </a:cubicBezTo>
                  <a:lnTo>
                    <a:pt x="1997838" y="900410"/>
                  </a:lnTo>
                  <a:lnTo>
                    <a:pt x="1997838" y="900410"/>
                  </a:lnTo>
                  <a:cubicBezTo>
                    <a:pt x="1995594" y="904496"/>
                    <a:pt x="1993758" y="907837"/>
                    <a:pt x="1992464" y="909729"/>
                  </a:cubicBezTo>
                  <a:cubicBezTo>
                    <a:pt x="1989391" y="914223"/>
                    <a:pt x="1992521" y="942285"/>
                    <a:pt x="1994898" y="963588"/>
                  </a:cubicBezTo>
                  <a:lnTo>
                    <a:pt x="1994905" y="963609"/>
                  </a:lnTo>
                  <a:cubicBezTo>
                    <a:pt x="1996058" y="973955"/>
                    <a:pt x="1997036" y="982711"/>
                    <a:pt x="1997036" y="986389"/>
                  </a:cubicBezTo>
                  <a:cubicBezTo>
                    <a:pt x="1997036" y="997642"/>
                    <a:pt x="2004069" y="1032104"/>
                    <a:pt x="2012860" y="1041950"/>
                  </a:cubicBezTo>
                  <a:cubicBezTo>
                    <a:pt x="2019893" y="1049827"/>
                    <a:pt x="2020948" y="1038666"/>
                    <a:pt x="2020597" y="1032104"/>
                  </a:cubicBezTo>
                  <a:cubicBezTo>
                    <a:pt x="2024113" y="1024016"/>
                    <a:pt x="2031498" y="1006433"/>
                    <a:pt x="2032904" y="1000807"/>
                  </a:cubicBezTo>
                  <a:cubicBezTo>
                    <a:pt x="2034212" y="995574"/>
                    <a:pt x="2044861" y="986452"/>
                    <a:pt x="2052112" y="980235"/>
                  </a:cubicBezTo>
                  <a:lnTo>
                    <a:pt x="2052119" y="980235"/>
                  </a:lnTo>
                  <a:cubicBezTo>
                    <a:pt x="2054608" y="978097"/>
                    <a:pt x="2056704" y="976304"/>
                    <a:pt x="2057872" y="975136"/>
                  </a:cubicBezTo>
                  <a:cubicBezTo>
                    <a:pt x="2062443" y="970565"/>
                    <a:pt x="2079674" y="945597"/>
                    <a:pt x="2080026" y="939971"/>
                  </a:cubicBezTo>
                  <a:cubicBezTo>
                    <a:pt x="2080230" y="936729"/>
                    <a:pt x="2081953" y="931496"/>
                    <a:pt x="2083373" y="927178"/>
                  </a:cubicBezTo>
                  <a:cubicBezTo>
                    <a:pt x="2084415" y="924006"/>
                    <a:pt x="2085301" y="921319"/>
                    <a:pt x="2085301" y="920278"/>
                  </a:cubicBezTo>
                  <a:cubicBezTo>
                    <a:pt x="2085301" y="917817"/>
                    <a:pt x="2097257" y="899882"/>
                    <a:pt x="2101828" y="894608"/>
                  </a:cubicBezTo>
                  <a:cubicBezTo>
                    <a:pt x="2106400" y="889333"/>
                    <a:pt x="2099718" y="872454"/>
                    <a:pt x="2097257" y="870344"/>
                  </a:cubicBezTo>
                  <a:cubicBezTo>
                    <a:pt x="2094795" y="868234"/>
                    <a:pt x="2082136" y="855926"/>
                    <a:pt x="2085301" y="846783"/>
                  </a:cubicBezTo>
                  <a:cubicBezTo>
                    <a:pt x="2087207" y="841269"/>
                    <a:pt x="2093846" y="831922"/>
                    <a:pt x="2099050" y="824594"/>
                  </a:cubicBezTo>
                  <a:cubicBezTo>
                    <a:pt x="2102475" y="819769"/>
                    <a:pt x="2105275" y="815823"/>
                    <a:pt x="2105697" y="814431"/>
                  </a:cubicBezTo>
                  <a:cubicBezTo>
                    <a:pt x="2106752" y="810914"/>
                    <a:pt x="2109213" y="807398"/>
                    <a:pt x="2115895" y="801068"/>
                  </a:cubicBezTo>
                  <a:cubicBezTo>
                    <a:pt x="2122238" y="795062"/>
                    <a:pt x="2125727" y="795069"/>
                    <a:pt x="2131473" y="795090"/>
                  </a:cubicBezTo>
                  <a:cubicBezTo>
                    <a:pt x="2131782" y="795090"/>
                    <a:pt x="2132099" y="795090"/>
                    <a:pt x="2132422" y="795090"/>
                  </a:cubicBezTo>
                  <a:cubicBezTo>
                    <a:pt x="2138752" y="795090"/>
                    <a:pt x="2143323" y="795090"/>
                    <a:pt x="2147895" y="801068"/>
                  </a:cubicBezTo>
                  <a:cubicBezTo>
                    <a:pt x="2152466" y="807046"/>
                    <a:pt x="2164423" y="798255"/>
                    <a:pt x="2167939" y="795090"/>
                  </a:cubicBezTo>
                  <a:cubicBezTo>
                    <a:pt x="2171456" y="791925"/>
                    <a:pt x="2173566" y="790518"/>
                    <a:pt x="2181654" y="786650"/>
                  </a:cubicBezTo>
                  <a:cubicBezTo>
                    <a:pt x="2188405" y="783422"/>
                    <a:pt x="2199574" y="789752"/>
                    <a:pt x="2205939" y="793360"/>
                  </a:cubicBezTo>
                  <a:lnTo>
                    <a:pt x="2205946" y="793367"/>
                  </a:lnTo>
                  <a:cubicBezTo>
                    <a:pt x="2207197" y="794077"/>
                    <a:pt x="2208274" y="794682"/>
                    <a:pt x="2209082" y="795090"/>
                  </a:cubicBezTo>
                  <a:cubicBezTo>
                    <a:pt x="2214006" y="797552"/>
                    <a:pt x="2218577" y="796848"/>
                    <a:pt x="2221390" y="795090"/>
                  </a:cubicBezTo>
                  <a:cubicBezTo>
                    <a:pt x="2224204" y="793332"/>
                    <a:pt x="2231237" y="785947"/>
                    <a:pt x="2236160" y="776804"/>
                  </a:cubicBezTo>
                  <a:cubicBezTo>
                    <a:pt x="2239092" y="771353"/>
                    <a:pt x="2253159" y="761521"/>
                    <a:pt x="2266121" y="752463"/>
                  </a:cubicBezTo>
                  <a:cubicBezTo>
                    <a:pt x="2274898" y="746330"/>
                    <a:pt x="2283176" y="740549"/>
                    <a:pt x="2287149" y="736716"/>
                  </a:cubicBezTo>
                  <a:cubicBezTo>
                    <a:pt x="2295005" y="729141"/>
                    <a:pt x="2310464" y="723585"/>
                    <a:pt x="2320324" y="720033"/>
                  </a:cubicBezTo>
                  <a:lnTo>
                    <a:pt x="2320331" y="720033"/>
                  </a:lnTo>
                  <a:cubicBezTo>
                    <a:pt x="2322828" y="719133"/>
                    <a:pt x="2324973" y="718366"/>
                    <a:pt x="2326534" y="717726"/>
                  </a:cubicBezTo>
                  <a:cubicBezTo>
                    <a:pt x="2331486" y="715701"/>
                    <a:pt x="2337450" y="718577"/>
                    <a:pt x="2342668" y="721088"/>
                  </a:cubicBezTo>
                  <a:cubicBezTo>
                    <a:pt x="2345601" y="722502"/>
                    <a:pt x="2348295" y="723803"/>
                    <a:pt x="2350447" y="724056"/>
                  </a:cubicBezTo>
                  <a:cubicBezTo>
                    <a:pt x="2355265" y="724626"/>
                    <a:pt x="2351629" y="705524"/>
                    <a:pt x="2349301" y="693308"/>
                  </a:cubicBezTo>
                  <a:lnTo>
                    <a:pt x="2349301" y="693308"/>
                  </a:lnTo>
                  <a:lnTo>
                    <a:pt x="2349293" y="693301"/>
                  </a:lnTo>
                  <a:cubicBezTo>
                    <a:pt x="2348738" y="690375"/>
                    <a:pt x="2348260" y="687843"/>
                    <a:pt x="2347985" y="686078"/>
                  </a:cubicBezTo>
                  <a:cubicBezTo>
                    <a:pt x="2346930" y="679227"/>
                    <a:pt x="2344891" y="676133"/>
                    <a:pt x="2342014" y="671758"/>
                  </a:cubicBezTo>
                  <a:cubicBezTo>
                    <a:pt x="2341051" y="670288"/>
                    <a:pt x="2339989" y="668678"/>
                    <a:pt x="2338842" y="666737"/>
                  </a:cubicBezTo>
                  <a:cubicBezTo>
                    <a:pt x="2335249" y="660653"/>
                    <a:pt x="2326647" y="656525"/>
                    <a:pt x="2321773" y="654183"/>
                  </a:cubicBezTo>
                  <a:lnTo>
                    <a:pt x="2321766" y="654183"/>
                  </a:lnTo>
                  <a:cubicBezTo>
                    <a:pt x="2320444" y="653550"/>
                    <a:pt x="2319396" y="653043"/>
                    <a:pt x="2318798" y="652671"/>
                  </a:cubicBezTo>
                  <a:cubicBezTo>
                    <a:pt x="2315985" y="650912"/>
                    <a:pt x="2312468" y="637550"/>
                    <a:pt x="2314930" y="637550"/>
                  </a:cubicBezTo>
                  <a:cubicBezTo>
                    <a:pt x="2317061" y="637550"/>
                    <a:pt x="2326302" y="642030"/>
                    <a:pt x="2334911" y="646200"/>
                  </a:cubicBezTo>
                  <a:cubicBezTo>
                    <a:pt x="2336247" y="646847"/>
                    <a:pt x="2337569" y="647487"/>
                    <a:pt x="2338842" y="648099"/>
                  </a:cubicBezTo>
                  <a:cubicBezTo>
                    <a:pt x="2348238" y="652621"/>
                    <a:pt x="2357979" y="641994"/>
                    <a:pt x="2361932" y="637683"/>
                  </a:cubicBezTo>
                  <a:lnTo>
                    <a:pt x="2362051" y="637550"/>
                  </a:lnTo>
                  <a:cubicBezTo>
                    <a:pt x="2365920" y="633330"/>
                    <a:pt x="2370139" y="625593"/>
                    <a:pt x="2372249" y="621022"/>
                  </a:cubicBezTo>
                  <a:cubicBezTo>
                    <a:pt x="2373508" y="618300"/>
                    <a:pt x="2370393" y="615452"/>
                    <a:pt x="2367228" y="612547"/>
                  </a:cubicBezTo>
                  <a:cubicBezTo>
                    <a:pt x="2365075" y="610585"/>
                    <a:pt x="2362902" y="608594"/>
                    <a:pt x="2362051" y="606604"/>
                  </a:cubicBezTo>
                  <a:cubicBezTo>
                    <a:pt x="2359941" y="601681"/>
                    <a:pt x="2368733" y="590428"/>
                    <a:pt x="2372249" y="586912"/>
                  </a:cubicBezTo>
                  <a:cubicBezTo>
                    <a:pt x="2374978" y="584183"/>
                    <a:pt x="2378769" y="587812"/>
                    <a:pt x="2381814" y="590724"/>
                  </a:cubicBezTo>
                  <a:cubicBezTo>
                    <a:pt x="2382686" y="591560"/>
                    <a:pt x="2383495" y="592341"/>
                    <a:pt x="2384206" y="592890"/>
                  </a:cubicBezTo>
                  <a:cubicBezTo>
                    <a:pt x="2386020" y="594296"/>
                    <a:pt x="2385753" y="599163"/>
                    <a:pt x="2385464" y="604579"/>
                  </a:cubicBezTo>
                  <a:lnTo>
                    <a:pt x="2385464" y="604586"/>
                  </a:lnTo>
                  <a:cubicBezTo>
                    <a:pt x="2385246" y="608630"/>
                    <a:pt x="2385007" y="612990"/>
                    <a:pt x="2385612" y="616450"/>
                  </a:cubicBezTo>
                  <a:cubicBezTo>
                    <a:pt x="2386850" y="623575"/>
                    <a:pt x="2397920" y="623329"/>
                    <a:pt x="2405101" y="623174"/>
                  </a:cubicBezTo>
                  <a:cubicBezTo>
                    <a:pt x="2406071" y="623153"/>
                    <a:pt x="2406972" y="623132"/>
                    <a:pt x="2407766" y="623132"/>
                  </a:cubicBezTo>
                  <a:cubicBezTo>
                    <a:pt x="2412035" y="623132"/>
                    <a:pt x="2414581" y="620551"/>
                    <a:pt x="2416958" y="618131"/>
                  </a:cubicBezTo>
                  <a:cubicBezTo>
                    <a:pt x="2418309" y="616767"/>
                    <a:pt x="2419603" y="615452"/>
                    <a:pt x="2421129" y="614692"/>
                  </a:cubicBezTo>
                  <a:cubicBezTo>
                    <a:pt x="2424603" y="612955"/>
                    <a:pt x="2427360" y="617653"/>
                    <a:pt x="2429407" y="621134"/>
                  </a:cubicBezTo>
                  <a:cubicBezTo>
                    <a:pt x="2429843" y="621880"/>
                    <a:pt x="2430251" y="622569"/>
                    <a:pt x="2430624" y="623132"/>
                  </a:cubicBezTo>
                  <a:cubicBezTo>
                    <a:pt x="2431095" y="623842"/>
                    <a:pt x="2431763" y="625045"/>
                    <a:pt x="2432579" y="626515"/>
                  </a:cubicBezTo>
                  <a:lnTo>
                    <a:pt x="2432579" y="626515"/>
                  </a:lnTo>
                  <a:cubicBezTo>
                    <a:pt x="2435399" y="631600"/>
                    <a:pt x="2439971" y="639856"/>
                    <a:pt x="2444338" y="641769"/>
                  </a:cubicBezTo>
                  <a:cubicBezTo>
                    <a:pt x="2449965" y="644231"/>
                    <a:pt x="2457701" y="654429"/>
                    <a:pt x="2459811" y="657945"/>
                  </a:cubicBezTo>
                  <a:cubicBezTo>
                    <a:pt x="2461921" y="661462"/>
                    <a:pt x="2475987" y="661462"/>
                    <a:pt x="2483020" y="660055"/>
                  </a:cubicBezTo>
                  <a:cubicBezTo>
                    <a:pt x="2487922" y="659078"/>
                    <a:pt x="2485988" y="652797"/>
                    <a:pt x="2484370" y="647529"/>
                  </a:cubicBezTo>
                  <a:cubicBezTo>
                    <a:pt x="2483667" y="645244"/>
                    <a:pt x="2483020" y="643155"/>
                    <a:pt x="2483020" y="641769"/>
                  </a:cubicBezTo>
                  <a:cubicBezTo>
                    <a:pt x="2483020" y="637198"/>
                    <a:pt x="2490053" y="621022"/>
                    <a:pt x="2493921" y="614692"/>
                  </a:cubicBezTo>
                  <a:cubicBezTo>
                    <a:pt x="2496066" y="611183"/>
                    <a:pt x="2501235" y="608538"/>
                    <a:pt x="2505413" y="606400"/>
                  </a:cubicBezTo>
                  <a:cubicBezTo>
                    <a:pt x="2508782" y="604677"/>
                    <a:pt x="2511504" y="603285"/>
                    <a:pt x="2511504" y="602033"/>
                  </a:cubicBezTo>
                  <a:cubicBezTo>
                    <a:pt x="2511504" y="601189"/>
                    <a:pt x="2511567" y="600281"/>
                    <a:pt x="2511637" y="599283"/>
                  </a:cubicBezTo>
                  <a:lnTo>
                    <a:pt x="2511637" y="599283"/>
                  </a:lnTo>
                  <a:cubicBezTo>
                    <a:pt x="2511799" y="596955"/>
                    <a:pt x="2511996" y="594120"/>
                    <a:pt x="2511504" y="590428"/>
                  </a:cubicBezTo>
                  <a:cubicBezTo>
                    <a:pt x="2511019" y="586778"/>
                    <a:pt x="2505814" y="580265"/>
                    <a:pt x="2501496" y="574857"/>
                  </a:cubicBezTo>
                  <a:cubicBezTo>
                    <a:pt x="2499569" y="572445"/>
                    <a:pt x="2497818" y="570250"/>
                    <a:pt x="2496734" y="568626"/>
                  </a:cubicBezTo>
                  <a:cubicBezTo>
                    <a:pt x="2493218" y="563351"/>
                    <a:pt x="2482668" y="560538"/>
                    <a:pt x="2467547" y="558076"/>
                  </a:cubicBezTo>
                  <a:cubicBezTo>
                    <a:pt x="2457202" y="556388"/>
                    <a:pt x="2461182" y="566403"/>
                    <a:pt x="2464607" y="575026"/>
                  </a:cubicBezTo>
                  <a:cubicBezTo>
                    <a:pt x="2466190" y="579006"/>
                    <a:pt x="2467660" y="582692"/>
                    <a:pt x="2467547" y="584802"/>
                  </a:cubicBezTo>
                  <a:cubicBezTo>
                    <a:pt x="2467210" y="591188"/>
                    <a:pt x="2462694" y="590829"/>
                    <a:pt x="2458306" y="590477"/>
                  </a:cubicBezTo>
                  <a:lnTo>
                    <a:pt x="2458285" y="590477"/>
                  </a:lnTo>
                  <a:cubicBezTo>
                    <a:pt x="2458088" y="590456"/>
                    <a:pt x="2457891" y="590442"/>
                    <a:pt x="2457701" y="590428"/>
                  </a:cubicBezTo>
                  <a:cubicBezTo>
                    <a:pt x="2453129" y="590076"/>
                    <a:pt x="2447151" y="579879"/>
                    <a:pt x="2444338" y="573900"/>
                  </a:cubicBezTo>
                  <a:cubicBezTo>
                    <a:pt x="2441525" y="567922"/>
                    <a:pt x="2439767" y="555263"/>
                    <a:pt x="2438712" y="541900"/>
                  </a:cubicBezTo>
                  <a:cubicBezTo>
                    <a:pt x="2438079" y="533861"/>
                    <a:pt x="2432987" y="531041"/>
                    <a:pt x="2426812" y="527616"/>
                  </a:cubicBezTo>
                  <a:cubicBezTo>
                    <a:pt x="2422726" y="525351"/>
                    <a:pt x="2418161" y="522819"/>
                    <a:pt x="2414096" y="518339"/>
                  </a:cubicBezTo>
                  <a:cubicBezTo>
                    <a:pt x="2406880" y="510378"/>
                    <a:pt x="2401078" y="505054"/>
                    <a:pt x="2393939" y="498513"/>
                  </a:cubicBezTo>
                  <a:lnTo>
                    <a:pt x="2393932" y="498513"/>
                  </a:lnTo>
                  <a:cubicBezTo>
                    <a:pt x="2390978" y="495805"/>
                    <a:pt x="2387807" y="492894"/>
                    <a:pt x="2384206" y="489504"/>
                  </a:cubicBezTo>
                  <a:cubicBezTo>
                    <a:pt x="2371898" y="477899"/>
                    <a:pt x="2352908" y="465943"/>
                    <a:pt x="2341304" y="459613"/>
                  </a:cubicBezTo>
                  <a:cubicBezTo>
                    <a:pt x="2329699" y="453284"/>
                    <a:pt x="2296292" y="440624"/>
                    <a:pt x="2291018" y="440624"/>
                  </a:cubicBezTo>
                  <a:cubicBezTo>
                    <a:pt x="2289674" y="440624"/>
                    <a:pt x="2287768" y="440828"/>
                    <a:pt x="2285405" y="441081"/>
                  </a:cubicBezTo>
                  <a:cubicBezTo>
                    <a:pt x="2278478" y="441827"/>
                    <a:pt x="2267654" y="442987"/>
                    <a:pt x="2255852" y="440624"/>
                  </a:cubicBezTo>
                  <a:cubicBezTo>
                    <a:pt x="2245444" y="438542"/>
                    <a:pt x="2241428" y="436460"/>
                    <a:pt x="2237791" y="434583"/>
                  </a:cubicBezTo>
                  <a:cubicBezTo>
                    <a:pt x="2235899" y="433598"/>
                    <a:pt x="2234113" y="432677"/>
                    <a:pt x="2231588" y="431833"/>
                  </a:cubicBezTo>
                  <a:cubicBezTo>
                    <a:pt x="2225301" y="429737"/>
                    <a:pt x="2223092" y="432993"/>
                    <a:pt x="2219752" y="437909"/>
                  </a:cubicBezTo>
                  <a:cubicBezTo>
                    <a:pt x="2219175" y="438774"/>
                    <a:pt x="2218556" y="439682"/>
                    <a:pt x="2217874" y="440624"/>
                  </a:cubicBezTo>
                  <a:cubicBezTo>
                    <a:pt x="2214308" y="445561"/>
                    <a:pt x="2219084" y="450499"/>
                    <a:pt x="2223866" y="455436"/>
                  </a:cubicBezTo>
                  <a:cubicBezTo>
                    <a:pt x="2225209" y="456828"/>
                    <a:pt x="2226560" y="458221"/>
                    <a:pt x="2227720" y="459613"/>
                  </a:cubicBezTo>
                  <a:cubicBezTo>
                    <a:pt x="2232657" y="465542"/>
                    <a:pt x="2231124" y="468693"/>
                    <a:pt x="2226574" y="478019"/>
                  </a:cubicBezTo>
                  <a:cubicBezTo>
                    <a:pt x="2226271" y="478652"/>
                    <a:pt x="2225948" y="479313"/>
                    <a:pt x="2225610" y="480009"/>
                  </a:cubicBezTo>
                  <a:cubicBezTo>
                    <a:pt x="2221418" y="488674"/>
                    <a:pt x="2216559" y="488899"/>
                    <a:pt x="2211038" y="489152"/>
                  </a:cubicBezTo>
                  <a:cubicBezTo>
                    <a:pt x="2209610" y="489215"/>
                    <a:pt x="2208140" y="489286"/>
                    <a:pt x="2206621" y="489504"/>
                  </a:cubicBezTo>
                  <a:cubicBezTo>
                    <a:pt x="2202528" y="490088"/>
                    <a:pt x="2200164" y="486571"/>
                    <a:pt x="2197373" y="482422"/>
                  </a:cubicBezTo>
                  <a:cubicBezTo>
                    <a:pt x="2195129" y="479081"/>
                    <a:pt x="2192604" y="475325"/>
                    <a:pt x="2188687" y="472976"/>
                  </a:cubicBezTo>
                  <a:cubicBezTo>
                    <a:pt x="2179895" y="467701"/>
                    <a:pt x="2182005" y="463833"/>
                    <a:pt x="2190797" y="459613"/>
                  </a:cubicBezTo>
                  <a:cubicBezTo>
                    <a:pt x="2199588" y="455393"/>
                    <a:pt x="2199588" y="448712"/>
                    <a:pt x="2197478" y="440624"/>
                  </a:cubicBezTo>
                  <a:cubicBezTo>
                    <a:pt x="2195368" y="432536"/>
                    <a:pt x="2189038" y="433591"/>
                    <a:pt x="2186225" y="434294"/>
                  </a:cubicBezTo>
                  <a:cubicBezTo>
                    <a:pt x="2185156" y="434562"/>
                    <a:pt x="2183229" y="436453"/>
                    <a:pt x="2180838" y="438788"/>
                  </a:cubicBezTo>
                  <a:cubicBezTo>
                    <a:pt x="2176934" y="442607"/>
                    <a:pt x="2171814" y="447622"/>
                    <a:pt x="2167236" y="448712"/>
                  </a:cubicBezTo>
                  <a:cubicBezTo>
                    <a:pt x="2159851" y="450470"/>
                    <a:pt x="2146840" y="451174"/>
                    <a:pt x="2137345" y="448712"/>
                  </a:cubicBezTo>
                  <a:cubicBezTo>
                    <a:pt x="2131353" y="447158"/>
                    <a:pt x="2122836" y="447847"/>
                    <a:pt x="2116134" y="448389"/>
                  </a:cubicBezTo>
                  <a:cubicBezTo>
                    <a:pt x="2112216" y="448705"/>
                    <a:pt x="2108918" y="448972"/>
                    <a:pt x="2107103" y="448712"/>
                  </a:cubicBezTo>
                  <a:cubicBezTo>
                    <a:pt x="2103165" y="448149"/>
                    <a:pt x="2081313" y="447305"/>
                    <a:pt x="2070883" y="446954"/>
                  </a:cubicBezTo>
                  <a:cubicBezTo>
                    <a:pt x="2065960" y="447657"/>
                    <a:pt x="2055129" y="448642"/>
                    <a:pt x="2051190" y="446954"/>
                  </a:cubicBezTo>
                  <a:cubicBezTo>
                    <a:pt x="2048279" y="445709"/>
                    <a:pt x="2048194" y="442488"/>
                    <a:pt x="2048103" y="438978"/>
                  </a:cubicBezTo>
                  <a:cubicBezTo>
                    <a:pt x="2048040" y="436552"/>
                    <a:pt x="2047976" y="433992"/>
                    <a:pt x="2046971" y="431833"/>
                  </a:cubicBezTo>
                  <a:cubicBezTo>
                    <a:pt x="2045986" y="429723"/>
                    <a:pt x="2046689" y="425693"/>
                    <a:pt x="2047526" y="420903"/>
                  </a:cubicBezTo>
                  <a:cubicBezTo>
                    <a:pt x="2048785" y="413723"/>
                    <a:pt x="2050346" y="404819"/>
                    <a:pt x="2046971" y="398074"/>
                  </a:cubicBezTo>
                  <a:cubicBezTo>
                    <a:pt x="2041597" y="387335"/>
                    <a:pt x="2011868" y="387482"/>
                    <a:pt x="2004906" y="387525"/>
                  </a:cubicBezTo>
                  <a:lnTo>
                    <a:pt x="2004899" y="387525"/>
                  </a:lnTo>
                  <a:cubicBezTo>
                    <a:pt x="2004568" y="387525"/>
                    <a:pt x="2004287" y="387525"/>
                    <a:pt x="2004069" y="387525"/>
                  </a:cubicBezTo>
                  <a:cubicBezTo>
                    <a:pt x="2002697" y="387525"/>
                    <a:pt x="2000925" y="387419"/>
                    <a:pt x="1998850" y="387292"/>
                  </a:cubicBezTo>
                  <a:cubicBezTo>
                    <a:pt x="1993477" y="386962"/>
                    <a:pt x="1986114" y="386512"/>
                    <a:pt x="1978750" y="387525"/>
                  </a:cubicBezTo>
                  <a:cubicBezTo>
                    <a:pt x="1973566" y="388242"/>
                    <a:pt x="1971112" y="390317"/>
                    <a:pt x="1968517" y="392511"/>
                  </a:cubicBezTo>
                  <a:cubicBezTo>
                    <a:pt x="1966006" y="394635"/>
                    <a:pt x="1963362" y="396864"/>
                    <a:pt x="1958002" y="398074"/>
                  </a:cubicBezTo>
                  <a:cubicBezTo>
                    <a:pt x="1950386" y="399797"/>
                    <a:pt x="1945512" y="399108"/>
                    <a:pt x="1941468" y="398545"/>
                  </a:cubicBezTo>
                  <a:cubicBezTo>
                    <a:pt x="1939731" y="398299"/>
                    <a:pt x="1938141" y="398074"/>
                    <a:pt x="1936552" y="398074"/>
                  </a:cubicBezTo>
                  <a:cubicBezTo>
                    <a:pt x="1932740" y="398074"/>
                    <a:pt x="1930032" y="391836"/>
                    <a:pt x="1927894" y="386920"/>
                  </a:cubicBezTo>
                  <a:cubicBezTo>
                    <a:pt x="1927071" y="385021"/>
                    <a:pt x="1926333" y="383326"/>
                    <a:pt x="1925650" y="382250"/>
                  </a:cubicBezTo>
                  <a:cubicBezTo>
                    <a:pt x="1923189" y="378382"/>
                    <a:pt x="1912639" y="370645"/>
                    <a:pt x="1906661" y="368184"/>
                  </a:cubicBezTo>
                  <a:cubicBezTo>
                    <a:pt x="1900683" y="365722"/>
                    <a:pt x="1886969" y="350953"/>
                    <a:pt x="1888727" y="346381"/>
                  </a:cubicBezTo>
                  <a:cubicBezTo>
                    <a:pt x="1889367" y="344721"/>
                    <a:pt x="1890654" y="342822"/>
                    <a:pt x="1891955" y="340916"/>
                  </a:cubicBezTo>
                  <a:cubicBezTo>
                    <a:pt x="1894227" y="337583"/>
                    <a:pt x="1896526" y="334200"/>
                    <a:pt x="1895408" y="331963"/>
                  </a:cubicBezTo>
                  <a:cubicBezTo>
                    <a:pt x="1894438" y="330022"/>
                    <a:pt x="1889500" y="329474"/>
                    <a:pt x="1884331" y="328897"/>
                  </a:cubicBezTo>
                  <a:cubicBezTo>
                    <a:pt x="1880132" y="328433"/>
                    <a:pt x="1875772" y="327948"/>
                    <a:pt x="1873254" y="326689"/>
                  </a:cubicBezTo>
                  <a:cubicBezTo>
                    <a:pt x="1867628" y="323875"/>
                    <a:pt x="1848638" y="326689"/>
                    <a:pt x="1847583" y="329502"/>
                  </a:cubicBezTo>
                  <a:cubicBezTo>
                    <a:pt x="1847218" y="330472"/>
                    <a:pt x="1846979" y="332871"/>
                    <a:pt x="1846676" y="335902"/>
                  </a:cubicBezTo>
                  <a:lnTo>
                    <a:pt x="1846676" y="335902"/>
                  </a:lnTo>
                  <a:cubicBezTo>
                    <a:pt x="1846106" y="341641"/>
                    <a:pt x="1845312" y="349637"/>
                    <a:pt x="1843012" y="354469"/>
                  </a:cubicBezTo>
                  <a:cubicBezTo>
                    <a:pt x="1840199" y="360377"/>
                    <a:pt x="1828946" y="356931"/>
                    <a:pt x="1823671" y="354469"/>
                  </a:cubicBezTo>
                  <a:cubicBezTo>
                    <a:pt x="1824846" y="350833"/>
                    <a:pt x="1827398" y="342302"/>
                    <a:pt x="1828243" y="337238"/>
                  </a:cubicBezTo>
                  <a:cubicBezTo>
                    <a:pt x="1828960" y="332948"/>
                    <a:pt x="1828222" y="332533"/>
                    <a:pt x="1826569" y="331619"/>
                  </a:cubicBezTo>
                  <a:cubicBezTo>
                    <a:pt x="1825788" y="331183"/>
                    <a:pt x="1824803" y="330634"/>
                    <a:pt x="1823671" y="329502"/>
                  </a:cubicBezTo>
                  <a:cubicBezTo>
                    <a:pt x="1821758" y="327589"/>
                    <a:pt x="1819226" y="327652"/>
                    <a:pt x="1816800" y="327715"/>
                  </a:cubicBezTo>
                  <a:cubicBezTo>
                    <a:pt x="1814767" y="327765"/>
                    <a:pt x="1812805" y="327814"/>
                    <a:pt x="1811363" y="326689"/>
                  </a:cubicBezTo>
                  <a:cubicBezTo>
                    <a:pt x="1809274" y="325064"/>
                    <a:pt x="1812095" y="322975"/>
                    <a:pt x="1815260" y="320633"/>
                  </a:cubicBezTo>
                  <a:lnTo>
                    <a:pt x="1815266" y="320633"/>
                  </a:lnTo>
                  <a:cubicBezTo>
                    <a:pt x="1816891" y="319423"/>
                    <a:pt x="1818607" y="318158"/>
                    <a:pt x="1819803" y="316842"/>
                  </a:cubicBezTo>
                  <a:cubicBezTo>
                    <a:pt x="1820949" y="315583"/>
                    <a:pt x="1822321" y="314430"/>
                    <a:pt x="1823587" y="313375"/>
                  </a:cubicBezTo>
                  <a:cubicBezTo>
                    <a:pt x="1826203" y="311181"/>
                    <a:pt x="1828376" y="309359"/>
                    <a:pt x="1827188" y="307699"/>
                  </a:cubicBezTo>
                  <a:cubicBezTo>
                    <a:pt x="1825964" y="305990"/>
                    <a:pt x="1814549" y="306658"/>
                    <a:pt x="1804864" y="307221"/>
                  </a:cubicBezTo>
                  <a:cubicBezTo>
                    <a:pt x="1800617" y="307467"/>
                    <a:pt x="1796706" y="307699"/>
                    <a:pt x="1794132" y="307699"/>
                  </a:cubicBezTo>
                  <a:cubicBezTo>
                    <a:pt x="1789631" y="307699"/>
                    <a:pt x="1784834" y="305604"/>
                    <a:pt x="1780108" y="303536"/>
                  </a:cubicBezTo>
                  <a:cubicBezTo>
                    <a:pt x="1775973" y="301728"/>
                    <a:pt x="1771887" y="299942"/>
                    <a:pt x="1768110" y="299611"/>
                  </a:cubicBezTo>
                  <a:cubicBezTo>
                    <a:pt x="1764108" y="299267"/>
                    <a:pt x="1764066" y="303480"/>
                    <a:pt x="1764024" y="307826"/>
                  </a:cubicBezTo>
                  <a:cubicBezTo>
                    <a:pt x="1763981" y="312264"/>
                    <a:pt x="1763932" y="316842"/>
                    <a:pt x="1759670" y="316842"/>
                  </a:cubicBezTo>
                  <a:cubicBezTo>
                    <a:pt x="1755310" y="316842"/>
                    <a:pt x="1752827" y="315619"/>
                    <a:pt x="1750429" y="314444"/>
                  </a:cubicBezTo>
                  <a:cubicBezTo>
                    <a:pt x="1748178" y="313340"/>
                    <a:pt x="1746005" y="312271"/>
                    <a:pt x="1742439" y="312271"/>
                  </a:cubicBezTo>
                  <a:cubicBezTo>
                    <a:pt x="1735055" y="312271"/>
                    <a:pt x="1735055" y="316842"/>
                    <a:pt x="1735758" y="323524"/>
                  </a:cubicBezTo>
                  <a:cubicBezTo>
                    <a:pt x="1736173" y="327476"/>
                    <a:pt x="1737692" y="328229"/>
                    <a:pt x="1740829" y="329783"/>
                  </a:cubicBezTo>
                  <a:cubicBezTo>
                    <a:pt x="1743002" y="330859"/>
                    <a:pt x="1745942" y="332315"/>
                    <a:pt x="1749824" y="335480"/>
                  </a:cubicBezTo>
                  <a:cubicBezTo>
                    <a:pt x="1755464" y="340080"/>
                    <a:pt x="1754649" y="342063"/>
                    <a:pt x="1752912" y="346318"/>
                  </a:cubicBezTo>
                  <a:cubicBezTo>
                    <a:pt x="1751730" y="349223"/>
                    <a:pt x="1750112" y="353175"/>
                    <a:pt x="1749824" y="359744"/>
                  </a:cubicBezTo>
                  <a:cubicBezTo>
                    <a:pt x="1749311" y="371567"/>
                    <a:pt x="1747665" y="370617"/>
                    <a:pt x="1745309" y="369246"/>
                  </a:cubicBezTo>
                  <a:cubicBezTo>
                    <a:pt x="1744444" y="368746"/>
                    <a:pt x="1743480" y="368184"/>
                    <a:pt x="1742439" y="368184"/>
                  </a:cubicBezTo>
                  <a:cubicBezTo>
                    <a:pt x="1739345" y="368184"/>
                    <a:pt x="1732241" y="363964"/>
                    <a:pt x="1729076" y="361854"/>
                  </a:cubicBezTo>
                  <a:cubicBezTo>
                    <a:pt x="1729196" y="364787"/>
                    <a:pt x="1729358" y="371911"/>
                    <a:pt x="1729076" y="376975"/>
                  </a:cubicBezTo>
                  <a:cubicBezTo>
                    <a:pt x="1728725" y="383305"/>
                    <a:pt x="1719933" y="385415"/>
                    <a:pt x="1716417" y="382250"/>
                  </a:cubicBezTo>
                  <a:cubicBezTo>
                    <a:pt x="1714462" y="380484"/>
                    <a:pt x="1712935" y="378290"/>
                    <a:pt x="1711367" y="376018"/>
                  </a:cubicBezTo>
                  <a:cubicBezTo>
                    <a:pt x="1710115" y="374211"/>
                    <a:pt x="1708835" y="372361"/>
                    <a:pt x="1707274" y="370645"/>
                  </a:cubicBezTo>
                  <a:cubicBezTo>
                    <a:pt x="1706240" y="369506"/>
                    <a:pt x="1705087" y="368099"/>
                    <a:pt x="1703807" y="366538"/>
                  </a:cubicBezTo>
                  <a:cubicBezTo>
                    <a:pt x="1700740" y="362796"/>
                    <a:pt x="1696971" y="358197"/>
                    <a:pt x="1692505" y="354469"/>
                  </a:cubicBezTo>
                  <a:cubicBezTo>
                    <a:pt x="1686175" y="349194"/>
                    <a:pt x="1678790" y="356227"/>
                    <a:pt x="1676329" y="359744"/>
                  </a:cubicBezTo>
                  <a:lnTo>
                    <a:pt x="1676040" y="360159"/>
                  </a:lnTo>
                  <a:cubicBezTo>
                    <a:pt x="1673375" y="363971"/>
                    <a:pt x="1666968" y="373156"/>
                    <a:pt x="1661207" y="374513"/>
                  </a:cubicBezTo>
                  <a:cubicBezTo>
                    <a:pt x="1656319" y="375667"/>
                    <a:pt x="1653781" y="373522"/>
                    <a:pt x="1651671" y="371742"/>
                  </a:cubicBezTo>
                  <a:cubicBezTo>
                    <a:pt x="1651206" y="371341"/>
                    <a:pt x="1650756" y="370969"/>
                    <a:pt x="1650306" y="370645"/>
                  </a:cubicBezTo>
                  <a:cubicBezTo>
                    <a:pt x="1648759" y="369541"/>
                    <a:pt x="1648182" y="366348"/>
                    <a:pt x="1647535" y="362726"/>
                  </a:cubicBezTo>
                  <a:lnTo>
                    <a:pt x="1647535" y="362726"/>
                  </a:lnTo>
                  <a:cubicBezTo>
                    <a:pt x="1647148" y="360595"/>
                    <a:pt x="1646741" y="358316"/>
                    <a:pt x="1646086" y="356227"/>
                  </a:cubicBezTo>
                  <a:cubicBezTo>
                    <a:pt x="1644328" y="350601"/>
                    <a:pt x="1637295" y="343216"/>
                    <a:pt x="1631669" y="343568"/>
                  </a:cubicBezTo>
                  <a:cubicBezTo>
                    <a:pt x="1628082" y="343793"/>
                    <a:pt x="1628785" y="348878"/>
                    <a:pt x="1629488" y="353991"/>
                  </a:cubicBezTo>
                  <a:cubicBezTo>
                    <a:pt x="1629889" y="356903"/>
                    <a:pt x="1630290" y="359814"/>
                    <a:pt x="1629910" y="361854"/>
                  </a:cubicBezTo>
                  <a:cubicBezTo>
                    <a:pt x="1628855" y="367480"/>
                    <a:pt x="1624987" y="387173"/>
                    <a:pt x="1623932" y="391041"/>
                  </a:cubicBezTo>
                  <a:cubicBezTo>
                    <a:pt x="1622877" y="394909"/>
                    <a:pt x="1620416" y="398074"/>
                    <a:pt x="1613031" y="401591"/>
                  </a:cubicBezTo>
                  <a:cubicBezTo>
                    <a:pt x="1608368" y="403813"/>
                    <a:pt x="1607770" y="402948"/>
                    <a:pt x="1606638" y="401302"/>
                  </a:cubicBezTo>
                  <a:cubicBezTo>
                    <a:pt x="1605977" y="400339"/>
                    <a:pt x="1605126" y="399108"/>
                    <a:pt x="1603185" y="398074"/>
                  </a:cubicBezTo>
                  <a:cubicBezTo>
                    <a:pt x="1599471" y="396091"/>
                    <a:pt x="1597150" y="391498"/>
                    <a:pt x="1594998" y="387229"/>
                  </a:cubicBezTo>
                  <a:cubicBezTo>
                    <a:pt x="1594098" y="385443"/>
                    <a:pt x="1593219" y="383706"/>
                    <a:pt x="1592284" y="382250"/>
                  </a:cubicBezTo>
                  <a:cubicBezTo>
                    <a:pt x="1590370" y="379275"/>
                    <a:pt x="1583323" y="370392"/>
                    <a:pt x="1577191" y="362663"/>
                  </a:cubicBezTo>
                  <a:lnTo>
                    <a:pt x="1577183" y="362663"/>
                  </a:lnTo>
                  <a:lnTo>
                    <a:pt x="1577183" y="362656"/>
                  </a:lnTo>
                  <a:cubicBezTo>
                    <a:pt x="1573168" y="357599"/>
                    <a:pt x="1569553" y="353041"/>
                    <a:pt x="1568020" y="350953"/>
                  </a:cubicBezTo>
                  <a:cubicBezTo>
                    <a:pt x="1566704" y="349159"/>
                    <a:pt x="1565431" y="346480"/>
                    <a:pt x="1564074" y="343617"/>
                  </a:cubicBezTo>
                  <a:cubicBezTo>
                    <a:pt x="1561437" y="338054"/>
                    <a:pt x="1558483" y="331830"/>
                    <a:pt x="1554305" y="330205"/>
                  </a:cubicBezTo>
                  <a:cubicBezTo>
                    <a:pt x="1547975" y="327744"/>
                    <a:pt x="1542349" y="316842"/>
                    <a:pt x="1543052" y="312271"/>
                  </a:cubicBezTo>
                  <a:cubicBezTo>
                    <a:pt x="1543664" y="308276"/>
                    <a:pt x="1557153" y="305625"/>
                    <a:pt x="1565010" y="304084"/>
                  </a:cubicBezTo>
                  <a:cubicBezTo>
                    <a:pt x="1566149" y="303859"/>
                    <a:pt x="1567175" y="303655"/>
                    <a:pt x="1568020" y="303480"/>
                  </a:cubicBezTo>
                  <a:cubicBezTo>
                    <a:pt x="1574398" y="302136"/>
                    <a:pt x="1574363" y="287965"/>
                    <a:pt x="1574349" y="281178"/>
                  </a:cubicBezTo>
                  <a:cubicBezTo>
                    <a:pt x="1574349" y="280974"/>
                    <a:pt x="1574349" y="280770"/>
                    <a:pt x="1574349" y="280580"/>
                  </a:cubicBezTo>
                  <a:lnTo>
                    <a:pt x="1574349" y="280270"/>
                  </a:lnTo>
                  <a:cubicBezTo>
                    <a:pt x="1574349" y="273941"/>
                    <a:pt x="1569426" y="268314"/>
                    <a:pt x="1565910" y="265501"/>
                  </a:cubicBezTo>
                  <a:cubicBezTo>
                    <a:pt x="1564032" y="263996"/>
                    <a:pt x="1553714" y="264101"/>
                    <a:pt x="1543713" y="264200"/>
                  </a:cubicBezTo>
                  <a:cubicBezTo>
                    <a:pt x="1534999" y="264291"/>
                    <a:pt x="1526518" y="264376"/>
                    <a:pt x="1524063" y="263391"/>
                  </a:cubicBezTo>
                  <a:cubicBezTo>
                    <a:pt x="1521552" y="262385"/>
                    <a:pt x="1519920" y="260430"/>
                    <a:pt x="1518029" y="258159"/>
                  </a:cubicBezTo>
                  <a:cubicBezTo>
                    <a:pt x="1515940" y="255662"/>
                    <a:pt x="1513534" y="252778"/>
                    <a:pt x="1509294" y="250380"/>
                  </a:cubicBezTo>
                  <a:cubicBezTo>
                    <a:pt x="1501206" y="245808"/>
                    <a:pt x="1494172" y="254951"/>
                    <a:pt x="1491359" y="258820"/>
                  </a:cubicBezTo>
                  <a:cubicBezTo>
                    <a:pt x="1489714" y="261084"/>
                    <a:pt x="1491197" y="267323"/>
                    <a:pt x="1492569" y="273097"/>
                  </a:cubicBezTo>
                  <a:cubicBezTo>
                    <a:pt x="1493546" y="277183"/>
                    <a:pt x="1494461" y="281044"/>
                    <a:pt x="1494172" y="283084"/>
                  </a:cubicBezTo>
                  <a:cubicBezTo>
                    <a:pt x="1493666" y="286635"/>
                    <a:pt x="1488025" y="288724"/>
                    <a:pt x="1482413" y="290806"/>
                  </a:cubicBezTo>
                  <a:cubicBezTo>
                    <a:pt x="1480254" y="291601"/>
                    <a:pt x="1478095" y="292402"/>
                    <a:pt x="1476238" y="293282"/>
                  </a:cubicBezTo>
                  <a:cubicBezTo>
                    <a:pt x="1469557" y="296446"/>
                    <a:pt x="1450568" y="295743"/>
                    <a:pt x="1444941" y="293282"/>
                  </a:cubicBezTo>
                  <a:cubicBezTo>
                    <a:pt x="1444583" y="293127"/>
                    <a:pt x="1444097" y="292916"/>
                    <a:pt x="1443499" y="292656"/>
                  </a:cubicBezTo>
                  <a:lnTo>
                    <a:pt x="1443478" y="292649"/>
                  </a:lnTo>
                  <a:cubicBezTo>
                    <a:pt x="1434792" y="288893"/>
                    <a:pt x="1403193" y="275221"/>
                    <a:pt x="1399578" y="268314"/>
                  </a:cubicBezTo>
                  <a:cubicBezTo>
                    <a:pt x="1396554" y="262547"/>
                    <a:pt x="1387523" y="259994"/>
                    <a:pt x="1378014" y="257308"/>
                  </a:cubicBezTo>
                  <a:cubicBezTo>
                    <a:pt x="1375356" y="256562"/>
                    <a:pt x="1372655" y="255795"/>
                    <a:pt x="1370039" y="254951"/>
                  </a:cubicBezTo>
                  <a:cubicBezTo>
                    <a:pt x="1358083" y="251083"/>
                    <a:pt x="1350346" y="258820"/>
                    <a:pt x="1347533" y="265501"/>
                  </a:cubicBezTo>
                  <a:cubicBezTo>
                    <a:pt x="1344720" y="272182"/>
                    <a:pt x="1338390" y="278161"/>
                    <a:pt x="1334874" y="278161"/>
                  </a:cubicBezTo>
                  <a:cubicBezTo>
                    <a:pt x="1332314" y="278161"/>
                    <a:pt x="1331428" y="270509"/>
                    <a:pt x="1330731" y="264446"/>
                  </a:cubicBezTo>
                  <a:cubicBezTo>
                    <a:pt x="1330471" y="262189"/>
                    <a:pt x="1330239" y="260156"/>
                    <a:pt x="1329951" y="258820"/>
                  </a:cubicBezTo>
                  <a:cubicBezTo>
                    <a:pt x="1329381" y="256147"/>
                    <a:pt x="1324465" y="253587"/>
                    <a:pt x="1319753" y="251126"/>
                  </a:cubicBezTo>
                  <a:cubicBezTo>
                    <a:pt x="1315765" y="249044"/>
                    <a:pt x="1311925" y="247039"/>
                    <a:pt x="1310961" y="245105"/>
                  </a:cubicBezTo>
                  <a:cubicBezTo>
                    <a:pt x="1308851" y="240885"/>
                    <a:pt x="1293730" y="237017"/>
                    <a:pt x="1288456" y="239479"/>
                  </a:cubicBezTo>
                  <a:cubicBezTo>
                    <a:pt x="1284728" y="241216"/>
                    <a:pt x="1288906" y="247349"/>
                    <a:pt x="1291670" y="251414"/>
                  </a:cubicBezTo>
                  <a:cubicBezTo>
                    <a:pt x="1292823" y="253102"/>
                    <a:pt x="1293730" y="254438"/>
                    <a:pt x="1293730" y="254951"/>
                  </a:cubicBezTo>
                  <a:cubicBezTo>
                    <a:pt x="1293730" y="256710"/>
                    <a:pt x="1262433" y="278161"/>
                    <a:pt x="1253994" y="280270"/>
                  </a:cubicBezTo>
                  <a:cubicBezTo>
                    <a:pt x="1250505" y="281143"/>
                    <a:pt x="1245153" y="284174"/>
                    <a:pt x="1239583" y="287339"/>
                  </a:cubicBezTo>
                  <a:cubicBezTo>
                    <a:pt x="1231671" y="291826"/>
                    <a:pt x="1223309" y="296566"/>
                    <a:pt x="1219180" y="295743"/>
                  </a:cubicBezTo>
                  <a:cubicBezTo>
                    <a:pt x="1212147" y="294337"/>
                    <a:pt x="1225510" y="272182"/>
                    <a:pt x="1230081" y="265501"/>
                  </a:cubicBezTo>
                  <a:cubicBezTo>
                    <a:pt x="1234653" y="258820"/>
                    <a:pt x="1296895" y="199039"/>
                    <a:pt x="1305335" y="190951"/>
                  </a:cubicBezTo>
                  <a:cubicBezTo>
                    <a:pt x="1306742" y="189607"/>
                    <a:pt x="1308415" y="188018"/>
                    <a:pt x="1310244" y="186281"/>
                  </a:cubicBezTo>
                  <a:cubicBezTo>
                    <a:pt x="1319429" y="177581"/>
                    <a:pt x="1332532" y="165167"/>
                    <a:pt x="1334874" y="161060"/>
                  </a:cubicBezTo>
                  <a:cubicBezTo>
                    <a:pt x="1336041" y="159021"/>
                    <a:pt x="1335633" y="157888"/>
                    <a:pt x="1334663" y="155152"/>
                  </a:cubicBezTo>
                  <a:cubicBezTo>
                    <a:pt x="1333284" y="151298"/>
                    <a:pt x="1330773" y="144251"/>
                    <a:pt x="1329951" y="126950"/>
                  </a:cubicBezTo>
                  <a:cubicBezTo>
                    <a:pt x="1328544" y="97411"/>
                    <a:pt x="1314126" y="81587"/>
                    <a:pt x="1305335" y="73850"/>
                  </a:cubicBezTo>
                  <a:cubicBezTo>
                    <a:pt x="1296544" y="66114"/>
                    <a:pt x="1264192" y="68927"/>
                    <a:pt x="1255752" y="73850"/>
                  </a:cubicBezTo>
                  <a:cubicBezTo>
                    <a:pt x="1247312" y="78773"/>
                    <a:pt x="1244851" y="79477"/>
                    <a:pt x="1232543" y="76664"/>
                  </a:cubicBezTo>
                  <a:cubicBezTo>
                    <a:pt x="1224265" y="74772"/>
                    <a:pt x="1232845" y="65245"/>
                    <a:pt x="1239245" y="58140"/>
                  </a:cubicBezTo>
                  <a:cubicBezTo>
                    <a:pt x="1242368" y="54680"/>
                    <a:pt x="1244963" y="51793"/>
                    <a:pt x="1244851" y="50641"/>
                  </a:cubicBezTo>
                  <a:cubicBezTo>
                    <a:pt x="1244661" y="48740"/>
                    <a:pt x="1231924" y="47763"/>
                    <a:pt x="1219658" y="46823"/>
                  </a:cubicBezTo>
                  <a:cubicBezTo>
                    <a:pt x="1209235" y="46025"/>
                    <a:pt x="1199157" y="45252"/>
                    <a:pt x="1197378" y="43960"/>
                  </a:cubicBezTo>
                  <a:cubicBezTo>
                    <a:pt x="1195423" y="42539"/>
                    <a:pt x="1203152" y="35829"/>
                    <a:pt x="1211240" y="28809"/>
                  </a:cubicBezTo>
                  <a:lnTo>
                    <a:pt x="1211240" y="28808"/>
                  </a:lnTo>
                  <a:cubicBezTo>
                    <a:pt x="1219173" y="21925"/>
                    <a:pt x="1227444" y="14745"/>
                    <a:pt x="1227268" y="11959"/>
                  </a:cubicBezTo>
                  <a:cubicBezTo>
                    <a:pt x="1226916" y="6333"/>
                    <a:pt x="1203707" y="355"/>
                    <a:pt x="1195268" y="3"/>
                  </a:cubicBezTo>
                  <a:cubicBezTo>
                    <a:pt x="1186828" y="-348"/>
                    <a:pt x="1157641" y="27784"/>
                    <a:pt x="1153421" y="32707"/>
                  </a:cubicBezTo>
                  <a:cubicBezTo>
                    <a:pt x="1149201" y="37630"/>
                    <a:pt x="1146740" y="67521"/>
                    <a:pt x="1146388" y="73850"/>
                  </a:cubicBezTo>
                  <a:cubicBezTo>
                    <a:pt x="1146107" y="78914"/>
                    <a:pt x="1141816" y="81118"/>
                    <a:pt x="1139707" y="81587"/>
                  </a:cubicBezTo>
                  <a:lnTo>
                    <a:pt x="1122476" y="81587"/>
                  </a:lnTo>
                  <a:cubicBezTo>
                    <a:pt x="1121814" y="81587"/>
                    <a:pt x="1120520" y="84637"/>
                    <a:pt x="1118896" y="88457"/>
                  </a:cubicBezTo>
                  <a:cubicBezTo>
                    <a:pt x="1116181" y="94847"/>
                    <a:pt x="1112545" y="103389"/>
                    <a:pt x="1109464" y="103389"/>
                  </a:cubicBezTo>
                  <a:cubicBezTo>
                    <a:pt x="1106581" y="103389"/>
                    <a:pt x="1103212" y="104113"/>
                    <a:pt x="1100427" y="104713"/>
                  </a:cubicBezTo>
                  <a:cubicBezTo>
                    <a:pt x="1098451" y="105137"/>
                    <a:pt x="1096770" y="105499"/>
                    <a:pt x="1095750" y="105499"/>
                  </a:cubicBezTo>
                  <a:cubicBezTo>
                    <a:pt x="1094702" y="105499"/>
                    <a:pt x="1092395" y="107527"/>
                    <a:pt x="1089701" y="109888"/>
                  </a:cubicBezTo>
                  <a:cubicBezTo>
                    <a:pt x="1086051" y="113089"/>
                    <a:pt x="1081705" y="116901"/>
                    <a:pt x="1078871" y="117104"/>
                  </a:cubicBezTo>
                  <a:cubicBezTo>
                    <a:pt x="1073947" y="117455"/>
                    <a:pt x="1072189" y="112180"/>
                    <a:pt x="1074651" y="109367"/>
                  </a:cubicBezTo>
                  <a:cubicBezTo>
                    <a:pt x="1077112" y="106554"/>
                    <a:pt x="1080981" y="93543"/>
                    <a:pt x="1074651" y="91081"/>
                  </a:cubicBezTo>
                  <a:cubicBezTo>
                    <a:pt x="1069840" y="89212"/>
                    <a:pt x="1063820" y="94644"/>
                    <a:pt x="1058580" y="99368"/>
                  </a:cubicBezTo>
                  <a:lnTo>
                    <a:pt x="1058580" y="99369"/>
                  </a:lnTo>
                  <a:cubicBezTo>
                    <a:pt x="1056920" y="100865"/>
                    <a:pt x="1055338" y="102290"/>
                    <a:pt x="1053903" y="103389"/>
                  </a:cubicBezTo>
                  <a:cubicBezTo>
                    <a:pt x="1050070" y="106318"/>
                    <a:pt x="1045520" y="105927"/>
                    <a:pt x="1041082" y="105545"/>
                  </a:cubicBezTo>
                  <a:cubicBezTo>
                    <a:pt x="1038592" y="105331"/>
                    <a:pt x="1036131" y="105120"/>
                    <a:pt x="1033859" y="105499"/>
                  </a:cubicBezTo>
                  <a:cubicBezTo>
                    <a:pt x="1030279" y="106095"/>
                    <a:pt x="1026706" y="112534"/>
                    <a:pt x="1023127" y="118972"/>
                  </a:cubicBezTo>
                  <a:cubicBezTo>
                    <a:pt x="1020377" y="123926"/>
                    <a:pt x="1017620" y="128877"/>
                    <a:pt x="1014870" y="131170"/>
                  </a:cubicBezTo>
                  <a:cubicBezTo>
                    <a:pt x="1012071" y="133505"/>
                    <a:pt x="1002168" y="138111"/>
                    <a:pt x="991126" y="143253"/>
                  </a:cubicBezTo>
                  <a:lnTo>
                    <a:pt x="991126" y="143253"/>
                  </a:lnTo>
                  <a:cubicBezTo>
                    <a:pt x="977215" y="149730"/>
                    <a:pt x="961475" y="157058"/>
                    <a:pt x="955792" y="161764"/>
                  </a:cubicBezTo>
                  <a:cubicBezTo>
                    <a:pt x="953992" y="163255"/>
                    <a:pt x="951847" y="164949"/>
                    <a:pt x="949511" y="166792"/>
                  </a:cubicBezTo>
                  <a:cubicBezTo>
                    <a:pt x="938589" y="175415"/>
                    <a:pt x="923525" y="187308"/>
                    <a:pt x="920627" y="196577"/>
                  </a:cubicBezTo>
                  <a:cubicBezTo>
                    <a:pt x="918608" y="203040"/>
                    <a:pt x="920071" y="206374"/>
                    <a:pt x="921682" y="210038"/>
                  </a:cubicBezTo>
                  <a:cubicBezTo>
                    <a:pt x="922870" y="212753"/>
                    <a:pt x="924143" y="215651"/>
                    <a:pt x="924143" y="220138"/>
                  </a:cubicBezTo>
                  <a:cubicBezTo>
                    <a:pt x="924143" y="224315"/>
                    <a:pt x="924586" y="227115"/>
                    <a:pt x="924945" y="229386"/>
                  </a:cubicBezTo>
                  <a:cubicBezTo>
                    <a:pt x="925487" y="232854"/>
                    <a:pt x="925845" y="235090"/>
                    <a:pt x="924143" y="239127"/>
                  </a:cubicBezTo>
                  <a:cubicBezTo>
                    <a:pt x="922343" y="243403"/>
                    <a:pt x="917659" y="244796"/>
                    <a:pt x="912124" y="246449"/>
                  </a:cubicBezTo>
                  <a:cubicBezTo>
                    <a:pt x="909015" y="247377"/>
                    <a:pt x="905632" y="248383"/>
                    <a:pt x="902341" y="250028"/>
                  </a:cubicBezTo>
                  <a:cubicBezTo>
                    <a:pt x="895209" y="253594"/>
                    <a:pt x="881882" y="251597"/>
                    <a:pt x="874856" y="250549"/>
                  </a:cubicBezTo>
                  <a:cubicBezTo>
                    <a:pt x="872872" y="250253"/>
                    <a:pt x="871389" y="250028"/>
                    <a:pt x="870692" y="250028"/>
                  </a:cubicBezTo>
                  <a:cubicBezTo>
                    <a:pt x="867527" y="250028"/>
                    <a:pt x="839747" y="254951"/>
                    <a:pt x="836933" y="256710"/>
                  </a:cubicBezTo>
                  <a:cubicBezTo>
                    <a:pt x="834120" y="258468"/>
                    <a:pt x="829549" y="273941"/>
                    <a:pt x="830604" y="282380"/>
                  </a:cubicBezTo>
                  <a:cubicBezTo>
                    <a:pt x="831349" y="288330"/>
                    <a:pt x="832263" y="290961"/>
                    <a:pt x="833361" y="294090"/>
                  </a:cubicBezTo>
                  <a:cubicBezTo>
                    <a:pt x="833818" y="295399"/>
                    <a:pt x="834303" y="296791"/>
                    <a:pt x="834824" y="298556"/>
                  </a:cubicBezTo>
                  <a:cubicBezTo>
                    <a:pt x="835590" y="301152"/>
                    <a:pt x="835358" y="301960"/>
                    <a:pt x="835168" y="302614"/>
                  </a:cubicBezTo>
                  <a:cubicBezTo>
                    <a:pt x="834922" y="303472"/>
                    <a:pt x="834746" y="304077"/>
                    <a:pt x="836933" y="308051"/>
                  </a:cubicBezTo>
                  <a:lnTo>
                    <a:pt x="837208" y="308550"/>
                  </a:lnTo>
                  <a:cubicBezTo>
                    <a:pt x="839254" y="312271"/>
                    <a:pt x="839810" y="313291"/>
                    <a:pt x="840577" y="313481"/>
                  </a:cubicBezTo>
                  <a:cubicBezTo>
                    <a:pt x="840865" y="313558"/>
                    <a:pt x="841181" y="313516"/>
                    <a:pt x="841618" y="313452"/>
                  </a:cubicBezTo>
                  <a:cubicBezTo>
                    <a:pt x="842032" y="313396"/>
                    <a:pt x="842553" y="313326"/>
                    <a:pt x="843263" y="313326"/>
                  </a:cubicBezTo>
                  <a:cubicBezTo>
                    <a:pt x="845788" y="313326"/>
                    <a:pt x="848130" y="316589"/>
                    <a:pt x="850296" y="319606"/>
                  </a:cubicBezTo>
                  <a:cubicBezTo>
                    <a:pt x="851147" y="320788"/>
                    <a:pt x="851963" y="321927"/>
                    <a:pt x="852758" y="322820"/>
                  </a:cubicBezTo>
                  <a:cubicBezTo>
                    <a:pt x="854031" y="324255"/>
                    <a:pt x="854587" y="325690"/>
                    <a:pt x="855198" y="327286"/>
                  </a:cubicBezTo>
                  <a:cubicBezTo>
                    <a:pt x="855944" y="329213"/>
                    <a:pt x="856781" y="331380"/>
                    <a:pt x="859088" y="334073"/>
                  </a:cubicBezTo>
                  <a:cubicBezTo>
                    <a:pt x="860761" y="336021"/>
                    <a:pt x="862210" y="337091"/>
                    <a:pt x="863357" y="337934"/>
                  </a:cubicBezTo>
                  <a:cubicBezTo>
                    <a:pt x="865094" y="339215"/>
                    <a:pt x="866121" y="339967"/>
                    <a:pt x="866121" y="342513"/>
                  </a:cubicBezTo>
                  <a:cubicBezTo>
                    <a:pt x="866121" y="346733"/>
                    <a:pt x="864714" y="349546"/>
                    <a:pt x="862604" y="352711"/>
                  </a:cubicBezTo>
                  <a:cubicBezTo>
                    <a:pt x="861183" y="354835"/>
                    <a:pt x="859292" y="354103"/>
                    <a:pt x="857456" y="353400"/>
                  </a:cubicBezTo>
                  <a:cubicBezTo>
                    <a:pt x="856563" y="353048"/>
                    <a:pt x="855677" y="352711"/>
                    <a:pt x="854868" y="352711"/>
                  </a:cubicBezTo>
                  <a:cubicBezTo>
                    <a:pt x="852406" y="352711"/>
                    <a:pt x="845022" y="352711"/>
                    <a:pt x="839747" y="349546"/>
                  </a:cubicBezTo>
                  <a:cubicBezTo>
                    <a:pt x="835822" y="347190"/>
                    <a:pt x="834817" y="345418"/>
                    <a:pt x="833979" y="343941"/>
                  </a:cubicBezTo>
                  <a:cubicBezTo>
                    <a:pt x="833691" y="343434"/>
                    <a:pt x="833424" y="342963"/>
                    <a:pt x="833065" y="342513"/>
                  </a:cubicBezTo>
                  <a:cubicBezTo>
                    <a:pt x="831659" y="340755"/>
                    <a:pt x="824977" y="331963"/>
                    <a:pt x="822867" y="329150"/>
                  </a:cubicBezTo>
                  <a:cubicBezTo>
                    <a:pt x="820757" y="326337"/>
                    <a:pt x="819703" y="325282"/>
                    <a:pt x="815483" y="322820"/>
                  </a:cubicBezTo>
                  <a:cubicBezTo>
                    <a:pt x="811263" y="320359"/>
                    <a:pt x="809856" y="319656"/>
                    <a:pt x="805636" y="319656"/>
                  </a:cubicBezTo>
                  <a:cubicBezTo>
                    <a:pt x="802647" y="319656"/>
                    <a:pt x="801599" y="316477"/>
                    <a:pt x="800615" y="313502"/>
                  </a:cubicBezTo>
                  <a:cubicBezTo>
                    <a:pt x="800214" y="312278"/>
                    <a:pt x="799820" y="311082"/>
                    <a:pt x="799307" y="310161"/>
                  </a:cubicBezTo>
                  <a:cubicBezTo>
                    <a:pt x="797914" y="307650"/>
                    <a:pt x="793631" y="307798"/>
                    <a:pt x="788764" y="307960"/>
                  </a:cubicBezTo>
                  <a:lnTo>
                    <a:pt x="788764" y="307960"/>
                  </a:lnTo>
                  <a:cubicBezTo>
                    <a:pt x="787498" y="308009"/>
                    <a:pt x="786190" y="308051"/>
                    <a:pt x="784889" y="308051"/>
                  </a:cubicBezTo>
                  <a:cubicBezTo>
                    <a:pt x="779122" y="308051"/>
                    <a:pt x="779192" y="310681"/>
                    <a:pt x="779248" y="312742"/>
                  </a:cubicBezTo>
                  <a:cubicBezTo>
                    <a:pt x="779256" y="312946"/>
                    <a:pt x="779262" y="313136"/>
                    <a:pt x="779262" y="313326"/>
                  </a:cubicBezTo>
                  <a:lnTo>
                    <a:pt x="779262" y="325282"/>
                  </a:lnTo>
                  <a:cubicBezTo>
                    <a:pt x="779262" y="327125"/>
                    <a:pt x="783644" y="329572"/>
                    <a:pt x="787161" y="331541"/>
                  </a:cubicBezTo>
                  <a:cubicBezTo>
                    <a:pt x="789010" y="332568"/>
                    <a:pt x="790614" y="333468"/>
                    <a:pt x="791219" y="334073"/>
                  </a:cubicBezTo>
                  <a:cubicBezTo>
                    <a:pt x="792886" y="335740"/>
                    <a:pt x="793286" y="338033"/>
                    <a:pt x="794222" y="343350"/>
                  </a:cubicBezTo>
                  <a:cubicBezTo>
                    <a:pt x="794271" y="343652"/>
                    <a:pt x="794327" y="343955"/>
                    <a:pt x="794384" y="344271"/>
                  </a:cubicBezTo>
                  <a:cubicBezTo>
                    <a:pt x="795438" y="350249"/>
                    <a:pt x="791922" y="350601"/>
                    <a:pt x="782779" y="349546"/>
                  </a:cubicBezTo>
                  <a:cubicBezTo>
                    <a:pt x="778848" y="349054"/>
                    <a:pt x="779206" y="345811"/>
                    <a:pt x="779424" y="343906"/>
                  </a:cubicBezTo>
                  <a:cubicBezTo>
                    <a:pt x="779516" y="343083"/>
                    <a:pt x="779579" y="342513"/>
                    <a:pt x="779262" y="342513"/>
                  </a:cubicBezTo>
                  <a:cubicBezTo>
                    <a:pt x="778967" y="342513"/>
                    <a:pt x="778369" y="342182"/>
                    <a:pt x="777511" y="341711"/>
                  </a:cubicBezTo>
                  <a:cubicBezTo>
                    <a:pt x="775296" y="340487"/>
                    <a:pt x="771322" y="338293"/>
                    <a:pt x="766251" y="338293"/>
                  </a:cubicBezTo>
                  <a:cubicBezTo>
                    <a:pt x="759218" y="338293"/>
                    <a:pt x="761680" y="350953"/>
                    <a:pt x="762031" y="352711"/>
                  </a:cubicBezTo>
                  <a:cubicBezTo>
                    <a:pt x="762235" y="353717"/>
                    <a:pt x="764739" y="355995"/>
                    <a:pt x="767046" y="358084"/>
                  </a:cubicBezTo>
                  <a:cubicBezTo>
                    <a:pt x="768769" y="359645"/>
                    <a:pt x="770373" y="361101"/>
                    <a:pt x="770823" y="361854"/>
                  </a:cubicBezTo>
                  <a:cubicBezTo>
                    <a:pt x="771878" y="363612"/>
                    <a:pt x="777153" y="372052"/>
                    <a:pt x="782779" y="374162"/>
                  </a:cubicBezTo>
                  <a:cubicBezTo>
                    <a:pt x="785691" y="375252"/>
                    <a:pt x="789545" y="375779"/>
                    <a:pt x="792829" y="376229"/>
                  </a:cubicBezTo>
                  <a:cubicBezTo>
                    <a:pt x="795889" y="376651"/>
                    <a:pt x="798456" y="376996"/>
                    <a:pt x="799307" y="377678"/>
                  </a:cubicBezTo>
                  <a:cubicBezTo>
                    <a:pt x="801065" y="379085"/>
                    <a:pt x="801417" y="386118"/>
                    <a:pt x="801065" y="390689"/>
                  </a:cubicBezTo>
                  <a:cubicBezTo>
                    <a:pt x="800713" y="395261"/>
                    <a:pt x="793329" y="394909"/>
                    <a:pt x="788405" y="390689"/>
                  </a:cubicBezTo>
                  <a:cubicBezTo>
                    <a:pt x="785698" y="388368"/>
                    <a:pt x="782990" y="388066"/>
                    <a:pt x="780578" y="387799"/>
                  </a:cubicBezTo>
                  <a:cubicBezTo>
                    <a:pt x="778601" y="387581"/>
                    <a:pt x="776822" y="387384"/>
                    <a:pt x="775394" y="386118"/>
                  </a:cubicBezTo>
                  <a:cubicBezTo>
                    <a:pt x="773460" y="384402"/>
                    <a:pt x="769297" y="382285"/>
                    <a:pt x="765140" y="380182"/>
                  </a:cubicBezTo>
                  <a:cubicBezTo>
                    <a:pt x="762503" y="378839"/>
                    <a:pt x="759865" y="377502"/>
                    <a:pt x="757812" y="376272"/>
                  </a:cubicBezTo>
                  <a:cubicBezTo>
                    <a:pt x="753444" y="373648"/>
                    <a:pt x="748352" y="365961"/>
                    <a:pt x="744934" y="360799"/>
                  </a:cubicBezTo>
                  <a:lnTo>
                    <a:pt x="744927" y="360799"/>
                  </a:lnTo>
                  <a:cubicBezTo>
                    <a:pt x="744224" y="359730"/>
                    <a:pt x="743584" y="358773"/>
                    <a:pt x="743042" y="357986"/>
                  </a:cubicBezTo>
                  <a:cubicBezTo>
                    <a:pt x="741003" y="355039"/>
                    <a:pt x="742909" y="349469"/>
                    <a:pt x="744519" y="344750"/>
                  </a:cubicBezTo>
                  <a:cubicBezTo>
                    <a:pt x="745405" y="342140"/>
                    <a:pt x="746207" y="339791"/>
                    <a:pt x="746207" y="338293"/>
                  </a:cubicBezTo>
                  <a:cubicBezTo>
                    <a:pt x="746207" y="334938"/>
                    <a:pt x="744203" y="334692"/>
                    <a:pt x="741615" y="334383"/>
                  </a:cubicBezTo>
                  <a:cubicBezTo>
                    <a:pt x="740946" y="334305"/>
                    <a:pt x="740243" y="334214"/>
                    <a:pt x="739526" y="334073"/>
                  </a:cubicBezTo>
                  <a:cubicBezTo>
                    <a:pt x="736178" y="333405"/>
                    <a:pt x="731874" y="338153"/>
                    <a:pt x="728435" y="341950"/>
                  </a:cubicBezTo>
                  <a:cubicBezTo>
                    <a:pt x="728259" y="342140"/>
                    <a:pt x="728090" y="342330"/>
                    <a:pt x="727921" y="342513"/>
                  </a:cubicBezTo>
                  <a:cubicBezTo>
                    <a:pt x="724405" y="346381"/>
                    <a:pt x="717372" y="365370"/>
                    <a:pt x="718778" y="372052"/>
                  </a:cubicBezTo>
                  <a:cubicBezTo>
                    <a:pt x="719904" y="377404"/>
                    <a:pt x="723286" y="376891"/>
                    <a:pt x="726036" y="376476"/>
                  </a:cubicBezTo>
                  <a:cubicBezTo>
                    <a:pt x="726719" y="376370"/>
                    <a:pt x="727359" y="376272"/>
                    <a:pt x="727921" y="376272"/>
                  </a:cubicBezTo>
                  <a:cubicBezTo>
                    <a:pt x="729321" y="376272"/>
                    <a:pt x="730193" y="380864"/>
                    <a:pt x="731107" y="385661"/>
                  </a:cubicBezTo>
                  <a:cubicBezTo>
                    <a:pt x="732036" y="390528"/>
                    <a:pt x="733006" y="395605"/>
                    <a:pt x="734603" y="396316"/>
                  </a:cubicBezTo>
                  <a:cubicBezTo>
                    <a:pt x="737008" y="397385"/>
                    <a:pt x="736776" y="402322"/>
                    <a:pt x="736523" y="407562"/>
                  </a:cubicBezTo>
                  <a:cubicBezTo>
                    <a:pt x="736438" y="409207"/>
                    <a:pt x="736361" y="410888"/>
                    <a:pt x="736361" y="412492"/>
                  </a:cubicBezTo>
                  <a:cubicBezTo>
                    <a:pt x="736361" y="416086"/>
                    <a:pt x="734933" y="416930"/>
                    <a:pt x="733618" y="417717"/>
                  </a:cubicBezTo>
                  <a:cubicBezTo>
                    <a:pt x="732486" y="418386"/>
                    <a:pt x="731438" y="419012"/>
                    <a:pt x="731438" y="421283"/>
                  </a:cubicBezTo>
                  <a:cubicBezTo>
                    <a:pt x="731438" y="422430"/>
                    <a:pt x="731304" y="424983"/>
                    <a:pt x="731128" y="428309"/>
                  </a:cubicBezTo>
                  <a:cubicBezTo>
                    <a:pt x="730559" y="439274"/>
                    <a:pt x="729546" y="458622"/>
                    <a:pt x="731438" y="463481"/>
                  </a:cubicBezTo>
                  <a:cubicBezTo>
                    <a:pt x="733161" y="467905"/>
                    <a:pt x="738147" y="467694"/>
                    <a:pt x="744836" y="467399"/>
                  </a:cubicBezTo>
                  <a:cubicBezTo>
                    <a:pt x="747719" y="467279"/>
                    <a:pt x="750912" y="467139"/>
                    <a:pt x="754295" y="467350"/>
                  </a:cubicBezTo>
                  <a:cubicBezTo>
                    <a:pt x="765548" y="468053"/>
                    <a:pt x="779614" y="472273"/>
                    <a:pt x="782779" y="476141"/>
                  </a:cubicBezTo>
                  <a:cubicBezTo>
                    <a:pt x="785944" y="480009"/>
                    <a:pt x="790515" y="485284"/>
                    <a:pt x="793329" y="488097"/>
                  </a:cubicBezTo>
                  <a:cubicBezTo>
                    <a:pt x="795263" y="490031"/>
                    <a:pt x="794538" y="500278"/>
                    <a:pt x="793898" y="509344"/>
                  </a:cubicBezTo>
                  <a:cubicBezTo>
                    <a:pt x="793603" y="513472"/>
                    <a:pt x="793329" y="517348"/>
                    <a:pt x="793329" y="520098"/>
                  </a:cubicBezTo>
                  <a:cubicBezTo>
                    <a:pt x="793329" y="523234"/>
                    <a:pt x="793504" y="526237"/>
                    <a:pt x="793673" y="529030"/>
                  </a:cubicBezTo>
                  <a:lnTo>
                    <a:pt x="793673" y="529030"/>
                  </a:lnTo>
                  <a:lnTo>
                    <a:pt x="793673" y="529037"/>
                  </a:lnTo>
                  <a:cubicBezTo>
                    <a:pt x="793976" y="534058"/>
                    <a:pt x="794236" y="538384"/>
                    <a:pt x="793329" y="541548"/>
                  </a:cubicBezTo>
                  <a:cubicBezTo>
                    <a:pt x="791922" y="546472"/>
                    <a:pt x="783834" y="535219"/>
                    <a:pt x="782779" y="530647"/>
                  </a:cubicBezTo>
                  <a:cubicBezTo>
                    <a:pt x="781724" y="526076"/>
                    <a:pt x="777153" y="504273"/>
                    <a:pt x="777153" y="498998"/>
                  </a:cubicBezTo>
                  <a:cubicBezTo>
                    <a:pt x="777153" y="493724"/>
                    <a:pt x="762031" y="481416"/>
                    <a:pt x="754295" y="481416"/>
                  </a:cubicBezTo>
                  <a:cubicBezTo>
                    <a:pt x="748964" y="481416"/>
                    <a:pt x="748141" y="485755"/>
                    <a:pt x="747452" y="489377"/>
                  </a:cubicBezTo>
                  <a:lnTo>
                    <a:pt x="747452" y="489377"/>
                  </a:lnTo>
                  <a:cubicBezTo>
                    <a:pt x="747143" y="491009"/>
                    <a:pt x="746861" y="492500"/>
                    <a:pt x="746207" y="493372"/>
                  </a:cubicBezTo>
                  <a:cubicBezTo>
                    <a:pt x="744097" y="496185"/>
                    <a:pt x="742339" y="511306"/>
                    <a:pt x="743042" y="514823"/>
                  </a:cubicBezTo>
                  <a:cubicBezTo>
                    <a:pt x="743267" y="515962"/>
                    <a:pt x="744083" y="517137"/>
                    <a:pt x="745025" y="518487"/>
                  </a:cubicBezTo>
                  <a:cubicBezTo>
                    <a:pt x="746995" y="521321"/>
                    <a:pt x="749506" y="524936"/>
                    <a:pt x="748317" y="530647"/>
                  </a:cubicBezTo>
                  <a:cubicBezTo>
                    <a:pt x="746981" y="537047"/>
                    <a:pt x="738766" y="546894"/>
                    <a:pt x="733189" y="553575"/>
                  </a:cubicBezTo>
                  <a:cubicBezTo>
                    <a:pt x="731417" y="555699"/>
                    <a:pt x="729912" y="557506"/>
                    <a:pt x="728976" y="558779"/>
                  </a:cubicBezTo>
                  <a:cubicBezTo>
                    <a:pt x="728280" y="559729"/>
                    <a:pt x="727422" y="560903"/>
                    <a:pt x="726451" y="562240"/>
                  </a:cubicBezTo>
                  <a:cubicBezTo>
                    <a:pt x="722028" y="568337"/>
                    <a:pt x="715177" y="577755"/>
                    <a:pt x="709987" y="584098"/>
                  </a:cubicBezTo>
                  <a:cubicBezTo>
                    <a:pt x="703657" y="591835"/>
                    <a:pt x="674822" y="589022"/>
                    <a:pt x="666734" y="587615"/>
                  </a:cubicBezTo>
                  <a:cubicBezTo>
                    <a:pt x="658646" y="586208"/>
                    <a:pt x="649854" y="568977"/>
                    <a:pt x="650206" y="561944"/>
                  </a:cubicBezTo>
                  <a:cubicBezTo>
                    <a:pt x="650445" y="557120"/>
                    <a:pt x="653828" y="558414"/>
                    <a:pt x="658090" y="560045"/>
                  </a:cubicBezTo>
                  <a:cubicBezTo>
                    <a:pt x="660038" y="560798"/>
                    <a:pt x="662176" y="561614"/>
                    <a:pt x="664272" y="561944"/>
                  </a:cubicBezTo>
                  <a:cubicBezTo>
                    <a:pt x="667641" y="562479"/>
                    <a:pt x="670925" y="564265"/>
                    <a:pt x="673936" y="565904"/>
                  </a:cubicBezTo>
                  <a:cubicBezTo>
                    <a:pt x="676896" y="567507"/>
                    <a:pt x="679590" y="568977"/>
                    <a:pt x="681855" y="568977"/>
                  </a:cubicBezTo>
                  <a:cubicBezTo>
                    <a:pt x="684999" y="568977"/>
                    <a:pt x="690632" y="558512"/>
                    <a:pt x="694641" y="551057"/>
                  </a:cubicBezTo>
                  <a:lnTo>
                    <a:pt x="694641" y="551057"/>
                  </a:lnTo>
                  <a:cubicBezTo>
                    <a:pt x="696469" y="547660"/>
                    <a:pt x="697967" y="544889"/>
                    <a:pt x="698734" y="544010"/>
                  </a:cubicBezTo>
                  <a:cubicBezTo>
                    <a:pt x="701196" y="541197"/>
                    <a:pt x="713503" y="526779"/>
                    <a:pt x="713503" y="522207"/>
                  </a:cubicBezTo>
                  <a:cubicBezTo>
                    <a:pt x="713503" y="521019"/>
                    <a:pt x="713552" y="519036"/>
                    <a:pt x="713609" y="516602"/>
                  </a:cubicBezTo>
                  <a:lnTo>
                    <a:pt x="713609" y="516602"/>
                  </a:lnTo>
                  <a:cubicBezTo>
                    <a:pt x="713771" y="509654"/>
                    <a:pt x="714024" y="499104"/>
                    <a:pt x="713503" y="493372"/>
                  </a:cubicBezTo>
                  <a:cubicBezTo>
                    <a:pt x="712863" y="486367"/>
                    <a:pt x="711365" y="485418"/>
                    <a:pt x="706653" y="482429"/>
                  </a:cubicBezTo>
                  <a:cubicBezTo>
                    <a:pt x="706161" y="482119"/>
                    <a:pt x="705626" y="481782"/>
                    <a:pt x="705064" y="481416"/>
                  </a:cubicBezTo>
                  <a:cubicBezTo>
                    <a:pt x="700429" y="478413"/>
                    <a:pt x="701287" y="463784"/>
                    <a:pt x="702075" y="450470"/>
                  </a:cubicBezTo>
                  <a:cubicBezTo>
                    <a:pt x="702300" y="446623"/>
                    <a:pt x="702525" y="442882"/>
                    <a:pt x="702602" y="439569"/>
                  </a:cubicBezTo>
                  <a:cubicBezTo>
                    <a:pt x="702813" y="430771"/>
                    <a:pt x="704269" y="423344"/>
                    <a:pt x="705415" y="417513"/>
                  </a:cubicBezTo>
                  <a:cubicBezTo>
                    <a:pt x="706189" y="413561"/>
                    <a:pt x="706822" y="410340"/>
                    <a:pt x="706822" y="407920"/>
                  </a:cubicBezTo>
                  <a:cubicBezTo>
                    <a:pt x="706822" y="401942"/>
                    <a:pt x="700141" y="380140"/>
                    <a:pt x="696272" y="376272"/>
                  </a:cubicBezTo>
                  <a:cubicBezTo>
                    <a:pt x="692404" y="372403"/>
                    <a:pt x="694162" y="361854"/>
                    <a:pt x="696272" y="357986"/>
                  </a:cubicBezTo>
                  <a:cubicBezTo>
                    <a:pt x="698382" y="354118"/>
                    <a:pt x="709284" y="321414"/>
                    <a:pt x="709284" y="319656"/>
                  </a:cubicBezTo>
                  <a:cubicBezTo>
                    <a:pt x="709284" y="319578"/>
                    <a:pt x="709284" y="319494"/>
                    <a:pt x="709284" y="319388"/>
                  </a:cubicBezTo>
                  <a:lnTo>
                    <a:pt x="709290" y="319114"/>
                  </a:lnTo>
                  <a:cubicBezTo>
                    <a:pt x="709319" y="316406"/>
                    <a:pt x="709417" y="307509"/>
                    <a:pt x="706822" y="301018"/>
                  </a:cubicBezTo>
                  <a:cubicBezTo>
                    <a:pt x="704557" y="295349"/>
                    <a:pt x="682663" y="295617"/>
                    <a:pt x="671664" y="295757"/>
                  </a:cubicBezTo>
                  <a:lnTo>
                    <a:pt x="671664" y="295757"/>
                  </a:lnTo>
                  <a:cubicBezTo>
                    <a:pt x="669005" y="295785"/>
                    <a:pt x="666987" y="295813"/>
                    <a:pt x="666030" y="295743"/>
                  </a:cubicBezTo>
                  <a:cubicBezTo>
                    <a:pt x="661107" y="295392"/>
                    <a:pt x="654777" y="296446"/>
                    <a:pt x="652667" y="298908"/>
                  </a:cubicBezTo>
                  <a:cubicBezTo>
                    <a:pt x="650558" y="301370"/>
                    <a:pt x="647393" y="348491"/>
                    <a:pt x="647393" y="354469"/>
                  </a:cubicBezTo>
                  <a:cubicBezTo>
                    <a:pt x="647393" y="359027"/>
                    <a:pt x="639635" y="364604"/>
                    <a:pt x="633917" y="368711"/>
                  </a:cubicBezTo>
                  <a:lnTo>
                    <a:pt x="633917" y="368711"/>
                  </a:lnTo>
                  <a:cubicBezTo>
                    <a:pt x="632131" y="369991"/>
                    <a:pt x="630548" y="371130"/>
                    <a:pt x="629458" y="372052"/>
                  </a:cubicBezTo>
                  <a:cubicBezTo>
                    <a:pt x="624887" y="375920"/>
                    <a:pt x="616447" y="385415"/>
                    <a:pt x="616447" y="390689"/>
                  </a:cubicBezTo>
                  <a:cubicBezTo>
                    <a:pt x="616447" y="394909"/>
                    <a:pt x="623951" y="395261"/>
                    <a:pt x="627700" y="394909"/>
                  </a:cubicBezTo>
                  <a:lnTo>
                    <a:pt x="627700" y="431833"/>
                  </a:lnTo>
                  <a:cubicBezTo>
                    <a:pt x="627700" y="440005"/>
                    <a:pt x="623994" y="441686"/>
                    <a:pt x="620344" y="443339"/>
                  </a:cubicBezTo>
                  <a:cubicBezTo>
                    <a:pt x="618972" y="443965"/>
                    <a:pt x="617601" y="444584"/>
                    <a:pt x="616447" y="445547"/>
                  </a:cubicBezTo>
                  <a:cubicBezTo>
                    <a:pt x="612227" y="449064"/>
                    <a:pt x="632975" y="449415"/>
                    <a:pt x="636843" y="449415"/>
                  </a:cubicBezTo>
                  <a:cubicBezTo>
                    <a:pt x="638854" y="449415"/>
                    <a:pt x="639157" y="454732"/>
                    <a:pt x="639523" y="461217"/>
                  </a:cubicBezTo>
                  <a:cubicBezTo>
                    <a:pt x="639860" y="467216"/>
                    <a:pt x="640261" y="474221"/>
                    <a:pt x="642118" y="478954"/>
                  </a:cubicBezTo>
                  <a:cubicBezTo>
                    <a:pt x="644151" y="484138"/>
                    <a:pt x="646577" y="484841"/>
                    <a:pt x="648933" y="485516"/>
                  </a:cubicBezTo>
                  <a:cubicBezTo>
                    <a:pt x="651050" y="486128"/>
                    <a:pt x="653110" y="486726"/>
                    <a:pt x="654777" y="490559"/>
                  </a:cubicBezTo>
                  <a:cubicBezTo>
                    <a:pt x="658041" y="498070"/>
                    <a:pt x="649777" y="506193"/>
                    <a:pt x="645487" y="510406"/>
                  </a:cubicBezTo>
                  <a:cubicBezTo>
                    <a:pt x="645283" y="510610"/>
                    <a:pt x="645086" y="510807"/>
                    <a:pt x="644903" y="510990"/>
                  </a:cubicBezTo>
                  <a:cubicBezTo>
                    <a:pt x="644790" y="511095"/>
                    <a:pt x="644685" y="511201"/>
                    <a:pt x="644579" y="511306"/>
                  </a:cubicBezTo>
                  <a:cubicBezTo>
                    <a:pt x="640711" y="515174"/>
                    <a:pt x="631920" y="507438"/>
                    <a:pt x="627700" y="501108"/>
                  </a:cubicBezTo>
                  <a:cubicBezTo>
                    <a:pt x="623480" y="494779"/>
                    <a:pt x="594293" y="469108"/>
                    <a:pt x="577765" y="457152"/>
                  </a:cubicBezTo>
                  <a:cubicBezTo>
                    <a:pt x="562722" y="446265"/>
                    <a:pt x="545638" y="448206"/>
                    <a:pt x="537121" y="449169"/>
                  </a:cubicBezTo>
                  <a:cubicBezTo>
                    <a:pt x="536285" y="449268"/>
                    <a:pt x="535525" y="449352"/>
                    <a:pt x="534864" y="449415"/>
                  </a:cubicBezTo>
                  <a:cubicBezTo>
                    <a:pt x="527479" y="450119"/>
                    <a:pt x="516226" y="431833"/>
                    <a:pt x="516226" y="427613"/>
                  </a:cubicBezTo>
                  <a:cubicBezTo>
                    <a:pt x="516226" y="423393"/>
                    <a:pt x="506028" y="418470"/>
                    <a:pt x="495830" y="416360"/>
                  </a:cubicBezTo>
                  <a:cubicBezTo>
                    <a:pt x="485632" y="414250"/>
                    <a:pt x="485632" y="424448"/>
                    <a:pt x="485632" y="431833"/>
                  </a:cubicBezTo>
                  <a:cubicBezTo>
                    <a:pt x="485632" y="437417"/>
                    <a:pt x="491463" y="438978"/>
                    <a:pt x="497047" y="440476"/>
                  </a:cubicBezTo>
                  <a:cubicBezTo>
                    <a:pt x="498848" y="440955"/>
                    <a:pt x="500620" y="441433"/>
                    <a:pt x="502160" y="442031"/>
                  </a:cubicBezTo>
                  <a:cubicBezTo>
                    <a:pt x="508490" y="444492"/>
                    <a:pt x="516226" y="451877"/>
                    <a:pt x="521501" y="459613"/>
                  </a:cubicBezTo>
                  <a:cubicBezTo>
                    <a:pt x="522169" y="460598"/>
                    <a:pt x="522781" y="461477"/>
                    <a:pt x="523337" y="462286"/>
                  </a:cubicBezTo>
                  <a:lnTo>
                    <a:pt x="523337" y="462286"/>
                  </a:lnTo>
                  <a:cubicBezTo>
                    <a:pt x="527148" y="467807"/>
                    <a:pt x="528450" y="469699"/>
                    <a:pt x="530292" y="476141"/>
                  </a:cubicBezTo>
                  <a:cubicBezTo>
                    <a:pt x="532402" y="483526"/>
                    <a:pt x="521853" y="490559"/>
                    <a:pt x="516226" y="493372"/>
                  </a:cubicBezTo>
                  <a:cubicBezTo>
                    <a:pt x="510600" y="496185"/>
                    <a:pt x="498644" y="501108"/>
                    <a:pt x="495830" y="501108"/>
                  </a:cubicBezTo>
                  <a:cubicBezTo>
                    <a:pt x="494740" y="501108"/>
                    <a:pt x="494494" y="498323"/>
                    <a:pt x="494178" y="494701"/>
                  </a:cubicBezTo>
                  <a:cubicBezTo>
                    <a:pt x="493671" y="488955"/>
                    <a:pt x="492975" y="481113"/>
                    <a:pt x="488446" y="478954"/>
                  </a:cubicBezTo>
                  <a:cubicBezTo>
                    <a:pt x="484479" y="477062"/>
                    <a:pt x="482137" y="482175"/>
                    <a:pt x="479781" y="487317"/>
                  </a:cubicBezTo>
                  <a:cubicBezTo>
                    <a:pt x="477748" y="491740"/>
                    <a:pt x="475716" y="496185"/>
                    <a:pt x="472621" y="496185"/>
                  </a:cubicBezTo>
                  <a:cubicBezTo>
                    <a:pt x="465940" y="496185"/>
                    <a:pt x="443786" y="496185"/>
                    <a:pt x="438159" y="501108"/>
                  </a:cubicBezTo>
                  <a:cubicBezTo>
                    <a:pt x="437660" y="501551"/>
                    <a:pt x="437139" y="502002"/>
                    <a:pt x="436619" y="502466"/>
                  </a:cubicBezTo>
                  <a:lnTo>
                    <a:pt x="436598" y="502480"/>
                  </a:lnTo>
                  <a:cubicBezTo>
                    <a:pt x="431253" y="507199"/>
                    <a:pt x="424803" y="512903"/>
                    <a:pt x="417763" y="514823"/>
                  </a:cubicBezTo>
                  <a:cubicBezTo>
                    <a:pt x="411849" y="516433"/>
                    <a:pt x="413333" y="504695"/>
                    <a:pt x="414360" y="496558"/>
                  </a:cubicBezTo>
                  <a:cubicBezTo>
                    <a:pt x="414676" y="494054"/>
                    <a:pt x="414950" y="491888"/>
                    <a:pt x="414950" y="490559"/>
                  </a:cubicBezTo>
                  <a:cubicBezTo>
                    <a:pt x="414950" y="484932"/>
                    <a:pt x="414247" y="483877"/>
                    <a:pt x="407917" y="485284"/>
                  </a:cubicBezTo>
                  <a:cubicBezTo>
                    <a:pt x="405223" y="485882"/>
                    <a:pt x="403233" y="488829"/>
                    <a:pt x="401081" y="492022"/>
                  </a:cubicBezTo>
                  <a:cubicBezTo>
                    <a:pt x="398162" y="496340"/>
                    <a:pt x="394941" y="501108"/>
                    <a:pt x="389280" y="501108"/>
                  </a:cubicBezTo>
                  <a:cubicBezTo>
                    <a:pt x="382275" y="501108"/>
                    <a:pt x="376163" y="505736"/>
                    <a:pt x="368785" y="511320"/>
                  </a:cubicBezTo>
                  <a:cubicBezTo>
                    <a:pt x="365789" y="513585"/>
                    <a:pt x="362589" y="516004"/>
                    <a:pt x="359037" y="518339"/>
                  </a:cubicBezTo>
                  <a:cubicBezTo>
                    <a:pt x="355739" y="520505"/>
                    <a:pt x="352412" y="522622"/>
                    <a:pt x="349254" y="524641"/>
                  </a:cubicBezTo>
                  <a:lnTo>
                    <a:pt x="349247" y="524641"/>
                  </a:lnTo>
                  <a:cubicBezTo>
                    <a:pt x="340625" y="530134"/>
                    <a:pt x="333219" y="534846"/>
                    <a:pt x="330905" y="537680"/>
                  </a:cubicBezTo>
                  <a:cubicBezTo>
                    <a:pt x="328676" y="540409"/>
                    <a:pt x="326791" y="549777"/>
                    <a:pt x="325384" y="556796"/>
                  </a:cubicBezTo>
                  <a:lnTo>
                    <a:pt x="325384" y="556796"/>
                  </a:lnTo>
                  <a:cubicBezTo>
                    <a:pt x="324794" y="559729"/>
                    <a:pt x="324287" y="562254"/>
                    <a:pt x="323872" y="563703"/>
                  </a:cubicBezTo>
                  <a:cubicBezTo>
                    <a:pt x="322466" y="568626"/>
                    <a:pt x="309454" y="568977"/>
                    <a:pt x="303476" y="568977"/>
                  </a:cubicBezTo>
                  <a:cubicBezTo>
                    <a:pt x="298363" y="568977"/>
                    <a:pt x="292737" y="564089"/>
                    <a:pt x="288573" y="560474"/>
                  </a:cubicBezTo>
                  <a:cubicBezTo>
                    <a:pt x="287870" y="559863"/>
                    <a:pt x="287209" y="559286"/>
                    <a:pt x="286597" y="558779"/>
                  </a:cubicBezTo>
                  <a:cubicBezTo>
                    <a:pt x="282377" y="555263"/>
                    <a:pt x="285542" y="536274"/>
                    <a:pt x="286597" y="530647"/>
                  </a:cubicBezTo>
                  <a:cubicBezTo>
                    <a:pt x="287216" y="527363"/>
                    <a:pt x="290711" y="525394"/>
                    <a:pt x="294354" y="523347"/>
                  </a:cubicBezTo>
                  <a:cubicBezTo>
                    <a:pt x="296943" y="521884"/>
                    <a:pt x="299615" y="520386"/>
                    <a:pt x="301366" y="518339"/>
                  </a:cubicBezTo>
                  <a:cubicBezTo>
                    <a:pt x="304201" y="515034"/>
                    <a:pt x="302274" y="513156"/>
                    <a:pt x="300065" y="510997"/>
                  </a:cubicBezTo>
                  <a:cubicBezTo>
                    <a:pt x="298989" y="509942"/>
                    <a:pt x="297836" y="508824"/>
                    <a:pt x="297147" y="507438"/>
                  </a:cubicBezTo>
                  <a:cubicBezTo>
                    <a:pt x="295037" y="503218"/>
                    <a:pt x="279564" y="496889"/>
                    <a:pt x="275344" y="496185"/>
                  </a:cubicBezTo>
                  <a:cubicBezTo>
                    <a:pt x="272545" y="495721"/>
                    <a:pt x="272221" y="502677"/>
                    <a:pt x="271912" y="509365"/>
                  </a:cubicBezTo>
                  <a:cubicBezTo>
                    <a:pt x="271750" y="512762"/>
                    <a:pt x="271595" y="516089"/>
                    <a:pt x="271124" y="518339"/>
                  </a:cubicBezTo>
                  <a:cubicBezTo>
                    <a:pt x="270773" y="520006"/>
                    <a:pt x="270027" y="522721"/>
                    <a:pt x="269141" y="525963"/>
                  </a:cubicBezTo>
                  <a:cubicBezTo>
                    <a:pt x="266468" y="535704"/>
                    <a:pt x="262509" y="550164"/>
                    <a:pt x="264091" y="554911"/>
                  </a:cubicBezTo>
                  <a:cubicBezTo>
                    <a:pt x="264963" y="557527"/>
                    <a:pt x="266855" y="560917"/>
                    <a:pt x="268845" y="564497"/>
                  </a:cubicBezTo>
                  <a:cubicBezTo>
                    <a:pt x="271680" y="569582"/>
                    <a:pt x="274725" y="575047"/>
                    <a:pt x="275344" y="579175"/>
                  </a:cubicBezTo>
                  <a:cubicBezTo>
                    <a:pt x="276399" y="586208"/>
                    <a:pt x="269366" y="593593"/>
                    <a:pt x="261981" y="593593"/>
                  </a:cubicBezTo>
                  <a:cubicBezTo>
                    <a:pt x="256854" y="593593"/>
                    <a:pt x="252234" y="589521"/>
                    <a:pt x="248471" y="586208"/>
                  </a:cubicBezTo>
                  <a:cubicBezTo>
                    <a:pt x="246818" y="584752"/>
                    <a:pt x="245334" y="583444"/>
                    <a:pt x="244047" y="582692"/>
                  </a:cubicBezTo>
                  <a:cubicBezTo>
                    <a:pt x="241564" y="581243"/>
                    <a:pt x="235558" y="586729"/>
                    <a:pt x="229243" y="592489"/>
                  </a:cubicBezTo>
                  <a:lnTo>
                    <a:pt x="229243" y="592489"/>
                  </a:lnTo>
                  <a:cubicBezTo>
                    <a:pt x="224819" y="596533"/>
                    <a:pt x="220240" y="600710"/>
                    <a:pt x="216618" y="602736"/>
                  </a:cubicBezTo>
                  <a:cubicBezTo>
                    <a:pt x="208607" y="607223"/>
                    <a:pt x="202932" y="634469"/>
                    <a:pt x="200660" y="645398"/>
                  </a:cubicBezTo>
                  <a:lnTo>
                    <a:pt x="200660" y="645406"/>
                  </a:lnTo>
                  <a:cubicBezTo>
                    <a:pt x="200435" y="646468"/>
                    <a:pt x="200245" y="647382"/>
                    <a:pt x="200090" y="648099"/>
                  </a:cubicBezTo>
                  <a:cubicBezTo>
                    <a:pt x="199056" y="652861"/>
                    <a:pt x="197291" y="652017"/>
                    <a:pt x="194147" y="650518"/>
                  </a:cubicBezTo>
                  <a:cubicBezTo>
                    <a:pt x="191953" y="649471"/>
                    <a:pt x="189084" y="648099"/>
                    <a:pt x="185321" y="648099"/>
                  </a:cubicBezTo>
                  <a:cubicBezTo>
                    <a:pt x="179188" y="648099"/>
                    <a:pt x="176537" y="644147"/>
                    <a:pt x="173653" y="639842"/>
                  </a:cubicBezTo>
                  <a:cubicBezTo>
                    <a:pt x="172233" y="637732"/>
                    <a:pt x="170762" y="635531"/>
                    <a:pt x="168793" y="633681"/>
                  </a:cubicBezTo>
                  <a:cubicBezTo>
                    <a:pt x="162815" y="628055"/>
                    <a:pt x="152969" y="638253"/>
                    <a:pt x="151914" y="644231"/>
                  </a:cubicBezTo>
                  <a:cubicBezTo>
                    <a:pt x="150859" y="650209"/>
                    <a:pt x="157540" y="655484"/>
                    <a:pt x="163870" y="655836"/>
                  </a:cubicBezTo>
                  <a:cubicBezTo>
                    <a:pt x="170200" y="656187"/>
                    <a:pt x="173716" y="663220"/>
                    <a:pt x="174771" y="669550"/>
                  </a:cubicBezTo>
                  <a:cubicBezTo>
                    <a:pt x="175770" y="675535"/>
                    <a:pt x="173935" y="675859"/>
                    <a:pt x="165396" y="677364"/>
                  </a:cubicBezTo>
                  <a:cubicBezTo>
                    <a:pt x="164911" y="677455"/>
                    <a:pt x="164405" y="677540"/>
                    <a:pt x="163870" y="677638"/>
                  </a:cubicBezTo>
                  <a:cubicBezTo>
                    <a:pt x="154024" y="679396"/>
                    <a:pt x="128705" y="659352"/>
                    <a:pt x="123782" y="650912"/>
                  </a:cubicBezTo>
                  <a:cubicBezTo>
                    <a:pt x="119147" y="642965"/>
                    <a:pt x="119189" y="622232"/>
                    <a:pt x="119210" y="611914"/>
                  </a:cubicBezTo>
                  <a:cubicBezTo>
                    <a:pt x="119210" y="611274"/>
                    <a:pt x="119210" y="610676"/>
                    <a:pt x="119210" y="610121"/>
                  </a:cubicBezTo>
                  <a:cubicBezTo>
                    <a:pt x="119210" y="600626"/>
                    <a:pt x="114990" y="593593"/>
                    <a:pt x="99869" y="582692"/>
                  </a:cubicBezTo>
                  <a:cubicBezTo>
                    <a:pt x="84748" y="571791"/>
                    <a:pt x="86507" y="558428"/>
                    <a:pt x="90023" y="554911"/>
                  </a:cubicBezTo>
                  <a:cubicBezTo>
                    <a:pt x="93540" y="551395"/>
                    <a:pt x="119210" y="567571"/>
                    <a:pt x="128705" y="579175"/>
                  </a:cubicBezTo>
                  <a:cubicBezTo>
                    <a:pt x="138200" y="590780"/>
                    <a:pt x="177585" y="594648"/>
                    <a:pt x="194464" y="593593"/>
                  </a:cubicBezTo>
                  <a:cubicBezTo>
                    <a:pt x="211069" y="592552"/>
                    <a:pt x="219502" y="571446"/>
                    <a:pt x="225128" y="557366"/>
                  </a:cubicBezTo>
                  <a:lnTo>
                    <a:pt x="225409" y="556669"/>
                  </a:lnTo>
                  <a:cubicBezTo>
                    <a:pt x="231036" y="542603"/>
                    <a:pt x="169848" y="494779"/>
                    <a:pt x="148749" y="478954"/>
                  </a:cubicBezTo>
                  <a:cubicBezTo>
                    <a:pt x="129183" y="464276"/>
                    <a:pt x="94496" y="460492"/>
                    <a:pt x="87597" y="459740"/>
                  </a:cubicBezTo>
                  <a:lnTo>
                    <a:pt x="87590" y="459740"/>
                  </a:lnTo>
                  <a:cubicBezTo>
                    <a:pt x="87055" y="459677"/>
                    <a:pt x="86682" y="459641"/>
                    <a:pt x="86507" y="459613"/>
                  </a:cubicBezTo>
                  <a:cubicBezTo>
                    <a:pt x="85431" y="459459"/>
                    <a:pt x="85163" y="457088"/>
                    <a:pt x="84847" y="454324"/>
                  </a:cubicBezTo>
                  <a:cubicBezTo>
                    <a:pt x="84439" y="450759"/>
                    <a:pt x="83961" y="446539"/>
                    <a:pt x="81583" y="445547"/>
                  </a:cubicBezTo>
                  <a:close/>
                  <a:moveTo>
                    <a:pt x="1396104" y="1162419"/>
                  </a:moveTo>
                  <a:cubicBezTo>
                    <a:pt x="1395703" y="1162637"/>
                    <a:pt x="1395295" y="1162869"/>
                    <a:pt x="1394873" y="1163102"/>
                  </a:cubicBezTo>
                  <a:lnTo>
                    <a:pt x="1394866" y="1163109"/>
                  </a:lnTo>
                  <a:cubicBezTo>
                    <a:pt x="1395295" y="1162869"/>
                    <a:pt x="1395703" y="1162637"/>
                    <a:pt x="1396104" y="116241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95" name="Freihandform: Form 210">
              <a:extLst>
                <a:ext uri="{FF2B5EF4-FFF2-40B4-BE49-F238E27FC236}">
                  <a16:creationId xmlns:a16="http://schemas.microsoft.com/office/drawing/2014/main" id="{9E3685B4-8B99-494A-8A09-B8A1083E6873}"/>
                </a:ext>
              </a:extLst>
            </p:cNvPr>
            <p:cNvSpPr/>
            <p:nvPr/>
          </p:nvSpPr>
          <p:spPr>
            <a:xfrm>
              <a:off x="6250575" y="3670910"/>
              <a:ext cx="69978" cy="42347"/>
            </a:xfrm>
            <a:custGeom>
              <a:avLst/>
              <a:gdLst>
                <a:gd name="connsiteX0" fmla="*/ 29312 w 69978"/>
                <a:gd name="connsiteY0" fmla="*/ 3941 h 42347"/>
                <a:gd name="connsiteX1" fmla="*/ 25240 w 69978"/>
                <a:gd name="connsiteY1" fmla="*/ 2907 h 42347"/>
                <a:gd name="connsiteX2" fmla="*/ 15717 w 69978"/>
                <a:gd name="connsiteY2" fmla="*/ 5291 h 42347"/>
                <a:gd name="connsiteX3" fmla="*/ 15717 w 69978"/>
                <a:gd name="connsiteY3" fmla="*/ 10221 h 42347"/>
                <a:gd name="connsiteX4" fmla="*/ 11983 w 69978"/>
                <a:gd name="connsiteY4" fmla="*/ 14300 h 42347"/>
                <a:gd name="connsiteX5" fmla="*/ 6891 w 69978"/>
                <a:gd name="connsiteY5" fmla="*/ 22445 h 42347"/>
                <a:gd name="connsiteX6" fmla="*/ 772 w 69978"/>
                <a:gd name="connsiteY6" fmla="*/ 29063 h 42347"/>
                <a:gd name="connsiteX7" fmla="*/ 772 w 69978"/>
                <a:gd name="connsiteY7" fmla="*/ 33318 h 42347"/>
                <a:gd name="connsiteX8" fmla="*/ 4507 w 69978"/>
                <a:gd name="connsiteY8" fmla="*/ 34513 h 42347"/>
                <a:gd name="connsiteX9" fmla="*/ 9275 w 69978"/>
                <a:gd name="connsiteY9" fmla="*/ 29063 h 42347"/>
                <a:gd name="connsiteX10" fmla="*/ 13692 w 69978"/>
                <a:gd name="connsiteY10" fmla="*/ 34513 h 42347"/>
                <a:gd name="connsiteX11" fmla="*/ 15717 w 69978"/>
                <a:gd name="connsiteY11" fmla="*/ 40611 h 42347"/>
                <a:gd name="connsiteX12" fmla="*/ 22174 w 69978"/>
                <a:gd name="connsiteY12" fmla="*/ 40611 h 42347"/>
                <a:gd name="connsiteX13" fmla="*/ 30845 w 69978"/>
                <a:gd name="connsiteY13" fmla="*/ 39261 h 42347"/>
                <a:gd name="connsiteX14" fmla="*/ 33047 w 69978"/>
                <a:gd name="connsiteY14" fmla="*/ 32467 h 42347"/>
                <a:gd name="connsiteX15" fmla="*/ 38814 w 69978"/>
                <a:gd name="connsiteY15" fmla="*/ 30259 h 42347"/>
                <a:gd name="connsiteX16" fmla="*/ 41873 w 69978"/>
                <a:gd name="connsiteY16" fmla="*/ 36040 h 42347"/>
                <a:gd name="connsiteX17" fmla="*/ 47999 w 69978"/>
                <a:gd name="connsiteY17" fmla="*/ 42144 h 42347"/>
                <a:gd name="connsiteX18" fmla="*/ 49863 w 69978"/>
                <a:gd name="connsiteY18" fmla="*/ 36040 h 42347"/>
                <a:gd name="connsiteX19" fmla="*/ 52922 w 69978"/>
                <a:gd name="connsiteY19" fmla="*/ 29063 h 42347"/>
                <a:gd name="connsiteX20" fmla="*/ 57002 w 69978"/>
                <a:gd name="connsiteY20" fmla="*/ 32467 h 42347"/>
                <a:gd name="connsiteX21" fmla="*/ 61573 w 69978"/>
                <a:gd name="connsiteY21" fmla="*/ 31454 h 42347"/>
                <a:gd name="connsiteX22" fmla="*/ 64119 w 69978"/>
                <a:gd name="connsiteY22" fmla="*/ 30259 h 42347"/>
                <a:gd name="connsiteX23" fmla="*/ 68704 w 69978"/>
                <a:gd name="connsiteY23" fmla="*/ 25849 h 42347"/>
                <a:gd name="connsiteX24" fmla="*/ 68704 w 69978"/>
                <a:gd name="connsiteY24" fmla="*/ 19224 h 42347"/>
                <a:gd name="connsiteX25" fmla="*/ 61573 w 69978"/>
                <a:gd name="connsiteY25" fmla="*/ 18035 h 42347"/>
                <a:gd name="connsiteX26" fmla="*/ 55630 w 69978"/>
                <a:gd name="connsiteY26" fmla="*/ 14300 h 42347"/>
                <a:gd name="connsiteX27" fmla="*/ 56228 w 69978"/>
                <a:gd name="connsiteY27" fmla="*/ 9680 h 42347"/>
                <a:gd name="connsiteX28" fmla="*/ 57002 w 69978"/>
                <a:gd name="connsiteY28" fmla="*/ 5291 h 42347"/>
                <a:gd name="connsiteX29" fmla="*/ 57002 w 69978"/>
                <a:gd name="connsiteY29" fmla="*/ 5291 h 42347"/>
                <a:gd name="connsiteX30" fmla="*/ 49012 w 69978"/>
                <a:gd name="connsiteY30" fmla="*/ 1043 h 42347"/>
                <a:gd name="connsiteX31" fmla="*/ 40861 w 69978"/>
                <a:gd name="connsiteY31" fmla="*/ 23 h 42347"/>
                <a:gd name="connsiteX32" fmla="*/ 37281 w 69978"/>
                <a:gd name="connsiteY32" fmla="*/ 2907 h 42347"/>
                <a:gd name="connsiteX33" fmla="*/ 34580 w 69978"/>
                <a:gd name="connsiteY33" fmla="*/ 2907 h 42347"/>
                <a:gd name="connsiteX34" fmla="*/ 33047 w 69978"/>
                <a:gd name="connsiteY34" fmla="*/ 3941 h 42347"/>
                <a:gd name="connsiteX35" fmla="*/ 30845 w 69978"/>
                <a:gd name="connsiteY35" fmla="*/ 2907 h 42347"/>
                <a:gd name="connsiteX36" fmla="*/ 29312 w 69978"/>
                <a:gd name="connsiteY36" fmla="*/ 3941 h 42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9978" h="42347">
                  <a:moveTo>
                    <a:pt x="29312" y="3941"/>
                  </a:moveTo>
                  <a:cubicBezTo>
                    <a:pt x="28229" y="3941"/>
                    <a:pt x="26148" y="3252"/>
                    <a:pt x="25240" y="2907"/>
                  </a:cubicBezTo>
                  <a:cubicBezTo>
                    <a:pt x="21161" y="8850"/>
                    <a:pt x="17244" y="6304"/>
                    <a:pt x="15717" y="5291"/>
                  </a:cubicBezTo>
                  <a:cubicBezTo>
                    <a:pt x="14184" y="4278"/>
                    <a:pt x="15717" y="8175"/>
                    <a:pt x="15717" y="10221"/>
                  </a:cubicBezTo>
                  <a:cubicBezTo>
                    <a:pt x="15717" y="12268"/>
                    <a:pt x="13692" y="13281"/>
                    <a:pt x="11983" y="14300"/>
                  </a:cubicBezTo>
                  <a:cubicBezTo>
                    <a:pt x="10267" y="15313"/>
                    <a:pt x="8241" y="19224"/>
                    <a:pt x="6891" y="22445"/>
                  </a:cubicBezTo>
                  <a:cubicBezTo>
                    <a:pt x="5808" y="25026"/>
                    <a:pt x="2362" y="27931"/>
                    <a:pt x="772" y="29063"/>
                  </a:cubicBezTo>
                  <a:cubicBezTo>
                    <a:pt x="1679" y="29464"/>
                    <a:pt x="2945" y="30870"/>
                    <a:pt x="772" y="33318"/>
                  </a:cubicBezTo>
                  <a:cubicBezTo>
                    <a:pt x="-1957" y="36377"/>
                    <a:pt x="3332" y="38072"/>
                    <a:pt x="4507" y="34513"/>
                  </a:cubicBezTo>
                  <a:cubicBezTo>
                    <a:pt x="5681" y="30955"/>
                    <a:pt x="5540" y="30259"/>
                    <a:pt x="9275" y="29063"/>
                  </a:cubicBezTo>
                  <a:cubicBezTo>
                    <a:pt x="13010" y="27874"/>
                    <a:pt x="13354" y="30259"/>
                    <a:pt x="13692" y="34513"/>
                  </a:cubicBezTo>
                  <a:cubicBezTo>
                    <a:pt x="14030" y="38768"/>
                    <a:pt x="14184" y="38072"/>
                    <a:pt x="15717" y="40611"/>
                  </a:cubicBezTo>
                  <a:cubicBezTo>
                    <a:pt x="17244" y="43157"/>
                    <a:pt x="19635" y="42144"/>
                    <a:pt x="22174" y="40611"/>
                  </a:cubicBezTo>
                  <a:cubicBezTo>
                    <a:pt x="24720" y="39085"/>
                    <a:pt x="27441" y="40119"/>
                    <a:pt x="30845" y="39261"/>
                  </a:cubicBezTo>
                  <a:cubicBezTo>
                    <a:pt x="34242" y="38410"/>
                    <a:pt x="30845" y="36040"/>
                    <a:pt x="33047" y="32467"/>
                  </a:cubicBezTo>
                  <a:cubicBezTo>
                    <a:pt x="35255" y="28887"/>
                    <a:pt x="37281" y="29063"/>
                    <a:pt x="38814" y="30259"/>
                  </a:cubicBezTo>
                  <a:cubicBezTo>
                    <a:pt x="40340" y="31454"/>
                    <a:pt x="39151" y="34176"/>
                    <a:pt x="41873" y="36040"/>
                  </a:cubicBezTo>
                  <a:cubicBezTo>
                    <a:pt x="44595" y="37910"/>
                    <a:pt x="45791" y="40794"/>
                    <a:pt x="47999" y="42144"/>
                  </a:cubicBezTo>
                  <a:cubicBezTo>
                    <a:pt x="50200" y="43495"/>
                    <a:pt x="47317" y="37735"/>
                    <a:pt x="49863" y="36040"/>
                  </a:cubicBezTo>
                  <a:cubicBezTo>
                    <a:pt x="52409" y="34352"/>
                    <a:pt x="50875" y="30259"/>
                    <a:pt x="52922" y="29063"/>
                  </a:cubicBezTo>
                  <a:cubicBezTo>
                    <a:pt x="54976" y="27874"/>
                    <a:pt x="54434" y="31454"/>
                    <a:pt x="57002" y="32467"/>
                  </a:cubicBezTo>
                  <a:cubicBezTo>
                    <a:pt x="59561" y="33480"/>
                    <a:pt x="60222" y="30259"/>
                    <a:pt x="61573" y="31454"/>
                  </a:cubicBezTo>
                  <a:cubicBezTo>
                    <a:pt x="62923" y="32643"/>
                    <a:pt x="65645" y="34331"/>
                    <a:pt x="64119" y="30259"/>
                  </a:cubicBezTo>
                  <a:cubicBezTo>
                    <a:pt x="62586" y="26186"/>
                    <a:pt x="65828" y="25511"/>
                    <a:pt x="68704" y="25849"/>
                  </a:cubicBezTo>
                  <a:cubicBezTo>
                    <a:pt x="71011" y="26116"/>
                    <a:pt x="69668" y="21545"/>
                    <a:pt x="68704" y="19224"/>
                  </a:cubicBezTo>
                  <a:cubicBezTo>
                    <a:pt x="66953" y="19505"/>
                    <a:pt x="63064" y="19660"/>
                    <a:pt x="61573" y="18035"/>
                  </a:cubicBezTo>
                  <a:cubicBezTo>
                    <a:pt x="59702" y="16010"/>
                    <a:pt x="57002" y="14814"/>
                    <a:pt x="55630" y="14300"/>
                  </a:cubicBezTo>
                  <a:cubicBezTo>
                    <a:pt x="54899" y="14026"/>
                    <a:pt x="55567" y="11839"/>
                    <a:pt x="56228" y="9680"/>
                  </a:cubicBezTo>
                  <a:cubicBezTo>
                    <a:pt x="56812" y="7760"/>
                    <a:pt x="57395" y="5854"/>
                    <a:pt x="57002" y="5291"/>
                  </a:cubicBezTo>
                  <a:cubicBezTo>
                    <a:pt x="57002" y="5291"/>
                    <a:pt x="57002" y="5291"/>
                    <a:pt x="57002" y="5291"/>
                  </a:cubicBezTo>
                  <a:cubicBezTo>
                    <a:pt x="56164" y="4103"/>
                    <a:pt x="51551" y="881"/>
                    <a:pt x="49012" y="1043"/>
                  </a:cubicBezTo>
                  <a:cubicBezTo>
                    <a:pt x="46466" y="1198"/>
                    <a:pt x="43744" y="361"/>
                    <a:pt x="40861" y="23"/>
                  </a:cubicBezTo>
                  <a:cubicBezTo>
                    <a:pt x="38554" y="-244"/>
                    <a:pt x="37513" y="1838"/>
                    <a:pt x="37281" y="2907"/>
                  </a:cubicBezTo>
                  <a:lnTo>
                    <a:pt x="34580" y="2907"/>
                  </a:lnTo>
                  <a:cubicBezTo>
                    <a:pt x="33912" y="2907"/>
                    <a:pt x="33279" y="3596"/>
                    <a:pt x="33047" y="3941"/>
                  </a:cubicBezTo>
                  <a:lnTo>
                    <a:pt x="30845" y="2907"/>
                  </a:lnTo>
                  <a:cubicBezTo>
                    <a:pt x="30782" y="3252"/>
                    <a:pt x="30396" y="3941"/>
                    <a:pt x="29312" y="394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6" name="Freihandform: Form 211">
              <a:extLst>
                <a:ext uri="{FF2B5EF4-FFF2-40B4-BE49-F238E27FC236}">
                  <a16:creationId xmlns:a16="http://schemas.microsoft.com/office/drawing/2014/main" id="{A43331CF-4120-8E44-A16F-BFA1A4D81350}"/>
                </a:ext>
              </a:extLst>
            </p:cNvPr>
            <p:cNvSpPr/>
            <p:nvPr/>
          </p:nvSpPr>
          <p:spPr>
            <a:xfrm>
              <a:off x="6250301" y="3490297"/>
              <a:ext cx="142306" cy="190215"/>
            </a:xfrm>
            <a:custGeom>
              <a:avLst/>
              <a:gdLst>
                <a:gd name="connsiteX0" fmla="*/ 27659 w 142306"/>
                <a:gd name="connsiteY0" fmla="*/ 165530 h 190215"/>
                <a:gd name="connsiteX1" fmla="*/ 25591 w 142306"/>
                <a:gd name="connsiteY1" fmla="*/ 183422 h 190215"/>
                <a:gd name="connsiteX2" fmla="*/ 29509 w 142306"/>
                <a:gd name="connsiteY2" fmla="*/ 184357 h 190215"/>
                <a:gd name="connsiteX3" fmla="*/ 32863 w 142306"/>
                <a:gd name="connsiteY3" fmla="*/ 184357 h 190215"/>
                <a:gd name="connsiteX4" fmla="*/ 35452 w 142306"/>
                <a:gd name="connsiteY4" fmla="*/ 183422 h 190215"/>
                <a:gd name="connsiteX5" fmla="*/ 37519 w 142306"/>
                <a:gd name="connsiteY5" fmla="*/ 183422 h 190215"/>
                <a:gd name="connsiteX6" fmla="*/ 40755 w 142306"/>
                <a:gd name="connsiteY6" fmla="*/ 180658 h 190215"/>
                <a:gd name="connsiteX7" fmla="*/ 48111 w 142306"/>
                <a:gd name="connsiteY7" fmla="*/ 181734 h 190215"/>
                <a:gd name="connsiteX8" fmla="*/ 57078 w 142306"/>
                <a:gd name="connsiteY8" fmla="*/ 185532 h 190215"/>
                <a:gd name="connsiteX9" fmla="*/ 63795 w 142306"/>
                <a:gd name="connsiteY9" fmla="*/ 187143 h 190215"/>
                <a:gd name="connsiteX10" fmla="*/ 67593 w 142306"/>
                <a:gd name="connsiteY10" fmla="*/ 189899 h 190215"/>
                <a:gd name="connsiteX11" fmla="*/ 70230 w 142306"/>
                <a:gd name="connsiteY11" fmla="*/ 187853 h 190215"/>
                <a:gd name="connsiteX12" fmla="*/ 70512 w 142306"/>
                <a:gd name="connsiteY12" fmla="*/ 184357 h 190215"/>
                <a:gd name="connsiteX13" fmla="*/ 75343 w 142306"/>
                <a:gd name="connsiteY13" fmla="*/ 184357 h 190215"/>
                <a:gd name="connsiteX14" fmla="*/ 79577 w 142306"/>
                <a:gd name="connsiteY14" fmla="*/ 187143 h 190215"/>
                <a:gd name="connsiteX15" fmla="*/ 83530 w 142306"/>
                <a:gd name="connsiteY15" fmla="*/ 187143 h 190215"/>
                <a:gd name="connsiteX16" fmla="*/ 88340 w 142306"/>
                <a:gd name="connsiteY16" fmla="*/ 184357 h 190215"/>
                <a:gd name="connsiteX17" fmla="*/ 95500 w 142306"/>
                <a:gd name="connsiteY17" fmla="*/ 182170 h 190215"/>
                <a:gd name="connsiteX18" fmla="*/ 98517 w 142306"/>
                <a:gd name="connsiteY18" fmla="*/ 180757 h 190215"/>
                <a:gd name="connsiteX19" fmla="*/ 105874 w 142306"/>
                <a:gd name="connsiteY19" fmla="*/ 181854 h 190215"/>
                <a:gd name="connsiteX20" fmla="*/ 108891 w 142306"/>
                <a:gd name="connsiteY20" fmla="*/ 185884 h 190215"/>
                <a:gd name="connsiteX21" fmla="*/ 109334 w 142306"/>
                <a:gd name="connsiteY21" fmla="*/ 176980 h 190215"/>
                <a:gd name="connsiteX22" fmla="*/ 107168 w 142306"/>
                <a:gd name="connsiteY22" fmla="*/ 170284 h 190215"/>
                <a:gd name="connsiteX23" fmla="*/ 115614 w 142306"/>
                <a:gd name="connsiteY23" fmla="*/ 166170 h 190215"/>
                <a:gd name="connsiteX24" fmla="*/ 117345 w 142306"/>
                <a:gd name="connsiteY24" fmla="*/ 160762 h 190215"/>
                <a:gd name="connsiteX25" fmla="*/ 121558 w 142306"/>
                <a:gd name="connsiteY25" fmla="*/ 160762 h 190215"/>
                <a:gd name="connsiteX26" fmla="*/ 124160 w 142306"/>
                <a:gd name="connsiteY26" fmla="*/ 156647 h 190215"/>
                <a:gd name="connsiteX27" fmla="*/ 121558 w 142306"/>
                <a:gd name="connsiteY27" fmla="*/ 153609 h 190215"/>
                <a:gd name="connsiteX28" fmla="*/ 117345 w 142306"/>
                <a:gd name="connsiteY28" fmla="*/ 149734 h 190215"/>
                <a:gd name="connsiteX29" fmla="*/ 111177 w 142306"/>
                <a:gd name="connsiteY29" fmla="*/ 144424 h 190215"/>
                <a:gd name="connsiteX30" fmla="*/ 107822 w 142306"/>
                <a:gd name="connsiteY30" fmla="*/ 142476 h 190215"/>
                <a:gd name="connsiteX31" fmla="*/ 101443 w 142306"/>
                <a:gd name="connsiteY31" fmla="*/ 132854 h 190215"/>
                <a:gd name="connsiteX32" fmla="*/ 102195 w 142306"/>
                <a:gd name="connsiteY32" fmla="*/ 130470 h 190215"/>
                <a:gd name="connsiteX33" fmla="*/ 102195 w 142306"/>
                <a:gd name="connsiteY33" fmla="*/ 127453 h 190215"/>
                <a:gd name="connsiteX34" fmla="*/ 98081 w 142306"/>
                <a:gd name="connsiteY34" fmla="*/ 123972 h 190215"/>
                <a:gd name="connsiteX35" fmla="*/ 99171 w 142306"/>
                <a:gd name="connsiteY35" fmla="*/ 120195 h 190215"/>
                <a:gd name="connsiteX36" fmla="*/ 102850 w 142306"/>
                <a:gd name="connsiteY36" fmla="*/ 117051 h 190215"/>
                <a:gd name="connsiteX37" fmla="*/ 108694 w 142306"/>
                <a:gd name="connsiteY37" fmla="*/ 115863 h 190215"/>
                <a:gd name="connsiteX38" fmla="*/ 116051 w 142306"/>
                <a:gd name="connsiteY38" fmla="*/ 111108 h 190215"/>
                <a:gd name="connsiteX39" fmla="*/ 118632 w 142306"/>
                <a:gd name="connsiteY39" fmla="*/ 108625 h 190215"/>
                <a:gd name="connsiteX40" fmla="*/ 123506 w 142306"/>
                <a:gd name="connsiteY40" fmla="*/ 107753 h 190215"/>
                <a:gd name="connsiteX41" fmla="*/ 131073 w 142306"/>
                <a:gd name="connsiteY41" fmla="*/ 102345 h 190215"/>
                <a:gd name="connsiteX42" fmla="*/ 134435 w 142306"/>
                <a:gd name="connsiteY42" fmla="*/ 102999 h 190215"/>
                <a:gd name="connsiteX43" fmla="*/ 137579 w 142306"/>
                <a:gd name="connsiteY43" fmla="*/ 104828 h 190215"/>
                <a:gd name="connsiteX44" fmla="*/ 140497 w 142306"/>
                <a:gd name="connsiteY44" fmla="*/ 102345 h 190215"/>
                <a:gd name="connsiteX45" fmla="*/ 142227 w 142306"/>
                <a:gd name="connsiteY45" fmla="*/ 96282 h 190215"/>
                <a:gd name="connsiteX46" fmla="*/ 141355 w 142306"/>
                <a:gd name="connsiteY46" fmla="*/ 93701 h 190215"/>
                <a:gd name="connsiteX47" fmla="*/ 141355 w 142306"/>
                <a:gd name="connsiteY47" fmla="*/ 90994 h 190215"/>
                <a:gd name="connsiteX48" fmla="*/ 137579 w 142306"/>
                <a:gd name="connsiteY48" fmla="*/ 88708 h 190215"/>
                <a:gd name="connsiteX49" fmla="*/ 137016 w 142306"/>
                <a:gd name="connsiteY49" fmla="*/ 86007 h 190215"/>
                <a:gd name="connsiteX50" fmla="*/ 135630 w 142306"/>
                <a:gd name="connsiteY50" fmla="*/ 81358 h 190215"/>
                <a:gd name="connsiteX51" fmla="*/ 137579 w 142306"/>
                <a:gd name="connsiteY51" fmla="*/ 77138 h 190215"/>
                <a:gd name="connsiteX52" fmla="*/ 137579 w 142306"/>
                <a:gd name="connsiteY52" fmla="*/ 70858 h 190215"/>
                <a:gd name="connsiteX53" fmla="*/ 134435 w 142306"/>
                <a:gd name="connsiteY53" fmla="*/ 67524 h 190215"/>
                <a:gd name="connsiteX54" fmla="*/ 135068 w 142306"/>
                <a:gd name="connsiteY54" fmla="*/ 64697 h 190215"/>
                <a:gd name="connsiteX55" fmla="*/ 135068 w 142306"/>
                <a:gd name="connsiteY55" fmla="*/ 61019 h 190215"/>
                <a:gd name="connsiteX56" fmla="*/ 128689 w 142306"/>
                <a:gd name="connsiteY56" fmla="*/ 53289 h 190215"/>
                <a:gd name="connsiteX57" fmla="*/ 130398 w 142306"/>
                <a:gd name="connsiteY57" fmla="*/ 50350 h 190215"/>
                <a:gd name="connsiteX58" fmla="*/ 132606 w 142306"/>
                <a:gd name="connsiteY58" fmla="*/ 44224 h 190215"/>
                <a:gd name="connsiteX59" fmla="*/ 130398 w 142306"/>
                <a:gd name="connsiteY59" fmla="*/ 31965 h 190215"/>
                <a:gd name="connsiteX60" fmla="*/ 128689 w 142306"/>
                <a:gd name="connsiteY60" fmla="*/ 31367 h 190215"/>
                <a:gd name="connsiteX61" fmla="*/ 126326 w 142306"/>
                <a:gd name="connsiteY61" fmla="*/ 31009 h 190215"/>
                <a:gd name="connsiteX62" fmla="*/ 123168 w 142306"/>
                <a:gd name="connsiteY62" fmla="*/ 29040 h 190215"/>
                <a:gd name="connsiteX63" fmla="*/ 123998 w 142306"/>
                <a:gd name="connsiteY63" fmla="*/ 26916 h 190215"/>
                <a:gd name="connsiteX64" fmla="*/ 123168 w 142306"/>
                <a:gd name="connsiteY64" fmla="*/ 23772 h 190215"/>
                <a:gd name="connsiteX65" fmla="*/ 123168 w 142306"/>
                <a:gd name="connsiteY65" fmla="*/ 20396 h 190215"/>
                <a:gd name="connsiteX66" fmla="*/ 117816 w 142306"/>
                <a:gd name="connsiteY66" fmla="*/ 22006 h 190215"/>
                <a:gd name="connsiteX67" fmla="*/ 115474 w 142306"/>
                <a:gd name="connsiteY67" fmla="*/ 19678 h 190215"/>
                <a:gd name="connsiteX68" fmla="*/ 111282 w 142306"/>
                <a:gd name="connsiteY68" fmla="*/ 15803 h 190215"/>
                <a:gd name="connsiteX69" fmla="*/ 109608 w 142306"/>
                <a:gd name="connsiteY69" fmla="*/ 13714 h 190215"/>
                <a:gd name="connsiteX70" fmla="*/ 107541 w 142306"/>
                <a:gd name="connsiteY70" fmla="*/ 15388 h 190215"/>
                <a:gd name="connsiteX71" fmla="*/ 103490 w 142306"/>
                <a:gd name="connsiteY71" fmla="*/ 15388 h 190215"/>
                <a:gd name="connsiteX72" fmla="*/ 101562 w 142306"/>
                <a:gd name="connsiteY72" fmla="*/ 18145 h 190215"/>
                <a:gd name="connsiteX73" fmla="*/ 100303 w 142306"/>
                <a:gd name="connsiteY73" fmla="*/ 16837 h 190215"/>
                <a:gd name="connsiteX74" fmla="*/ 98377 w 142306"/>
                <a:gd name="connsiteY74" fmla="*/ 18145 h 190215"/>
                <a:gd name="connsiteX75" fmla="*/ 93988 w 142306"/>
                <a:gd name="connsiteY75" fmla="*/ 20691 h 190215"/>
                <a:gd name="connsiteX76" fmla="*/ 89156 w 142306"/>
                <a:gd name="connsiteY76" fmla="*/ 20691 h 190215"/>
                <a:gd name="connsiteX77" fmla="*/ 88741 w 142306"/>
                <a:gd name="connsiteY77" fmla="*/ 23455 h 190215"/>
                <a:gd name="connsiteX78" fmla="*/ 86357 w 142306"/>
                <a:gd name="connsiteY78" fmla="*/ 24925 h 190215"/>
                <a:gd name="connsiteX79" fmla="*/ 85858 w 142306"/>
                <a:gd name="connsiteY79" fmla="*/ 27169 h 190215"/>
                <a:gd name="connsiteX80" fmla="*/ 82995 w 142306"/>
                <a:gd name="connsiteY80" fmla="*/ 24925 h 190215"/>
                <a:gd name="connsiteX81" fmla="*/ 80133 w 142306"/>
                <a:gd name="connsiteY81" fmla="*/ 23912 h 190215"/>
                <a:gd name="connsiteX82" fmla="*/ 77432 w 142306"/>
                <a:gd name="connsiteY82" fmla="*/ 25446 h 190215"/>
                <a:gd name="connsiteX83" fmla="*/ 75400 w 142306"/>
                <a:gd name="connsiteY83" fmla="*/ 22998 h 190215"/>
                <a:gd name="connsiteX84" fmla="*/ 77432 w 142306"/>
                <a:gd name="connsiteY84" fmla="*/ 21465 h 190215"/>
                <a:gd name="connsiteX85" fmla="*/ 80133 w 142306"/>
                <a:gd name="connsiteY85" fmla="*/ 19678 h 190215"/>
                <a:gd name="connsiteX86" fmla="*/ 80133 w 142306"/>
                <a:gd name="connsiteY86" fmla="*/ 15388 h 190215"/>
                <a:gd name="connsiteX87" fmla="*/ 81364 w 142306"/>
                <a:gd name="connsiteY87" fmla="*/ 13714 h 190215"/>
                <a:gd name="connsiteX88" fmla="*/ 83509 w 142306"/>
                <a:gd name="connsiteY88" fmla="*/ 13714 h 190215"/>
                <a:gd name="connsiteX89" fmla="*/ 83509 w 142306"/>
                <a:gd name="connsiteY89" fmla="*/ 12287 h 190215"/>
                <a:gd name="connsiteX90" fmla="*/ 81919 w 142306"/>
                <a:gd name="connsiteY90" fmla="*/ 10951 h 190215"/>
                <a:gd name="connsiteX91" fmla="*/ 80133 w 142306"/>
                <a:gd name="connsiteY91" fmla="*/ 10437 h 190215"/>
                <a:gd name="connsiteX92" fmla="*/ 79275 w 142306"/>
                <a:gd name="connsiteY92" fmla="*/ 12681 h 190215"/>
                <a:gd name="connsiteX93" fmla="*/ 80850 w 142306"/>
                <a:gd name="connsiteY93" fmla="*/ 13299 h 190215"/>
                <a:gd name="connsiteX94" fmla="*/ 80133 w 142306"/>
                <a:gd name="connsiteY94" fmla="*/ 14572 h 190215"/>
                <a:gd name="connsiteX95" fmla="*/ 77432 w 142306"/>
                <a:gd name="connsiteY95" fmla="*/ 14572 h 190215"/>
                <a:gd name="connsiteX96" fmla="*/ 76574 w 142306"/>
                <a:gd name="connsiteY96" fmla="*/ 16162 h 190215"/>
                <a:gd name="connsiteX97" fmla="*/ 73711 w 142306"/>
                <a:gd name="connsiteY97" fmla="*/ 15803 h 190215"/>
                <a:gd name="connsiteX98" fmla="*/ 68149 w 142306"/>
                <a:gd name="connsiteY98" fmla="*/ 13039 h 190215"/>
                <a:gd name="connsiteX99" fmla="*/ 67234 w 142306"/>
                <a:gd name="connsiteY99" fmla="*/ 15086 h 190215"/>
                <a:gd name="connsiteX100" fmla="*/ 65546 w 142306"/>
                <a:gd name="connsiteY100" fmla="*/ 15086 h 190215"/>
                <a:gd name="connsiteX101" fmla="*/ 64730 w 142306"/>
                <a:gd name="connsiteY101" fmla="*/ 11949 h 190215"/>
                <a:gd name="connsiteX102" fmla="*/ 61826 w 142306"/>
                <a:gd name="connsiteY102" fmla="*/ 12681 h 190215"/>
                <a:gd name="connsiteX103" fmla="*/ 63971 w 142306"/>
                <a:gd name="connsiteY103" fmla="*/ 9881 h 190215"/>
                <a:gd name="connsiteX104" fmla="*/ 63971 w 142306"/>
                <a:gd name="connsiteY104" fmla="*/ 3362 h 190215"/>
                <a:gd name="connsiteX105" fmla="*/ 56776 w 142306"/>
                <a:gd name="connsiteY105" fmla="*/ 1371 h 190215"/>
                <a:gd name="connsiteX106" fmla="*/ 52028 w 142306"/>
                <a:gd name="connsiteY106" fmla="*/ 2806 h 190215"/>
                <a:gd name="connsiteX107" fmla="*/ 42548 w 142306"/>
                <a:gd name="connsiteY107" fmla="*/ 0 h 190215"/>
                <a:gd name="connsiteX108" fmla="*/ 42548 w 142306"/>
                <a:gd name="connsiteY108" fmla="*/ 2244 h 190215"/>
                <a:gd name="connsiteX109" fmla="*/ 46023 w 142306"/>
                <a:gd name="connsiteY109" fmla="*/ 9621 h 190215"/>
                <a:gd name="connsiteX110" fmla="*/ 44989 w 142306"/>
                <a:gd name="connsiteY110" fmla="*/ 11949 h 190215"/>
                <a:gd name="connsiteX111" fmla="*/ 47478 w 142306"/>
                <a:gd name="connsiteY111" fmla="*/ 10732 h 190215"/>
                <a:gd name="connsiteX112" fmla="*/ 46023 w 142306"/>
                <a:gd name="connsiteY112" fmla="*/ 13616 h 190215"/>
                <a:gd name="connsiteX113" fmla="*/ 41613 w 142306"/>
                <a:gd name="connsiteY113" fmla="*/ 15860 h 190215"/>
                <a:gd name="connsiteX114" fmla="*/ 43139 w 142306"/>
                <a:gd name="connsiteY114" fmla="*/ 17315 h 190215"/>
                <a:gd name="connsiteX115" fmla="*/ 44989 w 142306"/>
                <a:gd name="connsiteY115" fmla="*/ 16654 h 190215"/>
                <a:gd name="connsiteX116" fmla="*/ 44989 w 142306"/>
                <a:gd name="connsiteY116" fmla="*/ 20755 h 190215"/>
                <a:gd name="connsiteX117" fmla="*/ 46902 w 142306"/>
                <a:gd name="connsiteY117" fmla="*/ 21310 h 190215"/>
                <a:gd name="connsiteX118" fmla="*/ 46902 w 142306"/>
                <a:gd name="connsiteY118" fmla="*/ 23392 h 190215"/>
                <a:gd name="connsiteX119" fmla="*/ 44989 w 142306"/>
                <a:gd name="connsiteY119" fmla="*/ 23392 h 190215"/>
                <a:gd name="connsiteX120" fmla="*/ 46902 w 142306"/>
                <a:gd name="connsiteY120" fmla="*/ 25959 h 190215"/>
                <a:gd name="connsiteX121" fmla="*/ 48013 w 142306"/>
                <a:gd name="connsiteY121" fmla="*/ 29159 h 190215"/>
                <a:gd name="connsiteX122" fmla="*/ 44989 w 142306"/>
                <a:gd name="connsiteY122" fmla="*/ 29159 h 190215"/>
                <a:gd name="connsiteX123" fmla="*/ 42548 w 142306"/>
                <a:gd name="connsiteY123" fmla="*/ 27527 h 190215"/>
                <a:gd name="connsiteX124" fmla="*/ 40558 w 142306"/>
                <a:gd name="connsiteY124" fmla="*/ 32774 h 190215"/>
                <a:gd name="connsiteX125" fmla="*/ 40558 w 142306"/>
                <a:gd name="connsiteY125" fmla="*/ 36769 h 190215"/>
                <a:gd name="connsiteX126" fmla="*/ 36921 w 142306"/>
                <a:gd name="connsiteY126" fmla="*/ 35004 h 190215"/>
                <a:gd name="connsiteX127" fmla="*/ 36162 w 142306"/>
                <a:gd name="connsiteY127" fmla="*/ 37648 h 190215"/>
                <a:gd name="connsiteX128" fmla="*/ 36921 w 142306"/>
                <a:gd name="connsiteY128" fmla="*/ 39118 h 190215"/>
                <a:gd name="connsiteX129" fmla="*/ 35149 w 142306"/>
                <a:gd name="connsiteY129" fmla="*/ 39856 h 190215"/>
                <a:gd name="connsiteX130" fmla="*/ 33982 w 142306"/>
                <a:gd name="connsiteY130" fmla="*/ 37648 h 190215"/>
                <a:gd name="connsiteX131" fmla="*/ 33103 w 142306"/>
                <a:gd name="connsiteY131" fmla="*/ 32542 h 190215"/>
                <a:gd name="connsiteX132" fmla="*/ 20837 w 142306"/>
                <a:gd name="connsiteY132" fmla="*/ 33414 h 190215"/>
                <a:gd name="connsiteX133" fmla="*/ 18495 w 142306"/>
                <a:gd name="connsiteY133" fmla="*/ 36635 h 190215"/>
                <a:gd name="connsiteX134" fmla="*/ 16603 w 142306"/>
                <a:gd name="connsiteY134" fmla="*/ 37648 h 190215"/>
                <a:gd name="connsiteX135" fmla="*/ 17482 w 142306"/>
                <a:gd name="connsiteY135" fmla="*/ 41741 h 190215"/>
                <a:gd name="connsiteX136" fmla="*/ 20837 w 142306"/>
                <a:gd name="connsiteY136" fmla="*/ 44224 h 190215"/>
                <a:gd name="connsiteX137" fmla="*/ 18495 w 142306"/>
                <a:gd name="connsiteY137" fmla="*/ 53289 h 190215"/>
                <a:gd name="connsiteX138" fmla="*/ 16603 w 142306"/>
                <a:gd name="connsiteY138" fmla="*/ 59711 h 190215"/>
                <a:gd name="connsiteX139" fmla="*/ 12214 w 142306"/>
                <a:gd name="connsiteY139" fmla="*/ 63966 h 190215"/>
                <a:gd name="connsiteX140" fmla="*/ 17482 w 142306"/>
                <a:gd name="connsiteY140" fmla="*/ 68910 h 190215"/>
                <a:gd name="connsiteX141" fmla="*/ 11202 w 142306"/>
                <a:gd name="connsiteY141" fmla="*/ 75057 h 190215"/>
                <a:gd name="connsiteX142" fmla="*/ 13685 w 142306"/>
                <a:gd name="connsiteY142" fmla="*/ 78137 h 190215"/>
                <a:gd name="connsiteX143" fmla="*/ 5498 w 142306"/>
                <a:gd name="connsiteY143" fmla="*/ 80022 h 190215"/>
                <a:gd name="connsiteX144" fmla="*/ 385 w 142306"/>
                <a:gd name="connsiteY144" fmla="*/ 81056 h 190215"/>
                <a:gd name="connsiteX145" fmla="*/ 4324 w 142306"/>
                <a:gd name="connsiteY145" fmla="*/ 88652 h 190215"/>
                <a:gd name="connsiteX146" fmla="*/ 3332 w 142306"/>
                <a:gd name="connsiteY146" fmla="*/ 93919 h 190215"/>
                <a:gd name="connsiteX147" fmla="*/ 385 w 142306"/>
                <a:gd name="connsiteY147" fmla="*/ 100038 h 190215"/>
                <a:gd name="connsiteX148" fmla="*/ 2136 w 142306"/>
                <a:gd name="connsiteY148" fmla="*/ 103836 h 190215"/>
                <a:gd name="connsiteX149" fmla="*/ 2136 w 142306"/>
                <a:gd name="connsiteY149" fmla="*/ 106480 h 190215"/>
                <a:gd name="connsiteX150" fmla="*/ 3332 w 142306"/>
                <a:gd name="connsiteY150" fmla="*/ 113633 h 190215"/>
                <a:gd name="connsiteX151" fmla="*/ 2136 w 142306"/>
                <a:gd name="connsiteY151" fmla="*/ 119618 h 190215"/>
                <a:gd name="connsiteX152" fmla="*/ 3332 w 142306"/>
                <a:gd name="connsiteY152" fmla="*/ 125385 h 190215"/>
                <a:gd name="connsiteX153" fmla="*/ 8374 w 142306"/>
                <a:gd name="connsiteY153" fmla="*/ 132953 h 190215"/>
                <a:gd name="connsiteX154" fmla="*/ 6307 w 142306"/>
                <a:gd name="connsiteY154" fmla="*/ 138917 h 190215"/>
                <a:gd name="connsiteX155" fmla="*/ 10681 w 142306"/>
                <a:gd name="connsiteY155" fmla="*/ 143031 h 190215"/>
                <a:gd name="connsiteX156" fmla="*/ 15492 w 142306"/>
                <a:gd name="connsiteY156" fmla="*/ 146492 h 190215"/>
                <a:gd name="connsiteX157" fmla="*/ 23524 w 142306"/>
                <a:gd name="connsiteY157" fmla="*/ 146492 h 190215"/>
                <a:gd name="connsiteX158" fmla="*/ 25591 w 142306"/>
                <a:gd name="connsiteY158" fmla="*/ 149016 h 190215"/>
                <a:gd name="connsiteX159" fmla="*/ 35452 w 142306"/>
                <a:gd name="connsiteY159" fmla="*/ 151998 h 190215"/>
                <a:gd name="connsiteX160" fmla="*/ 27659 w 142306"/>
                <a:gd name="connsiteY160" fmla="*/ 165530 h 19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</a:cxnLst>
              <a:rect l="l" t="t" r="r" b="b"/>
              <a:pathLst>
                <a:path w="142306" h="190215">
                  <a:moveTo>
                    <a:pt x="27659" y="165530"/>
                  </a:moveTo>
                  <a:cubicBezTo>
                    <a:pt x="24544" y="171417"/>
                    <a:pt x="24979" y="179913"/>
                    <a:pt x="25591" y="183422"/>
                  </a:cubicBezTo>
                  <a:cubicBezTo>
                    <a:pt x="26464" y="184048"/>
                    <a:pt x="28475" y="185103"/>
                    <a:pt x="29509" y="184357"/>
                  </a:cubicBezTo>
                  <a:cubicBezTo>
                    <a:pt x="30543" y="183612"/>
                    <a:pt x="32174" y="184048"/>
                    <a:pt x="32863" y="184357"/>
                  </a:cubicBezTo>
                  <a:cubicBezTo>
                    <a:pt x="33433" y="184048"/>
                    <a:pt x="34748" y="183422"/>
                    <a:pt x="35452" y="183422"/>
                  </a:cubicBezTo>
                  <a:lnTo>
                    <a:pt x="37519" y="183422"/>
                  </a:lnTo>
                  <a:cubicBezTo>
                    <a:pt x="37766" y="182325"/>
                    <a:pt x="38771" y="180229"/>
                    <a:pt x="40755" y="180658"/>
                  </a:cubicBezTo>
                  <a:cubicBezTo>
                    <a:pt x="43244" y="181200"/>
                    <a:pt x="46916" y="181952"/>
                    <a:pt x="48111" y="181734"/>
                  </a:cubicBezTo>
                  <a:cubicBezTo>
                    <a:pt x="49307" y="181516"/>
                    <a:pt x="56516" y="183921"/>
                    <a:pt x="57078" y="185532"/>
                  </a:cubicBezTo>
                  <a:cubicBezTo>
                    <a:pt x="62339" y="183204"/>
                    <a:pt x="62782" y="185968"/>
                    <a:pt x="63795" y="187143"/>
                  </a:cubicBezTo>
                  <a:cubicBezTo>
                    <a:pt x="64808" y="188310"/>
                    <a:pt x="66137" y="188746"/>
                    <a:pt x="67593" y="189899"/>
                  </a:cubicBezTo>
                  <a:cubicBezTo>
                    <a:pt x="69042" y="191053"/>
                    <a:pt x="69499" y="188746"/>
                    <a:pt x="70230" y="187853"/>
                  </a:cubicBezTo>
                  <a:cubicBezTo>
                    <a:pt x="70821" y="187143"/>
                    <a:pt x="70666" y="185223"/>
                    <a:pt x="70512" y="184357"/>
                  </a:cubicBezTo>
                  <a:lnTo>
                    <a:pt x="75343" y="184357"/>
                  </a:lnTo>
                  <a:cubicBezTo>
                    <a:pt x="77826" y="184357"/>
                    <a:pt x="76954" y="185666"/>
                    <a:pt x="79577" y="187143"/>
                  </a:cubicBezTo>
                  <a:cubicBezTo>
                    <a:pt x="82201" y="188612"/>
                    <a:pt x="80885" y="187579"/>
                    <a:pt x="83530" y="187143"/>
                  </a:cubicBezTo>
                  <a:cubicBezTo>
                    <a:pt x="86174" y="186699"/>
                    <a:pt x="85858" y="186263"/>
                    <a:pt x="88340" y="184357"/>
                  </a:cubicBezTo>
                  <a:cubicBezTo>
                    <a:pt x="90823" y="182451"/>
                    <a:pt x="94304" y="182824"/>
                    <a:pt x="95500" y="182170"/>
                  </a:cubicBezTo>
                  <a:cubicBezTo>
                    <a:pt x="96688" y="181516"/>
                    <a:pt x="97223" y="181516"/>
                    <a:pt x="98517" y="180757"/>
                  </a:cubicBezTo>
                  <a:cubicBezTo>
                    <a:pt x="99811" y="180004"/>
                    <a:pt x="103286" y="181418"/>
                    <a:pt x="105874" y="181854"/>
                  </a:cubicBezTo>
                  <a:cubicBezTo>
                    <a:pt x="108455" y="182290"/>
                    <a:pt x="107365" y="186446"/>
                    <a:pt x="108891" y="185884"/>
                  </a:cubicBezTo>
                  <a:cubicBezTo>
                    <a:pt x="110424" y="185328"/>
                    <a:pt x="113919" y="182170"/>
                    <a:pt x="109334" y="176980"/>
                  </a:cubicBezTo>
                  <a:cubicBezTo>
                    <a:pt x="107941" y="175418"/>
                    <a:pt x="107062" y="172429"/>
                    <a:pt x="107168" y="170284"/>
                  </a:cubicBezTo>
                  <a:cubicBezTo>
                    <a:pt x="107266" y="168139"/>
                    <a:pt x="112787" y="167246"/>
                    <a:pt x="115614" y="166170"/>
                  </a:cubicBezTo>
                  <a:cubicBezTo>
                    <a:pt x="118435" y="165094"/>
                    <a:pt x="117345" y="161838"/>
                    <a:pt x="117345" y="160762"/>
                  </a:cubicBezTo>
                  <a:cubicBezTo>
                    <a:pt x="117345" y="159693"/>
                    <a:pt x="120263" y="161296"/>
                    <a:pt x="121558" y="160762"/>
                  </a:cubicBezTo>
                  <a:cubicBezTo>
                    <a:pt x="122845" y="160227"/>
                    <a:pt x="123724" y="157723"/>
                    <a:pt x="124160" y="156647"/>
                  </a:cubicBezTo>
                  <a:cubicBezTo>
                    <a:pt x="124596" y="155578"/>
                    <a:pt x="122746" y="154263"/>
                    <a:pt x="121558" y="153609"/>
                  </a:cubicBezTo>
                  <a:cubicBezTo>
                    <a:pt x="120362" y="152955"/>
                    <a:pt x="118414" y="151239"/>
                    <a:pt x="117345" y="149734"/>
                  </a:cubicBezTo>
                  <a:cubicBezTo>
                    <a:pt x="116269" y="148222"/>
                    <a:pt x="112154" y="145401"/>
                    <a:pt x="111177" y="144424"/>
                  </a:cubicBezTo>
                  <a:cubicBezTo>
                    <a:pt x="110206" y="143453"/>
                    <a:pt x="110206" y="143010"/>
                    <a:pt x="107822" y="142476"/>
                  </a:cubicBezTo>
                  <a:cubicBezTo>
                    <a:pt x="105438" y="141941"/>
                    <a:pt x="102195" y="134367"/>
                    <a:pt x="101443" y="132854"/>
                  </a:cubicBezTo>
                  <a:cubicBezTo>
                    <a:pt x="100683" y="131342"/>
                    <a:pt x="102195" y="131223"/>
                    <a:pt x="102195" y="130470"/>
                  </a:cubicBezTo>
                  <a:cubicBezTo>
                    <a:pt x="102195" y="129718"/>
                    <a:pt x="102850" y="128424"/>
                    <a:pt x="102195" y="127453"/>
                  </a:cubicBezTo>
                  <a:cubicBezTo>
                    <a:pt x="101541" y="126475"/>
                    <a:pt x="99171" y="124626"/>
                    <a:pt x="98081" y="123972"/>
                  </a:cubicBezTo>
                  <a:cubicBezTo>
                    <a:pt x="96991" y="123318"/>
                    <a:pt x="98953" y="121165"/>
                    <a:pt x="99171" y="120195"/>
                  </a:cubicBezTo>
                  <a:cubicBezTo>
                    <a:pt x="99389" y="119217"/>
                    <a:pt x="100901" y="118247"/>
                    <a:pt x="102850" y="117051"/>
                  </a:cubicBezTo>
                  <a:cubicBezTo>
                    <a:pt x="104798" y="115863"/>
                    <a:pt x="107168" y="116299"/>
                    <a:pt x="108694" y="115863"/>
                  </a:cubicBezTo>
                  <a:cubicBezTo>
                    <a:pt x="110227" y="115427"/>
                    <a:pt x="114102" y="111868"/>
                    <a:pt x="116051" y="111108"/>
                  </a:cubicBezTo>
                  <a:cubicBezTo>
                    <a:pt x="117999" y="110356"/>
                    <a:pt x="117781" y="109040"/>
                    <a:pt x="118632" y="108625"/>
                  </a:cubicBezTo>
                  <a:cubicBezTo>
                    <a:pt x="119490" y="108211"/>
                    <a:pt x="121994" y="108190"/>
                    <a:pt x="123506" y="107753"/>
                  </a:cubicBezTo>
                  <a:cubicBezTo>
                    <a:pt x="125010" y="107317"/>
                    <a:pt x="130004" y="103977"/>
                    <a:pt x="131073" y="102345"/>
                  </a:cubicBezTo>
                  <a:cubicBezTo>
                    <a:pt x="132149" y="100713"/>
                    <a:pt x="132585" y="102345"/>
                    <a:pt x="134435" y="102999"/>
                  </a:cubicBezTo>
                  <a:cubicBezTo>
                    <a:pt x="136285" y="103660"/>
                    <a:pt x="135630" y="105165"/>
                    <a:pt x="137579" y="104828"/>
                  </a:cubicBezTo>
                  <a:cubicBezTo>
                    <a:pt x="139527" y="104490"/>
                    <a:pt x="139625" y="103759"/>
                    <a:pt x="140497" y="102345"/>
                  </a:cubicBezTo>
                  <a:cubicBezTo>
                    <a:pt x="141370" y="100931"/>
                    <a:pt x="142010" y="97380"/>
                    <a:pt x="142227" y="96282"/>
                  </a:cubicBezTo>
                  <a:cubicBezTo>
                    <a:pt x="142445" y="95192"/>
                    <a:pt x="142227" y="94988"/>
                    <a:pt x="141355" y="93701"/>
                  </a:cubicBezTo>
                  <a:cubicBezTo>
                    <a:pt x="140476" y="92407"/>
                    <a:pt x="141355" y="92070"/>
                    <a:pt x="141355" y="90994"/>
                  </a:cubicBezTo>
                  <a:cubicBezTo>
                    <a:pt x="141355" y="89925"/>
                    <a:pt x="138549" y="89046"/>
                    <a:pt x="137579" y="88708"/>
                  </a:cubicBezTo>
                  <a:cubicBezTo>
                    <a:pt x="136601" y="88370"/>
                    <a:pt x="136819" y="87857"/>
                    <a:pt x="137016" y="86007"/>
                  </a:cubicBezTo>
                  <a:cubicBezTo>
                    <a:pt x="137220" y="84157"/>
                    <a:pt x="136263" y="82983"/>
                    <a:pt x="135630" y="81358"/>
                  </a:cubicBezTo>
                  <a:cubicBezTo>
                    <a:pt x="134991" y="79727"/>
                    <a:pt x="136601" y="78215"/>
                    <a:pt x="137579" y="77138"/>
                  </a:cubicBezTo>
                  <a:cubicBezTo>
                    <a:pt x="138549" y="76069"/>
                    <a:pt x="137459" y="72054"/>
                    <a:pt x="137579" y="70858"/>
                  </a:cubicBezTo>
                  <a:cubicBezTo>
                    <a:pt x="137698" y="69669"/>
                    <a:pt x="135068" y="68157"/>
                    <a:pt x="134435" y="67524"/>
                  </a:cubicBezTo>
                  <a:cubicBezTo>
                    <a:pt x="133802" y="66884"/>
                    <a:pt x="134217" y="66012"/>
                    <a:pt x="135068" y="64697"/>
                  </a:cubicBezTo>
                  <a:cubicBezTo>
                    <a:pt x="135926" y="63389"/>
                    <a:pt x="135412" y="62967"/>
                    <a:pt x="135068" y="61019"/>
                  </a:cubicBezTo>
                  <a:cubicBezTo>
                    <a:pt x="134730" y="59071"/>
                    <a:pt x="128689" y="56468"/>
                    <a:pt x="128689" y="53289"/>
                  </a:cubicBezTo>
                  <a:cubicBezTo>
                    <a:pt x="128689" y="50111"/>
                    <a:pt x="128689" y="51440"/>
                    <a:pt x="130398" y="50350"/>
                  </a:cubicBezTo>
                  <a:cubicBezTo>
                    <a:pt x="132107" y="49252"/>
                    <a:pt x="132965" y="47825"/>
                    <a:pt x="132606" y="44224"/>
                  </a:cubicBezTo>
                  <a:cubicBezTo>
                    <a:pt x="132248" y="40630"/>
                    <a:pt x="130461" y="32894"/>
                    <a:pt x="130398" y="31965"/>
                  </a:cubicBezTo>
                  <a:cubicBezTo>
                    <a:pt x="130342" y="31030"/>
                    <a:pt x="129582" y="31543"/>
                    <a:pt x="128689" y="31367"/>
                  </a:cubicBezTo>
                  <a:cubicBezTo>
                    <a:pt x="127796" y="31185"/>
                    <a:pt x="126839" y="31663"/>
                    <a:pt x="126326" y="31009"/>
                  </a:cubicBezTo>
                  <a:cubicBezTo>
                    <a:pt x="125805" y="30355"/>
                    <a:pt x="123998" y="29574"/>
                    <a:pt x="123168" y="29040"/>
                  </a:cubicBezTo>
                  <a:cubicBezTo>
                    <a:pt x="122331" y="28505"/>
                    <a:pt x="123520" y="28287"/>
                    <a:pt x="123998" y="26916"/>
                  </a:cubicBezTo>
                  <a:cubicBezTo>
                    <a:pt x="124476" y="25544"/>
                    <a:pt x="121276" y="24011"/>
                    <a:pt x="123168" y="23772"/>
                  </a:cubicBezTo>
                  <a:cubicBezTo>
                    <a:pt x="125053" y="23533"/>
                    <a:pt x="125010" y="21704"/>
                    <a:pt x="123168" y="20396"/>
                  </a:cubicBezTo>
                  <a:cubicBezTo>
                    <a:pt x="121318" y="19081"/>
                    <a:pt x="118491" y="21465"/>
                    <a:pt x="117816" y="22006"/>
                  </a:cubicBezTo>
                  <a:cubicBezTo>
                    <a:pt x="117141" y="22541"/>
                    <a:pt x="116564" y="20691"/>
                    <a:pt x="115474" y="19678"/>
                  </a:cubicBezTo>
                  <a:cubicBezTo>
                    <a:pt x="114377" y="18666"/>
                    <a:pt x="112316" y="18145"/>
                    <a:pt x="111282" y="15803"/>
                  </a:cubicBezTo>
                  <a:cubicBezTo>
                    <a:pt x="110248" y="13454"/>
                    <a:pt x="110305" y="13714"/>
                    <a:pt x="109608" y="13714"/>
                  </a:cubicBezTo>
                  <a:cubicBezTo>
                    <a:pt x="108912" y="13714"/>
                    <a:pt x="108575" y="16162"/>
                    <a:pt x="107541" y="15388"/>
                  </a:cubicBezTo>
                  <a:cubicBezTo>
                    <a:pt x="106507" y="14608"/>
                    <a:pt x="104580" y="14572"/>
                    <a:pt x="103490" y="15388"/>
                  </a:cubicBezTo>
                  <a:cubicBezTo>
                    <a:pt x="102392" y="16197"/>
                    <a:pt x="101837" y="17252"/>
                    <a:pt x="101562" y="18145"/>
                  </a:cubicBezTo>
                  <a:cubicBezTo>
                    <a:pt x="101281" y="19046"/>
                    <a:pt x="101000" y="17533"/>
                    <a:pt x="100303" y="16837"/>
                  </a:cubicBezTo>
                  <a:cubicBezTo>
                    <a:pt x="99614" y="16141"/>
                    <a:pt x="99910" y="16162"/>
                    <a:pt x="98377" y="18145"/>
                  </a:cubicBezTo>
                  <a:cubicBezTo>
                    <a:pt x="96850" y="20136"/>
                    <a:pt x="94881" y="20072"/>
                    <a:pt x="93988" y="20691"/>
                  </a:cubicBezTo>
                  <a:cubicBezTo>
                    <a:pt x="93095" y="21310"/>
                    <a:pt x="90387" y="20888"/>
                    <a:pt x="89156" y="20691"/>
                  </a:cubicBezTo>
                  <a:cubicBezTo>
                    <a:pt x="87925" y="20494"/>
                    <a:pt x="89775" y="22618"/>
                    <a:pt x="88741" y="23455"/>
                  </a:cubicBezTo>
                  <a:cubicBezTo>
                    <a:pt x="87707" y="24292"/>
                    <a:pt x="86814" y="24306"/>
                    <a:pt x="86357" y="24925"/>
                  </a:cubicBezTo>
                  <a:cubicBezTo>
                    <a:pt x="85900" y="25544"/>
                    <a:pt x="86512" y="26395"/>
                    <a:pt x="85858" y="27169"/>
                  </a:cubicBezTo>
                  <a:cubicBezTo>
                    <a:pt x="85204" y="27949"/>
                    <a:pt x="83509" y="25938"/>
                    <a:pt x="82995" y="24925"/>
                  </a:cubicBezTo>
                  <a:cubicBezTo>
                    <a:pt x="82475" y="23912"/>
                    <a:pt x="80850" y="23497"/>
                    <a:pt x="80133" y="23912"/>
                  </a:cubicBezTo>
                  <a:cubicBezTo>
                    <a:pt x="79415" y="24327"/>
                    <a:pt x="79022" y="25340"/>
                    <a:pt x="77432" y="25446"/>
                  </a:cubicBezTo>
                  <a:cubicBezTo>
                    <a:pt x="75835" y="25544"/>
                    <a:pt x="75639" y="23814"/>
                    <a:pt x="75400" y="22998"/>
                  </a:cubicBezTo>
                  <a:cubicBezTo>
                    <a:pt x="75160" y="22182"/>
                    <a:pt x="76574" y="21704"/>
                    <a:pt x="77432" y="21465"/>
                  </a:cubicBezTo>
                  <a:cubicBezTo>
                    <a:pt x="78283" y="21226"/>
                    <a:pt x="79774" y="20136"/>
                    <a:pt x="80133" y="19678"/>
                  </a:cubicBezTo>
                  <a:cubicBezTo>
                    <a:pt x="80491" y="19221"/>
                    <a:pt x="80133" y="16162"/>
                    <a:pt x="80133" y="15388"/>
                  </a:cubicBezTo>
                  <a:cubicBezTo>
                    <a:pt x="80133" y="14608"/>
                    <a:pt x="80850" y="13862"/>
                    <a:pt x="81364" y="13714"/>
                  </a:cubicBezTo>
                  <a:cubicBezTo>
                    <a:pt x="81884" y="13567"/>
                    <a:pt x="82580" y="13813"/>
                    <a:pt x="83509" y="13714"/>
                  </a:cubicBezTo>
                  <a:cubicBezTo>
                    <a:pt x="84444" y="13616"/>
                    <a:pt x="83509" y="12681"/>
                    <a:pt x="83509" y="12287"/>
                  </a:cubicBezTo>
                  <a:cubicBezTo>
                    <a:pt x="83509" y="11886"/>
                    <a:pt x="82538" y="11408"/>
                    <a:pt x="81919" y="10951"/>
                  </a:cubicBezTo>
                  <a:cubicBezTo>
                    <a:pt x="81307" y="10493"/>
                    <a:pt x="80850" y="10437"/>
                    <a:pt x="80133" y="10437"/>
                  </a:cubicBezTo>
                  <a:cubicBezTo>
                    <a:pt x="79415" y="10437"/>
                    <a:pt x="79057" y="11949"/>
                    <a:pt x="79275" y="12681"/>
                  </a:cubicBezTo>
                  <a:cubicBezTo>
                    <a:pt x="79493" y="13419"/>
                    <a:pt x="80133" y="13039"/>
                    <a:pt x="80850" y="13299"/>
                  </a:cubicBezTo>
                  <a:cubicBezTo>
                    <a:pt x="81560" y="13560"/>
                    <a:pt x="80491" y="14017"/>
                    <a:pt x="80133" y="14572"/>
                  </a:cubicBezTo>
                  <a:cubicBezTo>
                    <a:pt x="79774" y="15128"/>
                    <a:pt x="77847" y="14629"/>
                    <a:pt x="77432" y="14572"/>
                  </a:cubicBezTo>
                  <a:cubicBezTo>
                    <a:pt x="77010" y="14509"/>
                    <a:pt x="77130" y="15803"/>
                    <a:pt x="76574" y="16162"/>
                  </a:cubicBezTo>
                  <a:cubicBezTo>
                    <a:pt x="76018" y="16521"/>
                    <a:pt x="75245" y="17372"/>
                    <a:pt x="73711" y="15803"/>
                  </a:cubicBezTo>
                  <a:cubicBezTo>
                    <a:pt x="72178" y="14235"/>
                    <a:pt x="68824" y="13138"/>
                    <a:pt x="68149" y="13039"/>
                  </a:cubicBezTo>
                  <a:cubicBezTo>
                    <a:pt x="67473" y="12941"/>
                    <a:pt x="67290" y="14017"/>
                    <a:pt x="67234" y="15086"/>
                  </a:cubicBezTo>
                  <a:cubicBezTo>
                    <a:pt x="67171" y="16162"/>
                    <a:pt x="65089" y="17013"/>
                    <a:pt x="65546" y="15086"/>
                  </a:cubicBezTo>
                  <a:cubicBezTo>
                    <a:pt x="66003" y="13159"/>
                    <a:pt x="65898" y="11949"/>
                    <a:pt x="64730" y="11949"/>
                  </a:cubicBezTo>
                  <a:cubicBezTo>
                    <a:pt x="63556" y="11949"/>
                    <a:pt x="63254" y="13236"/>
                    <a:pt x="61826" y="12681"/>
                  </a:cubicBezTo>
                  <a:cubicBezTo>
                    <a:pt x="60398" y="12125"/>
                    <a:pt x="63197" y="10732"/>
                    <a:pt x="63971" y="9881"/>
                  </a:cubicBezTo>
                  <a:cubicBezTo>
                    <a:pt x="64744" y="9023"/>
                    <a:pt x="64069" y="4986"/>
                    <a:pt x="63971" y="3362"/>
                  </a:cubicBezTo>
                  <a:cubicBezTo>
                    <a:pt x="63872" y="1730"/>
                    <a:pt x="58049" y="1632"/>
                    <a:pt x="56776" y="1371"/>
                  </a:cubicBezTo>
                  <a:cubicBezTo>
                    <a:pt x="55503" y="1111"/>
                    <a:pt x="54272" y="4410"/>
                    <a:pt x="52028" y="2806"/>
                  </a:cubicBezTo>
                  <a:cubicBezTo>
                    <a:pt x="50228" y="1512"/>
                    <a:pt x="44960" y="401"/>
                    <a:pt x="42548" y="0"/>
                  </a:cubicBezTo>
                  <a:lnTo>
                    <a:pt x="42548" y="2244"/>
                  </a:lnTo>
                  <a:cubicBezTo>
                    <a:pt x="42548" y="3362"/>
                    <a:pt x="46023" y="8644"/>
                    <a:pt x="46023" y="9621"/>
                  </a:cubicBezTo>
                  <a:cubicBezTo>
                    <a:pt x="46023" y="10592"/>
                    <a:pt x="44173" y="10732"/>
                    <a:pt x="44989" y="11949"/>
                  </a:cubicBezTo>
                  <a:cubicBezTo>
                    <a:pt x="45643" y="12920"/>
                    <a:pt x="46916" y="11541"/>
                    <a:pt x="47478" y="10732"/>
                  </a:cubicBezTo>
                  <a:cubicBezTo>
                    <a:pt x="48322" y="11773"/>
                    <a:pt x="49222" y="13806"/>
                    <a:pt x="46023" y="13616"/>
                  </a:cubicBezTo>
                  <a:cubicBezTo>
                    <a:pt x="42028" y="13377"/>
                    <a:pt x="41690" y="15065"/>
                    <a:pt x="41613" y="15860"/>
                  </a:cubicBezTo>
                  <a:cubicBezTo>
                    <a:pt x="41528" y="16654"/>
                    <a:pt x="42028" y="17133"/>
                    <a:pt x="43139" y="17315"/>
                  </a:cubicBezTo>
                  <a:cubicBezTo>
                    <a:pt x="44257" y="17491"/>
                    <a:pt x="44173" y="16338"/>
                    <a:pt x="44989" y="16654"/>
                  </a:cubicBezTo>
                  <a:cubicBezTo>
                    <a:pt x="45804" y="16978"/>
                    <a:pt x="44989" y="19854"/>
                    <a:pt x="44989" y="20755"/>
                  </a:cubicBezTo>
                  <a:cubicBezTo>
                    <a:pt x="44989" y="21648"/>
                    <a:pt x="45868" y="21071"/>
                    <a:pt x="46902" y="21310"/>
                  </a:cubicBezTo>
                  <a:cubicBezTo>
                    <a:pt x="47935" y="21549"/>
                    <a:pt x="47295" y="22421"/>
                    <a:pt x="46902" y="23392"/>
                  </a:cubicBezTo>
                  <a:cubicBezTo>
                    <a:pt x="46501" y="24369"/>
                    <a:pt x="45945" y="23075"/>
                    <a:pt x="44989" y="23392"/>
                  </a:cubicBezTo>
                  <a:cubicBezTo>
                    <a:pt x="44039" y="23715"/>
                    <a:pt x="45629" y="25143"/>
                    <a:pt x="46902" y="25959"/>
                  </a:cubicBezTo>
                  <a:cubicBezTo>
                    <a:pt x="48168" y="26775"/>
                    <a:pt x="48111" y="29159"/>
                    <a:pt x="48013" y="29159"/>
                  </a:cubicBezTo>
                  <a:cubicBezTo>
                    <a:pt x="47914" y="29159"/>
                    <a:pt x="46163" y="29258"/>
                    <a:pt x="44989" y="29159"/>
                  </a:cubicBezTo>
                  <a:cubicBezTo>
                    <a:pt x="43814" y="29061"/>
                    <a:pt x="44173" y="28146"/>
                    <a:pt x="42548" y="27527"/>
                  </a:cubicBezTo>
                  <a:cubicBezTo>
                    <a:pt x="40916" y="26916"/>
                    <a:pt x="40558" y="31227"/>
                    <a:pt x="40558" y="32774"/>
                  </a:cubicBezTo>
                  <a:cubicBezTo>
                    <a:pt x="40558" y="34328"/>
                    <a:pt x="41191" y="35974"/>
                    <a:pt x="40558" y="36769"/>
                  </a:cubicBezTo>
                  <a:cubicBezTo>
                    <a:pt x="39925" y="37571"/>
                    <a:pt x="38054" y="35559"/>
                    <a:pt x="36921" y="35004"/>
                  </a:cubicBezTo>
                  <a:cubicBezTo>
                    <a:pt x="36015" y="34560"/>
                    <a:pt x="36042" y="36579"/>
                    <a:pt x="36162" y="37648"/>
                  </a:cubicBezTo>
                  <a:cubicBezTo>
                    <a:pt x="36415" y="37648"/>
                    <a:pt x="36921" y="37943"/>
                    <a:pt x="36921" y="39118"/>
                  </a:cubicBezTo>
                  <a:cubicBezTo>
                    <a:pt x="36921" y="40292"/>
                    <a:pt x="35740" y="40095"/>
                    <a:pt x="35149" y="39856"/>
                  </a:cubicBezTo>
                  <a:cubicBezTo>
                    <a:pt x="34179" y="39610"/>
                    <a:pt x="32582" y="38822"/>
                    <a:pt x="33982" y="37648"/>
                  </a:cubicBezTo>
                  <a:cubicBezTo>
                    <a:pt x="35726" y="36178"/>
                    <a:pt x="33405" y="33414"/>
                    <a:pt x="33103" y="32542"/>
                  </a:cubicBezTo>
                  <a:cubicBezTo>
                    <a:pt x="32807" y="31663"/>
                    <a:pt x="22293" y="32837"/>
                    <a:pt x="20837" y="33414"/>
                  </a:cubicBezTo>
                  <a:cubicBezTo>
                    <a:pt x="19388" y="33991"/>
                    <a:pt x="18495" y="35461"/>
                    <a:pt x="18495" y="36635"/>
                  </a:cubicBezTo>
                  <a:cubicBezTo>
                    <a:pt x="18495" y="37803"/>
                    <a:pt x="17482" y="37212"/>
                    <a:pt x="16603" y="37648"/>
                  </a:cubicBezTo>
                  <a:cubicBezTo>
                    <a:pt x="15731" y="38084"/>
                    <a:pt x="16603" y="40567"/>
                    <a:pt x="17482" y="41741"/>
                  </a:cubicBezTo>
                  <a:cubicBezTo>
                    <a:pt x="18354" y="42916"/>
                    <a:pt x="20837" y="42480"/>
                    <a:pt x="20837" y="44224"/>
                  </a:cubicBezTo>
                  <a:cubicBezTo>
                    <a:pt x="20837" y="45975"/>
                    <a:pt x="20106" y="51538"/>
                    <a:pt x="18495" y="53289"/>
                  </a:cubicBezTo>
                  <a:cubicBezTo>
                    <a:pt x="16884" y="55041"/>
                    <a:pt x="17482" y="58557"/>
                    <a:pt x="16603" y="59711"/>
                  </a:cubicBezTo>
                  <a:cubicBezTo>
                    <a:pt x="15731" y="60864"/>
                    <a:pt x="12074" y="62496"/>
                    <a:pt x="12214" y="63966"/>
                  </a:cubicBezTo>
                  <a:cubicBezTo>
                    <a:pt x="12355" y="65436"/>
                    <a:pt x="17918" y="66153"/>
                    <a:pt x="17482" y="68910"/>
                  </a:cubicBezTo>
                  <a:cubicBezTo>
                    <a:pt x="17131" y="71125"/>
                    <a:pt x="13150" y="73932"/>
                    <a:pt x="11202" y="75057"/>
                  </a:cubicBezTo>
                  <a:cubicBezTo>
                    <a:pt x="11926" y="75444"/>
                    <a:pt x="13445" y="76611"/>
                    <a:pt x="13685" y="78137"/>
                  </a:cubicBezTo>
                  <a:cubicBezTo>
                    <a:pt x="13980" y="80043"/>
                    <a:pt x="7981" y="80184"/>
                    <a:pt x="5498" y="80022"/>
                  </a:cubicBezTo>
                  <a:cubicBezTo>
                    <a:pt x="3008" y="79867"/>
                    <a:pt x="2136" y="79881"/>
                    <a:pt x="385" y="81056"/>
                  </a:cubicBezTo>
                  <a:cubicBezTo>
                    <a:pt x="-1359" y="82230"/>
                    <a:pt x="3332" y="87041"/>
                    <a:pt x="4324" y="88652"/>
                  </a:cubicBezTo>
                  <a:cubicBezTo>
                    <a:pt x="5315" y="90262"/>
                    <a:pt x="5055" y="92147"/>
                    <a:pt x="3332" y="93919"/>
                  </a:cubicBezTo>
                  <a:cubicBezTo>
                    <a:pt x="1602" y="95685"/>
                    <a:pt x="1398" y="99166"/>
                    <a:pt x="385" y="100038"/>
                  </a:cubicBezTo>
                  <a:cubicBezTo>
                    <a:pt x="-628" y="100917"/>
                    <a:pt x="2136" y="102964"/>
                    <a:pt x="2136" y="103836"/>
                  </a:cubicBezTo>
                  <a:cubicBezTo>
                    <a:pt x="2136" y="104708"/>
                    <a:pt x="1264" y="104729"/>
                    <a:pt x="2136" y="106480"/>
                  </a:cubicBezTo>
                  <a:cubicBezTo>
                    <a:pt x="3008" y="108232"/>
                    <a:pt x="3332" y="110574"/>
                    <a:pt x="3332" y="113633"/>
                  </a:cubicBezTo>
                  <a:cubicBezTo>
                    <a:pt x="3332" y="116699"/>
                    <a:pt x="2432" y="116123"/>
                    <a:pt x="2136" y="119618"/>
                  </a:cubicBezTo>
                  <a:cubicBezTo>
                    <a:pt x="1841" y="123114"/>
                    <a:pt x="3332" y="122860"/>
                    <a:pt x="3332" y="125385"/>
                  </a:cubicBezTo>
                  <a:cubicBezTo>
                    <a:pt x="3332" y="127910"/>
                    <a:pt x="9071" y="131110"/>
                    <a:pt x="8374" y="132953"/>
                  </a:cubicBezTo>
                  <a:cubicBezTo>
                    <a:pt x="7678" y="134802"/>
                    <a:pt x="6546" y="136392"/>
                    <a:pt x="6307" y="138917"/>
                  </a:cubicBezTo>
                  <a:cubicBezTo>
                    <a:pt x="6075" y="141442"/>
                    <a:pt x="8156" y="138460"/>
                    <a:pt x="10681" y="143031"/>
                  </a:cubicBezTo>
                  <a:cubicBezTo>
                    <a:pt x="13206" y="147603"/>
                    <a:pt x="12053" y="146492"/>
                    <a:pt x="15492" y="146492"/>
                  </a:cubicBezTo>
                  <a:cubicBezTo>
                    <a:pt x="18931" y="146492"/>
                    <a:pt x="21238" y="146710"/>
                    <a:pt x="23524" y="146492"/>
                  </a:cubicBezTo>
                  <a:cubicBezTo>
                    <a:pt x="25809" y="146273"/>
                    <a:pt x="25591" y="147406"/>
                    <a:pt x="25591" y="149016"/>
                  </a:cubicBezTo>
                  <a:cubicBezTo>
                    <a:pt x="25591" y="150627"/>
                    <a:pt x="34995" y="149474"/>
                    <a:pt x="35452" y="151998"/>
                  </a:cubicBezTo>
                  <a:cubicBezTo>
                    <a:pt x="35909" y="154523"/>
                    <a:pt x="31555" y="158180"/>
                    <a:pt x="27659" y="16553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7" name="Freihandform: Form 212">
              <a:extLst>
                <a:ext uri="{FF2B5EF4-FFF2-40B4-BE49-F238E27FC236}">
                  <a16:creationId xmlns:a16="http://schemas.microsoft.com/office/drawing/2014/main" id="{99460E8A-8BAB-0D44-B9C7-856058CD503F}"/>
                </a:ext>
              </a:extLst>
            </p:cNvPr>
            <p:cNvSpPr/>
            <p:nvPr/>
          </p:nvSpPr>
          <p:spPr>
            <a:xfrm>
              <a:off x="6247575" y="3611636"/>
              <a:ext cx="11255" cy="18459"/>
            </a:xfrm>
            <a:custGeom>
              <a:avLst/>
              <a:gdLst>
                <a:gd name="connsiteX0" fmla="*/ 2436 w 11255"/>
                <a:gd name="connsiteY0" fmla="*/ 17218 h 18459"/>
                <a:gd name="connsiteX1" fmla="*/ 8463 w 11255"/>
                <a:gd name="connsiteY1" fmla="*/ 17978 h 18459"/>
                <a:gd name="connsiteX2" fmla="*/ 11241 w 11255"/>
                <a:gd name="connsiteY2" fmla="*/ 11219 h 18459"/>
                <a:gd name="connsiteX3" fmla="*/ 6733 w 11255"/>
                <a:gd name="connsiteY3" fmla="*/ 5909 h 18459"/>
                <a:gd name="connsiteX4" fmla="*/ 5777 w 11255"/>
                <a:gd name="connsiteY4" fmla="*/ 2196 h 18459"/>
                <a:gd name="connsiteX5" fmla="*/ 3948 w 11255"/>
                <a:gd name="connsiteY5" fmla="*/ 9 h 18459"/>
                <a:gd name="connsiteX6" fmla="*/ 431 w 11255"/>
                <a:gd name="connsiteY6" fmla="*/ 4165 h 18459"/>
                <a:gd name="connsiteX7" fmla="*/ 1184 w 11255"/>
                <a:gd name="connsiteY7" fmla="*/ 10446 h 18459"/>
                <a:gd name="connsiteX8" fmla="*/ 2436 w 11255"/>
                <a:gd name="connsiteY8" fmla="*/ 17218 h 18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55" h="18459">
                  <a:moveTo>
                    <a:pt x="2436" y="17218"/>
                  </a:moveTo>
                  <a:cubicBezTo>
                    <a:pt x="3645" y="19019"/>
                    <a:pt x="6958" y="18470"/>
                    <a:pt x="8463" y="17978"/>
                  </a:cubicBezTo>
                  <a:cubicBezTo>
                    <a:pt x="9117" y="16128"/>
                    <a:pt x="10981" y="12134"/>
                    <a:pt x="11241" y="11219"/>
                  </a:cubicBezTo>
                  <a:cubicBezTo>
                    <a:pt x="11501" y="10305"/>
                    <a:pt x="8062" y="8040"/>
                    <a:pt x="6733" y="5909"/>
                  </a:cubicBezTo>
                  <a:cubicBezTo>
                    <a:pt x="5397" y="3785"/>
                    <a:pt x="6375" y="4601"/>
                    <a:pt x="5777" y="2196"/>
                  </a:cubicBezTo>
                  <a:cubicBezTo>
                    <a:pt x="5298" y="269"/>
                    <a:pt x="4356" y="-62"/>
                    <a:pt x="3948" y="9"/>
                  </a:cubicBezTo>
                  <a:cubicBezTo>
                    <a:pt x="-567" y="388"/>
                    <a:pt x="1184" y="3645"/>
                    <a:pt x="431" y="4165"/>
                  </a:cubicBezTo>
                  <a:cubicBezTo>
                    <a:pt x="-328" y="4678"/>
                    <a:pt x="-89" y="8933"/>
                    <a:pt x="1184" y="10446"/>
                  </a:cubicBezTo>
                  <a:cubicBezTo>
                    <a:pt x="2457" y="11951"/>
                    <a:pt x="924" y="14975"/>
                    <a:pt x="2436" y="1721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8" name="Freihandform: Form 213">
              <a:extLst>
                <a:ext uri="{FF2B5EF4-FFF2-40B4-BE49-F238E27FC236}">
                  <a16:creationId xmlns:a16="http://schemas.microsoft.com/office/drawing/2014/main" id="{9EB038D0-5E6C-C04D-839C-9E13FF46E2F8}"/>
                </a:ext>
              </a:extLst>
            </p:cNvPr>
            <p:cNvSpPr/>
            <p:nvPr/>
          </p:nvSpPr>
          <p:spPr>
            <a:xfrm>
              <a:off x="6209278" y="3528709"/>
              <a:ext cx="62124" cy="69449"/>
            </a:xfrm>
            <a:custGeom>
              <a:avLst/>
              <a:gdLst>
                <a:gd name="connsiteX0" fmla="*/ 37455 w 62124"/>
                <a:gd name="connsiteY0" fmla="*/ 68229 h 69449"/>
                <a:gd name="connsiteX1" fmla="*/ 42744 w 62124"/>
                <a:gd name="connsiteY1" fmla="*/ 68229 h 69449"/>
                <a:gd name="connsiteX2" fmla="*/ 42744 w 62124"/>
                <a:gd name="connsiteY2" fmla="*/ 64748 h 69449"/>
                <a:gd name="connsiteX3" fmla="*/ 41507 w 62124"/>
                <a:gd name="connsiteY3" fmla="*/ 61928 h 69449"/>
                <a:gd name="connsiteX4" fmla="*/ 43159 w 62124"/>
                <a:gd name="connsiteY4" fmla="*/ 58130 h 69449"/>
                <a:gd name="connsiteX5" fmla="*/ 45501 w 62124"/>
                <a:gd name="connsiteY5" fmla="*/ 53439 h 69449"/>
                <a:gd name="connsiteX6" fmla="*/ 45508 w 62124"/>
                <a:gd name="connsiteY6" fmla="*/ 53439 h 69449"/>
                <a:gd name="connsiteX7" fmla="*/ 45508 w 62124"/>
                <a:gd name="connsiteY7" fmla="*/ 50675 h 69449"/>
                <a:gd name="connsiteX8" fmla="*/ 40677 w 62124"/>
                <a:gd name="connsiteY8" fmla="*/ 43220 h 69449"/>
                <a:gd name="connsiteX9" fmla="*/ 46380 w 62124"/>
                <a:gd name="connsiteY9" fmla="*/ 41827 h 69449"/>
                <a:gd name="connsiteX10" fmla="*/ 54848 w 62124"/>
                <a:gd name="connsiteY10" fmla="*/ 40442 h 69449"/>
                <a:gd name="connsiteX11" fmla="*/ 52366 w 62124"/>
                <a:gd name="connsiteY11" fmla="*/ 36503 h 69449"/>
                <a:gd name="connsiteX12" fmla="*/ 57767 w 62124"/>
                <a:gd name="connsiteY12" fmla="*/ 32410 h 69449"/>
                <a:gd name="connsiteX13" fmla="*/ 56818 w 62124"/>
                <a:gd name="connsiteY13" fmla="*/ 28035 h 69449"/>
                <a:gd name="connsiteX14" fmla="*/ 53378 w 62124"/>
                <a:gd name="connsiteY14" fmla="*/ 24955 h 69449"/>
                <a:gd name="connsiteX15" fmla="*/ 57767 w 62124"/>
                <a:gd name="connsiteY15" fmla="*/ 21016 h 69449"/>
                <a:gd name="connsiteX16" fmla="*/ 59082 w 62124"/>
                <a:gd name="connsiteY16" fmla="*/ 15411 h 69449"/>
                <a:gd name="connsiteX17" fmla="*/ 61727 w 62124"/>
                <a:gd name="connsiteY17" fmla="*/ 9032 h 69449"/>
                <a:gd name="connsiteX18" fmla="*/ 59954 w 62124"/>
                <a:gd name="connsiteY18" fmla="*/ 4067 h 69449"/>
                <a:gd name="connsiteX19" fmla="*/ 56818 w 62124"/>
                <a:gd name="connsiteY19" fmla="*/ 206 h 69449"/>
                <a:gd name="connsiteX20" fmla="*/ 38349 w 62124"/>
                <a:gd name="connsiteY20" fmla="*/ 2850 h 69449"/>
                <a:gd name="connsiteX21" fmla="*/ 32687 w 62124"/>
                <a:gd name="connsiteY21" fmla="*/ 9890 h 69449"/>
                <a:gd name="connsiteX22" fmla="*/ 25014 w 62124"/>
                <a:gd name="connsiteY22" fmla="*/ 15411 h 69449"/>
                <a:gd name="connsiteX23" fmla="*/ 21870 w 62124"/>
                <a:gd name="connsiteY23" fmla="*/ 15411 h 69449"/>
                <a:gd name="connsiteX24" fmla="*/ 15470 w 62124"/>
                <a:gd name="connsiteY24" fmla="*/ 35033 h 69449"/>
                <a:gd name="connsiteX25" fmla="*/ 10561 w 62124"/>
                <a:gd name="connsiteY25" fmla="*/ 39302 h 69449"/>
                <a:gd name="connsiteX26" fmla="*/ 10561 w 62124"/>
                <a:gd name="connsiteY26" fmla="*/ 41827 h 69449"/>
                <a:gd name="connsiteX27" fmla="*/ 5533 w 62124"/>
                <a:gd name="connsiteY27" fmla="*/ 47355 h 69449"/>
                <a:gd name="connsiteX28" fmla="*/ 4 w 62124"/>
                <a:gd name="connsiteY28" fmla="*/ 54508 h 69449"/>
                <a:gd name="connsiteX29" fmla="*/ 4520 w 62124"/>
                <a:gd name="connsiteY29" fmla="*/ 56400 h 69449"/>
                <a:gd name="connsiteX30" fmla="*/ 10561 w 62124"/>
                <a:gd name="connsiteY30" fmla="*/ 57293 h 69449"/>
                <a:gd name="connsiteX31" fmla="*/ 18354 w 62124"/>
                <a:gd name="connsiteY31" fmla="*/ 51884 h 69449"/>
                <a:gd name="connsiteX32" fmla="*/ 23882 w 62124"/>
                <a:gd name="connsiteY32" fmla="*/ 51884 h 69449"/>
                <a:gd name="connsiteX33" fmla="*/ 28791 w 62124"/>
                <a:gd name="connsiteY33" fmla="*/ 55647 h 69449"/>
                <a:gd name="connsiteX34" fmla="*/ 34073 w 62124"/>
                <a:gd name="connsiteY34" fmla="*/ 57293 h 69449"/>
                <a:gd name="connsiteX35" fmla="*/ 38349 w 62124"/>
                <a:gd name="connsiteY35" fmla="*/ 60556 h 69449"/>
                <a:gd name="connsiteX36" fmla="*/ 37455 w 62124"/>
                <a:gd name="connsiteY36" fmla="*/ 68229 h 69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124" h="69449">
                  <a:moveTo>
                    <a:pt x="37455" y="68229"/>
                  </a:moveTo>
                  <a:cubicBezTo>
                    <a:pt x="37343" y="70438"/>
                    <a:pt x="40930" y="69151"/>
                    <a:pt x="42744" y="68229"/>
                  </a:cubicBezTo>
                  <a:cubicBezTo>
                    <a:pt x="42878" y="67385"/>
                    <a:pt x="43075" y="65515"/>
                    <a:pt x="42744" y="64748"/>
                  </a:cubicBezTo>
                  <a:cubicBezTo>
                    <a:pt x="42322" y="63792"/>
                    <a:pt x="41232" y="63158"/>
                    <a:pt x="41507" y="61928"/>
                  </a:cubicBezTo>
                  <a:cubicBezTo>
                    <a:pt x="41788" y="60690"/>
                    <a:pt x="42344" y="60556"/>
                    <a:pt x="43159" y="58130"/>
                  </a:cubicBezTo>
                  <a:cubicBezTo>
                    <a:pt x="43975" y="55704"/>
                    <a:pt x="44474" y="54972"/>
                    <a:pt x="45501" y="53439"/>
                  </a:cubicBezTo>
                  <a:lnTo>
                    <a:pt x="45508" y="53439"/>
                  </a:lnTo>
                  <a:cubicBezTo>
                    <a:pt x="46331" y="52215"/>
                    <a:pt x="45853" y="51083"/>
                    <a:pt x="45508" y="50675"/>
                  </a:cubicBezTo>
                  <a:cubicBezTo>
                    <a:pt x="43792" y="48917"/>
                    <a:pt x="40438" y="44971"/>
                    <a:pt x="40677" y="43220"/>
                  </a:cubicBezTo>
                  <a:cubicBezTo>
                    <a:pt x="40916" y="41476"/>
                    <a:pt x="44580" y="41567"/>
                    <a:pt x="46380" y="41827"/>
                  </a:cubicBezTo>
                  <a:cubicBezTo>
                    <a:pt x="49011" y="41827"/>
                    <a:pt x="54384" y="41553"/>
                    <a:pt x="54848" y="40442"/>
                  </a:cubicBezTo>
                  <a:cubicBezTo>
                    <a:pt x="55305" y="39324"/>
                    <a:pt x="53385" y="37354"/>
                    <a:pt x="52366" y="36503"/>
                  </a:cubicBezTo>
                  <a:cubicBezTo>
                    <a:pt x="53526" y="35484"/>
                    <a:pt x="56241" y="33233"/>
                    <a:pt x="57767" y="32410"/>
                  </a:cubicBezTo>
                  <a:cubicBezTo>
                    <a:pt x="59680" y="31376"/>
                    <a:pt x="59082" y="28612"/>
                    <a:pt x="56818" y="28035"/>
                  </a:cubicBezTo>
                  <a:cubicBezTo>
                    <a:pt x="54546" y="27459"/>
                    <a:pt x="53533" y="25989"/>
                    <a:pt x="53378" y="24955"/>
                  </a:cubicBezTo>
                  <a:cubicBezTo>
                    <a:pt x="53252" y="24125"/>
                    <a:pt x="56255" y="21987"/>
                    <a:pt x="57767" y="21016"/>
                  </a:cubicBezTo>
                  <a:cubicBezTo>
                    <a:pt x="57725" y="19511"/>
                    <a:pt x="57922" y="16269"/>
                    <a:pt x="59082" y="15411"/>
                  </a:cubicBezTo>
                  <a:cubicBezTo>
                    <a:pt x="60531" y="14342"/>
                    <a:pt x="60826" y="11958"/>
                    <a:pt x="61727" y="9032"/>
                  </a:cubicBezTo>
                  <a:cubicBezTo>
                    <a:pt x="62620" y="6113"/>
                    <a:pt x="62001" y="4503"/>
                    <a:pt x="59954" y="4067"/>
                  </a:cubicBezTo>
                  <a:cubicBezTo>
                    <a:pt x="58316" y="3715"/>
                    <a:pt x="57176" y="1345"/>
                    <a:pt x="56818" y="206"/>
                  </a:cubicBezTo>
                  <a:cubicBezTo>
                    <a:pt x="53533" y="-807"/>
                    <a:pt x="42997" y="2217"/>
                    <a:pt x="38349" y="2850"/>
                  </a:cubicBezTo>
                  <a:cubicBezTo>
                    <a:pt x="33700" y="3490"/>
                    <a:pt x="33060" y="9011"/>
                    <a:pt x="32687" y="9890"/>
                  </a:cubicBezTo>
                  <a:cubicBezTo>
                    <a:pt x="32307" y="10762"/>
                    <a:pt x="26407" y="14159"/>
                    <a:pt x="25014" y="15411"/>
                  </a:cubicBezTo>
                  <a:cubicBezTo>
                    <a:pt x="23622" y="16663"/>
                    <a:pt x="21490" y="9630"/>
                    <a:pt x="21870" y="15411"/>
                  </a:cubicBezTo>
                  <a:cubicBezTo>
                    <a:pt x="22250" y="21199"/>
                    <a:pt x="17341" y="31517"/>
                    <a:pt x="15470" y="35033"/>
                  </a:cubicBezTo>
                  <a:cubicBezTo>
                    <a:pt x="13599" y="38550"/>
                    <a:pt x="10561" y="38311"/>
                    <a:pt x="10561" y="39302"/>
                  </a:cubicBezTo>
                  <a:cubicBezTo>
                    <a:pt x="10561" y="40301"/>
                    <a:pt x="11813" y="41574"/>
                    <a:pt x="10561" y="41827"/>
                  </a:cubicBezTo>
                  <a:cubicBezTo>
                    <a:pt x="9309" y="42087"/>
                    <a:pt x="8296" y="44099"/>
                    <a:pt x="5533" y="47355"/>
                  </a:cubicBezTo>
                  <a:cubicBezTo>
                    <a:pt x="2768" y="50619"/>
                    <a:pt x="-129" y="53136"/>
                    <a:pt x="4" y="54508"/>
                  </a:cubicBezTo>
                  <a:cubicBezTo>
                    <a:pt x="145" y="55886"/>
                    <a:pt x="2135" y="55647"/>
                    <a:pt x="4520" y="56400"/>
                  </a:cubicBezTo>
                  <a:cubicBezTo>
                    <a:pt x="6904" y="57152"/>
                    <a:pt x="7424" y="57293"/>
                    <a:pt x="10561" y="57293"/>
                  </a:cubicBezTo>
                  <a:cubicBezTo>
                    <a:pt x="13705" y="57293"/>
                    <a:pt x="16842" y="52883"/>
                    <a:pt x="18354" y="51884"/>
                  </a:cubicBezTo>
                  <a:cubicBezTo>
                    <a:pt x="19866" y="50893"/>
                    <a:pt x="21237" y="51884"/>
                    <a:pt x="23882" y="51884"/>
                  </a:cubicBezTo>
                  <a:cubicBezTo>
                    <a:pt x="26526" y="51884"/>
                    <a:pt x="27778" y="53397"/>
                    <a:pt x="28791" y="55647"/>
                  </a:cubicBezTo>
                  <a:cubicBezTo>
                    <a:pt x="29804" y="57891"/>
                    <a:pt x="31055" y="56020"/>
                    <a:pt x="34073" y="57293"/>
                  </a:cubicBezTo>
                  <a:cubicBezTo>
                    <a:pt x="37097" y="58566"/>
                    <a:pt x="37455" y="58664"/>
                    <a:pt x="38349" y="60556"/>
                  </a:cubicBezTo>
                  <a:cubicBezTo>
                    <a:pt x="39242" y="62441"/>
                    <a:pt x="37596" y="65465"/>
                    <a:pt x="37455" y="6822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9" name="Freihandform: Form 214">
              <a:extLst>
                <a:ext uri="{FF2B5EF4-FFF2-40B4-BE49-F238E27FC236}">
                  <a16:creationId xmlns:a16="http://schemas.microsoft.com/office/drawing/2014/main" id="{B87F2DFB-71AF-3741-8E73-9F3330E2A56C}"/>
                </a:ext>
              </a:extLst>
            </p:cNvPr>
            <p:cNvSpPr/>
            <p:nvPr/>
          </p:nvSpPr>
          <p:spPr>
            <a:xfrm>
              <a:off x="6196567" y="3580102"/>
              <a:ext cx="56972" cy="48288"/>
            </a:xfrm>
            <a:custGeom>
              <a:avLst/>
              <a:gdLst>
                <a:gd name="connsiteX0" fmla="*/ 45075 w 56972"/>
                <a:gd name="connsiteY0" fmla="*/ 46587 h 48288"/>
                <a:gd name="connsiteX1" fmla="*/ 53085 w 56972"/>
                <a:gd name="connsiteY1" fmla="*/ 47923 h 48288"/>
                <a:gd name="connsiteX2" fmla="*/ 52495 w 56972"/>
                <a:gd name="connsiteY2" fmla="*/ 42951 h 48288"/>
                <a:gd name="connsiteX3" fmla="*/ 50800 w 56972"/>
                <a:gd name="connsiteY3" fmla="*/ 37226 h 48288"/>
                <a:gd name="connsiteX4" fmla="*/ 51679 w 56972"/>
                <a:gd name="connsiteY4" fmla="*/ 35918 h 48288"/>
                <a:gd name="connsiteX5" fmla="*/ 52312 w 56972"/>
                <a:gd name="connsiteY5" fmla="*/ 32633 h 48288"/>
                <a:gd name="connsiteX6" fmla="*/ 54999 w 56972"/>
                <a:gd name="connsiteY6" fmla="*/ 31719 h 48288"/>
                <a:gd name="connsiteX7" fmla="*/ 55674 w 56972"/>
                <a:gd name="connsiteY7" fmla="*/ 30805 h 48288"/>
                <a:gd name="connsiteX8" fmla="*/ 56926 w 56972"/>
                <a:gd name="connsiteY8" fmla="*/ 25319 h 48288"/>
                <a:gd name="connsiteX9" fmla="*/ 56447 w 56972"/>
                <a:gd name="connsiteY9" fmla="*/ 19756 h 48288"/>
                <a:gd name="connsiteX10" fmla="*/ 55575 w 56972"/>
                <a:gd name="connsiteY10" fmla="*/ 16654 h 48288"/>
                <a:gd name="connsiteX11" fmla="*/ 51320 w 56972"/>
                <a:gd name="connsiteY11" fmla="*/ 18103 h 48288"/>
                <a:gd name="connsiteX12" fmla="*/ 50047 w 56972"/>
                <a:gd name="connsiteY12" fmla="*/ 16654 h 48288"/>
                <a:gd name="connsiteX13" fmla="*/ 51320 w 56972"/>
                <a:gd name="connsiteY13" fmla="*/ 11049 h 48288"/>
                <a:gd name="connsiteX14" fmla="*/ 50547 w 56972"/>
                <a:gd name="connsiteY14" fmla="*/ 8130 h 48288"/>
                <a:gd name="connsiteX15" fmla="*/ 45075 w 56972"/>
                <a:gd name="connsiteY15" fmla="*/ 5725 h 48288"/>
                <a:gd name="connsiteX16" fmla="*/ 41045 w 56972"/>
                <a:gd name="connsiteY16" fmla="*/ 3298 h 48288"/>
                <a:gd name="connsiteX17" fmla="*/ 36593 w 56972"/>
                <a:gd name="connsiteY17" fmla="*/ 675 h 48288"/>
                <a:gd name="connsiteX18" fmla="*/ 32176 w 56972"/>
                <a:gd name="connsiteY18" fmla="*/ 0 h 48288"/>
                <a:gd name="connsiteX19" fmla="*/ 29040 w 56972"/>
                <a:gd name="connsiteY19" fmla="*/ 2623 h 48288"/>
                <a:gd name="connsiteX20" fmla="*/ 23870 w 56972"/>
                <a:gd name="connsiteY20" fmla="*/ 5725 h 48288"/>
                <a:gd name="connsiteX21" fmla="*/ 16239 w 56972"/>
                <a:gd name="connsiteY21" fmla="*/ 4747 h 48288"/>
                <a:gd name="connsiteX22" fmla="*/ 12020 w 56972"/>
                <a:gd name="connsiteY22" fmla="*/ 3298 h 48288"/>
                <a:gd name="connsiteX23" fmla="*/ 0 w 56972"/>
                <a:gd name="connsiteY23" fmla="*/ 10451 h 48288"/>
                <a:gd name="connsiteX24" fmla="*/ 3896 w 56972"/>
                <a:gd name="connsiteY24" fmla="*/ 18940 h 48288"/>
                <a:gd name="connsiteX25" fmla="*/ 8482 w 56972"/>
                <a:gd name="connsiteY25" fmla="*/ 17175 h 48288"/>
                <a:gd name="connsiteX26" fmla="*/ 12020 w 56972"/>
                <a:gd name="connsiteY26" fmla="*/ 20712 h 48288"/>
                <a:gd name="connsiteX27" fmla="*/ 18385 w 56972"/>
                <a:gd name="connsiteY27" fmla="*/ 27429 h 48288"/>
                <a:gd name="connsiteX28" fmla="*/ 23870 w 56972"/>
                <a:gd name="connsiteY28" fmla="*/ 34863 h 48288"/>
                <a:gd name="connsiteX29" fmla="*/ 32176 w 56972"/>
                <a:gd name="connsiteY29" fmla="*/ 38379 h 48288"/>
                <a:gd name="connsiteX30" fmla="*/ 45075 w 56972"/>
                <a:gd name="connsiteY30" fmla="*/ 46587 h 4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972" h="48288">
                  <a:moveTo>
                    <a:pt x="45075" y="46587"/>
                  </a:moveTo>
                  <a:cubicBezTo>
                    <a:pt x="46538" y="48781"/>
                    <a:pt x="51025" y="48394"/>
                    <a:pt x="53085" y="47923"/>
                  </a:cubicBezTo>
                  <a:cubicBezTo>
                    <a:pt x="53085" y="46622"/>
                    <a:pt x="52966" y="43809"/>
                    <a:pt x="52495" y="42951"/>
                  </a:cubicBezTo>
                  <a:cubicBezTo>
                    <a:pt x="51897" y="41882"/>
                    <a:pt x="51004" y="37986"/>
                    <a:pt x="50800" y="37226"/>
                  </a:cubicBezTo>
                  <a:cubicBezTo>
                    <a:pt x="50603" y="36473"/>
                    <a:pt x="51278" y="36213"/>
                    <a:pt x="51679" y="35918"/>
                  </a:cubicBezTo>
                  <a:cubicBezTo>
                    <a:pt x="52073" y="35615"/>
                    <a:pt x="51756" y="33470"/>
                    <a:pt x="52312" y="32633"/>
                  </a:cubicBezTo>
                  <a:cubicBezTo>
                    <a:pt x="52755" y="31965"/>
                    <a:pt x="54288" y="31747"/>
                    <a:pt x="54999" y="31719"/>
                  </a:cubicBezTo>
                  <a:cubicBezTo>
                    <a:pt x="55174" y="31677"/>
                    <a:pt x="55561" y="31431"/>
                    <a:pt x="55674" y="30805"/>
                  </a:cubicBezTo>
                  <a:cubicBezTo>
                    <a:pt x="55815" y="30031"/>
                    <a:pt x="56729" y="26789"/>
                    <a:pt x="56926" y="25319"/>
                  </a:cubicBezTo>
                  <a:cubicBezTo>
                    <a:pt x="57123" y="23849"/>
                    <a:pt x="56644" y="20712"/>
                    <a:pt x="56447" y="19756"/>
                  </a:cubicBezTo>
                  <a:cubicBezTo>
                    <a:pt x="56286" y="18989"/>
                    <a:pt x="55800" y="17372"/>
                    <a:pt x="55575" y="16654"/>
                  </a:cubicBezTo>
                  <a:cubicBezTo>
                    <a:pt x="54471" y="17076"/>
                    <a:pt x="52080" y="17962"/>
                    <a:pt x="51320" y="18103"/>
                  </a:cubicBezTo>
                  <a:cubicBezTo>
                    <a:pt x="50554" y="18251"/>
                    <a:pt x="50153" y="17196"/>
                    <a:pt x="50047" y="16654"/>
                  </a:cubicBezTo>
                  <a:cubicBezTo>
                    <a:pt x="50406" y="15044"/>
                    <a:pt x="51159" y="11668"/>
                    <a:pt x="51320" y="11049"/>
                  </a:cubicBezTo>
                  <a:cubicBezTo>
                    <a:pt x="51475" y="10430"/>
                    <a:pt x="50870" y="8841"/>
                    <a:pt x="50547" y="8130"/>
                  </a:cubicBezTo>
                  <a:cubicBezTo>
                    <a:pt x="49738" y="7329"/>
                    <a:pt x="47508" y="5725"/>
                    <a:pt x="45075" y="5725"/>
                  </a:cubicBezTo>
                  <a:cubicBezTo>
                    <a:pt x="42037" y="5725"/>
                    <a:pt x="41622" y="4747"/>
                    <a:pt x="41045" y="3298"/>
                  </a:cubicBezTo>
                  <a:cubicBezTo>
                    <a:pt x="40468" y="1850"/>
                    <a:pt x="37465" y="577"/>
                    <a:pt x="36593" y="675"/>
                  </a:cubicBezTo>
                  <a:cubicBezTo>
                    <a:pt x="35714" y="774"/>
                    <a:pt x="33189" y="0"/>
                    <a:pt x="32176" y="0"/>
                  </a:cubicBezTo>
                  <a:cubicBezTo>
                    <a:pt x="31164" y="0"/>
                    <a:pt x="29989" y="1154"/>
                    <a:pt x="29040" y="2623"/>
                  </a:cubicBezTo>
                  <a:cubicBezTo>
                    <a:pt x="28083" y="4093"/>
                    <a:pt x="25263" y="4747"/>
                    <a:pt x="23870" y="5725"/>
                  </a:cubicBezTo>
                  <a:cubicBezTo>
                    <a:pt x="22478" y="6695"/>
                    <a:pt x="17210" y="4846"/>
                    <a:pt x="16239" y="4747"/>
                  </a:cubicBezTo>
                  <a:cubicBezTo>
                    <a:pt x="15459" y="4670"/>
                    <a:pt x="13103" y="3749"/>
                    <a:pt x="12020" y="3298"/>
                  </a:cubicBezTo>
                  <a:cubicBezTo>
                    <a:pt x="8011" y="5331"/>
                    <a:pt x="0" y="9607"/>
                    <a:pt x="0" y="10451"/>
                  </a:cubicBezTo>
                  <a:cubicBezTo>
                    <a:pt x="0" y="11506"/>
                    <a:pt x="3179" y="17175"/>
                    <a:pt x="3896" y="18940"/>
                  </a:cubicBezTo>
                  <a:cubicBezTo>
                    <a:pt x="4607" y="20712"/>
                    <a:pt x="6892" y="17709"/>
                    <a:pt x="8482" y="17175"/>
                  </a:cubicBezTo>
                  <a:cubicBezTo>
                    <a:pt x="10071" y="16633"/>
                    <a:pt x="10254" y="19299"/>
                    <a:pt x="12020" y="20712"/>
                  </a:cubicBezTo>
                  <a:cubicBezTo>
                    <a:pt x="13792" y="22119"/>
                    <a:pt x="15381" y="23357"/>
                    <a:pt x="18385" y="27429"/>
                  </a:cubicBezTo>
                  <a:cubicBezTo>
                    <a:pt x="21388" y="31501"/>
                    <a:pt x="22640" y="31501"/>
                    <a:pt x="23870" y="34863"/>
                  </a:cubicBezTo>
                  <a:cubicBezTo>
                    <a:pt x="25101" y="38218"/>
                    <a:pt x="26177" y="36277"/>
                    <a:pt x="32176" y="38379"/>
                  </a:cubicBezTo>
                  <a:cubicBezTo>
                    <a:pt x="38182" y="40489"/>
                    <a:pt x="43246" y="43844"/>
                    <a:pt x="45075" y="4658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0" name="Freihandform: Form 215">
              <a:extLst>
                <a:ext uri="{FF2B5EF4-FFF2-40B4-BE49-F238E27FC236}">
                  <a16:creationId xmlns:a16="http://schemas.microsoft.com/office/drawing/2014/main" id="{73A99809-F99F-324C-B811-E5A013C22A5C}"/>
                </a:ext>
              </a:extLst>
            </p:cNvPr>
            <p:cNvSpPr/>
            <p:nvPr/>
          </p:nvSpPr>
          <p:spPr>
            <a:xfrm>
              <a:off x="6291851" y="3775917"/>
              <a:ext cx="15161" cy="33882"/>
            </a:xfrm>
            <a:custGeom>
              <a:avLst/>
              <a:gdLst>
                <a:gd name="connsiteX0" fmla="*/ 12765 w 15161"/>
                <a:gd name="connsiteY0" fmla="*/ 6 h 33882"/>
                <a:gd name="connsiteX1" fmla="*/ 10993 w 15161"/>
                <a:gd name="connsiteY1" fmla="*/ 6069 h 33882"/>
                <a:gd name="connsiteX2" fmla="*/ 6267 w 15161"/>
                <a:gd name="connsiteY2" fmla="*/ 8200 h 33882"/>
                <a:gd name="connsiteX3" fmla="*/ 0 w 15161"/>
                <a:gd name="connsiteY3" fmla="*/ 13622 h 33882"/>
                <a:gd name="connsiteX4" fmla="*/ 2166 w 15161"/>
                <a:gd name="connsiteY4" fmla="*/ 15549 h 33882"/>
                <a:gd name="connsiteX5" fmla="*/ 0 w 15161"/>
                <a:gd name="connsiteY5" fmla="*/ 18074 h 33882"/>
                <a:gd name="connsiteX6" fmla="*/ 2166 w 15161"/>
                <a:gd name="connsiteY6" fmla="*/ 19650 h 33882"/>
                <a:gd name="connsiteX7" fmla="*/ 2166 w 15161"/>
                <a:gd name="connsiteY7" fmla="*/ 22646 h 33882"/>
                <a:gd name="connsiteX8" fmla="*/ 4332 w 15161"/>
                <a:gd name="connsiteY8" fmla="*/ 28195 h 33882"/>
                <a:gd name="connsiteX9" fmla="*/ 6147 w 15161"/>
                <a:gd name="connsiteY9" fmla="*/ 32527 h 33882"/>
                <a:gd name="connsiteX10" fmla="*/ 10001 w 15161"/>
                <a:gd name="connsiteY10" fmla="*/ 33498 h 33882"/>
                <a:gd name="connsiteX11" fmla="*/ 11689 w 15161"/>
                <a:gd name="connsiteY11" fmla="*/ 30002 h 33882"/>
                <a:gd name="connsiteX12" fmla="*/ 12765 w 15161"/>
                <a:gd name="connsiteY12" fmla="*/ 22646 h 33882"/>
                <a:gd name="connsiteX13" fmla="*/ 15051 w 15161"/>
                <a:gd name="connsiteY13" fmla="*/ 19650 h 33882"/>
                <a:gd name="connsiteX14" fmla="*/ 13855 w 15161"/>
                <a:gd name="connsiteY14" fmla="*/ 8791 h 33882"/>
                <a:gd name="connsiteX15" fmla="*/ 12765 w 15161"/>
                <a:gd name="connsiteY15" fmla="*/ 6 h 3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61" h="33882">
                  <a:moveTo>
                    <a:pt x="12765" y="6"/>
                  </a:moveTo>
                  <a:cubicBezTo>
                    <a:pt x="11794" y="-184"/>
                    <a:pt x="10951" y="3903"/>
                    <a:pt x="10993" y="6069"/>
                  </a:cubicBezTo>
                  <a:cubicBezTo>
                    <a:pt x="7638" y="6069"/>
                    <a:pt x="8313" y="7841"/>
                    <a:pt x="6267" y="8200"/>
                  </a:cubicBezTo>
                  <a:cubicBezTo>
                    <a:pt x="4213" y="8559"/>
                    <a:pt x="0" y="12771"/>
                    <a:pt x="0" y="13622"/>
                  </a:cubicBezTo>
                  <a:cubicBezTo>
                    <a:pt x="0" y="14480"/>
                    <a:pt x="2166" y="14579"/>
                    <a:pt x="2166" y="15549"/>
                  </a:cubicBezTo>
                  <a:cubicBezTo>
                    <a:pt x="2166" y="16527"/>
                    <a:pt x="0" y="17104"/>
                    <a:pt x="0" y="18074"/>
                  </a:cubicBezTo>
                  <a:cubicBezTo>
                    <a:pt x="0" y="19052"/>
                    <a:pt x="2166" y="19031"/>
                    <a:pt x="2166" y="19650"/>
                  </a:cubicBezTo>
                  <a:cubicBezTo>
                    <a:pt x="2166" y="20261"/>
                    <a:pt x="1435" y="22646"/>
                    <a:pt x="2166" y="22646"/>
                  </a:cubicBezTo>
                  <a:cubicBezTo>
                    <a:pt x="2905" y="22646"/>
                    <a:pt x="5528" y="26859"/>
                    <a:pt x="4332" y="28195"/>
                  </a:cubicBezTo>
                  <a:cubicBezTo>
                    <a:pt x="3144" y="29524"/>
                    <a:pt x="4332" y="31331"/>
                    <a:pt x="6147" y="32527"/>
                  </a:cubicBezTo>
                  <a:cubicBezTo>
                    <a:pt x="7954" y="33716"/>
                    <a:pt x="10001" y="34335"/>
                    <a:pt x="10001" y="33498"/>
                  </a:cubicBezTo>
                  <a:cubicBezTo>
                    <a:pt x="10001" y="32668"/>
                    <a:pt x="10360" y="31331"/>
                    <a:pt x="11689" y="30002"/>
                  </a:cubicBezTo>
                  <a:cubicBezTo>
                    <a:pt x="13018" y="28673"/>
                    <a:pt x="12765" y="24101"/>
                    <a:pt x="12765" y="22646"/>
                  </a:cubicBezTo>
                  <a:cubicBezTo>
                    <a:pt x="12765" y="21197"/>
                    <a:pt x="14573" y="20240"/>
                    <a:pt x="15051" y="19650"/>
                  </a:cubicBezTo>
                  <a:cubicBezTo>
                    <a:pt x="15529" y="19052"/>
                    <a:pt x="14334" y="9768"/>
                    <a:pt x="13855" y="8791"/>
                  </a:cubicBezTo>
                  <a:cubicBezTo>
                    <a:pt x="13377" y="7820"/>
                    <a:pt x="13975" y="245"/>
                    <a:pt x="12765" y="6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1" name="Freihandform: Form 216">
              <a:extLst>
                <a:ext uri="{FF2B5EF4-FFF2-40B4-BE49-F238E27FC236}">
                  <a16:creationId xmlns:a16="http://schemas.microsoft.com/office/drawing/2014/main" id="{75ACA2D9-C2F2-DC43-802A-EEA5C7A978CF}"/>
                </a:ext>
              </a:extLst>
            </p:cNvPr>
            <p:cNvSpPr/>
            <p:nvPr/>
          </p:nvSpPr>
          <p:spPr>
            <a:xfrm>
              <a:off x="6083193" y="3590343"/>
              <a:ext cx="202775" cy="199219"/>
            </a:xfrm>
            <a:custGeom>
              <a:avLst/>
              <a:gdLst>
                <a:gd name="connsiteX0" fmla="*/ 117108 w 202775"/>
                <a:gd name="connsiteY0" fmla="*/ 8601 h 199219"/>
                <a:gd name="connsiteX1" fmla="*/ 113191 w 202775"/>
                <a:gd name="connsiteY1" fmla="*/ 513 h 199219"/>
                <a:gd name="connsiteX2" fmla="*/ 108880 w 202775"/>
                <a:gd name="connsiteY2" fmla="*/ 513 h 199219"/>
                <a:gd name="connsiteX3" fmla="*/ 103851 w 202775"/>
                <a:gd name="connsiteY3" fmla="*/ 2538 h 199219"/>
                <a:gd name="connsiteX4" fmla="*/ 99497 w 202775"/>
                <a:gd name="connsiteY4" fmla="*/ 4683 h 199219"/>
                <a:gd name="connsiteX5" fmla="*/ 98724 w 202775"/>
                <a:gd name="connsiteY5" fmla="*/ 15915 h 199219"/>
                <a:gd name="connsiteX6" fmla="*/ 98724 w 202775"/>
                <a:gd name="connsiteY6" fmla="*/ 20269 h 199219"/>
                <a:gd name="connsiteX7" fmla="*/ 96558 w 202775"/>
                <a:gd name="connsiteY7" fmla="*/ 24045 h 199219"/>
                <a:gd name="connsiteX8" fmla="*/ 94349 w 202775"/>
                <a:gd name="connsiteY8" fmla="*/ 25832 h 199219"/>
                <a:gd name="connsiteX9" fmla="*/ 92120 w 202775"/>
                <a:gd name="connsiteY9" fmla="*/ 27365 h 199219"/>
                <a:gd name="connsiteX10" fmla="*/ 90334 w 202775"/>
                <a:gd name="connsiteY10" fmla="*/ 28539 h 199219"/>
                <a:gd name="connsiteX11" fmla="*/ 88210 w 202775"/>
                <a:gd name="connsiteY11" fmla="*/ 29116 h 199219"/>
                <a:gd name="connsiteX12" fmla="*/ 85087 w 202775"/>
                <a:gd name="connsiteY12" fmla="*/ 29334 h 199219"/>
                <a:gd name="connsiteX13" fmla="*/ 85066 w 202775"/>
                <a:gd name="connsiteY13" fmla="*/ 29341 h 199219"/>
                <a:gd name="connsiteX14" fmla="*/ 84151 w 202775"/>
                <a:gd name="connsiteY14" fmla="*/ 29869 h 199219"/>
                <a:gd name="connsiteX15" fmla="*/ 82583 w 202775"/>
                <a:gd name="connsiteY15" fmla="*/ 30262 h 199219"/>
                <a:gd name="connsiteX16" fmla="*/ 81605 w 202775"/>
                <a:gd name="connsiteY16" fmla="*/ 31043 h 199219"/>
                <a:gd name="connsiteX17" fmla="*/ 80895 w 202775"/>
                <a:gd name="connsiteY17" fmla="*/ 31957 h 199219"/>
                <a:gd name="connsiteX18" fmla="*/ 79742 w 202775"/>
                <a:gd name="connsiteY18" fmla="*/ 31957 h 199219"/>
                <a:gd name="connsiteX19" fmla="*/ 79123 w 202775"/>
                <a:gd name="connsiteY19" fmla="*/ 32731 h 199219"/>
                <a:gd name="connsiteX20" fmla="*/ 77196 w 202775"/>
                <a:gd name="connsiteY20" fmla="*/ 33329 h 199219"/>
                <a:gd name="connsiteX21" fmla="*/ 76816 w 202775"/>
                <a:gd name="connsiteY21" fmla="*/ 34939 h 199219"/>
                <a:gd name="connsiteX22" fmla="*/ 76021 w 202775"/>
                <a:gd name="connsiteY22" fmla="*/ 36346 h 199219"/>
                <a:gd name="connsiteX23" fmla="*/ 75747 w 202775"/>
                <a:gd name="connsiteY23" fmla="*/ 39089 h 199219"/>
                <a:gd name="connsiteX24" fmla="*/ 79123 w 202775"/>
                <a:gd name="connsiteY24" fmla="*/ 39490 h 199219"/>
                <a:gd name="connsiteX25" fmla="*/ 79123 w 202775"/>
                <a:gd name="connsiteY25" fmla="*/ 40207 h 199219"/>
                <a:gd name="connsiteX26" fmla="*/ 77196 w 202775"/>
                <a:gd name="connsiteY26" fmla="*/ 40404 h 199219"/>
                <a:gd name="connsiteX27" fmla="*/ 75747 w 202775"/>
                <a:gd name="connsiteY27" fmla="*/ 41375 h 199219"/>
                <a:gd name="connsiteX28" fmla="*/ 74790 w 202775"/>
                <a:gd name="connsiteY28" fmla="*/ 42254 h 199219"/>
                <a:gd name="connsiteX29" fmla="*/ 72624 w 202775"/>
                <a:gd name="connsiteY29" fmla="*/ 43084 h 199219"/>
                <a:gd name="connsiteX30" fmla="*/ 71633 w 202775"/>
                <a:gd name="connsiteY30" fmla="*/ 43942 h 199219"/>
                <a:gd name="connsiteX31" fmla="*/ 69902 w 202775"/>
                <a:gd name="connsiteY31" fmla="*/ 43942 h 199219"/>
                <a:gd name="connsiteX32" fmla="*/ 68552 w 202775"/>
                <a:gd name="connsiteY32" fmla="*/ 42830 h 199219"/>
                <a:gd name="connsiteX33" fmla="*/ 67989 w 202775"/>
                <a:gd name="connsiteY33" fmla="*/ 42451 h 199219"/>
                <a:gd name="connsiteX34" fmla="*/ 67096 w 202775"/>
                <a:gd name="connsiteY34" fmla="*/ 41994 h 199219"/>
                <a:gd name="connsiteX35" fmla="*/ 64733 w 202775"/>
                <a:gd name="connsiteY35" fmla="*/ 41994 h 199219"/>
                <a:gd name="connsiteX36" fmla="*/ 60619 w 202775"/>
                <a:gd name="connsiteY36" fmla="*/ 41853 h 199219"/>
                <a:gd name="connsiteX37" fmla="*/ 60098 w 202775"/>
                <a:gd name="connsiteY37" fmla="*/ 41178 h 199219"/>
                <a:gd name="connsiteX38" fmla="*/ 57573 w 202775"/>
                <a:gd name="connsiteY38" fmla="*/ 41178 h 199219"/>
                <a:gd name="connsiteX39" fmla="*/ 57201 w 202775"/>
                <a:gd name="connsiteY39" fmla="*/ 41853 h 199219"/>
                <a:gd name="connsiteX40" fmla="*/ 56322 w 202775"/>
                <a:gd name="connsiteY40" fmla="*/ 41994 h 199219"/>
                <a:gd name="connsiteX41" fmla="*/ 55668 w 202775"/>
                <a:gd name="connsiteY41" fmla="*/ 41656 h 199219"/>
                <a:gd name="connsiteX42" fmla="*/ 55393 w 202775"/>
                <a:gd name="connsiteY42" fmla="*/ 40643 h 199219"/>
                <a:gd name="connsiteX43" fmla="*/ 55013 w 202775"/>
                <a:gd name="connsiteY43" fmla="*/ 39870 h 199219"/>
                <a:gd name="connsiteX44" fmla="*/ 53762 w 202775"/>
                <a:gd name="connsiteY44" fmla="*/ 37162 h 199219"/>
                <a:gd name="connsiteX45" fmla="*/ 53762 w 202775"/>
                <a:gd name="connsiteY45" fmla="*/ 36149 h 199219"/>
                <a:gd name="connsiteX46" fmla="*/ 54219 w 202775"/>
                <a:gd name="connsiteY46" fmla="*/ 35811 h 199219"/>
                <a:gd name="connsiteX47" fmla="*/ 54514 w 202775"/>
                <a:gd name="connsiteY47" fmla="*/ 34939 h 199219"/>
                <a:gd name="connsiteX48" fmla="*/ 54514 w 202775"/>
                <a:gd name="connsiteY48" fmla="*/ 34124 h 199219"/>
                <a:gd name="connsiteX49" fmla="*/ 54219 w 202775"/>
                <a:gd name="connsiteY49" fmla="*/ 33786 h 199219"/>
                <a:gd name="connsiteX50" fmla="*/ 53185 w 202775"/>
                <a:gd name="connsiteY50" fmla="*/ 33786 h 199219"/>
                <a:gd name="connsiteX51" fmla="*/ 52292 w 202775"/>
                <a:gd name="connsiteY51" fmla="*/ 33645 h 199219"/>
                <a:gd name="connsiteX52" fmla="*/ 51138 w 202775"/>
                <a:gd name="connsiteY52" fmla="*/ 34539 h 199219"/>
                <a:gd name="connsiteX53" fmla="*/ 49788 w 202775"/>
                <a:gd name="connsiteY53" fmla="*/ 34939 h 199219"/>
                <a:gd name="connsiteX54" fmla="*/ 46841 w 202775"/>
                <a:gd name="connsiteY54" fmla="*/ 34539 h 199219"/>
                <a:gd name="connsiteX55" fmla="*/ 45055 w 202775"/>
                <a:gd name="connsiteY55" fmla="*/ 32872 h 199219"/>
                <a:gd name="connsiteX56" fmla="*/ 44358 w 202775"/>
                <a:gd name="connsiteY56" fmla="*/ 33786 h 199219"/>
                <a:gd name="connsiteX57" fmla="*/ 45491 w 202775"/>
                <a:gd name="connsiteY57" fmla="*/ 34939 h 199219"/>
                <a:gd name="connsiteX58" fmla="*/ 45653 w 202775"/>
                <a:gd name="connsiteY58" fmla="*/ 38611 h 199219"/>
                <a:gd name="connsiteX59" fmla="*/ 46229 w 202775"/>
                <a:gd name="connsiteY59" fmla="*/ 40503 h 199219"/>
                <a:gd name="connsiteX60" fmla="*/ 47101 w 202775"/>
                <a:gd name="connsiteY60" fmla="*/ 41178 h 199219"/>
                <a:gd name="connsiteX61" fmla="*/ 48107 w 202775"/>
                <a:gd name="connsiteY61" fmla="*/ 42240 h 199219"/>
                <a:gd name="connsiteX62" fmla="*/ 48114 w 202775"/>
                <a:gd name="connsiteY62" fmla="*/ 42254 h 199219"/>
                <a:gd name="connsiteX63" fmla="*/ 48297 w 202775"/>
                <a:gd name="connsiteY63" fmla="*/ 44040 h 199219"/>
                <a:gd name="connsiteX64" fmla="*/ 49345 w 202775"/>
                <a:gd name="connsiteY64" fmla="*/ 45433 h 199219"/>
                <a:gd name="connsiteX65" fmla="*/ 49345 w 202775"/>
                <a:gd name="connsiteY65" fmla="*/ 46762 h 199219"/>
                <a:gd name="connsiteX66" fmla="*/ 49802 w 202775"/>
                <a:gd name="connsiteY66" fmla="*/ 48253 h 199219"/>
                <a:gd name="connsiteX67" fmla="*/ 50161 w 202775"/>
                <a:gd name="connsiteY67" fmla="*/ 50103 h 199219"/>
                <a:gd name="connsiteX68" fmla="*/ 50161 w 202775"/>
                <a:gd name="connsiteY68" fmla="*/ 50996 h 199219"/>
                <a:gd name="connsiteX69" fmla="*/ 49802 w 202775"/>
                <a:gd name="connsiteY69" fmla="*/ 52311 h 199219"/>
                <a:gd name="connsiteX70" fmla="*/ 49802 w 202775"/>
                <a:gd name="connsiteY70" fmla="*/ 53521 h 199219"/>
                <a:gd name="connsiteX71" fmla="*/ 50161 w 202775"/>
                <a:gd name="connsiteY71" fmla="*/ 55532 h 199219"/>
                <a:gd name="connsiteX72" fmla="*/ 50639 w 202775"/>
                <a:gd name="connsiteY72" fmla="*/ 57220 h 199219"/>
                <a:gd name="connsiteX73" fmla="*/ 51736 w 202775"/>
                <a:gd name="connsiteY73" fmla="*/ 58430 h 199219"/>
                <a:gd name="connsiteX74" fmla="*/ 51736 w 202775"/>
                <a:gd name="connsiteY74" fmla="*/ 59323 h 199219"/>
                <a:gd name="connsiteX75" fmla="*/ 50639 w 202775"/>
                <a:gd name="connsiteY75" fmla="*/ 59323 h 199219"/>
                <a:gd name="connsiteX76" fmla="*/ 49345 w 202775"/>
                <a:gd name="connsiteY76" fmla="*/ 59724 h 199219"/>
                <a:gd name="connsiteX77" fmla="*/ 47340 w 202775"/>
                <a:gd name="connsiteY77" fmla="*/ 59724 h 199219"/>
                <a:gd name="connsiteX78" fmla="*/ 45610 w 202775"/>
                <a:gd name="connsiteY78" fmla="*/ 59724 h 199219"/>
                <a:gd name="connsiteX79" fmla="*/ 45252 w 202775"/>
                <a:gd name="connsiteY79" fmla="*/ 57755 h 199219"/>
                <a:gd name="connsiteX80" fmla="*/ 44436 w 202775"/>
                <a:gd name="connsiteY80" fmla="*/ 57537 h 199219"/>
                <a:gd name="connsiteX81" fmla="*/ 43050 w 202775"/>
                <a:gd name="connsiteY81" fmla="*/ 58810 h 199219"/>
                <a:gd name="connsiteX82" fmla="*/ 40364 w 202775"/>
                <a:gd name="connsiteY82" fmla="*/ 60357 h 199219"/>
                <a:gd name="connsiteX83" fmla="*/ 39133 w 202775"/>
                <a:gd name="connsiteY83" fmla="*/ 60357 h 199219"/>
                <a:gd name="connsiteX84" fmla="*/ 38732 w 202775"/>
                <a:gd name="connsiteY84" fmla="*/ 59724 h 199219"/>
                <a:gd name="connsiteX85" fmla="*/ 38176 w 202775"/>
                <a:gd name="connsiteY85" fmla="*/ 58810 h 199219"/>
                <a:gd name="connsiteX86" fmla="*/ 37501 w 202775"/>
                <a:gd name="connsiteY86" fmla="*/ 58430 h 199219"/>
                <a:gd name="connsiteX87" fmla="*/ 36306 w 202775"/>
                <a:gd name="connsiteY87" fmla="*/ 58810 h 199219"/>
                <a:gd name="connsiteX88" fmla="*/ 34245 w 202775"/>
                <a:gd name="connsiteY88" fmla="*/ 60040 h 199219"/>
                <a:gd name="connsiteX89" fmla="*/ 33563 w 202775"/>
                <a:gd name="connsiteY89" fmla="*/ 61194 h 199219"/>
                <a:gd name="connsiteX90" fmla="*/ 32690 w 202775"/>
                <a:gd name="connsiteY90" fmla="*/ 61911 h 199219"/>
                <a:gd name="connsiteX91" fmla="*/ 31699 w 202775"/>
                <a:gd name="connsiteY91" fmla="*/ 62249 h 199219"/>
                <a:gd name="connsiteX92" fmla="*/ 31418 w 202775"/>
                <a:gd name="connsiteY92" fmla="*/ 61194 h 199219"/>
                <a:gd name="connsiteX93" fmla="*/ 30742 w 202775"/>
                <a:gd name="connsiteY93" fmla="*/ 60596 h 199219"/>
                <a:gd name="connsiteX94" fmla="*/ 29870 w 202775"/>
                <a:gd name="connsiteY94" fmla="*/ 60040 h 199219"/>
                <a:gd name="connsiteX95" fmla="*/ 29132 w 202775"/>
                <a:gd name="connsiteY95" fmla="*/ 58810 h 199219"/>
                <a:gd name="connsiteX96" fmla="*/ 28358 w 202775"/>
                <a:gd name="connsiteY96" fmla="*/ 57755 h 199219"/>
                <a:gd name="connsiteX97" fmla="*/ 27584 w 202775"/>
                <a:gd name="connsiteY97" fmla="*/ 56207 h 199219"/>
                <a:gd name="connsiteX98" fmla="*/ 26628 w 202775"/>
                <a:gd name="connsiteY98" fmla="*/ 55075 h 199219"/>
                <a:gd name="connsiteX99" fmla="*/ 25538 w 202775"/>
                <a:gd name="connsiteY99" fmla="*/ 55075 h 199219"/>
                <a:gd name="connsiteX100" fmla="*/ 24202 w 202775"/>
                <a:gd name="connsiteY100" fmla="*/ 55328 h 199219"/>
                <a:gd name="connsiteX101" fmla="*/ 23505 w 202775"/>
                <a:gd name="connsiteY101" fmla="*/ 55075 h 199219"/>
                <a:gd name="connsiteX102" fmla="*/ 23189 w 202775"/>
                <a:gd name="connsiteY102" fmla="*/ 54337 h 199219"/>
                <a:gd name="connsiteX103" fmla="*/ 22373 w 202775"/>
                <a:gd name="connsiteY103" fmla="*/ 54674 h 199219"/>
                <a:gd name="connsiteX104" fmla="*/ 21142 w 202775"/>
                <a:gd name="connsiteY104" fmla="*/ 54674 h 199219"/>
                <a:gd name="connsiteX105" fmla="*/ 20544 w 202775"/>
                <a:gd name="connsiteY105" fmla="*/ 54337 h 199219"/>
                <a:gd name="connsiteX106" fmla="*/ 19377 w 202775"/>
                <a:gd name="connsiteY106" fmla="*/ 54674 h 199219"/>
                <a:gd name="connsiteX107" fmla="*/ 18660 w 202775"/>
                <a:gd name="connsiteY107" fmla="*/ 55328 h 199219"/>
                <a:gd name="connsiteX108" fmla="*/ 18660 w 202775"/>
                <a:gd name="connsiteY108" fmla="*/ 56742 h 199219"/>
                <a:gd name="connsiteX109" fmla="*/ 18322 w 202775"/>
                <a:gd name="connsiteY109" fmla="*/ 58050 h 199219"/>
                <a:gd name="connsiteX110" fmla="*/ 16986 w 202775"/>
                <a:gd name="connsiteY110" fmla="*/ 58430 h 199219"/>
                <a:gd name="connsiteX111" fmla="*/ 16592 w 202775"/>
                <a:gd name="connsiteY111" fmla="*/ 57755 h 199219"/>
                <a:gd name="connsiteX112" fmla="*/ 15917 w 202775"/>
                <a:gd name="connsiteY112" fmla="*/ 57755 h 199219"/>
                <a:gd name="connsiteX113" fmla="*/ 15059 w 202775"/>
                <a:gd name="connsiteY113" fmla="*/ 57755 h 199219"/>
                <a:gd name="connsiteX114" fmla="*/ 14264 w 202775"/>
                <a:gd name="connsiteY114" fmla="*/ 58050 h 199219"/>
                <a:gd name="connsiteX115" fmla="*/ 13610 w 202775"/>
                <a:gd name="connsiteY115" fmla="*/ 59189 h 199219"/>
                <a:gd name="connsiteX116" fmla="*/ 12534 w 202775"/>
                <a:gd name="connsiteY116" fmla="*/ 59189 h 199219"/>
                <a:gd name="connsiteX117" fmla="*/ 11718 w 202775"/>
                <a:gd name="connsiteY117" fmla="*/ 58430 h 199219"/>
                <a:gd name="connsiteX118" fmla="*/ 11148 w 202775"/>
                <a:gd name="connsiteY118" fmla="*/ 57755 h 199219"/>
                <a:gd name="connsiteX119" fmla="*/ 9397 w 202775"/>
                <a:gd name="connsiteY119" fmla="*/ 57755 h 199219"/>
                <a:gd name="connsiteX120" fmla="*/ 8483 w 202775"/>
                <a:gd name="connsiteY120" fmla="*/ 59407 h 199219"/>
                <a:gd name="connsiteX121" fmla="*/ 6971 w 202775"/>
                <a:gd name="connsiteY121" fmla="*/ 59407 h 199219"/>
                <a:gd name="connsiteX122" fmla="*/ 5698 w 202775"/>
                <a:gd name="connsiteY122" fmla="*/ 58430 h 199219"/>
                <a:gd name="connsiteX123" fmla="*/ 4980 w 202775"/>
                <a:gd name="connsiteY123" fmla="*/ 59407 h 199219"/>
                <a:gd name="connsiteX124" fmla="*/ 3194 w 202775"/>
                <a:gd name="connsiteY124" fmla="*/ 59865 h 199219"/>
                <a:gd name="connsiteX125" fmla="*/ 1246 w 202775"/>
                <a:gd name="connsiteY125" fmla="*/ 60420 h 199219"/>
                <a:gd name="connsiteX126" fmla="*/ 395 w 202775"/>
                <a:gd name="connsiteY126" fmla="*/ 61271 h 199219"/>
                <a:gd name="connsiteX127" fmla="*/ 36 w 202775"/>
                <a:gd name="connsiteY127" fmla="*/ 63916 h 199219"/>
                <a:gd name="connsiteX128" fmla="*/ 950 w 202775"/>
                <a:gd name="connsiteY128" fmla="*/ 65604 h 199219"/>
                <a:gd name="connsiteX129" fmla="*/ 3194 w 202775"/>
                <a:gd name="connsiteY129" fmla="*/ 65428 h 199219"/>
                <a:gd name="connsiteX130" fmla="*/ 4980 w 202775"/>
                <a:gd name="connsiteY130" fmla="*/ 65069 h 199219"/>
                <a:gd name="connsiteX131" fmla="*/ 8082 w 202775"/>
                <a:gd name="connsiteY131" fmla="*/ 66799 h 199219"/>
                <a:gd name="connsiteX132" fmla="*/ 8082 w 202775"/>
                <a:gd name="connsiteY132" fmla="*/ 67538 h 199219"/>
                <a:gd name="connsiteX133" fmla="*/ 6971 w 202775"/>
                <a:gd name="connsiteY133" fmla="*/ 67538 h 199219"/>
                <a:gd name="connsiteX134" fmla="*/ 4066 w 202775"/>
                <a:gd name="connsiteY134" fmla="*/ 67538 h 199219"/>
                <a:gd name="connsiteX135" fmla="*/ 2596 w 202775"/>
                <a:gd name="connsiteY135" fmla="*/ 68171 h 199219"/>
                <a:gd name="connsiteX136" fmla="*/ 4066 w 202775"/>
                <a:gd name="connsiteY136" fmla="*/ 68726 h 199219"/>
                <a:gd name="connsiteX137" fmla="*/ 6035 w 202775"/>
                <a:gd name="connsiteY137" fmla="*/ 68726 h 199219"/>
                <a:gd name="connsiteX138" fmla="*/ 7168 w 202775"/>
                <a:gd name="connsiteY138" fmla="*/ 69500 h 199219"/>
                <a:gd name="connsiteX139" fmla="*/ 7667 w 202775"/>
                <a:gd name="connsiteY139" fmla="*/ 70914 h 199219"/>
                <a:gd name="connsiteX140" fmla="*/ 7168 w 202775"/>
                <a:gd name="connsiteY140" fmla="*/ 71828 h 199219"/>
                <a:gd name="connsiteX141" fmla="*/ 6035 w 202775"/>
                <a:gd name="connsiteY141" fmla="*/ 72004 h 199219"/>
                <a:gd name="connsiteX142" fmla="*/ 4980 w 202775"/>
                <a:gd name="connsiteY142" fmla="*/ 71371 h 199219"/>
                <a:gd name="connsiteX143" fmla="*/ 4066 w 202775"/>
                <a:gd name="connsiteY143" fmla="*/ 72004 h 199219"/>
                <a:gd name="connsiteX144" fmla="*/ 1998 w 202775"/>
                <a:gd name="connsiteY144" fmla="*/ 72383 h 199219"/>
                <a:gd name="connsiteX145" fmla="*/ 950 w 202775"/>
                <a:gd name="connsiteY145" fmla="*/ 73058 h 199219"/>
                <a:gd name="connsiteX146" fmla="*/ 2322 w 202775"/>
                <a:gd name="connsiteY146" fmla="*/ 73058 h 199219"/>
                <a:gd name="connsiteX147" fmla="*/ 4066 w 202775"/>
                <a:gd name="connsiteY147" fmla="*/ 74015 h 199219"/>
                <a:gd name="connsiteX148" fmla="*/ 5655 w 202775"/>
                <a:gd name="connsiteY148" fmla="*/ 75309 h 199219"/>
                <a:gd name="connsiteX149" fmla="*/ 6035 w 202775"/>
                <a:gd name="connsiteY149" fmla="*/ 77018 h 199219"/>
                <a:gd name="connsiteX150" fmla="*/ 6971 w 202775"/>
                <a:gd name="connsiteY150" fmla="*/ 77954 h 199219"/>
                <a:gd name="connsiteX151" fmla="*/ 8483 w 202775"/>
                <a:gd name="connsiteY151" fmla="*/ 77574 h 199219"/>
                <a:gd name="connsiteX152" fmla="*/ 9418 w 202775"/>
                <a:gd name="connsiteY152" fmla="*/ 76301 h 199219"/>
                <a:gd name="connsiteX153" fmla="*/ 10410 w 202775"/>
                <a:gd name="connsiteY153" fmla="*/ 77018 h 199219"/>
                <a:gd name="connsiteX154" fmla="*/ 11500 w 202775"/>
                <a:gd name="connsiteY154" fmla="*/ 77954 h 199219"/>
                <a:gd name="connsiteX155" fmla="*/ 12063 w 202775"/>
                <a:gd name="connsiteY155" fmla="*/ 76301 h 199219"/>
                <a:gd name="connsiteX156" fmla="*/ 13511 w 202775"/>
                <a:gd name="connsiteY156" fmla="*/ 76301 h 199219"/>
                <a:gd name="connsiteX157" fmla="*/ 13511 w 202775"/>
                <a:gd name="connsiteY157" fmla="*/ 78509 h 199219"/>
                <a:gd name="connsiteX158" fmla="*/ 15361 w 202775"/>
                <a:gd name="connsiteY158" fmla="*/ 77954 h 199219"/>
                <a:gd name="connsiteX159" fmla="*/ 17091 w 202775"/>
                <a:gd name="connsiteY159" fmla="*/ 78509 h 199219"/>
                <a:gd name="connsiteX160" fmla="*/ 19532 w 202775"/>
                <a:gd name="connsiteY160" fmla="*/ 79958 h 199219"/>
                <a:gd name="connsiteX161" fmla="*/ 21325 w 202775"/>
                <a:gd name="connsiteY161" fmla="*/ 79958 h 199219"/>
                <a:gd name="connsiteX162" fmla="*/ 21325 w 202775"/>
                <a:gd name="connsiteY162" fmla="*/ 78509 h 199219"/>
                <a:gd name="connsiteX163" fmla="*/ 21325 w 202775"/>
                <a:gd name="connsiteY163" fmla="*/ 77954 h 199219"/>
                <a:gd name="connsiteX164" fmla="*/ 22394 w 202775"/>
                <a:gd name="connsiteY164" fmla="*/ 79522 h 199219"/>
                <a:gd name="connsiteX165" fmla="*/ 23470 w 202775"/>
                <a:gd name="connsiteY165" fmla="*/ 81168 h 199219"/>
                <a:gd name="connsiteX166" fmla="*/ 24300 w 202775"/>
                <a:gd name="connsiteY166" fmla="*/ 79958 h 199219"/>
                <a:gd name="connsiteX167" fmla="*/ 25573 w 202775"/>
                <a:gd name="connsiteY167" fmla="*/ 81168 h 199219"/>
                <a:gd name="connsiteX168" fmla="*/ 24300 w 202775"/>
                <a:gd name="connsiteY168" fmla="*/ 82525 h 199219"/>
                <a:gd name="connsiteX169" fmla="*/ 25573 w 202775"/>
                <a:gd name="connsiteY169" fmla="*/ 84115 h 199219"/>
                <a:gd name="connsiteX170" fmla="*/ 27957 w 202775"/>
                <a:gd name="connsiteY170" fmla="*/ 84115 h 199219"/>
                <a:gd name="connsiteX171" fmla="*/ 28872 w 202775"/>
                <a:gd name="connsiteY171" fmla="*/ 83081 h 199219"/>
                <a:gd name="connsiteX172" fmla="*/ 31221 w 202775"/>
                <a:gd name="connsiteY172" fmla="*/ 82525 h 199219"/>
                <a:gd name="connsiteX173" fmla="*/ 31776 w 202775"/>
                <a:gd name="connsiteY173" fmla="*/ 84115 h 199219"/>
                <a:gd name="connsiteX174" fmla="*/ 29097 w 202775"/>
                <a:gd name="connsiteY174" fmla="*/ 84487 h 199219"/>
                <a:gd name="connsiteX175" fmla="*/ 32191 w 202775"/>
                <a:gd name="connsiteY175" fmla="*/ 85760 h 199219"/>
                <a:gd name="connsiteX176" fmla="*/ 33007 w 202775"/>
                <a:gd name="connsiteY176" fmla="*/ 84487 h 199219"/>
                <a:gd name="connsiteX177" fmla="*/ 34582 w 202775"/>
                <a:gd name="connsiteY177" fmla="*/ 84115 h 199219"/>
                <a:gd name="connsiteX178" fmla="*/ 36031 w 202775"/>
                <a:gd name="connsiteY178" fmla="*/ 85760 h 199219"/>
                <a:gd name="connsiteX179" fmla="*/ 36270 w 202775"/>
                <a:gd name="connsiteY179" fmla="*/ 87490 h 199219"/>
                <a:gd name="connsiteX180" fmla="*/ 35075 w 202775"/>
                <a:gd name="connsiteY180" fmla="*/ 89045 h 199219"/>
                <a:gd name="connsiteX181" fmla="*/ 35750 w 202775"/>
                <a:gd name="connsiteY181" fmla="*/ 90789 h 199219"/>
                <a:gd name="connsiteX182" fmla="*/ 38493 w 202775"/>
                <a:gd name="connsiteY182" fmla="*/ 91331 h 199219"/>
                <a:gd name="connsiteX183" fmla="*/ 40603 w 202775"/>
                <a:gd name="connsiteY183" fmla="*/ 90789 h 199219"/>
                <a:gd name="connsiteX184" fmla="*/ 40877 w 202775"/>
                <a:gd name="connsiteY184" fmla="*/ 92878 h 199219"/>
                <a:gd name="connsiteX185" fmla="*/ 39646 w 202775"/>
                <a:gd name="connsiteY185" fmla="*/ 93475 h 199219"/>
                <a:gd name="connsiteX186" fmla="*/ 40877 w 202775"/>
                <a:gd name="connsiteY186" fmla="*/ 94249 h 199219"/>
                <a:gd name="connsiteX187" fmla="*/ 43029 w 202775"/>
                <a:gd name="connsiteY187" fmla="*/ 95719 h 199219"/>
                <a:gd name="connsiteX188" fmla="*/ 43029 w 202775"/>
                <a:gd name="connsiteY188" fmla="*/ 97168 h 199219"/>
                <a:gd name="connsiteX189" fmla="*/ 41137 w 202775"/>
                <a:gd name="connsiteY189" fmla="*/ 98919 h 199219"/>
                <a:gd name="connsiteX190" fmla="*/ 40877 w 202775"/>
                <a:gd name="connsiteY190" fmla="*/ 101388 h 199219"/>
                <a:gd name="connsiteX191" fmla="*/ 43029 w 202775"/>
                <a:gd name="connsiteY191" fmla="*/ 103294 h 199219"/>
                <a:gd name="connsiteX192" fmla="*/ 45315 w 202775"/>
                <a:gd name="connsiteY192" fmla="*/ 105818 h 199219"/>
                <a:gd name="connsiteX193" fmla="*/ 46264 w 202775"/>
                <a:gd name="connsiteY193" fmla="*/ 108421 h 199219"/>
                <a:gd name="connsiteX194" fmla="*/ 49070 w 202775"/>
                <a:gd name="connsiteY194" fmla="*/ 110467 h 199219"/>
                <a:gd name="connsiteX195" fmla="*/ 50759 w 202775"/>
                <a:gd name="connsiteY195" fmla="*/ 111002 h 199219"/>
                <a:gd name="connsiteX196" fmla="*/ 52369 w 202775"/>
                <a:gd name="connsiteY196" fmla="*/ 111719 h 199219"/>
                <a:gd name="connsiteX197" fmla="*/ 54254 w 202775"/>
                <a:gd name="connsiteY197" fmla="*/ 113407 h 199219"/>
                <a:gd name="connsiteX198" fmla="*/ 55527 w 202775"/>
                <a:gd name="connsiteY198" fmla="*/ 112894 h 199219"/>
                <a:gd name="connsiteX199" fmla="*/ 57116 w 202775"/>
                <a:gd name="connsiteY199" fmla="*/ 113885 h 199219"/>
                <a:gd name="connsiteX200" fmla="*/ 55745 w 202775"/>
                <a:gd name="connsiteY200" fmla="*/ 114983 h 199219"/>
                <a:gd name="connsiteX201" fmla="*/ 55745 w 202775"/>
                <a:gd name="connsiteY201" fmla="*/ 116474 h 199219"/>
                <a:gd name="connsiteX202" fmla="*/ 57320 w 202775"/>
                <a:gd name="connsiteY202" fmla="*/ 117683 h 199219"/>
                <a:gd name="connsiteX203" fmla="*/ 58171 w 202775"/>
                <a:gd name="connsiteY203" fmla="*/ 120011 h 199219"/>
                <a:gd name="connsiteX204" fmla="*/ 55527 w 202775"/>
                <a:gd name="connsiteY204" fmla="*/ 124723 h 199219"/>
                <a:gd name="connsiteX205" fmla="*/ 55527 w 202775"/>
                <a:gd name="connsiteY205" fmla="*/ 126446 h 199219"/>
                <a:gd name="connsiteX206" fmla="*/ 58966 w 202775"/>
                <a:gd name="connsiteY206" fmla="*/ 129210 h 199219"/>
                <a:gd name="connsiteX207" fmla="*/ 62525 w 202775"/>
                <a:gd name="connsiteY207" fmla="*/ 132192 h 199219"/>
                <a:gd name="connsiteX208" fmla="*/ 63284 w 202775"/>
                <a:gd name="connsiteY208" fmla="*/ 136370 h 199219"/>
                <a:gd name="connsiteX209" fmla="*/ 64016 w 202775"/>
                <a:gd name="connsiteY209" fmla="*/ 139451 h 199219"/>
                <a:gd name="connsiteX210" fmla="*/ 64016 w 202775"/>
                <a:gd name="connsiteY210" fmla="*/ 141040 h 199219"/>
                <a:gd name="connsiteX211" fmla="*/ 62525 w 202775"/>
                <a:gd name="connsiteY211" fmla="*/ 139451 h 199219"/>
                <a:gd name="connsiteX212" fmla="*/ 61013 w 202775"/>
                <a:gd name="connsiteY212" fmla="*/ 134457 h 199219"/>
                <a:gd name="connsiteX213" fmla="*/ 56188 w 202775"/>
                <a:gd name="connsiteY213" fmla="*/ 131039 h 199219"/>
                <a:gd name="connsiteX214" fmla="*/ 56188 w 202775"/>
                <a:gd name="connsiteY214" fmla="*/ 133367 h 199219"/>
                <a:gd name="connsiteX215" fmla="*/ 55527 w 202775"/>
                <a:gd name="connsiteY215" fmla="*/ 139451 h 199219"/>
                <a:gd name="connsiteX216" fmla="*/ 55527 w 202775"/>
                <a:gd name="connsiteY216" fmla="*/ 145372 h 199219"/>
                <a:gd name="connsiteX217" fmla="*/ 56188 w 202775"/>
                <a:gd name="connsiteY217" fmla="*/ 147201 h 199219"/>
                <a:gd name="connsiteX218" fmla="*/ 57693 w 202775"/>
                <a:gd name="connsiteY218" fmla="*/ 148530 h 199219"/>
                <a:gd name="connsiteX219" fmla="*/ 57693 w 202775"/>
                <a:gd name="connsiteY219" fmla="*/ 150204 h 199219"/>
                <a:gd name="connsiteX220" fmla="*/ 56188 w 202775"/>
                <a:gd name="connsiteY220" fmla="*/ 150204 h 199219"/>
                <a:gd name="connsiteX221" fmla="*/ 54936 w 202775"/>
                <a:gd name="connsiteY221" fmla="*/ 151871 h 199219"/>
                <a:gd name="connsiteX222" fmla="*/ 53501 w 202775"/>
                <a:gd name="connsiteY222" fmla="*/ 165367 h 199219"/>
                <a:gd name="connsiteX223" fmla="*/ 51617 w 202775"/>
                <a:gd name="connsiteY223" fmla="*/ 172625 h 199219"/>
                <a:gd name="connsiteX224" fmla="*/ 48874 w 202775"/>
                <a:gd name="connsiteY224" fmla="*/ 176993 h 199219"/>
                <a:gd name="connsiteX225" fmla="*/ 46546 w 202775"/>
                <a:gd name="connsiteY225" fmla="*/ 177851 h 199219"/>
                <a:gd name="connsiteX226" fmla="*/ 47221 w 202775"/>
                <a:gd name="connsiteY226" fmla="*/ 178808 h 199219"/>
                <a:gd name="connsiteX227" fmla="*/ 49267 w 202775"/>
                <a:gd name="connsiteY227" fmla="*/ 179736 h 199219"/>
                <a:gd name="connsiteX228" fmla="*/ 51617 w 202775"/>
                <a:gd name="connsiteY228" fmla="*/ 180615 h 199219"/>
                <a:gd name="connsiteX229" fmla="*/ 51617 w 202775"/>
                <a:gd name="connsiteY229" fmla="*/ 182880 h 199219"/>
                <a:gd name="connsiteX230" fmla="*/ 52411 w 202775"/>
                <a:gd name="connsiteY230" fmla="*/ 183991 h 199219"/>
                <a:gd name="connsiteX231" fmla="*/ 55710 w 202775"/>
                <a:gd name="connsiteY231" fmla="*/ 184884 h 199219"/>
                <a:gd name="connsiteX232" fmla="*/ 57440 w 202775"/>
                <a:gd name="connsiteY232" fmla="*/ 185841 h 199219"/>
                <a:gd name="connsiteX233" fmla="*/ 57461 w 202775"/>
                <a:gd name="connsiteY233" fmla="*/ 185855 h 199219"/>
                <a:gd name="connsiteX234" fmla="*/ 60499 w 202775"/>
                <a:gd name="connsiteY234" fmla="*/ 186896 h 199219"/>
                <a:gd name="connsiteX235" fmla="*/ 64550 w 202775"/>
                <a:gd name="connsiteY235" fmla="*/ 189638 h 199219"/>
                <a:gd name="connsiteX236" fmla="*/ 66520 w 202775"/>
                <a:gd name="connsiteY236" fmla="*/ 189638 h 199219"/>
                <a:gd name="connsiteX237" fmla="*/ 70317 w 202775"/>
                <a:gd name="connsiteY237" fmla="*/ 189638 h 199219"/>
                <a:gd name="connsiteX238" fmla="*/ 72364 w 202775"/>
                <a:gd name="connsiteY238" fmla="*/ 191523 h 199219"/>
                <a:gd name="connsiteX239" fmla="*/ 75824 w 202775"/>
                <a:gd name="connsiteY239" fmla="*/ 191924 h 199219"/>
                <a:gd name="connsiteX240" fmla="*/ 80234 w 202775"/>
                <a:gd name="connsiteY240" fmla="*/ 192241 h 199219"/>
                <a:gd name="connsiteX241" fmla="*/ 83694 w 202775"/>
                <a:gd name="connsiteY241" fmla="*/ 191523 h 199219"/>
                <a:gd name="connsiteX242" fmla="*/ 84587 w 202775"/>
                <a:gd name="connsiteY242" fmla="*/ 190032 h 199219"/>
                <a:gd name="connsiteX243" fmla="*/ 86078 w 202775"/>
                <a:gd name="connsiteY243" fmla="*/ 189638 h 199219"/>
                <a:gd name="connsiteX244" fmla="*/ 88210 w 202775"/>
                <a:gd name="connsiteY244" fmla="*/ 189638 h 199219"/>
                <a:gd name="connsiteX245" fmla="*/ 90052 w 202775"/>
                <a:gd name="connsiteY245" fmla="*/ 190032 h 199219"/>
                <a:gd name="connsiteX246" fmla="*/ 91627 w 202775"/>
                <a:gd name="connsiteY246" fmla="*/ 190750 h 199219"/>
                <a:gd name="connsiteX247" fmla="*/ 91705 w 202775"/>
                <a:gd name="connsiteY247" fmla="*/ 190792 h 199219"/>
                <a:gd name="connsiteX248" fmla="*/ 93751 w 202775"/>
                <a:gd name="connsiteY248" fmla="*/ 191523 h 199219"/>
                <a:gd name="connsiteX249" fmla="*/ 96016 w 202775"/>
                <a:gd name="connsiteY249" fmla="*/ 193331 h 199219"/>
                <a:gd name="connsiteX250" fmla="*/ 97507 w 202775"/>
                <a:gd name="connsiteY250" fmla="*/ 193971 h 199219"/>
                <a:gd name="connsiteX251" fmla="*/ 99476 w 202775"/>
                <a:gd name="connsiteY251" fmla="*/ 193732 h 199219"/>
                <a:gd name="connsiteX252" fmla="*/ 101129 w 202775"/>
                <a:gd name="connsiteY252" fmla="*/ 194168 h 199219"/>
                <a:gd name="connsiteX253" fmla="*/ 102198 w 202775"/>
                <a:gd name="connsiteY253" fmla="*/ 195778 h 199219"/>
                <a:gd name="connsiteX254" fmla="*/ 104744 w 202775"/>
                <a:gd name="connsiteY254" fmla="*/ 198127 h 199219"/>
                <a:gd name="connsiteX255" fmla="*/ 106910 w 202775"/>
                <a:gd name="connsiteY255" fmla="*/ 198760 h 199219"/>
                <a:gd name="connsiteX256" fmla="*/ 108683 w 202775"/>
                <a:gd name="connsiteY256" fmla="*/ 197748 h 199219"/>
                <a:gd name="connsiteX257" fmla="*/ 110490 w 202775"/>
                <a:gd name="connsiteY257" fmla="*/ 197748 h 199219"/>
                <a:gd name="connsiteX258" fmla="*/ 112101 w 202775"/>
                <a:gd name="connsiteY258" fmla="*/ 199119 h 199219"/>
                <a:gd name="connsiteX259" fmla="*/ 113789 w 202775"/>
                <a:gd name="connsiteY259" fmla="*/ 198760 h 199219"/>
                <a:gd name="connsiteX260" fmla="*/ 115877 w 202775"/>
                <a:gd name="connsiteY260" fmla="*/ 198760 h 199219"/>
                <a:gd name="connsiteX261" fmla="*/ 118740 w 202775"/>
                <a:gd name="connsiteY261" fmla="*/ 197508 h 199219"/>
                <a:gd name="connsiteX262" fmla="*/ 121996 w 202775"/>
                <a:gd name="connsiteY262" fmla="*/ 196355 h 199219"/>
                <a:gd name="connsiteX263" fmla="*/ 121384 w 202775"/>
                <a:gd name="connsiteY263" fmla="*/ 193014 h 199219"/>
                <a:gd name="connsiteX264" fmla="*/ 121799 w 202775"/>
                <a:gd name="connsiteY264" fmla="*/ 186178 h 199219"/>
                <a:gd name="connsiteX265" fmla="*/ 123607 w 202775"/>
                <a:gd name="connsiteY265" fmla="*/ 182922 h 199219"/>
                <a:gd name="connsiteX266" fmla="*/ 126132 w 202775"/>
                <a:gd name="connsiteY266" fmla="*/ 179975 h 199219"/>
                <a:gd name="connsiteX267" fmla="*/ 129275 w 202775"/>
                <a:gd name="connsiteY267" fmla="*/ 179420 h 199219"/>
                <a:gd name="connsiteX268" fmla="*/ 130366 w 202775"/>
                <a:gd name="connsiteY268" fmla="*/ 177851 h 199219"/>
                <a:gd name="connsiteX269" fmla="*/ 132890 w 202775"/>
                <a:gd name="connsiteY269" fmla="*/ 176754 h 199219"/>
                <a:gd name="connsiteX270" fmla="*/ 135113 w 202775"/>
                <a:gd name="connsiteY270" fmla="*/ 174630 h 199219"/>
                <a:gd name="connsiteX271" fmla="*/ 137441 w 202775"/>
                <a:gd name="connsiteY271" fmla="*/ 173420 h 199219"/>
                <a:gd name="connsiteX272" fmla="*/ 138693 w 202775"/>
                <a:gd name="connsiteY272" fmla="*/ 173617 h 199219"/>
                <a:gd name="connsiteX273" fmla="*/ 139368 w 202775"/>
                <a:gd name="connsiteY273" fmla="*/ 174630 h 199219"/>
                <a:gd name="connsiteX274" fmla="*/ 140662 w 202775"/>
                <a:gd name="connsiteY274" fmla="*/ 175425 h 199219"/>
                <a:gd name="connsiteX275" fmla="*/ 143264 w 202775"/>
                <a:gd name="connsiteY275" fmla="*/ 175720 h 199219"/>
                <a:gd name="connsiteX276" fmla="*/ 145852 w 202775"/>
                <a:gd name="connsiteY276" fmla="*/ 176044 h 199219"/>
                <a:gd name="connsiteX277" fmla="*/ 146289 w 202775"/>
                <a:gd name="connsiteY277" fmla="*/ 176437 h 199219"/>
                <a:gd name="connsiteX278" fmla="*/ 146563 w 202775"/>
                <a:gd name="connsiteY278" fmla="*/ 177851 h 199219"/>
                <a:gd name="connsiteX279" fmla="*/ 148609 w 202775"/>
                <a:gd name="connsiteY279" fmla="*/ 177851 h 199219"/>
                <a:gd name="connsiteX280" fmla="*/ 149946 w 202775"/>
                <a:gd name="connsiteY280" fmla="*/ 176993 h 199219"/>
                <a:gd name="connsiteX281" fmla="*/ 151078 w 202775"/>
                <a:gd name="connsiteY281" fmla="*/ 176044 h 199219"/>
                <a:gd name="connsiteX282" fmla="*/ 152604 w 202775"/>
                <a:gd name="connsiteY282" fmla="*/ 176993 h 199219"/>
                <a:gd name="connsiteX283" fmla="*/ 154693 w 202775"/>
                <a:gd name="connsiteY283" fmla="*/ 178723 h 199219"/>
                <a:gd name="connsiteX284" fmla="*/ 156542 w 202775"/>
                <a:gd name="connsiteY284" fmla="*/ 178168 h 199219"/>
                <a:gd name="connsiteX285" fmla="*/ 158034 w 202775"/>
                <a:gd name="connsiteY285" fmla="*/ 178407 h 199219"/>
                <a:gd name="connsiteX286" fmla="*/ 158315 w 202775"/>
                <a:gd name="connsiteY286" fmla="*/ 180095 h 199219"/>
                <a:gd name="connsiteX287" fmla="*/ 159764 w 202775"/>
                <a:gd name="connsiteY287" fmla="*/ 180615 h 199219"/>
                <a:gd name="connsiteX288" fmla="*/ 161093 w 202775"/>
                <a:gd name="connsiteY288" fmla="*/ 181466 h 199219"/>
                <a:gd name="connsiteX289" fmla="*/ 164019 w 202775"/>
                <a:gd name="connsiteY289" fmla="*/ 182641 h 199219"/>
                <a:gd name="connsiteX290" fmla="*/ 165826 w 202775"/>
                <a:gd name="connsiteY290" fmla="*/ 184251 h 199219"/>
                <a:gd name="connsiteX291" fmla="*/ 166480 w 202775"/>
                <a:gd name="connsiteY291" fmla="*/ 182641 h 199219"/>
                <a:gd name="connsiteX292" fmla="*/ 167472 w 202775"/>
                <a:gd name="connsiteY292" fmla="*/ 183274 h 199219"/>
                <a:gd name="connsiteX293" fmla="*/ 170855 w 202775"/>
                <a:gd name="connsiteY293" fmla="*/ 183991 h 199219"/>
                <a:gd name="connsiteX294" fmla="*/ 173042 w 202775"/>
                <a:gd name="connsiteY294" fmla="*/ 183077 h 199219"/>
                <a:gd name="connsiteX295" fmla="*/ 176242 w 202775"/>
                <a:gd name="connsiteY295" fmla="*/ 182226 h 199219"/>
                <a:gd name="connsiteX296" fmla="*/ 177733 w 202775"/>
                <a:gd name="connsiteY296" fmla="*/ 182226 h 199219"/>
                <a:gd name="connsiteX297" fmla="*/ 178345 w 202775"/>
                <a:gd name="connsiteY297" fmla="*/ 180615 h 199219"/>
                <a:gd name="connsiteX298" fmla="*/ 177733 w 202775"/>
                <a:gd name="connsiteY298" fmla="*/ 179004 h 199219"/>
                <a:gd name="connsiteX299" fmla="*/ 179259 w 202775"/>
                <a:gd name="connsiteY299" fmla="*/ 177535 h 199219"/>
                <a:gd name="connsiteX300" fmla="*/ 182044 w 202775"/>
                <a:gd name="connsiteY300" fmla="*/ 176044 h 199219"/>
                <a:gd name="connsiteX301" fmla="*/ 182980 w 202775"/>
                <a:gd name="connsiteY301" fmla="*/ 173955 h 199219"/>
                <a:gd name="connsiteX302" fmla="*/ 185244 w 202775"/>
                <a:gd name="connsiteY302" fmla="*/ 173955 h 199219"/>
                <a:gd name="connsiteX303" fmla="*/ 186236 w 202775"/>
                <a:gd name="connsiteY303" fmla="*/ 171549 h 199219"/>
                <a:gd name="connsiteX304" fmla="*/ 188128 w 202775"/>
                <a:gd name="connsiteY304" fmla="*/ 171233 h 199219"/>
                <a:gd name="connsiteX305" fmla="*/ 190273 w 202775"/>
                <a:gd name="connsiteY305" fmla="*/ 169524 h 199219"/>
                <a:gd name="connsiteX306" fmla="*/ 193993 w 202775"/>
                <a:gd name="connsiteY306" fmla="*/ 160479 h 199219"/>
                <a:gd name="connsiteX307" fmla="*/ 188128 w 202775"/>
                <a:gd name="connsiteY307" fmla="*/ 160479 h 199219"/>
                <a:gd name="connsiteX308" fmla="*/ 182459 w 202775"/>
                <a:gd name="connsiteY308" fmla="*/ 156464 h 199219"/>
                <a:gd name="connsiteX309" fmla="*/ 181369 w 202775"/>
                <a:gd name="connsiteY309" fmla="*/ 152490 h 199219"/>
                <a:gd name="connsiteX310" fmla="*/ 184211 w 202775"/>
                <a:gd name="connsiteY310" fmla="*/ 147616 h 199219"/>
                <a:gd name="connsiteX311" fmla="*/ 183775 w 202775"/>
                <a:gd name="connsiteY311" fmla="*/ 145513 h 199219"/>
                <a:gd name="connsiteX312" fmla="*/ 181728 w 202775"/>
                <a:gd name="connsiteY312" fmla="*/ 145513 h 199219"/>
                <a:gd name="connsiteX313" fmla="*/ 178647 w 202775"/>
                <a:gd name="connsiteY313" fmla="*/ 141497 h 199219"/>
                <a:gd name="connsiteX314" fmla="*/ 179759 w 202775"/>
                <a:gd name="connsiteY314" fmla="*/ 138972 h 199219"/>
                <a:gd name="connsiteX315" fmla="*/ 185505 w 202775"/>
                <a:gd name="connsiteY315" fmla="*/ 135695 h 199219"/>
                <a:gd name="connsiteX316" fmla="*/ 185920 w 202775"/>
                <a:gd name="connsiteY316" fmla="*/ 132375 h 199219"/>
                <a:gd name="connsiteX317" fmla="*/ 183775 w 202775"/>
                <a:gd name="connsiteY317" fmla="*/ 131693 h 199219"/>
                <a:gd name="connsiteX318" fmla="*/ 183775 w 202775"/>
                <a:gd name="connsiteY318" fmla="*/ 129407 h 199219"/>
                <a:gd name="connsiteX319" fmla="*/ 182164 w 202775"/>
                <a:gd name="connsiteY319" fmla="*/ 127065 h 199219"/>
                <a:gd name="connsiteX320" fmla="*/ 180575 w 202775"/>
                <a:gd name="connsiteY320" fmla="*/ 123486 h 199219"/>
                <a:gd name="connsiteX321" fmla="*/ 183775 w 202775"/>
                <a:gd name="connsiteY321" fmla="*/ 121995 h 199219"/>
                <a:gd name="connsiteX322" fmla="*/ 181630 w 202775"/>
                <a:gd name="connsiteY322" fmla="*/ 118935 h 199219"/>
                <a:gd name="connsiteX323" fmla="*/ 180575 w 202775"/>
                <a:gd name="connsiteY323" fmla="*/ 112479 h 199219"/>
                <a:gd name="connsiteX324" fmla="*/ 179815 w 202775"/>
                <a:gd name="connsiteY324" fmla="*/ 109595 h 199219"/>
                <a:gd name="connsiteX325" fmla="*/ 174568 w 202775"/>
                <a:gd name="connsiteY325" fmla="*/ 110509 h 199219"/>
                <a:gd name="connsiteX326" fmla="*/ 171650 w 202775"/>
                <a:gd name="connsiteY326" fmla="*/ 115116 h 199219"/>
                <a:gd name="connsiteX327" fmla="*/ 168309 w 202775"/>
                <a:gd name="connsiteY327" fmla="*/ 116832 h 199219"/>
                <a:gd name="connsiteX328" fmla="*/ 167873 w 202775"/>
                <a:gd name="connsiteY328" fmla="*/ 114265 h 199219"/>
                <a:gd name="connsiteX329" fmla="*/ 169265 w 202775"/>
                <a:gd name="connsiteY329" fmla="*/ 110509 h 199219"/>
                <a:gd name="connsiteX330" fmla="*/ 167873 w 202775"/>
                <a:gd name="connsiteY330" fmla="*/ 109595 h 199219"/>
                <a:gd name="connsiteX331" fmla="*/ 172859 w 202775"/>
                <a:gd name="connsiteY331" fmla="*/ 105460 h 199219"/>
                <a:gd name="connsiteX332" fmla="*/ 176418 w 202775"/>
                <a:gd name="connsiteY332" fmla="*/ 98406 h 199219"/>
                <a:gd name="connsiteX333" fmla="*/ 178605 w 202775"/>
                <a:gd name="connsiteY333" fmla="*/ 95480 h 199219"/>
                <a:gd name="connsiteX334" fmla="*/ 182642 w 202775"/>
                <a:gd name="connsiteY334" fmla="*/ 92181 h 199219"/>
                <a:gd name="connsiteX335" fmla="*/ 182642 w 202775"/>
                <a:gd name="connsiteY335" fmla="*/ 88904 h 199219"/>
                <a:gd name="connsiteX336" fmla="*/ 182642 w 202775"/>
                <a:gd name="connsiteY336" fmla="*/ 86077 h 199219"/>
                <a:gd name="connsiteX337" fmla="*/ 186138 w 202775"/>
                <a:gd name="connsiteY337" fmla="*/ 87195 h 199219"/>
                <a:gd name="connsiteX338" fmla="*/ 191131 w 202775"/>
                <a:gd name="connsiteY338" fmla="*/ 85226 h 199219"/>
                <a:gd name="connsiteX339" fmla="*/ 193037 w 202775"/>
                <a:gd name="connsiteY339" fmla="*/ 83278 h 199219"/>
                <a:gd name="connsiteX340" fmla="*/ 192242 w 202775"/>
                <a:gd name="connsiteY340" fmla="*/ 79916 h 199219"/>
                <a:gd name="connsiteX341" fmla="*/ 193037 w 202775"/>
                <a:gd name="connsiteY341" fmla="*/ 70098 h 199219"/>
                <a:gd name="connsiteX342" fmla="*/ 196652 w 202775"/>
                <a:gd name="connsiteY342" fmla="*/ 62185 h 199219"/>
                <a:gd name="connsiteX343" fmla="*/ 202658 w 202775"/>
                <a:gd name="connsiteY343" fmla="*/ 52649 h 199219"/>
                <a:gd name="connsiteX344" fmla="*/ 201484 w 202775"/>
                <a:gd name="connsiteY344" fmla="*/ 50841 h 199219"/>
                <a:gd name="connsiteX345" fmla="*/ 193832 w 202775"/>
                <a:gd name="connsiteY345" fmla="*/ 49765 h 199219"/>
                <a:gd name="connsiteX346" fmla="*/ 192622 w 202775"/>
                <a:gd name="connsiteY346" fmla="*/ 47655 h 199219"/>
                <a:gd name="connsiteX347" fmla="*/ 191187 w 202775"/>
                <a:gd name="connsiteY347" fmla="*/ 46389 h 199219"/>
                <a:gd name="connsiteX348" fmla="*/ 183057 w 202775"/>
                <a:gd name="connsiteY348" fmla="*/ 46389 h 199219"/>
                <a:gd name="connsiteX349" fmla="*/ 179935 w 202775"/>
                <a:gd name="connsiteY349" fmla="*/ 46389 h 199219"/>
                <a:gd name="connsiteX350" fmla="*/ 176538 w 202775"/>
                <a:gd name="connsiteY350" fmla="*/ 41340 h 199219"/>
                <a:gd name="connsiteX351" fmla="*/ 173872 w 202775"/>
                <a:gd name="connsiteY351" fmla="*/ 40102 h 199219"/>
                <a:gd name="connsiteX352" fmla="*/ 172824 w 202775"/>
                <a:gd name="connsiteY352" fmla="*/ 39054 h 199219"/>
                <a:gd name="connsiteX353" fmla="*/ 168154 w 202775"/>
                <a:gd name="connsiteY353" fmla="*/ 39687 h 199219"/>
                <a:gd name="connsiteX354" fmla="*/ 166220 w 202775"/>
                <a:gd name="connsiteY354" fmla="*/ 37879 h 199219"/>
                <a:gd name="connsiteX355" fmla="*/ 160242 w 202775"/>
                <a:gd name="connsiteY355" fmla="*/ 37879 h 199219"/>
                <a:gd name="connsiteX356" fmla="*/ 157633 w 202775"/>
                <a:gd name="connsiteY356" fmla="*/ 35432 h 199219"/>
                <a:gd name="connsiteX357" fmla="*/ 152843 w 202775"/>
                <a:gd name="connsiteY357" fmla="*/ 31718 h 199219"/>
                <a:gd name="connsiteX358" fmla="*/ 146746 w 202775"/>
                <a:gd name="connsiteY358" fmla="*/ 28694 h 199219"/>
                <a:gd name="connsiteX359" fmla="*/ 138158 w 202775"/>
                <a:gd name="connsiteY359" fmla="*/ 26429 h 199219"/>
                <a:gd name="connsiteX360" fmla="*/ 136365 w 202775"/>
                <a:gd name="connsiteY360" fmla="*/ 22596 h 199219"/>
                <a:gd name="connsiteX361" fmla="*/ 133959 w 202775"/>
                <a:gd name="connsiteY361" fmla="*/ 20269 h 199219"/>
                <a:gd name="connsiteX362" fmla="*/ 129887 w 202775"/>
                <a:gd name="connsiteY362" fmla="*/ 14501 h 199219"/>
                <a:gd name="connsiteX363" fmla="*/ 124479 w 202775"/>
                <a:gd name="connsiteY363" fmla="*/ 9733 h 199219"/>
                <a:gd name="connsiteX364" fmla="*/ 122791 w 202775"/>
                <a:gd name="connsiteY364" fmla="*/ 7229 h 199219"/>
                <a:gd name="connsiteX365" fmla="*/ 121602 w 202775"/>
                <a:gd name="connsiteY365" fmla="*/ 6990 h 199219"/>
                <a:gd name="connsiteX366" fmla="*/ 118177 w 202775"/>
                <a:gd name="connsiteY366" fmla="*/ 9353 h 199219"/>
                <a:gd name="connsiteX367" fmla="*/ 117108 w 202775"/>
                <a:gd name="connsiteY367" fmla="*/ 8601 h 199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</a:cxnLst>
              <a:rect l="l" t="t" r="r" b="b"/>
              <a:pathLst>
                <a:path w="202775" h="199219">
                  <a:moveTo>
                    <a:pt x="117108" y="8601"/>
                  </a:moveTo>
                  <a:lnTo>
                    <a:pt x="113191" y="513"/>
                  </a:lnTo>
                  <a:cubicBezTo>
                    <a:pt x="112635" y="-641"/>
                    <a:pt x="109477" y="513"/>
                    <a:pt x="108880" y="513"/>
                  </a:cubicBezTo>
                  <a:cubicBezTo>
                    <a:pt x="108282" y="513"/>
                    <a:pt x="104526" y="2060"/>
                    <a:pt x="103851" y="2538"/>
                  </a:cubicBezTo>
                  <a:cubicBezTo>
                    <a:pt x="103176" y="3016"/>
                    <a:pt x="101045" y="3410"/>
                    <a:pt x="99497" y="4683"/>
                  </a:cubicBezTo>
                  <a:cubicBezTo>
                    <a:pt x="97943" y="5956"/>
                    <a:pt x="98724" y="14501"/>
                    <a:pt x="98724" y="15915"/>
                  </a:cubicBezTo>
                  <a:lnTo>
                    <a:pt x="98724" y="20269"/>
                  </a:lnTo>
                  <a:cubicBezTo>
                    <a:pt x="98724" y="21717"/>
                    <a:pt x="96691" y="23708"/>
                    <a:pt x="96558" y="24045"/>
                  </a:cubicBezTo>
                  <a:cubicBezTo>
                    <a:pt x="96417" y="24383"/>
                    <a:pt x="94624" y="25396"/>
                    <a:pt x="94349" y="25832"/>
                  </a:cubicBezTo>
                  <a:cubicBezTo>
                    <a:pt x="94068" y="26268"/>
                    <a:pt x="92598" y="27287"/>
                    <a:pt x="92120" y="27365"/>
                  </a:cubicBezTo>
                  <a:cubicBezTo>
                    <a:pt x="91649" y="27442"/>
                    <a:pt x="90713" y="28279"/>
                    <a:pt x="90334" y="28539"/>
                  </a:cubicBezTo>
                  <a:cubicBezTo>
                    <a:pt x="89954" y="28792"/>
                    <a:pt x="89222" y="29053"/>
                    <a:pt x="88210" y="29116"/>
                  </a:cubicBezTo>
                  <a:cubicBezTo>
                    <a:pt x="87190" y="29172"/>
                    <a:pt x="85403" y="29215"/>
                    <a:pt x="85087" y="29334"/>
                  </a:cubicBezTo>
                  <a:lnTo>
                    <a:pt x="85066" y="29341"/>
                  </a:lnTo>
                  <a:cubicBezTo>
                    <a:pt x="84756" y="29454"/>
                    <a:pt x="84482" y="29559"/>
                    <a:pt x="84151" y="29869"/>
                  </a:cubicBezTo>
                  <a:cubicBezTo>
                    <a:pt x="83814" y="30185"/>
                    <a:pt x="82921" y="30206"/>
                    <a:pt x="82583" y="30262"/>
                  </a:cubicBezTo>
                  <a:cubicBezTo>
                    <a:pt x="82246" y="30326"/>
                    <a:pt x="81908" y="30980"/>
                    <a:pt x="81605" y="31043"/>
                  </a:cubicBezTo>
                  <a:cubicBezTo>
                    <a:pt x="81310" y="31099"/>
                    <a:pt x="81113" y="31718"/>
                    <a:pt x="80895" y="31957"/>
                  </a:cubicBezTo>
                  <a:cubicBezTo>
                    <a:pt x="80670" y="32197"/>
                    <a:pt x="80058" y="31957"/>
                    <a:pt x="79742" y="31957"/>
                  </a:cubicBezTo>
                  <a:cubicBezTo>
                    <a:pt x="79418" y="31957"/>
                    <a:pt x="79481" y="32492"/>
                    <a:pt x="79123" y="32731"/>
                  </a:cubicBezTo>
                  <a:cubicBezTo>
                    <a:pt x="78764" y="32970"/>
                    <a:pt x="77435" y="32970"/>
                    <a:pt x="77196" y="33329"/>
                  </a:cubicBezTo>
                  <a:cubicBezTo>
                    <a:pt x="76957" y="33687"/>
                    <a:pt x="77196" y="34616"/>
                    <a:pt x="76816" y="34939"/>
                  </a:cubicBezTo>
                  <a:cubicBezTo>
                    <a:pt x="76443" y="35256"/>
                    <a:pt x="76302" y="36149"/>
                    <a:pt x="76021" y="36346"/>
                  </a:cubicBezTo>
                  <a:cubicBezTo>
                    <a:pt x="75747" y="36550"/>
                    <a:pt x="75747" y="38751"/>
                    <a:pt x="75747" y="39089"/>
                  </a:cubicBezTo>
                  <a:cubicBezTo>
                    <a:pt x="75747" y="39427"/>
                    <a:pt x="78729" y="39328"/>
                    <a:pt x="79123" y="39490"/>
                  </a:cubicBezTo>
                  <a:cubicBezTo>
                    <a:pt x="79524" y="39645"/>
                    <a:pt x="79242" y="39870"/>
                    <a:pt x="79123" y="40207"/>
                  </a:cubicBezTo>
                  <a:cubicBezTo>
                    <a:pt x="79003" y="40545"/>
                    <a:pt x="77709" y="40362"/>
                    <a:pt x="77196" y="40404"/>
                  </a:cubicBezTo>
                  <a:cubicBezTo>
                    <a:pt x="76675" y="40446"/>
                    <a:pt x="76302" y="40643"/>
                    <a:pt x="75747" y="41375"/>
                  </a:cubicBezTo>
                  <a:cubicBezTo>
                    <a:pt x="75184" y="42113"/>
                    <a:pt x="74987" y="41874"/>
                    <a:pt x="74790" y="42254"/>
                  </a:cubicBezTo>
                  <a:cubicBezTo>
                    <a:pt x="74593" y="42627"/>
                    <a:pt x="72884" y="42985"/>
                    <a:pt x="72624" y="43084"/>
                  </a:cubicBezTo>
                  <a:cubicBezTo>
                    <a:pt x="72364" y="43189"/>
                    <a:pt x="71851" y="43703"/>
                    <a:pt x="71633" y="43942"/>
                  </a:cubicBezTo>
                  <a:cubicBezTo>
                    <a:pt x="71407" y="44181"/>
                    <a:pt x="70613" y="43921"/>
                    <a:pt x="69902" y="43942"/>
                  </a:cubicBezTo>
                  <a:cubicBezTo>
                    <a:pt x="69185" y="43963"/>
                    <a:pt x="68988" y="43048"/>
                    <a:pt x="68552" y="42830"/>
                  </a:cubicBezTo>
                  <a:cubicBezTo>
                    <a:pt x="68109" y="42613"/>
                    <a:pt x="68193" y="42648"/>
                    <a:pt x="67989" y="42451"/>
                  </a:cubicBezTo>
                  <a:cubicBezTo>
                    <a:pt x="67793" y="42254"/>
                    <a:pt x="67434" y="41994"/>
                    <a:pt x="67096" y="41994"/>
                  </a:cubicBezTo>
                  <a:lnTo>
                    <a:pt x="64733" y="41994"/>
                  </a:lnTo>
                  <a:cubicBezTo>
                    <a:pt x="64276" y="41994"/>
                    <a:pt x="61273" y="41994"/>
                    <a:pt x="60619" y="41853"/>
                  </a:cubicBezTo>
                  <a:cubicBezTo>
                    <a:pt x="59965" y="41712"/>
                    <a:pt x="60281" y="41417"/>
                    <a:pt x="60098" y="41178"/>
                  </a:cubicBezTo>
                  <a:cubicBezTo>
                    <a:pt x="59922" y="40939"/>
                    <a:pt x="57813" y="41178"/>
                    <a:pt x="57573" y="41178"/>
                  </a:cubicBezTo>
                  <a:cubicBezTo>
                    <a:pt x="57341" y="41178"/>
                    <a:pt x="57320" y="41656"/>
                    <a:pt x="57201" y="41853"/>
                  </a:cubicBezTo>
                  <a:cubicBezTo>
                    <a:pt x="57081" y="42050"/>
                    <a:pt x="56645" y="41994"/>
                    <a:pt x="56322" y="41994"/>
                  </a:cubicBezTo>
                  <a:cubicBezTo>
                    <a:pt x="56005" y="41994"/>
                    <a:pt x="55829" y="41797"/>
                    <a:pt x="55668" y="41656"/>
                  </a:cubicBezTo>
                  <a:cubicBezTo>
                    <a:pt x="55513" y="41515"/>
                    <a:pt x="55407" y="40939"/>
                    <a:pt x="55393" y="40643"/>
                  </a:cubicBezTo>
                  <a:cubicBezTo>
                    <a:pt x="55372" y="40341"/>
                    <a:pt x="55288" y="40144"/>
                    <a:pt x="55013" y="39870"/>
                  </a:cubicBezTo>
                  <a:cubicBezTo>
                    <a:pt x="54732" y="39588"/>
                    <a:pt x="53762" y="37499"/>
                    <a:pt x="53762" y="37162"/>
                  </a:cubicBezTo>
                  <a:cubicBezTo>
                    <a:pt x="53762" y="36824"/>
                    <a:pt x="53741" y="36388"/>
                    <a:pt x="53762" y="36149"/>
                  </a:cubicBezTo>
                  <a:cubicBezTo>
                    <a:pt x="53783" y="35910"/>
                    <a:pt x="54219" y="35868"/>
                    <a:pt x="54219" y="35811"/>
                  </a:cubicBezTo>
                  <a:cubicBezTo>
                    <a:pt x="54219" y="35755"/>
                    <a:pt x="54514" y="35193"/>
                    <a:pt x="54514" y="34939"/>
                  </a:cubicBezTo>
                  <a:cubicBezTo>
                    <a:pt x="54514" y="34679"/>
                    <a:pt x="54577" y="34342"/>
                    <a:pt x="54514" y="34124"/>
                  </a:cubicBezTo>
                  <a:cubicBezTo>
                    <a:pt x="54458" y="33906"/>
                    <a:pt x="54479" y="33786"/>
                    <a:pt x="54219" y="33786"/>
                  </a:cubicBezTo>
                  <a:lnTo>
                    <a:pt x="53185" y="33786"/>
                  </a:lnTo>
                  <a:cubicBezTo>
                    <a:pt x="52728" y="33786"/>
                    <a:pt x="52566" y="33786"/>
                    <a:pt x="52292" y="33645"/>
                  </a:cubicBezTo>
                  <a:cubicBezTo>
                    <a:pt x="52010" y="33505"/>
                    <a:pt x="51258" y="34180"/>
                    <a:pt x="51138" y="34539"/>
                  </a:cubicBezTo>
                  <a:cubicBezTo>
                    <a:pt x="51019" y="34897"/>
                    <a:pt x="50280" y="34939"/>
                    <a:pt x="49788" y="34939"/>
                  </a:cubicBezTo>
                  <a:cubicBezTo>
                    <a:pt x="49289" y="34939"/>
                    <a:pt x="47101" y="34560"/>
                    <a:pt x="46841" y="34539"/>
                  </a:cubicBezTo>
                  <a:cubicBezTo>
                    <a:pt x="46588" y="34517"/>
                    <a:pt x="45315" y="33188"/>
                    <a:pt x="45055" y="32872"/>
                  </a:cubicBezTo>
                  <a:cubicBezTo>
                    <a:pt x="44794" y="32555"/>
                    <a:pt x="44183" y="33167"/>
                    <a:pt x="44358" y="33786"/>
                  </a:cubicBezTo>
                  <a:cubicBezTo>
                    <a:pt x="44534" y="34398"/>
                    <a:pt x="45491" y="34756"/>
                    <a:pt x="45491" y="34939"/>
                  </a:cubicBezTo>
                  <a:cubicBezTo>
                    <a:pt x="45491" y="35115"/>
                    <a:pt x="45413" y="37640"/>
                    <a:pt x="45653" y="38611"/>
                  </a:cubicBezTo>
                  <a:cubicBezTo>
                    <a:pt x="45892" y="39588"/>
                    <a:pt x="46046" y="39827"/>
                    <a:pt x="46229" y="40503"/>
                  </a:cubicBezTo>
                  <a:cubicBezTo>
                    <a:pt x="46405" y="41178"/>
                    <a:pt x="46707" y="40981"/>
                    <a:pt x="47101" y="41178"/>
                  </a:cubicBezTo>
                  <a:cubicBezTo>
                    <a:pt x="47488" y="41375"/>
                    <a:pt x="47987" y="42071"/>
                    <a:pt x="48107" y="42240"/>
                  </a:cubicBezTo>
                  <a:lnTo>
                    <a:pt x="48114" y="42254"/>
                  </a:lnTo>
                  <a:cubicBezTo>
                    <a:pt x="48212" y="42387"/>
                    <a:pt x="48255" y="43604"/>
                    <a:pt x="48297" y="44040"/>
                  </a:cubicBezTo>
                  <a:cubicBezTo>
                    <a:pt x="48332" y="44476"/>
                    <a:pt x="49148" y="45032"/>
                    <a:pt x="49345" y="45433"/>
                  </a:cubicBezTo>
                  <a:cubicBezTo>
                    <a:pt x="49549" y="45827"/>
                    <a:pt x="49345" y="46206"/>
                    <a:pt x="49345" y="46762"/>
                  </a:cubicBezTo>
                  <a:cubicBezTo>
                    <a:pt x="49345" y="47318"/>
                    <a:pt x="49802" y="47536"/>
                    <a:pt x="49802" y="48253"/>
                  </a:cubicBezTo>
                  <a:cubicBezTo>
                    <a:pt x="49802" y="48970"/>
                    <a:pt x="49802" y="49624"/>
                    <a:pt x="50161" y="50103"/>
                  </a:cubicBezTo>
                  <a:cubicBezTo>
                    <a:pt x="50519" y="50581"/>
                    <a:pt x="50161" y="50504"/>
                    <a:pt x="50161" y="50996"/>
                  </a:cubicBezTo>
                  <a:cubicBezTo>
                    <a:pt x="50161" y="51495"/>
                    <a:pt x="49802" y="51552"/>
                    <a:pt x="49802" y="52311"/>
                  </a:cubicBezTo>
                  <a:cubicBezTo>
                    <a:pt x="49802" y="53064"/>
                    <a:pt x="49767" y="52888"/>
                    <a:pt x="49802" y="53521"/>
                  </a:cubicBezTo>
                  <a:cubicBezTo>
                    <a:pt x="49844" y="54161"/>
                    <a:pt x="50006" y="54773"/>
                    <a:pt x="50161" y="55532"/>
                  </a:cubicBezTo>
                  <a:cubicBezTo>
                    <a:pt x="50322" y="56285"/>
                    <a:pt x="50161" y="56700"/>
                    <a:pt x="50639" y="57220"/>
                  </a:cubicBezTo>
                  <a:cubicBezTo>
                    <a:pt x="51117" y="57734"/>
                    <a:pt x="51194" y="57755"/>
                    <a:pt x="51736" y="58430"/>
                  </a:cubicBezTo>
                  <a:cubicBezTo>
                    <a:pt x="52271" y="59105"/>
                    <a:pt x="51694" y="58810"/>
                    <a:pt x="51736" y="59323"/>
                  </a:cubicBezTo>
                  <a:cubicBezTo>
                    <a:pt x="51771" y="59844"/>
                    <a:pt x="51279" y="59407"/>
                    <a:pt x="50639" y="59323"/>
                  </a:cubicBezTo>
                  <a:cubicBezTo>
                    <a:pt x="50006" y="59246"/>
                    <a:pt x="49921" y="59365"/>
                    <a:pt x="49345" y="59724"/>
                  </a:cubicBezTo>
                  <a:cubicBezTo>
                    <a:pt x="48768" y="60083"/>
                    <a:pt x="48037" y="59724"/>
                    <a:pt x="47340" y="59724"/>
                  </a:cubicBezTo>
                  <a:lnTo>
                    <a:pt x="45610" y="59724"/>
                  </a:lnTo>
                  <a:cubicBezTo>
                    <a:pt x="45097" y="59724"/>
                    <a:pt x="45336" y="58071"/>
                    <a:pt x="45252" y="57755"/>
                  </a:cubicBezTo>
                  <a:cubicBezTo>
                    <a:pt x="45174" y="57438"/>
                    <a:pt x="44893" y="57537"/>
                    <a:pt x="44436" y="57537"/>
                  </a:cubicBezTo>
                  <a:cubicBezTo>
                    <a:pt x="43979" y="57537"/>
                    <a:pt x="43725" y="57994"/>
                    <a:pt x="43050" y="58810"/>
                  </a:cubicBezTo>
                  <a:cubicBezTo>
                    <a:pt x="42368" y="59625"/>
                    <a:pt x="41102" y="59724"/>
                    <a:pt x="40364" y="60357"/>
                  </a:cubicBezTo>
                  <a:cubicBezTo>
                    <a:pt x="40047" y="60680"/>
                    <a:pt x="39731" y="60357"/>
                    <a:pt x="39133" y="60357"/>
                  </a:cubicBezTo>
                  <a:cubicBezTo>
                    <a:pt x="38535" y="60357"/>
                    <a:pt x="38873" y="60040"/>
                    <a:pt x="38732" y="59724"/>
                  </a:cubicBezTo>
                  <a:cubicBezTo>
                    <a:pt x="38591" y="59407"/>
                    <a:pt x="38415" y="59443"/>
                    <a:pt x="38176" y="58810"/>
                  </a:cubicBezTo>
                  <a:cubicBezTo>
                    <a:pt x="37937" y="58170"/>
                    <a:pt x="37818" y="58810"/>
                    <a:pt x="37501" y="58430"/>
                  </a:cubicBezTo>
                  <a:cubicBezTo>
                    <a:pt x="37185" y="58050"/>
                    <a:pt x="37086" y="58810"/>
                    <a:pt x="36306" y="58810"/>
                  </a:cubicBezTo>
                  <a:cubicBezTo>
                    <a:pt x="35532" y="58810"/>
                    <a:pt x="35616" y="59189"/>
                    <a:pt x="34245" y="60040"/>
                  </a:cubicBezTo>
                  <a:cubicBezTo>
                    <a:pt x="33788" y="60441"/>
                    <a:pt x="33802" y="60596"/>
                    <a:pt x="33563" y="61194"/>
                  </a:cubicBezTo>
                  <a:cubicBezTo>
                    <a:pt x="33331" y="61792"/>
                    <a:pt x="32930" y="61651"/>
                    <a:pt x="32690" y="61911"/>
                  </a:cubicBezTo>
                  <a:cubicBezTo>
                    <a:pt x="32451" y="62171"/>
                    <a:pt x="32156" y="62368"/>
                    <a:pt x="31699" y="62249"/>
                  </a:cubicBezTo>
                  <a:cubicBezTo>
                    <a:pt x="31242" y="62129"/>
                    <a:pt x="31600" y="61651"/>
                    <a:pt x="31418" y="61194"/>
                  </a:cubicBezTo>
                  <a:cubicBezTo>
                    <a:pt x="31242" y="60737"/>
                    <a:pt x="31143" y="60737"/>
                    <a:pt x="30742" y="60596"/>
                  </a:cubicBezTo>
                  <a:cubicBezTo>
                    <a:pt x="30349" y="60455"/>
                    <a:pt x="30187" y="60498"/>
                    <a:pt x="29870" y="60040"/>
                  </a:cubicBezTo>
                  <a:cubicBezTo>
                    <a:pt x="29554" y="59583"/>
                    <a:pt x="29315" y="59189"/>
                    <a:pt x="29132" y="58810"/>
                  </a:cubicBezTo>
                  <a:cubicBezTo>
                    <a:pt x="28956" y="58430"/>
                    <a:pt x="28773" y="58050"/>
                    <a:pt x="28358" y="57755"/>
                  </a:cubicBezTo>
                  <a:cubicBezTo>
                    <a:pt x="27943" y="57459"/>
                    <a:pt x="27859" y="56742"/>
                    <a:pt x="27584" y="56207"/>
                  </a:cubicBezTo>
                  <a:cubicBezTo>
                    <a:pt x="27303" y="55666"/>
                    <a:pt x="26945" y="55328"/>
                    <a:pt x="26628" y="55075"/>
                  </a:cubicBezTo>
                  <a:cubicBezTo>
                    <a:pt x="26312" y="54815"/>
                    <a:pt x="25932" y="54674"/>
                    <a:pt x="25538" y="55075"/>
                  </a:cubicBezTo>
                  <a:cubicBezTo>
                    <a:pt x="25137" y="55469"/>
                    <a:pt x="24842" y="55075"/>
                    <a:pt x="24202" y="55328"/>
                  </a:cubicBezTo>
                  <a:cubicBezTo>
                    <a:pt x="23569" y="55588"/>
                    <a:pt x="23787" y="55328"/>
                    <a:pt x="23505" y="55075"/>
                  </a:cubicBezTo>
                  <a:cubicBezTo>
                    <a:pt x="23231" y="54815"/>
                    <a:pt x="23470" y="54674"/>
                    <a:pt x="23189" y="54337"/>
                  </a:cubicBezTo>
                  <a:cubicBezTo>
                    <a:pt x="22915" y="53999"/>
                    <a:pt x="22732" y="54337"/>
                    <a:pt x="22373" y="54674"/>
                  </a:cubicBezTo>
                  <a:cubicBezTo>
                    <a:pt x="22014" y="55012"/>
                    <a:pt x="21557" y="54674"/>
                    <a:pt x="21142" y="54674"/>
                  </a:cubicBezTo>
                  <a:cubicBezTo>
                    <a:pt x="20812" y="54674"/>
                    <a:pt x="20608" y="54449"/>
                    <a:pt x="20544" y="54337"/>
                  </a:cubicBezTo>
                  <a:cubicBezTo>
                    <a:pt x="20291" y="54414"/>
                    <a:pt x="19693" y="54597"/>
                    <a:pt x="19377" y="54674"/>
                  </a:cubicBezTo>
                  <a:cubicBezTo>
                    <a:pt x="18976" y="54773"/>
                    <a:pt x="19053" y="54955"/>
                    <a:pt x="18660" y="55328"/>
                  </a:cubicBezTo>
                  <a:cubicBezTo>
                    <a:pt x="18259" y="55708"/>
                    <a:pt x="18681" y="56165"/>
                    <a:pt x="18660" y="56742"/>
                  </a:cubicBezTo>
                  <a:cubicBezTo>
                    <a:pt x="18638" y="57319"/>
                    <a:pt x="18519" y="57755"/>
                    <a:pt x="18322" y="58050"/>
                  </a:cubicBezTo>
                  <a:cubicBezTo>
                    <a:pt x="18125" y="58352"/>
                    <a:pt x="17506" y="58430"/>
                    <a:pt x="16986" y="58430"/>
                  </a:cubicBezTo>
                  <a:cubicBezTo>
                    <a:pt x="16472" y="58430"/>
                    <a:pt x="16866" y="58050"/>
                    <a:pt x="16592" y="57755"/>
                  </a:cubicBezTo>
                  <a:cubicBezTo>
                    <a:pt x="16311" y="57459"/>
                    <a:pt x="16254" y="57755"/>
                    <a:pt x="15917" y="57755"/>
                  </a:cubicBezTo>
                  <a:lnTo>
                    <a:pt x="15059" y="57755"/>
                  </a:lnTo>
                  <a:cubicBezTo>
                    <a:pt x="14686" y="57755"/>
                    <a:pt x="14700" y="57755"/>
                    <a:pt x="14264" y="58050"/>
                  </a:cubicBezTo>
                  <a:cubicBezTo>
                    <a:pt x="13828" y="58352"/>
                    <a:pt x="13947" y="58767"/>
                    <a:pt x="13610" y="59189"/>
                  </a:cubicBezTo>
                  <a:cubicBezTo>
                    <a:pt x="13272" y="59604"/>
                    <a:pt x="12977" y="59105"/>
                    <a:pt x="12534" y="59189"/>
                  </a:cubicBezTo>
                  <a:cubicBezTo>
                    <a:pt x="12098" y="59267"/>
                    <a:pt x="11957" y="58767"/>
                    <a:pt x="11718" y="58430"/>
                  </a:cubicBezTo>
                  <a:cubicBezTo>
                    <a:pt x="11486" y="58092"/>
                    <a:pt x="11563" y="57755"/>
                    <a:pt x="11148" y="57755"/>
                  </a:cubicBezTo>
                  <a:cubicBezTo>
                    <a:pt x="10726" y="57755"/>
                    <a:pt x="9889" y="57698"/>
                    <a:pt x="9397" y="57755"/>
                  </a:cubicBezTo>
                  <a:cubicBezTo>
                    <a:pt x="8898" y="57818"/>
                    <a:pt x="8961" y="59203"/>
                    <a:pt x="8483" y="59407"/>
                  </a:cubicBezTo>
                  <a:cubicBezTo>
                    <a:pt x="8005" y="59604"/>
                    <a:pt x="7329" y="59527"/>
                    <a:pt x="6971" y="59407"/>
                  </a:cubicBezTo>
                  <a:cubicBezTo>
                    <a:pt x="6612" y="59288"/>
                    <a:pt x="6035" y="58528"/>
                    <a:pt x="5698" y="58430"/>
                  </a:cubicBezTo>
                  <a:cubicBezTo>
                    <a:pt x="5360" y="58331"/>
                    <a:pt x="5262" y="58971"/>
                    <a:pt x="4980" y="59407"/>
                  </a:cubicBezTo>
                  <a:cubicBezTo>
                    <a:pt x="4706" y="59844"/>
                    <a:pt x="3412" y="59583"/>
                    <a:pt x="3194" y="59865"/>
                  </a:cubicBezTo>
                  <a:cubicBezTo>
                    <a:pt x="2976" y="60139"/>
                    <a:pt x="1998" y="60420"/>
                    <a:pt x="1246" y="60420"/>
                  </a:cubicBezTo>
                  <a:cubicBezTo>
                    <a:pt x="493" y="60420"/>
                    <a:pt x="950" y="60561"/>
                    <a:pt x="395" y="61271"/>
                  </a:cubicBezTo>
                  <a:cubicBezTo>
                    <a:pt x="-168" y="61988"/>
                    <a:pt x="36" y="63402"/>
                    <a:pt x="36" y="63916"/>
                  </a:cubicBezTo>
                  <a:cubicBezTo>
                    <a:pt x="36" y="64436"/>
                    <a:pt x="592" y="65428"/>
                    <a:pt x="950" y="65604"/>
                  </a:cubicBezTo>
                  <a:cubicBezTo>
                    <a:pt x="1309" y="65786"/>
                    <a:pt x="2322" y="65667"/>
                    <a:pt x="3194" y="65428"/>
                  </a:cubicBezTo>
                  <a:cubicBezTo>
                    <a:pt x="4066" y="65189"/>
                    <a:pt x="3313" y="65069"/>
                    <a:pt x="4980" y="65069"/>
                  </a:cubicBezTo>
                  <a:cubicBezTo>
                    <a:pt x="6654" y="65069"/>
                    <a:pt x="7667" y="66440"/>
                    <a:pt x="8082" y="66799"/>
                  </a:cubicBezTo>
                  <a:cubicBezTo>
                    <a:pt x="8504" y="67158"/>
                    <a:pt x="8223" y="67538"/>
                    <a:pt x="8082" y="67538"/>
                  </a:cubicBezTo>
                  <a:lnTo>
                    <a:pt x="6971" y="67538"/>
                  </a:lnTo>
                  <a:cubicBezTo>
                    <a:pt x="6274" y="67538"/>
                    <a:pt x="4643" y="67636"/>
                    <a:pt x="4066" y="67538"/>
                  </a:cubicBezTo>
                  <a:cubicBezTo>
                    <a:pt x="3489" y="67432"/>
                    <a:pt x="2596" y="67453"/>
                    <a:pt x="2596" y="68171"/>
                  </a:cubicBezTo>
                  <a:cubicBezTo>
                    <a:pt x="2596" y="68888"/>
                    <a:pt x="3510" y="68726"/>
                    <a:pt x="4066" y="68726"/>
                  </a:cubicBezTo>
                  <a:cubicBezTo>
                    <a:pt x="4629" y="68726"/>
                    <a:pt x="4980" y="68691"/>
                    <a:pt x="6035" y="68726"/>
                  </a:cubicBezTo>
                  <a:cubicBezTo>
                    <a:pt x="7090" y="68768"/>
                    <a:pt x="6710" y="69148"/>
                    <a:pt x="7168" y="69500"/>
                  </a:cubicBezTo>
                  <a:cubicBezTo>
                    <a:pt x="7625" y="69859"/>
                    <a:pt x="7667" y="70238"/>
                    <a:pt x="7667" y="70914"/>
                  </a:cubicBezTo>
                  <a:cubicBezTo>
                    <a:pt x="7667" y="71589"/>
                    <a:pt x="7386" y="71371"/>
                    <a:pt x="7168" y="71828"/>
                  </a:cubicBezTo>
                  <a:cubicBezTo>
                    <a:pt x="6950" y="72285"/>
                    <a:pt x="6535" y="72004"/>
                    <a:pt x="6035" y="72004"/>
                  </a:cubicBezTo>
                  <a:cubicBezTo>
                    <a:pt x="5543" y="72004"/>
                    <a:pt x="5655" y="71413"/>
                    <a:pt x="4980" y="71371"/>
                  </a:cubicBezTo>
                  <a:cubicBezTo>
                    <a:pt x="4305" y="71328"/>
                    <a:pt x="4066" y="71546"/>
                    <a:pt x="4066" y="72004"/>
                  </a:cubicBezTo>
                  <a:cubicBezTo>
                    <a:pt x="4066" y="72461"/>
                    <a:pt x="2913" y="72383"/>
                    <a:pt x="1998" y="72383"/>
                  </a:cubicBezTo>
                  <a:cubicBezTo>
                    <a:pt x="1084" y="72383"/>
                    <a:pt x="866" y="72742"/>
                    <a:pt x="950" y="73058"/>
                  </a:cubicBezTo>
                  <a:cubicBezTo>
                    <a:pt x="1028" y="73375"/>
                    <a:pt x="1604" y="73023"/>
                    <a:pt x="2322" y="73058"/>
                  </a:cubicBezTo>
                  <a:cubicBezTo>
                    <a:pt x="3032" y="73101"/>
                    <a:pt x="3510" y="73481"/>
                    <a:pt x="4066" y="74015"/>
                  </a:cubicBezTo>
                  <a:cubicBezTo>
                    <a:pt x="4629" y="74550"/>
                    <a:pt x="4882" y="74852"/>
                    <a:pt x="5655" y="75309"/>
                  </a:cubicBezTo>
                  <a:cubicBezTo>
                    <a:pt x="6436" y="75766"/>
                    <a:pt x="6197" y="76301"/>
                    <a:pt x="6035" y="77018"/>
                  </a:cubicBezTo>
                  <a:cubicBezTo>
                    <a:pt x="5881" y="77729"/>
                    <a:pt x="6338" y="77954"/>
                    <a:pt x="6971" y="77954"/>
                  </a:cubicBezTo>
                  <a:cubicBezTo>
                    <a:pt x="7604" y="77954"/>
                    <a:pt x="7906" y="77954"/>
                    <a:pt x="8483" y="77574"/>
                  </a:cubicBezTo>
                  <a:cubicBezTo>
                    <a:pt x="9059" y="77194"/>
                    <a:pt x="8919" y="76301"/>
                    <a:pt x="9418" y="76301"/>
                  </a:cubicBezTo>
                  <a:cubicBezTo>
                    <a:pt x="9910" y="76301"/>
                    <a:pt x="9995" y="76856"/>
                    <a:pt x="10410" y="77018"/>
                  </a:cubicBezTo>
                  <a:cubicBezTo>
                    <a:pt x="10825" y="77173"/>
                    <a:pt x="10987" y="77954"/>
                    <a:pt x="11500" y="77954"/>
                  </a:cubicBezTo>
                  <a:cubicBezTo>
                    <a:pt x="12020" y="77954"/>
                    <a:pt x="11641" y="76301"/>
                    <a:pt x="12063" y="76301"/>
                  </a:cubicBezTo>
                  <a:lnTo>
                    <a:pt x="13511" y="76301"/>
                  </a:lnTo>
                  <a:cubicBezTo>
                    <a:pt x="13947" y="76301"/>
                    <a:pt x="13293" y="77954"/>
                    <a:pt x="13511" y="78509"/>
                  </a:cubicBezTo>
                  <a:cubicBezTo>
                    <a:pt x="13729" y="79065"/>
                    <a:pt x="14805" y="77954"/>
                    <a:pt x="15361" y="77954"/>
                  </a:cubicBezTo>
                  <a:cubicBezTo>
                    <a:pt x="15917" y="77954"/>
                    <a:pt x="16374" y="77954"/>
                    <a:pt x="17091" y="78509"/>
                  </a:cubicBezTo>
                  <a:cubicBezTo>
                    <a:pt x="17802" y="79065"/>
                    <a:pt x="18878" y="79522"/>
                    <a:pt x="19532" y="79958"/>
                  </a:cubicBezTo>
                  <a:cubicBezTo>
                    <a:pt x="20186" y="80394"/>
                    <a:pt x="20826" y="80457"/>
                    <a:pt x="21325" y="79958"/>
                  </a:cubicBezTo>
                  <a:cubicBezTo>
                    <a:pt x="21817" y="79459"/>
                    <a:pt x="21325" y="79086"/>
                    <a:pt x="21325" y="78509"/>
                  </a:cubicBezTo>
                  <a:cubicBezTo>
                    <a:pt x="21325" y="77933"/>
                    <a:pt x="20882" y="77954"/>
                    <a:pt x="21325" y="77954"/>
                  </a:cubicBezTo>
                  <a:cubicBezTo>
                    <a:pt x="21761" y="77954"/>
                    <a:pt x="22254" y="78805"/>
                    <a:pt x="22394" y="79522"/>
                  </a:cubicBezTo>
                  <a:cubicBezTo>
                    <a:pt x="22535" y="80239"/>
                    <a:pt x="22893" y="81168"/>
                    <a:pt x="23470" y="81168"/>
                  </a:cubicBezTo>
                  <a:cubicBezTo>
                    <a:pt x="24047" y="81168"/>
                    <a:pt x="24300" y="80675"/>
                    <a:pt x="24300" y="79958"/>
                  </a:cubicBezTo>
                  <a:cubicBezTo>
                    <a:pt x="24300" y="79241"/>
                    <a:pt x="25116" y="80514"/>
                    <a:pt x="25573" y="81168"/>
                  </a:cubicBezTo>
                  <a:cubicBezTo>
                    <a:pt x="26030" y="81829"/>
                    <a:pt x="24265" y="82201"/>
                    <a:pt x="24300" y="82525"/>
                  </a:cubicBezTo>
                  <a:cubicBezTo>
                    <a:pt x="24342" y="82842"/>
                    <a:pt x="25214" y="83453"/>
                    <a:pt x="25573" y="84115"/>
                  </a:cubicBezTo>
                  <a:cubicBezTo>
                    <a:pt x="25932" y="84769"/>
                    <a:pt x="27606" y="84115"/>
                    <a:pt x="27957" y="84115"/>
                  </a:cubicBezTo>
                  <a:cubicBezTo>
                    <a:pt x="28316" y="84115"/>
                    <a:pt x="28639" y="83299"/>
                    <a:pt x="28872" y="83081"/>
                  </a:cubicBezTo>
                  <a:cubicBezTo>
                    <a:pt x="29111" y="82863"/>
                    <a:pt x="30602" y="82405"/>
                    <a:pt x="31221" y="82525"/>
                  </a:cubicBezTo>
                  <a:cubicBezTo>
                    <a:pt x="31839" y="82638"/>
                    <a:pt x="31776" y="83693"/>
                    <a:pt x="31776" y="84115"/>
                  </a:cubicBezTo>
                  <a:cubicBezTo>
                    <a:pt x="31776" y="84529"/>
                    <a:pt x="29568" y="83777"/>
                    <a:pt x="29097" y="84487"/>
                  </a:cubicBezTo>
                  <a:cubicBezTo>
                    <a:pt x="28618" y="85205"/>
                    <a:pt x="31558" y="85760"/>
                    <a:pt x="32191" y="85760"/>
                  </a:cubicBezTo>
                  <a:cubicBezTo>
                    <a:pt x="32831" y="85760"/>
                    <a:pt x="32648" y="84944"/>
                    <a:pt x="33007" y="84487"/>
                  </a:cubicBezTo>
                  <a:cubicBezTo>
                    <a:pt x="33366" y="84030"/>
                    <a:pt x="33985" y="83974"/>
                    <a:pt x="34582" y="84115"/>
                  </a:cubicBezTo>
                  <a:cubicBezTo>
                    <a:pt x="35173" y="84248"/>
                    <a:pt x="35750" y="85444"/>
                    <a:pt x="36031" y="85760"/>
                  </a:cubicBezTo>
                  <a:cubicBezTo>
                    <a:pt x="36306" y="86077"/>
                    <a:pt x="36306" y="87033"/>
                    <a:pt x="36270" y="87490"/>
                  </a:cubicBezTo>
                  <a:cubicBezTo>
                    <a:pt x="36228" y="87948"/>
                    <a:pt x="35159" y="88468"/>
                    <a:pt x="35075" y="89045"/>
                  </a:cubicBezTo>
                  <a:cubicBezTo>
                    <a:pt x="34997" y="89614"/>
                    <a:pt x="35117" y="90233"/>
                    <a:pt x="35750" y="90789"/>
                  </a:cubicBezTo>
                  <a:cubicBezTo>
                    <a:pt x="36390" y="91344"/>
                    <a:pt x="38099" y="91246"/>
                    <a:pt x="38493" y="91331"/>
                  </a:cubicBezTo>
                  <a:cubicBezTo>
                    <a:pt x="38894" y="91408"/>
                    <a:pt x="40005" y="90789"/>
                    <a:pt x="40603" y="90789"/>
                  </a:cubicBezTo>
                  <a:cubicBezTo>
                    <a:pt x="41201" y="90789"/>
                    <a:pt x="40877" y="92160"/>
                    <a:pt x="40877" y="92878"/>
                  </a:cubicBezTo>
                  <a:cubicBezTo>
                    <a:pt x="40877" y="93595"/>
                    <a:pt x="40146" y="93293"/>
                    <a:pt x="39646" y="93475"/>
                  </a:cubicBezTo>
                  <a:cubicBezTo>
                    <a:pt x="39154" y="93651"/>
                    <a:pt x="40146" y="94305"/>
                    <a:pt x="40877" y="94249"/>
                  </a:cubicBezTo>
                  <a:cubicBezTo>
                    <a:pt x="41616" y="94186"/>
                    <a:pt x="42509" y="95086"/>
                    <a:pt x="43029" y="95719"/>
                  </a:cubicBezTo>
                  <a:cubicBezTo>
                    <a:pt x="43543" y="96359"/>
                    <a:pt x="43029" y="96633"/>
                    <a:pt x="43029" y="97168"/>
                  </a:cubicBezTo>
                  <a:cubicBezTo>
                    <a:pt x="43029" y="97709"/>
                    <a:pt x="41559" y="98539"/>
                    <a:pt x="41137" y="98919"/>
                  </a:cubicBezTo>
                  <a:cubicBezTo>
                    <a:pt x="40722" y="99299"/>
                    <a:pt x="40680" y="100368"/>
                    <a:pt x="40877" y="101388"/>
                  </a:cubicBezTo>
                  <a:cubicBezTo>
                    <a:pt x="41081" y="102401"/>
                    <a:pt x="42051" y="102576"/>
                    <a:pt x="43029" y="103294"/>
                  </a:cubicBezTo>
                  <a:cubicBezTo>
                    <a:pt x="44000" y="104011"/>
                    <a:pt x="44893" y="105221"/>
                    <a:pt x="45315" y="105818"/>
                  </a:cubicBezTo>
                  <a:cubicBezTo>
                    <a:pt x="45730" y="106416"/>
                    <a:pt x="45772" y="107127"/>
                    <a:pt x="46264" y="108421"/>
                  </a:cubicBezTo>
                  <a:cubicBezTo>
                    <a:pt x="46764" y="109715"/>
                    <a:pt x="48789" y="110348"/>
                    <a:pt x="49070" y="110467"/>
                  </a:cubicBezTo>
                  <a:cubicBezTo>
                    <a:pt x="49345" y="110587"/>
                    <a:pt x="50562" y="110545"/>
                    <a:pt x="50759" y="111002"/>
                  </a:cubicBezTo>
                  <a:cubicBezTo>
                    <a:pt x="50955" y="111459"/>
                    <a:pt x="51617" y="111564"/>
                    <a:pt x="52369" y="111719"/>
                  </a:cubicBezTo>
                  <a:cubicBezTo>
                    <a:pt x="53122" y="111881"/>
                    <a:pt x="54022" y="112894"/>
                    <a:pt x="54254" y="113407"/>
                  </a:cubicBezTo>
                  <a:cubicBezTo>
                    <a:pt x="54493" y="113928"/>
                    <a:pt x="55189" y="113168"/>
                    <a:pt x="55527" y="112894"/>
                  </a:cubicBezTo>
                  <a:cubicBezTo>
                    <a:pt x="55865" y="112613"/>
                    <a:pt x="56842" y="113330"/>
                    <a:pt x="57116" y="113885"/>
                  </a:cubicBezTo>
                  <a:cubicBezTo>
                    <a:pt x="57398" y="114441"/>
                    <a:pt x="56188" y="114821"/>
                    <a:pt x="55745" y="114983"/>
                  </a:cubicBezTo>
                  <a:cubicBezTo>
                    <a:pt x="55309" y="115137"/>
                    <a:pt x="55527" y="115995"/>
                    <a:pt x="55745" y="116474"/>
                  </a:cubicBezTo>
                  <a:cubicBezTo>
                    <a:pt x="55970" y="116945"/>
                    <a:pt x="56680" y="117107"/>
                    <a:pt x="57320" y="117683"/>
                  </a:cubicBezTo>
                  <a:cubicBezTo>
                    <a:pt x="57953" y="118260"/>
                    <a:pt x="58171" y="119076"/>
                    <a:pt x="58171" y="120011"/>
                  </a:cubicBezTo>
                  <a:cubicBezTo>
                    <a:pt x="58171" y="120947"/>
                    <a:pt x="56188" y="124681"/>
                    <a:pt x="55527" y="124723"/>
                  </a:cubicBezTo>
                  <a:cubicBezTo>
                    <a:pt x="54873" y="124758"/>
                    <a:pt x="55034" y="126411"/>
                    <a:pt x="55527" y="126446"/>
                  </a:cubicBezTo>
                  <a:cubicBezTo>
                    <a:pt x="56026" y="126489"/>
                    <a:pt x="58256" y="128416"/>
                    <a:pt x="58966" y="129210"/>
                  </a:cubicBezTo>
                  <a:cubicBezTo>
                    <a:pt x="59683" y="130005"/>
                    <a:pt x="61435" y="131039"/>
                    <a:pt x="62525" y="132192"/>
                  </a:cubicBezTo>
                  <a:cubicBezTo>
                    <a:pt x="63622" y="133346"/>
                    <a:pt x="63179" y="134457"/>
                    <a:pt x="63284" y="136370"/>
                  </a:cubicBezTo>
                  <a:cubicBezTo>
                    <a:pt x="63383" y="138276"/>
                    <a:pt x="64016" y="137960"/>
                    <a:pt x="64016" y="139451"/>
                  </a:cubicBezTo>
                  <a:cubicBezTo>
                    <a:pt x="64016" y="140942"/>
                    <a:pt x="64353" y="140365"/>
                    <a:pt x="64016" y="141040"/>
                  </a:cubicBezTo>
                  <a:cubicBezTo>
                    <a:pt x="63678" y="141715"/>
                    <a:pt x="63024" y="140703"/>
                    <a:pt x="62525" y="139451"/>
                  </a:cubicBezTo>
                  <a:cubicBezTo>
                    <a:pt x="62032" y="138199"/>
                    <a:pt x="61350" y="135456"/>
                    <a:pt x="61013" y="134457"/>
                  </a:cubicBezTo>
                  <a:cubicBezTo>
                    <a:pt x="60675" y="133465"/>
                    <a:pt x="57180" y="131039"/>
                    <a:pt x="56188" y="131039"/>
                  </a:cubicBezTo>
                  <a:cubicBezTo>
                    <a:pt x="55189" y="131039"/>
                    <a:pt x="56188" y="132375"/>
                    <a:pt x="56188" y="133367"/>
                  </a:cubicBezTo>
                  <a:cubicBezTo>
                    <a:pt x="56188" y="134359"/>
                    <a:pt x="55527" y="137875"/>
                    <a:pt x="55527" y="139451"/>
                  </a:cubicBezTo>
                  <a:lnTo>
                    <a:pt x="55527" y="145372"/>
                  </a:lnTo>
                  <a:cubicBezTo>
                    <a:pt x="55527" y="147616"/>
                    <a:pt x="55527" y="146863"/>
                    <a:pt x="56188" y="147201"/>
                  </a:cubicBezTo>
                  <a:cubicBezTo>
                    <a:pt x="56842" y="147539"/>
                    <a:pt x="57693" y="147799"/>
                    <a:pt x="57693" y="148530"/>
                  </a:cubicBezTo>
                  <a:cubicBezTo>
                    <a:pt x="57693" y="149269"/>
                    <a:pt x="58192" y="149627"/>
                    <a:pt x="57693" y="150204"/>
                  </a:cubicBezTo>
                  <a:cubicBezTo>
                    <a:pt x="57201" y="150781"/>
                    <a:pt x="56940" y="150281"/>
                    <a:pt x="56188" y="150204"/>
                  </a:cubicBezTo>
                  <a:cubicBezTo>
                    <a:pt x="55428" y="150120"/>
                    <a:pt x="55351" y="151034"/>
                    <a:pt x="54936" y="151871"/>
                  </a:cubicBezTo>
                  <a:cubicBezTo>
                    <a:pt x="54514" y="152708"/>
                    <a:pt x="53501" y="164692"/>
                    <a:pt x="53501" y="165367"/>
                  </a:cubicBezTo>
                  <a:cubicBezTo>
                    <a:pt x="53501" y="166043"/>
                    <a:pt x="52010" y="172007"/>
                    <a:pt x="51617" y="172625"/>
                  </a:cubicBezTo>
                  <a:cubicBezTo>
                    <a:pt x="51216" y="173237"/>
                    <a:pt x="49605" y="176402"/>
                    <a:pt x="48874" y="176993"/>
                  </a:cubicBezTo>
                  <a:cubicBezTo>
                    <a:pt x="48135" y="177591"/>
                    <a:pt x="46707" y="177774"/>
                    <a:pt x="46546" y="177851"/>
                  </a:cubicBezTo>
                  <a:cubicBezTo>
                    <a:pt x="46384" y="177928"/>
                    <a:pt x="46904" y="178365"/>
                    <a:pt x="47221" y="178808"/>
                  </a:cubicBezTo>
                  <a:cubicBezTo>
                    <a:pt x="47537" y="179244"/>
                    <a:pt x="48473" y="179462"/>
                    <a:pt x="49267" y="179736"/>
                  </a:cubicBezTo>
                  <a:cubicBezTo>
                    <a:pt x="50062" y="180017"/>
                    <a:pt x="50878" y="180137"/>
                    <a:pt x="51617" y="180615"/>
                  </a:cubicBezTo>
                  <a:cubicBezTo>
                    <a:pt x="52348" y="181093"/>
                    <a:pt x="52088" y="181072"/>
                    <a:pt x="51617" y="182880"/>
                  </a:cubicBezTo>
                  <a:cubicBezTo>
                    <a:pt x="51138" y="184687"/>
                    <a:pt x="51771" y="183914"/>
                    <a:pt x="52411" y="183991"/>
                  </a:cubicBezTo>
                  <a:cubicBezTo>
                    <a:pt x="53044" y="184068"/>
                    <a:pt x="54753" y="184687"/>
                    <a:pt x="55710" y="184884"/>
                  </a:cubicBezTo>
                  <a:cubicBezTo>
                    <a:pt x="56659" y="185088"/>
                    <a:pt x="56645" y="185285"/>
                    <a:pt x="57440" y="185841"/>
                  </a:cubicBezTo>
                  <a:lnTo>
                    <a:pt x="57461" y="185855"/>
                  </a:lnTo>
                  <a:cubicBezTo>
                    <a:pt x="58242" y="186403"/>
                    <a:pt x="58551" y="186621"/>
                    <a:pt x="60499" y="186896"/>
                  </a:cubicBezTo>
                  <a:cubicBezTo>
                    <a:pt x="62468" y="187170"/>
                    <a:pt x="63798" y="189181"/>
                    <a:pt x="64550" y="189638"/>
                  </a:cubicBezTo>
                  <a:cubicBezTo>
                    <a:pt x="65310" y="190096"/>
                    <a:pt x="65844" y="190032"/>
                    <a:pt x="66520" y="189638"/>
                  </a:cubicBezTo>
                  <a:cubicBezTo>
                    <a:pt x="67195" y="189238"/>
                    <a:pt x="69382" y="189638"/>
                    <a:pt x="70317" y="189638"/>
                  </a:cubicBezTo>
                  <a:cubicBezTo>
                    <a:pt x="71253" y="189638"/>
                    <a:pt x="71633" y="190792"/>
                    <a:pt x="72364" y="191523"/>
                  </a:cubicBezTo>
                  <a:cubicBezTo>
                    <a:pt x="73103" y="192262"/>
                    <a:pt x="74812" y="192002"/>
                    <a:pt x="75824" y="191924"/>
                  </a:cubicBezTo>
                  <a:cubicBezTo>
                    <a:pt x="76837" y="191847"/>
                    <a:pt x="78588" y="191847"/>
                    <a:pt x="80234" y="192241"/>
                  </a:cubicBezTo>
                  <a:cubicBezTo>
                    <a:pt x="81887" y="192642"/>
                    <a:pt x="83216" y="191882"/>
                    <a:pt x="83694" y="191523"/>
                  </a:cubicBezTo>
                  <a:cubicBezTo>
                    <a:pt x="84173" y="191165"/>
                    <a:pt x="84313" y="190553"/>
                    <a:pt x="84587" y="190032"/>
                  </a:cubicBezTo>
                  <a:cubicBezTo>
                    <a:pt x="84869" y="189519"/>
                    <a:pt x="85467" y="189638"/>
                    <a:pt x="86078" y="189638"/>
                  </a:cubicBezTo>
                  <a:cubicBezTo>
                    <a:pt x="86697" y="189638"/>
                    <a:pt x="87253" y="189596"/>
                    <a:pt x="88210" y="189638"/>
                  </a:cubicBezTo>
                  <a:cubicBezTo>
                    <a:pt x="89159" y="189674"/>
                    <a:pt x="89496" y="189878"/>
                    <a:pt x="90052" y="190032"/>
                  </a:cubicBezTo>
                  <a:cubicBezTo>
                    <a:pt x="90587" y="190187"/>
                    <a:pt x="91135" y="190482"/>
                    <a:pt x="91627" y="190750"/>
                  </a:cubicBezTo>
                  <a:lnTo>
                    <a:pt x="91705" y="190792"/>
                  </a:lnTo>
                  <a:cubicBezTo>
                    <a:pt x="92225" y="191066"/>
                    <a:pt x="93076" y="191129"/>
                    <a:pt x="93751" y="191523"/>
                  </a:cubicBezTo>
                  <a:cubicBezTo>
                    <a:pt x="94427" y="191924"/>
                    <a:pt x="95777" y="192895"/>
                    <a:pt x="96016" y="193331"/>
                  </a:cubicBezTo>
                  <a:cubicBezTo>
                    <a:pt x="96255" y="193774"/>
                    <a:pt x="97015" y="193732"/>
                    <a:pt x="97507" y="193971"/>
                  </a:cubicBezTo>
                  <a:cubicBezTo>
                    <a:pt x="98007" y="194210"/>
                    <a:pt x="98977" y="193774"/>
                    <a:pt x="99476" y="193732"/>
                  </a:cubicBezTo>
                  <a:cubicBezTo>
                    <a:pt x="99976" y="193689"/>
                    <a:pt x="100707" y="193971"/>
                    <a:pt x="101129" y="194168"/>
                  </a:cubicBezTo>
                  <a:cubicBezTo>
                    <a:pt x="101544" y="194365"/>
                    <a:pt x="101804" y="194864"/>
                    <a:pt x="102198" y="195778"/>
                  </a:cubicBezTo>
                  <a:cubicBezTo>
                    <a:pt x="102599" y="196693"/>
                    <a:pt x="104210" y="197748"/>
                    <a:pt x="104744" y="198127"/>
                  </a:cubicBezTo>
                  <a:cubicBezTo>
                    <a:pt x="105279" y="198500"/>
                    <a:pt x="106158" y="198760"/>
                    <a:pt x="106910" y="198760"/>
                  </a:cubicBezTo>
                  <a:cubicBezTo>
                    <a:pt x="107663" y="198760"/>
                    <a:pt x="108085" y="197748"/>
                    <a:pt x="108683" y="197748"/>
                  </a:cubicBezTo>
                  <a:lnTo>
                    <a:pt x="110490" y="197748"/>
                  </a:lnTo>
                  <a:cubicBezTo>
                    <a:pt x="111285" y="197748"/>
                    <a:pt x="111665" y="198760"/>
                    <a:pt x="112101" y="199119"/>
                  </a:cubicBezTo>
                  <a:cubicBezTo>
                    <a:pt x="112537" y="199478"/>
                    <a:pt x="113071" y="198760"/>
                    <a:pt x="113789" y="198760"/>
                  </a:cubicBezTo>
                  <a:cubicBezTo>
                    <a:pt x="114506" y="198760"/>
                    <a:pt x="115041" y="198563"/>
                    <a:pt x="115877" y="198760"/>
                  </a:cubicBezTo>
                  <a:cubicBezTo>
                    <a:pt x="116707" y="198957"/>
                    <a:pt x="117804" y="197867"/>
                    <a:pt x="118740" y="197508"/>
                  </a:cubicBezTo>
                  <a:cubicBezTo>
                    <a:pt x="119668" y="197150"/>
                    <a:pt x="122235" y="196714"/>
                    <a:pt x="121996" y="196355"/>
                  </a:cubicBezTo>
                  <a:cubicBezTo>
                    <a:pt x="121757" y="195996"/>
                    <a:pt x="121420" y="193971"/>
                    <a:pt x="121384" y="193014"/>
                  </a:cubicBezTo>
                  <a:cubicBezTo>
                    <a:pt x="121342" y="192065"/>
                    <a:pt x="121799" y="187374"/>
                    <a:pt x="121799" y="186178"/>
                  </a:cubicBezTo>
                  <a:cubicBezTo>
                    <a:pt x="121799" y="184983"/>
                    <a:pt x="123248" y="183316"/>
                    <a:pt x="123607" y="182922"/>
                  </a:cubicBezTo>
                  <a:cubicBezTo>
                    <a:pt x="123965" y="182521"/>
                    <a:pt x="125576" y="180573"/>
                    <a:pt x="126132" y="179975"/>
                  </a:cubicBezTo>
                  <a:cubicBezTo>
                    <a:pt x="126687" y="179384"/>
                    <a:pt x="128593" y="179300"/>
                    <a:pt x="129275" y="179420"/>
                  </a:cubicBezTo>
                  <a:cubicBezTo>
                    <a:pt x="129951" y="179539"/>
                    <a:pt x="130049" y="178329"/>
                    <a:pt x="130366" y="177851"/>
                  </a:cubicBezTo>
                  <a:cubicBezTo>
                    <a:pt x="130682" y="177373"/>
                    <a:pt x="131779" y="177492"/>
                    <a:pt x="132890" y="176754"/>
                  </a:cubicBezTo>
                  <a:cubicBezTo>
                    <a:pt x="134002" y="176022"/>
                    <a:pt x="134536" y="175186"/>
                    <a:pt x="135113" y="174630"/>
                  </a:cubicBezTo>
                  <a:cubicBezTo>
                    <a:pt x="135690" y="174074"/>
                    <a:pt x="136787" y="173617"/>
                    <a:pt x="137441" y="173420"/>
                  </a:cubicBezTo>
                  <a:cubicBezTo>
                    <a:pt x="138095" y="173216"/>
                    <a:pt x="138039" y="173378"/>
                    <a:pt x="138693" y="173617"/>
                  </a:cubicBezTo>
                  <a:cubicBezTo>
                    <a:pt x="139347" y="173856"/>
                    <a:pt x="139213" y="174314"/>
                    <a:pt x="139368" y="174630"/>
                  </a:cubicBezTo>
                  <a:cubicBezTo>
                    <a:pt x="139530" y="174946"/>
                    <a:pt x="140303" y="175228"/>
                    <a:pt x="140662" y="175425"/>
                  </a:cubicBezTo>
                  <a:cubicBezTo>
                    <a:pt x="141021" y="175622"/>
                    <a:pt x="142392" y="175502"/>
                    <a:pt x="143264" y="175720"/>
                  </a:cubicBezTo>
                  <a:cubicBezTo>
                    <a:pt x="144136" y="175945"/>
                    <a:pt x="145452" y="175804"/>
                    <a:pt x="145852" y="176044"/>
                  </a:cubicBezTo>
                  <a:cubicBezTo>
                    <a:pt x="146246" y="176283"/>
                    <a:pt x="146169" y="176044"/>
                    <a:pt x="146289" y="176437"/>
                  </a:cubicBezTo>
                  <a:cubicBezTo>
                    <a:pt x="146408" y="176838"/>
                    <a:pt x="146408" y="176993"/>
                    <a:pt x="146563" y="177851"/>
                  </a:cubicBezTo>
                  <a:cubicBezTo>
                    <a:pt x="146724" y="178702"/>
                    <a:pt x="147498" y="177851"/>
                    <a:pt x="148609" y="177851"/>
                  </a:cubicBezTo>
                  <a:cubicBezTo>
                    <a:pt x="149727" y="177851"/>
                    <a:pt x="149861" y="177535"/>
                    <a:pt x="149946" y="176993"/>
                  </a:cubicBezTo>
                  <a:cubicBezTo>
                    <a:pt x="150023" y="176458"/>
                    <a:pt x="150262" y="176121"/>
                    <a:pt x="151078" y="176044"/>
                  </a:cubicBezTo>
                  <a:cubicBezTo>
                    <a:pt x="151894" y="175959"/>
                    <a:pt x="152070" y="176198"/>
                    <a:pt x="152604" y="176993"/>
                  </a:cubicBezTo>
                  <a:cubicBezTo>
                    <a:pt x="153146" y="177788"/>
                    <a:pt x="153940" y="178646"/>
                    <a:pt x="154693" y="178723"/>
                  </a:cubicBezTo>
                  <a:cubicBezTo>
                    <a:pt x="155452" y="178808"/>
                    <a:pt x="155987" y="178407"/>
                    <a:pt x="156542" y="178168"/>
                  </a:cubicBezTo>
                  <a:cubicBezTo>
                    <a:pt x="157098" y="177928"/>
                    <a:pt x="157597" y="177928"/>
                    <a:pt x="158034" y="178407"/>
                  </a:cubicBezTo>
                  <a:cubicBezTo>
                    <a:pt x="158470" y="178885"/>
                    <a:pt x="158153" y="179342"/>
                    <a:pt x="158315" y="180095"/>
                  </a:cubicBezTo>
                  <a:cubicBezTo>
                    <a:pt x="158470" y="180854"/>
                    <a:pt x="158990" y="180615"/>
                    <a:pt x="159764" y="180615"/>
                  </a:cubicBezTo>
                  <a:cubicBezTo>
                    <a:pt x="160537" y="180615"/>
                    <a:pt x="160601" y="181431"/>
                    <a:pt x="161093" y="181466"/>
                  </a:cubicBezTo>
                  <a:cubicBezTo>
                    <a:pt x="161592" y="181508"/>
                    <a:pt x="163301" y="181944"/>
                    <a:pt x="164019" y="182641"/>
                  </a:cubicBezTo>
                  <a:cubicBezTo>
                    <a:pt x="164729" y="183337"/>
                    <a:pt x="165228" y="183991"/>
                    <a:pt x="165826" y="184251"/>
                  </a:cubicBezTo>
                  <a:cubicBezTo>
                    <a:pt x="166424" y="184511"/>
                    <a:pt x="166283" y="182837"/>
                    <a:pt x="166480" y="182641"/>
                  </a:cubicBezTo>
                  <a:cubicBezTo>
                    <a:pt x="166677" y="182444"/>
                    <a:pt x="166958" y="182802"/>
                    <a:pt x="167472" y="183274"/>
                  </a:cubicBezTo>
                  <a:cubicBezTo>
                    <a:pt x="167992" y="183752"/>
                    <a:pt x="169744" y="184329"/>
                    <a:pt x="170855" y="183991"/>
                  </a:cubicBezTo>
                  <a:cubicBezTo>
                    <a:pt x="171966" y="183653"/>
                    <a:pt x="172283" y="182718"/>
                    <a:pt x="173042" y="183077"/>
                  </a:cubicBezTo>
                  <a:cubicBezTo>
                    <a:pt x="173795" y="183435"/>
                    <a:pt x="175187" y="182598"/>
                    <a:pt x="176242" y="182226"/>
                  </a:cubicBezTo>
                  <a:cubicBezTo>
                    <a:pt x="177297" y="181846"/>
                    <a:pt x="177114" y="182162"/>
                    <a:pt x="177733" y="182226"/>
                  </a:cubicBezTo>
                  <a:cubicBezTo>
                    <a:pt x="178345" y="182282"/>
                    <a:pt x="178345" y="181227"/>
                    <a:pt x="178345" y="180615"/>
                  </a:cubicBezTo>
                  <a:cubicBezTo>
                    <a:pt x="178345" y="179996"/>
                    <a:pt x="177733" y="179637"/>
                    <a:pt x="177733" y="179004"/>
                  </a:cubicBezTo>
                  <a:cubicBezTo>
                    <a:pt x="177733" y="178365"/>
                    <a:pt x="179323" y="178146"/>
                    <a:pt x="179259" y="177535"/>
                  </a:cubicBezTo>
                  <a:cubicBezTo>
                    <a:pt x="179203" y="176916"/>
                    <a:pt x="181306" y="176536"/>
                    <a:pt x="182044" y="176044"/>
                  </a:cubicBezTo>
                  <a:cubicBezTo>
                    <a:pt x="182783" y="175544"/>
                    <a:pt x="182980" y="174574"/>
                    <a:pt x="182980" y="173955"/>
                  </a:cubicBezTo>
                  <a:cubicBezTo>
                    <a:pt x="182980" y="173336"/>
                    <a:pt x="184506" y="173955"/>
                    <a:pt x="185244" y="173955"/>
                  </a:cubicBezTo>
                  <a:cubicBezTo>
                    <a:pt x="185983" y="173955"/>
                    <a:pt x="186117" y="172541"/>
                    <a:pt x="186236" y="171549"/>
                  </a:cubicBezTo>
                  <a:cubicBezTo>
                    <a:pt x="186356" y="170558"/>
                    <a:pt x="187474" y="171233"/>
                    <a:pt x="188128" y="171233"/>
                  </a:cubicBezTo>
                  <a:cubicBezTo>
                    <a:pt x="188782" y="171233"/>
                    <a:pt x="188845" y="170101"/>
                    <a:pt x="190273" y="169524"/>
                  </a:cubicBezTo>
                  <a:cubicBezTo>
                    <a:pt x="191708" y="168947"/>
                    <a:pt x="194725" y="159621"/>
                    <a:pt x="193993" y="160479"/>
                  </a:cubicBezTo>
                  <a:cubicBezTo>
                    <a:pt x="193255" y="161330"/>
                    <a:pt x="188979" y="160557"/>
                    <a:pt x="188128" y="160479"/>
                  </a:cubicBezTo>
                  <a:cubicBezTo>
                    <a:pt x="187270" y="160402"/>
                    <a:pt x="183775" y="157758"/>
                    <a:pt x="182459" y="156464"/>
                  </a:cubicBezTo>
                  <a:cubicBezTo>
                    <a:pt x="181151" y="155169"/>
                    <a:pt x="181728" y="152982"/>
                    <a:pt x="181369" y="152490"/>
                  </a:cubicBezTo>
                  <a:cubicBezTo>
                    <a:pt x="181010" y="151991"/>
                    <a:pt x="183775" y="148157"/>
                    <a:pt x="184211" y="147616"/>
                  </a:cubicBezTo>
                  <a:cubicBezTo>
                    <a:pt x="184647" y="147081"/>
                    <a:pt x="184133" y="146069"/>
                    <a:pt x="183775" y="145513"/>
                  </a:cubicBezTo>
                  <a:cubicBezTo>
                    <a:pt x="183416" y="144958"/>
                    <a:pt x="183275" y="145886"/>
                    <a:pt x="181728" y="145513"/>
                  </a:cubicBezTo>
                  <a:cubicBezTo>
                    <a:pt x="180174" y="145133"/>
                    <a:pt x="179759" y="143227"/>
                    <a:pt x="178647" y="141497"/>
                  </a:cubicBezTo>
                  <a:cubicBezTo>
                    <a:pt x="177529" y="139767"/>
                    <a:pt x="178845" y="139092"/>
                    <a:pt x="179759" y="138972"/>
                  </a:cubicBezTo>
                  <a:cubicBezTo>
                    <a:pt x="180673" y="138853"/>
                    <a:pt x="184766" y="136567"/>
                    <a:pt x="185505" y="135695"/>
                  </a:cubicBezTo>
                  <a:cubicBezTo>
                    <a:pt x="186236" y="134816"/>
                    <a:pt x="185997" y="132811"/>
                    <a:pt x="185920" y="132375"/>
                  </a:cubicBezTo>
                  <a:cubicBezTo>
                    <a:pt x="185842" y="131932"/>
                    <a:pt x="184569" y="131932"/>
                    <a:pt x="183775" y="131693"/>
                  </a:cubicBezTo>
                  <a:cubicBezTo>
                    <a:pt x="182980" y="131461"/>
                    <a:pt x="183775" y="130265"/>
                    <a:pt x="183775" y="129407"/>
                  </a:cubicBezTo>
                  <a:cubicBezTo>
                    <a:pt x="183775" y="128556"/>
                    <a:pt x="183775" y="128057"/>
                    <a:pt x="182164" y="127065"/>
                  </a:cubicBezTo>
                  <a:cubicBezTo>
                    <a:pt x="180553" y="126074"/>
                    <a:pt x="180933" y="124899"/>
                    <a:pt x="180575" y="123486"/>
                  </a:cubicBezTo>
                  <a:cubicBezTo>
                    <a:pt x="180216" y="122079"/>
                    <a:pt x="183655" y="122255"/>
                    <a:pt x="183775" y="121995"/>
                  </a:cubicBezTo>
                  <a:cubicBezTo>
                    <a:pt x="183894" y="121741"/>
                    <a:pt x="182044" y="119688"/>
                    <a:pt x="181630" y="118935"/>
                  </a:cubicBezTo>
                  <a:cubicBezTo>
                    <a:pt x="181208" y="118183"/>
                    <a:pt x="180729" y="113372"/>
                    <a:pt x="180575" y="112479"/>
                  </a:cubicBezTo>
                  <a:cubicBezTo>
                    <a:pt x="180413" y="111579"/>
                    <a:pt x="180511" y="110509"/>
                    <a:pt x="179815" y="109595"/>
                  </a:cubicBezTo>
                  <a:cubicBezTo>
                    <a:pt x="179126" y="108681"/>
                    <a:pt x="175623" y="110228"/>
                    <a:pt x="174568" y="110509"/>
                  </a:cubicBezTo>
                  <a:cubicBezTo>
                    <a:pt x="173520" y="110784"/>
                    <a:pt x="172226" y="113688"/>
                    <a:pt x="171650" y="115116"/>
                  </a:cubicBezTo>
                  <a:cubicBezTo>
                    <a:pt x="171073" y="116551"/>
                    <a:pt x="169265" y="116987"/>
                    <a:pt x="168309" y="116832"/>
                  </a:cubicBezTo>
                  <a:cubicBezTo>
                    <a:pt x="167352" y="116670"/>
                    <a:pt x="167873" y="115018"/>
                    <a:pt x="167873" y="114265"/>
                  </a:cubicBezTo>
                  <a:cubicBezTo>
                    <a:pt x="167873" y="113513"/>
                    <a:pt x="169364" y="111143"/>
                    <a:pt x="169265" y="110509"/>
                  </a:cubicBezTo>
                  <a:cubicBezTo>
                    <a:pt x="169167" y="109870"/>
                    <a:pt x="167352" y="109715"/>
                    <a:pt x="167873" y="109595"/>
                  </a:cubicBezTo>
                  <a:cubicBezTo>
                    <a:pt x="168386" y="109476"/>
                    <a:pt x="171868" y="106093"/>
                    <a:pt x="172859" y="105460"/>
                  </a:cubicBezTo>
                  <a:cubicBezTo>
                    <a:pt x="173858" y="104827"/>
                    <a:pt x="176383" y="99039"/>
                    <a:pt x="176418" y="98406"/>
                  </a:cubicBezTo>
                  <a:cubicBezTo>
                    <a:pt x="176460" y="97766"/>
                    <a:pt x="178071" y="95958"/>
                    <a:pt x="178605" y="95480"/>
                  </a:cubicBezTo>
                  <a:cubicBezTo>
                    <a:pt x="179140" y="95002"/>
                    <a:pt x="181946" y="93194"/>
                    <a:pt x="182642" y="92181"/>
                  </a:cubicBezTo>
                  <a:cubicBezTo>
                    <a:pt x="183338" y="91169"/>
                    <a:pt x="183001" y="89537"/>
                    <a:pt x="182642" y="88904"/>
                  </a:cubicBezTo>
                  <a:cubicBezTo>
                    <a:pt x="182283" y="88264"/>
                    <a:pt x="182424" y="86555"/>
                    <a:pt x="182642" y="86077"/>
                  </a:cubicBezTo>
                  <a:cubicBezTo>
                    <a:pt x="182860" y="85606"/>
                    <a:pt x="184809" y="86773"/>
                    <a:pt x="186138" y="87195"/>
                  </a:cubicBezTo>
                  <a:cubicBezTo>
                    <a:pt x="187474" y="87610"/>
                    <a:pt x="189380" y="86675"/>
                    <a:pt x="191131" y="85226"/>
                  </a:cubicBezTo>
                  <a:cubicBezTo>
                    <a:pt x="192875" y="83777"/>
                    <a:pt x="193417" y="84009"/>
                    <a:pt x="193037" y="83278"/>
                  </a:cubicBezTo>
                  <a:cubicBezTo>
                    <a:pt x="192657" y="82539"/>
                    <a:pt x="192397" y="81252"/>
                    <a:pt x="192242" y="79916"/>
                  </a:cubicBezTo>
                  <a:cubicBezTo>
                    <a:pt x="192081" y="78587"/>
                    <a:pt x="192721" y="71968"/>
                    <a:pt x="193037" y="70098"/>
                  </a:cubicBezTo>
                  <a:cubicBezTo>
                    <a:pt x="193354" y="68234"/>
                    <a:pt x="196117" y="62945"/>
                    <a:pt x="196652" y="62185"/>
                  </a:cubicBezTo>
                  <a:cubicBezTo>
                    <a:pt x="197194" y="61433"/>
                    <a:pt x="202222" y="53324"/>
                    <a:pt x="202658" y="52649"/>
                  </a:cubicBezTo>
                  <a:cubicBezTo>
                    <a:pt x="203095" y="51973"/>
                    <a:pt x="202222" y="51573"/>
                    <a:pt x="201484" y="50841"/>
                  </a:cubicBezTo>
                  <a:cubicBezTo>
                    <a:pt x="200745" y="50103"/>
                    <a:pt x="194627" y="49885"/>
                    <a:pt x="193832" y="49765"/>
                  </a:cubicBezTo>
                  <a:cubicBezTo>
                    <a:pt x="193037" y="49646"/>
                    <a:pt x="192679" y="48809"/>
                    <a:pt x="192622" y="47655"/>
                  </a:cubicBezTo>
                  <a:cubicBezTo>
                    <a:pt x="192573" y="46734"/>
                    <a:pt x="191645" y="46424"/>
                    <a:pt x="191187" y="46389"/>
                  </a:cubicBezTo>
                  <a:lnTo>
                    <a:pt x="183057" y="46389"/>
                  </a:lnTo>
                  <a:lnTo>
                    <a:pt x="179935" y="46389"/>
                  </a:lnTo>
                  <a:cubicBezTo>
                    <a:pt x="179105" y="46389"/>
                    <a:pt x="177276" y="42451"/>
                    <a:pt x="176538" y="41340"/>
                  </a:cubicBezTo>
                  <a:cubicBezTo>
                    <a:pt x="175806" y="40221"/>
                    <a:pt x="174252" y="40102"/>
                    <a:pt x="173872" y="40102"/>
                  </a:cubicBezTo>
                  <a:cubicBezTo>
                    <a:pt x="173499" y="40102"/>
                    <a:pt x="173141" y="38674"/>
                    <a:pt x="172824" y="39054"/>
                  </a:cubicBezTo>
                  <a:cubicBezTo>
                    <a:pt x="172501" y="39427"/>
                    <a:pt x="168984" y="39687"/>
                    <a:pt x="168154" y="39687"/>
                  </a:cubicBezTo>
                  <a:cubicBezTo>
                    <a:pt x="167486" y="39687"/>
                    <a:pt x="166586" y="38484"/>
                    <a:pt x="166220" y="37879"/>
                  </a:cubicBezTo>
                  <a:lnTo>
                    <a:pt x="160242" y="37879"/>
                  </a:lnTo>
                  <a:cubicBezTo>
                    <a:pt x="159405" y="37879"/>
                    <a:pt x="158371" y="36290"/>
                    <a:pt x="157633" y="35432"/>
                  </a:cubicBezTo>
                  <a:cubicBezTo>
                    <a:pt x="156901" y="34581"/>
                    <a:pt x="153343" y="32253"/>
                    <a:pt x="152843" y="31718"/>
                  </a:cubicBezTo>
                  <a:cubicBezTo>
                    <a:pt x="152351" y="31184"/>
                    <a:pt x="147976" y="29608"/>
                    <a:pt x="146746" y="28694"/>
                  </a:cubicBezTo>
                  <a:cubicBezTo>
                    <a:pt x="145508" y="27780"/>
                    <a:pt x="138974" y="26746"/>
                    <a:pt x="138158" y="26429"/>
                  </a:cubicBezTo>
                  <a:cubicBezTo>
                    <a:pt x="137342" y="26113"/>
                    <a:pt x="136604" y="23152"/>
                    <a:pt x="136365" y="22596"/>
                  </a:cubicBezTo>
                  <a:cubicBezTo>
                    <a:pt x="136133" y="22034"/>
                    <a:pt x="134557" y="20543"/>
                    <a:pt x="133959" y="20269"/>
                  </a:cubicBezTo>
                  <a:cubicBezTo>
                    <a:pt x="133369" y="19987"/>
                    <a:pt x="130028" y="14825"/>
                    <a:pt x="129887" y="14501"/>
                  </a:cubicBezTo>
                  <a:cubicBezTo>
                    <a:pt x="129747" y="14185"/>
                    <a:pt x="124802" y="9853"/>
                    <a:pt x="124479" y="9733"/>
                  </a:cubicBezTo>
                  <a:cubicBezTo>
                    <a:pt x="124162" y="9613"/>
                    <a:pt x="123129" y="7785"/>
                    <a:pt x="122791" y="7229"/>
                  </a:cubicBezTo>
                  <a:cubicBezTo>
                    <a:pt x="122524" y="6786"/>
                    <a:pt x="121884" y="6885"/>
                    <a:pt x="121602" y="6990"/>
                  </a:cubicBezTo>
                  <a:cubicBezTo>
                    <a:pt x="120709" y="7644"/>
                    <a:pt x="118782" y="9037"/>
                    <a:pt x="118177" y="9353"/>
                  </a:cubicBezTo>
                  <a:cubicBezTo>
                    <a:pt x="117580" y="9677"/>
                    <a:pt x="117214" y="8987"/>
                    <a:pt x="117108" y="860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2" name="Freihandform: Form 217">
              <a:extLst>
                <a:ext uri="{FF2B5EF4-FFF2-40B4-BE49-F238E27FC236}">
                  <a16:creationId xmlns:a16="http://schemas.microsoft.com/office/drawing/2014/main" id="{B57E2223-D40F-6B45-B8A7-4AB0025D4870}"/>
                </a:ext>
              </a:extLst>
            </p:cNvPr>
            <p:cNvSpPr/>
            <p:nvPr/>
          </p:nvSpPr>
          <p:spPr>
            <a:xfrm>
              <a:off x="6194721" y="3840386"/>
              <a:ext cx="16893" cy="13063"/>
            </a:xfrm>
            <a:custGeom>
              <a:avLst/>
              <a:gdLst>
                <a:gd name="connsiteX0" fmla="*/ 12079 w 16893"/>
                <a:gd name="connsiteY0" fmla="*/ 2484 h 13063"/>
                <a:gd name="connsiteX1" fmla="*/ 8303 w 16893"/>
                <a:gd name="connsiteY1" fmla="*/ 58 h 13063"/>
                <a:gd name="connsiteX2" fmla="*/ 32 w 16893"/>
                <a:gd name="connsiteY2" fmla="*/ 7077 h 13063"/>
                <a:gd name="connsiteX3" fmla="*/ 3394 w 16893"/>
                <a:gd name="connsiteY3" fmla="*/ 7611 h 13063"/>
                <a:gd name="connsiteX4" fmla="*/ 5581 w 16893"/>
                <a:gd name="connsiteY4" fmla="*/ 10537 h 13063"/>
                <a:gd name="connsiteX5" fmla="*/ 9358 w 16893"/>
                <a:gd name="connsiteY5" fmla="*/ 11487 h 13063"/>
                <a:gd name="connsiteX6" fmla="*/ 11144 w 16893"/>
                <a:gd name="connsiteY6" fmla="*/ 13055 h 13063"/>
                <a:gd name="connsiteX7" fmla="*/ 16377 w 16893"/>
                <a:gd name="connsiteY7" fmla="*/ 5501 h 13063"/>
                <a:gd name="connsiteX8" fmla="*/ 14485 w 16893"/>
                <a:gd name="connsiteY8" fmla="*/ 3638 h 13063"/>
                <a:gd name="connsiteX9" fmla="*/ 12079 w 16893"/>
                <a:gd name="connsiteY9" fmla="*/ 2484 h 1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893" h="13063">
                  <a:moveTo>
                    <a:pt x="12079" y="2484"/>
                  </a:moveTo>
                  <a:cubicBezTo>
                    <a:pt x="11749" y="227"/>
                    <a:pt x="9421" y="-76"/>
                    <a:pt x="8303" y="58"/>
                  </a:cubicBezTo>
                  <a:cubicBezTo>
                    <a:pt x="5461" y="-660"/>
                    <a:pt x="355" y="5501"/>
                    <a:pt x="32" y="7077"/>
                  </a:cubicBezTo>
                  <a:cubicBezTo>
                    <a:pt x="-285" y="8645"/>
                    <a:pt x="1825" y="8863"/>
                    <a:pt x="3394" y="7611"/>
                  </a:cubicBezTo>
                  <a:cubicBezTo>
                    <a:pt x="4962" y="6359"/>
                    <a:pt x="5286" y="9384"/>
                    <a:pt x="5581" y="10537"/>
                  </a:cubicBezTo>
                  <a:cubicBezTo>
                    <a:pt x="5876" y="11683"/>
                    <a:pt x="8303" y="11487"/>
                    <a:pt x="9358" y="11487"/>
                  </a:cubicBezTo>
                  <a:cubicBezTo>
                    <a:pt x="10413" y="11487"/>
                    <a:pt x="9773" y="12837"/>
                    <a:pt x="11144" y="13055"/>
                  </a:cubicBezTo>
                  <a:cubicBezTo>
                    <a:pt x="12516" y="13280"/>
                    <a:pt x="14485" y="8765"/>
                    <a:pt x="16377" y="5501"/>
                  </a:cubicBezTo>
                  <a:cubicBezTo>
                    <a:pt x="17882" y="2899"/>
                    <a:pt x="15744" y="3173"/>
                    <a:pt x="14485" y="3638"/>
                  </a:cubicBezTo>
                  <a:cubicBezTo>
                    <a:pt x="13824" y="4193"/>
                    <a:pt x="12417" y="4742"/>
                    <a:pt x="12079" y="248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3" name="Freihandform: Form 218">
              <a:extLst>
                <a:ext uri="{FF2B5EF4-FFF2-40B4-BE49-F238E27FC236}">
                  <a16:creationId xmlns:a16="http://schemas.microsoft.com/office/drawing/2014/main" id="{CB842E6F-84D6-FF4A-AF98-49A4471B40CA}"/>
                </a:ext>
              </a:extLst>
            </p:cNvPr>
            <p:cNvSpPr/>
            <p:nvPr/>
          </p:nvSpPr>
          <p:spPr>
            <a:xfrm>
              <a:off x="6216442" y="3836689"/>
              <a:ext cx="7947" cy="6182"/>
            </a:xfrm>
            <a:custGeom>
              <a:avLst/>
              <a:gdLst>
                <a:gd name="connsiteX0" fmla="*/ 3439 w 7947"/>
                <a:gd name="connsiteY0" fmla="*/ 3756 h 6182"/>
                <a:gd name="connsiteX1" fmla="*/ 0 w 7947"/>
                <a:gd name="connsiteY1" fmla="*/ 1350 h 6182"/>
                <a:gd name="connsiteX2" fmla="*/ 4656 w 7947"/>
                <a:gd name="connsiteY2" fmla="*/ 0 h 6182"/>
                <a:gd name="connsiteX3" fmla="*/ 4712 w 7947"/>
                <a:gd name="connsiteY3" fmla="*/ 0 h 6182"/>
                <a:gd name="connsiteX4" fmla="*/ 7947 w 7947"/>
                <a:gd name="connsiteY4" fmla="*/ 3756 h 6182"/>
                <a:gd name="connsiteX5" fmla="*/ 6161 w 7947"/>
                <a:gd name="connsiteY5" fmla="*/ 6182 h 6182"/>
                <a:gd name="connsiteX6" fmla="*/ 3439 w 7947"/>
                <a:gd name="connsiteY6" fmla="*/ 3756 h 6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47" h="6182">
                  <a:moveTo>
                    <a:pt x="3439" y="3756"/>
                  </a:moveTo>
                  <a:cubicBezTo>
                    <a:pt x="2778" y="3756"/>
                    <a:pt x="1161" y="3277"/>
                    <a:pt x="0" y="1350"/>
                  </a:cubicBezTo>
                  <a:cubicBezTo>
                    <a:pt x="0" y="0"/>
                    <a:pt x="3341" y="0"/>
                    <a:pt x="4656" y="0"/>
                  </a:cubicBezTo>
                  <a:lnTo>
                    <a:pt x="4712" y="0"/>
                  </a:lnTo>
                  <a:cubicBezTo>
                    <a:pt x="5978" y="0"/>
                    <a:pt x="7947" y="2504"/>
                    <a:pt x="7947" y="3756"/>
                  </a:cubicBezTo>
                  <a:cubicBezTo>
                    <a:pt x="7947" y="5007"/>
                    <a:pt x="7117" y="6182"/>
                    <a:pt x="6161" y="6182"/>
                  </a:cubicBezTo>
                  <a:cubicBezTo>
                    <a:pt x="5394" y="6182"/>
                    <a:pt x="4030" y="4564"/>
                    <a:pt x="3439" y="375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4" name="Freihandform: Form 219">
              <a:extLst>
                <a:ext uri="{FF2B5EF4-FFF2-40B4-BE49-F238E27FC236}">
                  <a16:creationId xmlns:a16="http://schemas.microsoft.com/office/drawing/2014/main" id="{79C7DE45-13AA-D141-A303-902BA2AC8CCA}"/>
                </a:ext>
              </a:extLst>
            </p:cNvPr>
            <p:cNvSpPr/>
            <p:nvPr/>
          </p:nvSpPr>
          <p:spPr>
            <a:xfrm>
              <a:off x="6176495" y="3856954"/>
              <a:ext cx="6335" cy="5024"/>
            </a:xfrm>
            <a:custGeom>
              <a:avLst/>
              <a:gdLst>
                <a:gd name="connsiteX0" fmla="*/ 6336 w 6335"/>
                <a:gd name="connsiteY0" fmla="*/ 1200 h 5024"/>
                <a:gd name="connsiteX1" fmla="*/ 569 w 6335"/>
                <a:gd name="connsiteY1" fmla="*/ 4442 h 5024"/>
                <a:gd name="connsiteX2" fmla="*/ 6336 w 6335"/>
                <a:gd name="connsiteY2" fmla="*/ 1200 h 5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35" h="5024">
                  <a:moveTo>
                    <a:pt x="6336" y="1200"/>
                  </a:moveTo>
                  <a:cubicBezTo>
                    <a:pt x="5351" y="3084"/>
                    <a:pt x="2826" y="6362"/>
                    <a:pt x="569" y="4442"/>
                  </a:cubicBezTo>
                  <a:cubicBezTo>
                    <a:pt x="-2252" y="2036"/>
                    <a:pt x="6336" y="-2036"/>
                    <a:pt x="6336" y="120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5" name="Freihandform: Form 220">
              <a:extLst>
                <a:ext uri="{FF2B5EF4-FFF2-40B4-BE49-F238E27FC236}">
                  <a16:creationId xmlns:a16="http://schemas.microsoft.com/office/drawing/2014/main" id="{CFAA2032-6EB2-0546-96F4-1BB161B9FAF9}"/>
                </a:ext>
              </a:extLst>
            </p:cNvPr>
            <p:cNvSpPr/>
            <p:nvPr/>
          </p:nvSpPr>
          <p:spPr>
            <a:xfrm>
              <a:off x="6194721" y="3840386"/>
              <a:ext cx="16893" cy="13063"/>
            </a:xfrm>
            <a:custGeom>
              <a:avLst/>
              <a:gdLst>
                <a:gd name="connsiteX0" fmla="*/ 12079 w 16893"/>
                <a:gd name="connsiteY0" fmla="*/ 2484 h 13063"/>
                <a:gd name="connsiteX1" fmla="*/ 8303 w 16893"/>
                <a:gd name="connsiteY1" fmla="*/ 58 h 13063"/>
                <a:gd name="connsiteX2" fmla="*/ 32 w 16893"/>
                <a:gd name="connsiteY2" fmla="*/ 7077 h 13063"/>
                <a:gd name="connsiteX3" fmla="*/ 3394 w 16893"/>
                <a:gd name="connsiteY3" fmla="*/ 7611 h 13063"/>
                <a:gd name="connsiteX4" fmla="*/ 5581 w 16893"/>
                <a:gd name="connsiteY4" fmla="*/ 10537 h 13063"/>
                <a:gd name="connsiteX5" fmla="*/ 9358 w 16893"/>
                <a:gd name="connsiteY5" fmla="*/ 11487 h 13063"/>
                <a:gd name="connsiteX6" fmla="*/ 11144 w 16893"/>
                <a:gd name="connsiteY6" fmla="*/ 13055 h 13063"/>
                <a:gd name="connsiteX7" fmla="*/ 16377 w 16893"/>
                <a:gd name="connsiteY7" fmla="*/ 5501 h 13063"/>
                <a:gd name="connsiteX8" fmla="*/ 14485 w 16893"/>
                <a:gd name="connsiteY8" fmla="*/ 3638 h 13063"/>
                <a:gd name="connsiteX9" fmla="*/ 12079 w 16893"/>
                <a:gd name="connsiteY9" fmla="*/ 2484 h 1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893" h="13063">
                  <a:moveTo>
                    <a:pt x="12079" y="2484"/>
                  </a:moveTo>
                  <a:cubicBezTo>
                    <a:pt x="11749" y="227"/>
                    <a:pt x="9421" y="-76"/>
                    <a:pt x="8303" y="58"/>
                  </a:cubicBezTo>
                  <a:cubicBezTo>
                    <a:pt x="5461" y="-660"/>
                    <a:pt x="355" y="5501"/>
                    <a:pt x="32" y="7077"/>
                  </a:cubicBezTo>
                  <a:cubicBezTo>
                    <a:pt x="-285" y="8645"/>
                    <a:pt x="1825" y="8863"/>
                    <a:pt x="3394" y="7611"/>
                  </a:cubicBezTo>
                  <a:cubicBezTo>
                    <a:pt x="4962" y="6359"/>
                    <a:pt x="5286" y="9384"/>
                    <a:pt x="5581" y="10537"/>
                  </a:cubicBezTo>
                  <a:cubicBezTo>
                    <a:pt x="5876" y="11683"/>
                    <a:pt x="8303" y="11487"/>
                    <a:pt x="9358" y="11487"/>
                  </a:cubicBezTo>
                  <a:cubicBezTo>
                    <a:pt x="10413" y="11487"/>
                    <a:pt x="9773" y="12837"/>
                    <a:pt x="11144" y="13055"/>
                  </a:cubicBezTo>
                  <a:cubicBezTo>
                    <a:pt x="12516" y="13280"/>
                    <a:pt x="14485" y="8765"/>
                    <a:pt x="16377" y="5501"/>
                  </a:cubicBezTo>
                  <a:cubicBezTo>
                    <a:pt x="17882" y="2899"/>
                    <a:pt x="15744" y="3173"/>
                    <a:pt x="14485" y="3638"/>
                  </a:cubicBezTo>
                  <a:cubicBezTo>
                    <a:pt x="13824" y="4193"/>
                    <a:pt x="12417" y="4742"/>
                    <a:pt x="12079" y="248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6" name="Freihandform: Form 221">
              <a:extLst>
                <a:ext uri="{FF2B5EF4-FFF2-40B4-BE49-F238E27FC236}">
                  <a16:creationId xmlns:a16="http://schemas.microsoft.com/office/drawing/2014/main" id="{EF742EF5-712F-024A-A63D-96C24F96E4BF}"/>
                </a:ext>
              </a:extLst>
            </p:cNvPr>
            <p:cNvSpPr/>
            <p:nvPr/>
          </p:nvSpPr>
          <p:spPr>
            <a:xfrm>
              <a:off x="6216442" y="3836689"/>
              <a:ext cx="7947" cy="6182"/>
            </a:xfrm>
            <a:custGeom>
              <a:avLst/>
              <a:gdLst>
                <a:gd name="connsiteX0" fmla="*/ 3439 w 7947"/>
                <a:gd name="connsiteY0" fmla="*/ 3756 h 6182"/>
                <a:gd name="connsiteX1" fmla="*/ 0 w 7947"/>
                <a:gd name="connsiteY1" fmla="*/ 1350 h 6182"/>
                <a:gd name="connsiteX2" fmla="*/ 4656 w 7947"/>
                <a:gd name="connsiteY2" fmla="*/ 0 h 6182"/>
                <a:gd name="connsiteX3" fmla="*/ 4712 w 7947"/>
                <a:gd name="connsiteY3" fmla="*/ 0 h 6182"/>
                <a:gd name="connsiteX4" fmla="*/ 7947 w 7947"/>
                <a:gd name="connsiteY4" fmla="*/ 3756 h 6182"/>
                <a:gd name="connsiteX5" fmla="*/ 6161 w 7947"/>
                <a:gd name="connsiteY5" fmla="*/ 6182 h 6182"/>
                <a:gd name="connsiteX6" fmla="*/ 3439 w 7947"/>
                <a:gd name="connsiteY6" fmla="*/ 3756 h 6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47" h="6182">
                  <a:moveTo>
                    <a:pt x="3439" y="3756"/>
                  </a:moveTo>
                  <a:cubicBezTo>
                    <a:pt x="2778" y="3756"/>
                    <a:pt x="1161" y="3277"/>
                    <a:pt x="0" y="1350"/>
                  </a:cubicBezTo>
                  <a:cubicBezTo>
                    <a:pt x="0" y="0"/>
                    <a:pt x="3341" y="0"/>
                    <a:pt x="4656" y="0"/>
                  </a:cubicBezTo>
                  <a:lnTo>
                    <a:pt x="4712" y="0"/>
                  </a:lnTo>
                  <a:cubicBezTo>
                    <a:pt x="5978" y="0"/>
                    <a:pt x="7947" y="2504"/>
                    <a:pt x="7947" y="3756"/>
                  </a:cubicBezTo>
                  <a:cubicBezTo>
                    <a:pt x="7947" y="5007"/>
                    <a:pt x="7117" y="6182"/>
                    <a:pt x="6161" y="6182"/>
                  </a:cubicBezTo>
                  <a:cubicBezTo>
                    <a:pt x="5394" y="6182"/>
                    <a:pt x="4030" y="4564"/>
                    <a:pt x="3439" y="375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7" name="Freihandform: Form 222">
              <a:extLst>
                <a:ext uri="{FF2B5EF4-FFF2-40B4-BE49-F238E27FC236}">
                  <a16:creationId xmlns:a16="http://schemas.microsoft.com/office/drawing/2014/main" id="{5D02D395-0E00-954A-BD74-B17BEB0A5761}"/>
                </a:ext>
              </a:extLst>
            </p:cNvPr>
            <p:cNvSpPr/>
            <p:nvPr/>
          </p:nvSpPr>
          <p:spPr>
            <a:xfrm>
              <a:off x="6176495" y="3856954"/>
              <a:ext cx="6335" cy="5024"/>
            </a:xfrm>
            <a:custGeom>
              <a:avLst/>
              <a:gdLst>
                <a:gd name="connsiteX0" fmla="*/ 6336 w 6335"/>
                <a:gd name="connsiteY0" fmla="*/ 1200 h 5024"/>
                <a:gd name="connsiteX1" fmla="*/ 569 w 6335"/>
                <a:gd name="connsiteY1" fmla="*/ 4442 h 5024"/>
                <a:gd name="connsiteX2" fmla="*/ 6336 w 6335"/>
                <a:gd name="connsiteY2" fmla="*/ 1200 h 5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35" h="5024">
                  <a:moveTo>
                    <a:pt x="6336" y="1200"/>
                  </a:moveTo>
                  <a:cubicBezTo>
                    <a:pt x="5351" y="3084"/>
                    <a:pt x="2826" y="6362"/>
                    <a:pt x="569" y="4442"/>
                  </a:cubicBezTo>
                  <a:cubicBezTo>
                    <a:pt x="-2252" y="2036"/>
                    <a:pt x="6336" y="-2036"/>
                    <a:pt x="6336" y="120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8" name="Freihandform: Form 223">
              <a:extLst>
                <a:ext uri="{FF2B5EF4-FFF2-40B4-BE49-F238E27FC236}">
                  <a16:creationId xmlns:a16="http://schemas.microsoft.com/office/drawing/2014/main" id="{A4AA7CC4-9183-BA4C-B589-CAA8C7528984}"/>
                </a:ext>
              </a:extLst>
            </p:cNvPr>
            <p:cNvSpPr/>
            <p:nvPr/>
          </p:nvSpPr>
          <p:spPr>
            <a:xfrm>
              <a:off x="6013198" y="3760422"/>
              <a:ext cx="195929" cy="154818"/>
            </a:xfrm>
            <a:custGeom>
              <a:avLst/>
              <a:gdLst>
                <a:gd name="connsiteX0" fmla="*/ 191850 w 195929"/>
                <a:gd name="connsiteY0" fmla="*/ 26374 h 154818"/>
                <a:gd name="connsiteX1" fmla="*/ 193545 w 195929"/>
                <a:gd name="connsiteY1" fmla="*/ 29454 h 154818"/>
                <a:gd name="connsiteX2" fmla="*/ 195929 w 195929"/>
                <a:gd name="connsiteY2" fmla="*/ 30031 h 154818"/>
                <a:gd name="connsiteX3" fmla="*/ 193545 w 195929"/>
                <a:gd name="connsiteY3" fmla="*/ 31522 h 154818"/>
                <a:gd name="connsiteX4" fmla="*/ 193545 w 195929"/>
                <a:gd name="connsiteY4" fmla="*/ 34385 h 154818"/>
                <a:gd name="connsiteX5" fmla="*/ 194298 w 195929"/>
                <a:gd name="connsiteY5" fmla="*/ 38837 h 154818"/>
                <a:gd name="connsiteX6" fmla="*/ 185274 w 195929"/>
                <a:gd name="connsiteY6" fmla="*/ 44744 h 154818"/>
                <a:gd name="connsiteX7" fmla="*/ 180225 w 195929"/>
                <a:gd name="connsiteY7" fmla="*/ 47501 h 154818"/>
                <a:gd name="connsiteX8" fmla="*/ 178473 w 195929"/>
                <a:gd name="connsiteY8" fmla="*/ 49414 h 154818"/>
                <a:gd name="connsiteX9" fmla="*/ 177777 w 195929"/>
                <a:gd name="connsiteY9" fmla="*/ 51735 h 154818"/>
                <a:gd name="connsiteX10" fmla="*/ 175294 w 195929"/>
                <a:gd name="connsiteY10" fmla="*/ 51735 h 154818"/>
                <a:gd name="connsiteX11" fmla="*/ 171680 w 195929"/>
                <a:gd name="connsiteY11" fmla="*/ 52973 h 154818"/>
                <a:gd name="connsiteX12" fmla="*/ 168339 w 195929"/>
                <a:gd name="connsiteY12" fmla="*/ 53965 h 154818"/>
                <a:gd name="connsiteX13" fmla="*/ 164464 w 195929"/>
                <a:gd name="connsiteY13" fmla="*/ 54598 h 154818"/>
                <a:gd name="connsiteX14" fmla="*/ 163071 w 195929"/>
                <a:gd name="connsiteY14" fmla="*/ 55835 h 154818"/>
                <a:gd name="connsiteX15" fmla="*/ 155595 w 195929"/>
                <a:gd name="connsiteY15" fmla="*/ 61138 h 154818"/>
                <a:gd name="connsiteX16" fmla="*/ 157543 w 195929"/>
                <a:gd name="connsiteY16" fmla="*/ 62791 h 154818"/>
                <a:gd name="connsiteX17" fmla="*/ 157543 w 195929"/>
                <a:gd name="connsiteY17" fmla="*/ 64542 h 154818"/>
                <a:gd name="connsiteX18" fmla="*/ 155222 w 195929"/>
                <a:gd name="connsiteY18" fmla="*/ 65436 h 154818"/>
                <a:gd name="connsiteX19" fmla="*/ 153351 w 195929"/>
                <a:gd name="connsiteY19" fmla="*/ 65436 h 154818"/>
                <a:gd name="connsiteX20" fmla="*/ 151720 w 195929"/>
                <a:gd name="connsiteY20" fmla="*/ 68734 h 154818"/>
                <a:gd name="connsiteX21" fmla="*/ 149694 w 195929"/>
                <a:gd name="connsiteY21" fmla="*/ 72173 h 154818"/>
                <a:gd name="connsiteX22" fmla="*/ 144827 w 195929"/>
                <a:gd name="connsiteY22" fmla="*/ 77814 h 154818"/>
                <a:gd name="connsiteX23" fmla="*/ 142900 w 195929"/>
                <a:gd name="connsiteY23" fmla="*/ 81218 h 154818"/>
                <a:gd name="connsiteX24" fmla="*/ 141719 w 195929"/>
                <a:gd name="connsiteY24" fmla="*/ 83539 h 154818"/>
                <a:gd name="connsiteX25" fmla="*/ 141684 w 195929"/>
                <a:gd name="connsiteY25" fmla="*/ 83637 h 154818"/>
                <a:gd name="connsiteX26" fmla="*/ 139081 w 195929"/>
                <a:gd name="connsiteY26" fmla="*/ 88314 h 154818"/>
                <a:gd name="connsiteX27" fmla="*/ 139560 w 195929"/>
                <a:gd name="connsiteY27" fmla="*/ 91613 h 154818"/>
                <a:gd name="connsiteX28" fmla="*/ 141107 w 195929"/>
                <a:gd name="connsiteY28" fmla="*/ 97492 h 154818"/>
                <a:gd name="connsiteX29" fmla="*/ 144764 w 195929"/>
                <a:gd name="connsiteY29" fmla="*/ 101269 h 154818"/>
                <a:gd name="connsiteX30" fmla="*/ 147050 w 195929"/>
                <a:gd name="connsiteY30" fmla="*/ 102858 h 154818"/>
                <a:gd name="connsiteX31" fmla="*/ 144448 w 195929"/>
                <a:gd name="connsiteY31" fmla="*/ 106361 h 154818"/>
                <a:gd name="connsiteX32" fmla="*/ 139560 w 195929"/>
                <a:gd name="connsiteY32" fmla="*/ 108921 h 154818"/>
                <a:gd name="connsiteX33" fmla="*/ 136437 w 195929"/>
                <a:gd name="connsiteY33" fmla="*/ 112480 h 154818"/>
                <a:gd name="connsiteX34" fmla="*/ 134728 w 195929"/>
                <a:gd name="connsiteY34" fmla="*/ 115187 h 154818"/>
                <a:gd name="connsiteX35" fmla="*/ 133673 w 195929"/>
                <a:gd name="connsiteY35" fmla="*/ 119738 h 154818"/>
                <a:gd name="connsiteX36" fmla="*/ 131232 w 195929"/>
                <a:gd name="connsiteY36" fmla="*/ 123036 h 154818"/>
                <a:gd name="connsiteX37" fmla="*/ 131232 w 195929"/>
                <a:gd name="connsiteY37" fmla="*/ 124844 h 154818"/>
                <a:gd name="connsiteX38" fmla="*/ 132920 w 195929"/>
                <a:gd name="connsiteY38" fmla="*/ 125484 h 154818"/>
                <a:gd name="connsiteX39" fmla="*/ 131232 w 195929"/>
                <a:gd name="connsiteY39" fmla="*/ 126975 h 154818"/>
                <a:gd name="connsiteX40" fmla="*/ 128623 w 195929"/>
                <a:gd name="connsiteY40" fmla="*/ 126335 h 154818"/>
                <a:gd name="connsiteX41" fmla="*/ 127294 w 195929"/>
                <a:gd name="connsiteY41" fmla="*/ 126975 h 154818"/>
                <a:gd name="connsiteX42" fmla="*/ 123158 w 195929"/>
                <a:gd name="connsiteY42" fmla="*/ 126975 h 154818"/>
                <a:gd name="connsiteX43" fmla="*/ 116104 w 195929"/>
                <a:gd name="connsiteY43" fmla="*/ 133389 h 154818"/>
                <a:gd name="connsiteX44" fmla="*/ 114613 w 195929"/>
                <a:gd name="connsiteY44" fmla="*/ 138122 h 154818"/>
                <a:gd name="connsiteX45" fmla="*/ 114613 w 195929"/>
                <a:gd name="connsiteY45" fmla="*/ 139810 h 154818"/>
                <a:gd name="connsiteX46" fmla="*/ 111913 w 195929"/>
                <a:gd name="connsiteY46" fmla="*/ 141941 h 154818"/>
                <a:gd name="connsiteX47" fmla="*/ 110478 w 195929"/>
                <a:gd name="connsiteY47" fmla="*/ 143270 h 154818"/>
                <a:gd name="connsiteX48" fmla="*/ 108713 w 195929"/>
                <a:gd name="connsiteY48" fmla="*/ 141941 h 154818"/>
                <a:gd name="connsiteX49" fmla="*/ 106244 w 195929"/>
                <a:gd name="connsiteY49" fmla="*/ 141484 h 154818"/>
                <a:gd name="connsiteX50" fmla="*/ 103881 w 195929"/>
                <a:gd name="connsiteY50" fmla="*/ 142412 h 154818"/>
                <a:gd name="connsiteX51" fmla="*/ 102847 w 195929"/>
                <a:gd name="connsiteY51" fmla="*/ 143727 h 154818"/>
                <a:gd name="connsiteX52" fmla="*/ 99767 w 195929"/>
                <a:gd name="connsiteY52" fmla="*/ 143988 h 154818"/>
                <a:gd name="connsiteX53" fmla="*/ 98571 w 195929"/>
                <a:gd name="connsiteY53" fmla="*/ 143052 h 154818"/>
                <a:gd name="connsiteX54" fmla="*/ 92670 w 195929"/>
                <a:gd name="connsiteY54" fmla="*/ 143052 h 154818"/>
                <a:gd name="connsiteX55" fmla="*/ 91517 w 195929"/>
                <a:gd name="connsiteY55" fmla="*/ 144185 h 154818"/>
                <a:gd name="connsiteX56" fmla="*/ 89034 w 195929"/>
                <a:gd name="connsiteY56" fmla="*/ 143552 h 154818"/>
                <a:gd name="connsiteX57" fmla="*/ 85039 w 195929"/>
                <a:gd name="connsiteY57" fmla="*/ 143552 h 154818"/>
                <a:gd name="connsiteX58" fmla="*/ 80011 w 195929"/>
                <a:gd name="connsiteY58" fmla="*/ 143369 h 154818"/>
                <a:gd name="connsiteX59" fmla="*/ 75116 w 195929"/>
                <a:gd name="connsiteY59" fmla="*/ 143847 h 154818"/>
                <a:gd name="connsiteX60" fmla="*/ 72914 w 195929"/>
                <a:gd name="connsiteY60" fmla="*/ 146351 h 154818"/>
                <a:gd name="connsiteX61" fmla="*/ 71339 w 195929"/>
                <a:gd name="connsiteY61" fmla="*/ 147483 h 154818"/>
                <a:gd name="connsiteX62" fmla="*/ 69292 w 195929"/>
                <a:gd name="connsiteY62" fmla="*/ 147982 h 154818"/>
                <a:gd name="connsiteX63" fmla="*/ 66690 w 195929"/>
                <a:gd name="connsiteY63" fmla="*/ 147982 h 154818"/>
                <a:gd name="connsiteX64" fmla="*/ 62794 w 195929"/>
                <a:gd name="connsiteY64" fmla="*/ 150704 h 154818"/>
                <a:gd name="connsiteX65" fmla="*/ 60332 w 195929"/>
                <a:gd name="connsiteY65" fmla="*/ 154165 h 154818"/>
                <a:gd name="connsiteX66" fmla="*/ 59594 w 195929"/>
                <a:gd name="connsiteY66" fmla="*/ 153250 h 154818"/>
                <a:gd name="connsiteX67" fmla="*/ 57842 w 195929"/>
                <a:gd name="connsiteY67" fmla="*/ 154165 h 154818"/>
                <a:gd name="connsiteX68" fmla="*/ 54846 w 195929"/>
                <a:gd name="connsiteY68" fmla="*/ 154819 h 154818"/>
                <a:gd name="connsiteX69" fmla="*/ 51006 w 195929"/>
                <a:gd name="connsiteY69" fmla="*/ 154165 h 154818"/>
                <a:gd name="connsiteX70" fmla="*/ 48003 w 195929"/>
                <a:gd name="connsiteY70" fmla="*/ 152076 h 154818"/>
                <a:gd name="connsiteX71" fmla="*/ 46674 w 195929"/>
                <a:gd name="connsiteY71" fmla="*/ 149234 h 154818"/>
                <a:gd name="connsiteX72" fmla="*/ 46674 w 195929"/>
                <a:gd name="connsiteY72" fmla="*/ 146351 h 154818"/>
                <a:gd name="connsiteX73" fmla="*/ 44431 w 195929"/>
                <a:gd name="connsiteY73" fmla="*/ 145500 h 154818"/>
                <a:gd name="connsiteX74" fmla="*/ 44008 w 195929"/>
                <a:gd name="connsiteY74" fmla="*/ 143052 h 154818"/>
                <a:gd name="connsiteX75" fmla="*/ 44008 w 195929"/>
                <a:gd name="connsiteY75" fmla="*/ 140907 h 154818"/>
                <a:gd name="connsiteX76" fmla="*/ 36019 w 195929"/>
                <a:gd name="connsiteY76" fmla="*/ 133389 h 154818"/>
                <a:gd name="connsiteX77" fmla="*/ 27811 w 195929"/>
                <a:gd name="connsiteY77" fmla="*/ 134205 h 154818"/>
                <a:gd name="connsiteX78" fmla="*/ 27192 w 195929"/>
                <a:gd name="connsiteY78" fmla="*/ 126292 h 154818"/>
                <a:gd name="connsiteX79" fmla="*/ 30238 w 195929"/>
                <a:gd name="connsiteY79" fmla="*/ 120673 h 154818"/>
                <a:gd name="connsiteX80" fmla="*/ 34809 w 195929"/>
                <a:gd name="connsiteY80" fmla="*/ 116256 h 154818"/>
                <a:gd name="connsiteX81" fmla="*/ 29183 w 195929"/>
                <a:gd name="connsiteY81" fmla="*/ 109877 h 154818"/>
                <a:gd name="connsiteX82" fmla="*/ 31468 w 195929"/>
                <a:gd name="connsiteY82" fmla="*/ 102422 h 154818"/>
                <a:gd name="connsiteX83" fmla="*/ 36019 w 195929"/>
                <a:gd name="connsiteY83" fmla="*/ 94813 h 154818"/>
                <a:gd name="connsiteX84" fmla="*/ 36019 w 195929"/>
                <a:gd name="connsiteY84" fmla="*/ 88272 h 154818"/>
                <a:gd name="connsiteX85" fmla="*/ 34809 w 195929"/>
                <a:gd name="connsiteY85" fmla="*/ 83560 h 154818"/>
                <a:gd name="connsiteX86" fmla="*/ 36019 w 195929"/>
                <a:gd name="connsiteY86" fmla="*/ 78693 h 154818"/>
                <a:gd name="connsiteX87" fmla="*/ 34809 w 195929"/>
                <a:gd name="connsiteY87" fmla="*/ 74895 h 154818"/>
                <a:gd name="connsiteX88" fmla="*/ 37847 w 195929"/>
                <a:gd name="connsiteY88" fmla="*/ 69571 h 154818"/>
                <a:gd name="connsiteX89" fmla="*/ 37847 w 195929"/>
                <a:gd name="connsiteY89" fmla="*/ 60583 h 154818"/>
                <a:gd name="connsiteX90" fmla="*/ 36019 w 195929"/>
                <a:gd name="connsiteY90" fmla="*/ 57699 h 154818"/>
                <a:gd name="connsiteX91" fmla="*/ 41188 w 195929"/>
                <a:gd name="connsiteY91" fmla="*/ 51918 h 154818"/>
                <a:gd name="connsiteX92" fmla="*/ 46969 w 195929"/>
                <a:gd name="connsiteY92" fmla="*/ 46292 h 154818"/>
                <a:gd name="connsiteX93" fmla="*/ 42419 w 195929"/>
                <a:gd name="connsiteY93" fmla="*/ 42951 h 154818"/>
                <a:gd name="connsiteX94" fmla="*/ 41188 w 195929"/>
                <a:gd name="connsiteY94" fmla="*/ 38682 h 154818"/>
                <a:gd name="connsiteX95" fmla="*/ 33276 w 195929"/>
                <a:gd name="connsiteY95" fmla="*/ 37627 h 154818"/>
                <a:gd name="connsiteX96" fmla="*/ 29640 w 195929"/>
                <a:gd name="connsiteY96" fmla="*/ 39294 h 154818"/>
                <a:gd name="connsiteX97" fmla="*/ 25068 w 195929"/>
                <a:gd name="connsiteY97" fmla="*/ 39294 h 154818"/>
                <a:gd name="connsiteX98" fmla="*/ 20201 w 195929"/>
                <a:gd name="connsiteY98" fmla="*/ 39294 h 154818"/>
                <a:gd name="connsiteX99" fmla="*/ 15947 w 195929"/>
                <a:gd name="connsiteY99" fmla="*/ 40968 h 154818"/>
                <a:gd name="connsiteX100" fmla="*/ 17156 w 195929"/>
                <a:gd name="connsiteY100" fmla="*/ 37627 h 154818"/>
                <a:gd name="connsiteX101" fmla="*/ 14730 w 195929"/>
                <a:gd name="connsiteY101" fmla="*/ 34582 h 154818"/>
                <a:gd name="connsiteX102" fmla="*/ 8653 w 195929"/>
                <a:gd name="connsiteY102" fmla="*/ 36410 h 154818"/>
                <a:gd name="connsiteX103" fmla="*/ 5608 w 195929"/>
                <a:gd name="connsiteY103" fmla="*/ 36410 h 154818"/>
                <a:gd name="connsiteX104" fmla="*/ 9863 w 195929"/>
                <a:gd name="connsiteY104" fmla="*/ 30312 h 154818"/>
                <a:gd name="connsiteX105" fmla="*/ 6522 w 195929"/>
                <a:gd name="connsiteY105" fmla="*/ 29419 h 154818"/>
                <a:gd name="connsiteX106" fmla="*/ 6522 w 195929"/>
                <a:gd name="connsiteY106" fmla="*/ 25305 h 154818"/>
                <a:gd name="connsiteX107" fmla="*/ 4082 w 195929"/>
                <a:gd name="connsiteY107" fmla="*/ 24229 h 154818"/>
                <a:gd name="connsiteX108" fmla="*/ 1951 w 195929"/>
                <a:gd name="connsiteY108" fmla="*/ 24229 h 154818"/>
                <a:gd name="connsiteX109" fmla="*/ 4082 w 195929"/>
                <a:gd name="connsiteY109" fmla="*/ 20734 h 154818"/>
                <a:gd name="connsiteX110" fmla="*/ 2218 w 195929"/>
                <a:gd name="connsiteY110" fmla="*/ 19468 h 154818"/>
                <a:gd name="connsiteX111" fmla="*/ 1951 w 195929"/>
                <a:gd name="connsiteY111" fmla="*/ 19679 h 154818"/>
                <a:gd name="connsiteX112" fmla="*/ 2218 w 195929"/>
                <a:gd name="connsiteY112" fmla="*/ 19468 h 154818"/>
                <a:gd name="connsiteX113" fmla="*/ 1951 w 195929"/>
                <a:gd name="connsiteY113" fmla="*/ 18145 h 154818"/>
                <a:gd name="connsiteX114" fmla="*/ 1951 w 195929"/>
                <a:gd name="connsiteY114" fmla="*/ 11928 h 154818"/>
                <a:gd name="connsiteX115" fmla="*/ 5608 w 195929"/>
                <a:gd name="connsiteY115" fmla="*/ 9023 h 154818"/>
                <a:gd name="connsiteX116" fmla="*/ 8653 w 195929"/>
                <a:gd name="connsiteY116" fmla="*/ 9023 h 154818"/>
                <a:gd name="connsiteX117" fmla="*/ 14730 w 195929"/>
                <a:gd name="connsiteY117" fmla="*/ 7054 h 154818"/>
                <a:gd name="connsiteX118" fmla="*/ 14730 w 195929"/>
                <a:gd name="connsiteY118" fmla="*/ 5387 h 154818"/>
                <a:gd name="connsiteX119" fmla="*/ 21573 w 195929"/>
                <a:gd name="connsiteY119" fmla="*/ 56 h 154818"/>
                <a:gd name="connsiteX120" fmla="*/ 29640 w 195929"/>
                <a:gd name="connsiteY120" fmla="*/ 2328 h 154818"/>
                <a:gd name="connsiteX121" fmla="*/ 37847 w 195929"/>
                <a:gd name="connsiteY121" fmla="*/ 3559 h 154818"/>
                <a:gd name="connsiteX122" fmla="*/ 46969 w 195929"/>
                <a:gd name="connsiteY122" fmla="*/ 3559 h 154818"/>
                <a:gd name="connsiteX123" fmla="*/ 51843 w 195929"/>
                <a:gd name="connsiteY123" fmla="*/ 2328 h 154818"/>
                <a:gd name="connsiteX124" fmla="*/ 55184 w 195929"/>
                <a:gd name="connsiteY124" fmla="*/ 3559 h 154818"/>
                <a:gd name="connsiteX125" fmla="*/ 66134 w 195929"/>
                <a:gd name="connsiteY125" fmla="*/ 5387 h 154818"/>
                <a:gd name="connsiteX126" fmla="*/ 78295 w 195929"/>
                <a:gd name="connsiteY126" fmla="*/ 7511 h 154818"/>
                <a:gd name="connsiteX127" fmla="*/ 84695 w 195929"/>
                <a:gd name="connsiteY127" fmla="*/ 5387 h 154818"/>
                <a:gd name="connsiteX128" fmla="*/ 84849 w 195929"/>
                <a:gd name="connsiteY128" fmla="*/ 7181 h 154818"/>
                <a:gd name="connsiteX129" fmla="*/ 88197 w 195929"/>
                <a:gd name="connsiteY129" fmla="*/ 5387 h 154818"/>
                <a:gd name="connsiteX130" fmla="*/ 94738 w 195929"/>
                <a:gd name="connsiteY130" fmla="*/ 7511 h 154818"/>
                <a:gd name="connsiteX131" fmla="*/ 98690 w 195929"/>
                <a:gd name="connsiteY131" fmla="*/ 5387 h 154818"/>
                <a:gd name="connsiteX132" fmla="*/ 104612 w 195929"/>
                <a:gd name="connsiteY132" fmla="*/ 7511 h 154818"/>
                <a:gd name="connsiteX133" fmla="*/ 109486 w 195929"/>
                <a:gd name="connsiteY133" fmla="*/ 9023 h 154818"/>
                <a:gd name="connsiteX134" fmla="*/ 116259 w 195929"/>
                <a:gd name="connsiteY134" fmla="*/ 8545 h 154818"/>
                <a:gd name="connsiteX135" fmla="*/ 121428 w 195929"/>
                <a:gd name="connsiteY135" fmla="*/ 10831 h 154818"/>
                <a:gd name="connsiteX136" fmla="*/ 121428 w 195929"/>
                <a:gd name="connsiteY136" fmla="*/ 13911 h 154818"/>
                <a:gd name="connsiteX137" fmla="*/ 126457 w 195929"/>
                <a:gd name="connsiteY137" fmla="*/ 15283 h 154818"/>
                <a:gd name="connsiteX138" fmla="*/ 130093 w 195929"/>
                <a:gd name="connsiteY138" fmla="*/ 16872 h 154818"/>
                <a:gd name="connsiteX139" fmla="*/ 135023 w 195929"/>
                <a:gd name="connsiteY139" fmla="*/ 19798 h 154818"/>
                <a:gd name="connsiteX140" fmla="*/ 137351 w 195929"/>
                <a:gd name="connsiteY140" fmla="*/ 19299 h 154818"/>
                <a:gd name="connsiteX141" fmla="*/ 140847 w 195929"/>
                <a:gd name="connsiteY141" fmla="*/ 19798 h 154818"/>
                <a:gd name="connsiteX142" fmla="*/ 143273 w 195929"/>
                <a:gd name="connsiteY142" fmla="*/ 21803 h 154818"/>
                <a:gd name="connsiteX143" fmla="*/ 147472 w 195929"/>
                <a:gd name="connsiteY143" fmla="*/ 21803 h 154818"/>
                <a:gd name="connsiteX144" fmla="*/ 151044 w 195929"/>
                <a:gd name="connsiteY144" fmla="*/ 22323 h 154818"/>
                <a:gd name="connsiteX145" fmla="*/ 154568 w 195929"/>
                <a:gd name="connsiteY145" fmla="*/ 20515 h 154818"/>
                <a:gd name="connsiteX146" fmla="*/ 156573 w 195929"/>
                <a:gd name="connsiteY146" fmla="*/ 19299 h 154818"/>
                <a:gd name="connsiteX147" fmla="*/ 162874 w 195929"/>
                <a:gd name="connsiteY147" fmla="*/ 21169 h 154818"/>
                <a:gd name="connsiteX148" fmla="*/ 167326 w 195929"/>
                <a:gd name="connsiteY148" fmla="*/ 23969 h 154818"/>
                <a:gd name="connsiteX149" fmla="*/ 170625 w 195929"/>
                <a:gd name="connsiteY149" fmla="*/ 23969 h 154818"/>
                <a:gd name="connsiteX150" fmla="*/ 173846 w 195929"/>
                <a:gd name="connsiteY150" fmla="*/ 27626 h 154818"/>
                <a:gd name="connsiteX151" fmla="*/ 176947 w 195929"/>
                <a:gd name="connsiteY151" fmla="*/ 28758 h 154818"/>
                <a:gd name="connsiteX152" fmla="*/ 179233 w 195929"/>
                <a:gd name="connsiteY152" fmla="*/ 27626 h 154818"/>
                <a:gd name="connsiteX153" fmla="*/ 182096 w 195929"/>
                <a:gd name="connsiteY153" fmla="*/ 28758 h 154818"/>
                <a:gd name="connsiteX154" fmla="*/ 184754 w 195929"/>
                <a:gd name="connsiteY154" fmla="*/ 28758 h 154818"/>
                <a:gd name="connsiteX155" fmla="*/ 187701 w 195929"/>
                <a:gd name="connsiteY155" fmla="*/ 27626 h 154818"/>
                <a:gd name="connsiteX156" fmla="*/ 191850 w 195929"/>
                <a:gd name="connsiteY156" fmla="*/ 26374 h 154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195929" h="154818">
                  <a:moveTo>
                    <a:pt x="191850" y="26374"/>
                  </a:moveTo>
                  <a:cubicBezTo>
                    <a:pt x="192132" y="27337"/>
                    <a:pt x="192856" y="29300"/>
                    <a:pt x="193545" y="29454"/>
                  </a:cubicBezTo>
                  <a:cubicBezTo>
                    <a:pt x="194396" y="29658"/>
                    <a:pt x="195929" y="29497"/>
                    <a:pt x="195929" y="30031"/>
                  </a:cubicBezTo>
                  <a:cubicBezTo>
                    <a:pt x="195929" y="30573"/>
                    <a:pt x="194122" y="31107"/>
                    <a:pt x="193545" y="31522"/>
                  </a:cubicBezTo>
                  <a:cubicBezTo>
                    <a:pt x="192969" y="31944"/>
                    <a:pt x="193222" y="34068"/>
                    <a:pt x="193545" y="34385"/>
                  </a:cubicBezTo>
                  <a:cubicBezTo>
                    <a:pt x="193862" y="34701"/>
                    <a:pt x="195050" y="37824"/>
                    <a:pt x="194298" y="38837"/>
                  </a:cubicBezTo>
                  <a:cubicBezTo>
                    <a:pt x="193545" y="39849"/>
                    <a:pt x="187244" y="44069"/>
                    <a:pt x="185274" y="44744"/>
                  </a:cubicBezTo>
                  <a:cubicBezTo>
                    <a:pt x="183305" y="45419"/>
                    <a:pt x="180984" y="46932"/>
                    <a:pt x="180225" y="47501"/>
                  </a:cubicBezTo>
                  <a:cubicBezTo>
                    <a:pt x="179472" y="48078"/>
                    <a:pt x="178635" y="48838"/>
                    <a:pt x="178473" y="49414"/>
                  </a:cubicBezTo>
                  <a:cubicBezTo>
                    <a:pt x="178319" y="49991"/>
                    <a:pt x="178101" y="51046"/>
                    <a:pt x="177777" y="51735"/>
                  </a:cubicBezTo>
                  <a:cubicBezTo>
                    <a:pt x="177461" y="52431"/>
                    <a:pt x="176110" y="51144"/>
                    <a:pt x="175294" y="51735"/>
                  </a:cubicBezTo>
                  <a:cubicBezTo>
                    <a:pt x="174479" y="52333"/>
                    <a:pt x="172854" y="53128"/>
                    <a:pt x="171680" y="52973"/>
                  </a:cubicBezTo>
                  <a:cubicBezTo>
                    <a:pt x="170505" y="52811"/>
                    <a:pt x="169612" y="53683"/>
                    <a:pt x="168339" y="53965"/>
                  </a:cubicBezTo>
                  <a:cubicBezTo>
                    <a:pt x="167066" y="54246"/>
                    <a:pt x="165061" y="54225"/>
                    <a:pt x="164464" y="54598"/>
                  </a:cubicBezTo>
                  <a:cubicBezTo>
                    <a:pt x="163866" y="54977"/>
                    <a:pt x="163169" y="55512"/>
                    <a:pt x="163071" y="55835"/>
                  </a:cubicBezTo>
                  <a:cubicBezTo>
                    <a:pt x="162973" y="56152"/>
                    <a:pt x="154800" y="59493"/>
                    <a:pt x="155595" y="61138"/>
                  </a:cubicBezTo>
                  <a:cubicBezTo>
                    <a:pt x="156397" y="62791"/>
                    <a:pt x="157424" y="62369"/>
                    <a:pt x="157543" y="62791"/>
                  </a:cubicBezTo>
                  <a:cubicBezTo>
                    <a:pt x="157663" y="63206"/>
                    <a:pt x="158120" y="64381"/>
                    <a:pt x="157543" y="64542"/>
                  </a:cubicBezTo>
                  <a:cubicBezTo>
                    <a:pt x="156966" y="64697"/>
                    <a:pt x="155919" y="65471"/>
                    <a:pt x="155222" y="65436"/>
                  </a:cubicBezTo>
                  <a:cubicBezTo>
                    <a:pt x="154526" y="65393"/>
                    <a:pt x="153513" y="64957"/>
                    <a:pt x="153351" y="65436"/>
                  </a:cubicBezTo>
                  <a:cubicBezTo>
                    <a:pt x="153197" y="65914"/>
                    <a:pt x="152676" y="67299"/>
                    <a:pt x="151720" y="68734"/>
                  </a:cubicBezTo>
                  <a:cubicBezTo>
                    <a:pt x="150770" y="70162"/>
                    <a:pt x="150390" y="71477"/>
                    <a:pt x="149694" y="72173"/>
                  </a:cubicBezTo>
                  <a:cubicBezTo>
                    <a:pt x="148998" y="72869"/>
                    <a:pt x="145481" y="77181"/>
                    <a:pt x="144827" y="77814"/>
                  </a:cubicBezTo>
                  <a:cubicBezTo>
                    <a:pt x="144166" y="78454"/>
                    <a:pt x="143575" y="80261"/>
                    <a:pt x="142900" y="81218"/>
                  </a:cubicBezTo>
                  <a:cubicBezTo>
                    <a:pt x="142246" y="82139"/>
                    <a:pt x="142070" y="82596"/>
                    <a:pt x="141719" y="83539"/>
                  </a:cubicBezTo>
                  <a:lnTo>
                    <a:pt x="141684" y="83637"/>
                  </a:lnTo>
                  <a:cubicBezTo>
                    <a:pt x="141304" y="84657"/>
                    <a:pt x="138863" y="87076"/>
                    <a:pt x="139081" y="88314"/>
                  </a:cubicBezTo>
                  <a:cubicBezTo>
                    <a:pt x="139299" y="89545"/>
                    <a:pt x="138983" y="90755"/>
                    <a:pt x="139560" y="91613"/>
                  </a:cubicBezTo>
                  <a:cubicBezTo>
                    <a:pt x="140136" y="92464"/>
                    <a:pt x="140115" y="95206"/>
                    <a:pt x="141107" y="97492"/>
                  </a:cubicBezTo>
                  <a:cubicBezTo>
                    <a:pt x="142105" y="99778"/>
                    <a:pt x="143653" y="100953"/>
                    <a:pt x="144764" y="101269"/>
                  </a:cubicBezTo>
                  <a:cubicBezTo>
                    <a:pt x="145875" y="101592"/>
                    <a:pt x="146951" y="102324"/>
                    <a:pt x="147050" y="102858"/>
                  </a:cubicBezTo>
                  <a:cubicBezTo>
                    <a:pt x="147148" y="103400"/>
                    <a:pt x="146473" y="105503"/>
                    <a:pt x="144448" y="106361"/>
                  </a:cubicBezTo>
                  <a:cubicBezTo>
                    <a:pt x="142422" y="107212"/>
                    <a:pt x="140453" y="108288"/>
                    <a:pt x="139560" y="108921"/>
                  </a:cubicBezTo>
                  <a:cubicBezTo>
                    <a:pt x="138666" y="109561"/>
                    <a:pt x="136599" y="111368"/>
                    <a:pt x="136437" y="112480"/>
                  </a:cubicBezTo>
                  <a:cubicBezTo>
                    <a:pt x="136275" y="113598"/>
                    <a:pt x="135902" y="114547"/>
                    <a:pt x="134728" y="115187"/>
                  </a:cubicBezTo>
                  <a:cubicBezTo>
                    <a:pt x="133553" y="115820"/>
                    <a:pt x="134109" y="119421"/>
                    <a:pt x="133673" y="119738"/>
                  </a:cubicBezTo>
                  <a:cubicBezTo>
                    <a:pt x="133237" y="120054"/>
                    <a:pt x="131985" y="122080"/>
                    <a:pt x="131232" y="123036"/>
                  </a:cubicBezTo>
                  <a:cubicBezTo>
                    <a:pt x="130473" y="123993"/>
                    <a:pt x="130810" y="124527"/>
                    <a:pt x="131232" y="124844"/>
                  </a:cubicBezTo>
                  <a:cubicBezTo>
                    <a:pt x="131647" y="125160"/>
                    <a:pt x="132857" y="124907"/>
                    <a:pt x="132920" y="125484"/>
                  </a:cubicBezTo>
                  <a:cubicBezTo>
                    <a:pt x="132977" y="126061"/>
                    <a:pt x="132147" y="126975"/>
                    <a:pt x="131232" y="126975"/>
                  </a:cubicBezTo>
                  <a:cubicBezTo>
                    <a:pt x="130318" y="126975"/>
                    <a:pt x="129263" y="126553"/>
                    <a:pt x="128623" y="126335"/>
                  </a:cubicBezTo>
                  <a:cubicBezTo>
                    <a:pt x="127990" y="126117"/>
                    <a:pt x="128152" y="126975"/>
                    <a:pt x="127294" y="126975"/>
                  </a:cubicBezTo>
                  <a:lnTo>
                    <a:pt x="123158" y="126975"/>
                  </a:lnTo>
                  <a:cubicBezTo>
                    <a:pt x="122624" y="126975"/>
                    <a:pt x="116484" y="131898"/>
                    <a:pt x="116104" y="133389"/>
                  </a:cubicBezTo>
                  <a:cubicBezTo>
                    <a:pt x="115724" y="134880"/>
                    <a:pt x="114550" y="137384"/>
                    <a:pt x="114613" y="138122"/>
                  </a:cubicBezTo>
                  <a:cubicBezTo>
                    <a:pt x="114670" y="138861"/>
                    <a:pt x="115211" y="139810"/>
                    <a:pt x="114613" y="139810"/>
                  </a:cubicBezTo>
                  <a:cubicBezTo>
                    <a:pt x="114016" y="139810"/>
                    <a:pt x="112349" y="141083"/>
                    <a:pt x="111913" y="141941"/>
                  </a:cubicBezTo>
                  <a:cubicBezTo>
                    <a:pt x="111469" y="142792"/>
                    <a:pt x="111230" y="143432"/>
                    <a:pt x="110478" y="143270"/>
                  </a:cubicBezTo>
                  <a:cubicBezTo>
                    <a:pt x="109725" y="143109"/>
                    <a:pt x="109282" y="142637"/>
                    <a:pt x="108713" y="141941"/>
                  </a:cubicBezTo>
                  <a:cubicBezTo>
                    <a:pt x="108136" y="141245"/>
                    <a:pt x="107995" y="141245"/>
                    <a:pt x="106244" y="141484"/>
                  </a:cubicBezTo>
                  <a:cubicBezTo>
                    <a:pt x="104493" y="141723"/>
                    <a:pt x="104338" y="141976"/>
                    <a:pt x="103881" y="142412"/>
                  </a:cubicBezTo>
                  <a:cubicBezTo>
                    <a:pt x="103424" y="142855"/>
                    <a:pt x="103206" y="143348"/>
                    <a:pt x="102847" y="143727"/>
                  </a:cubicBezTo>
                  <a:cubicBezTo>
                    <a:pt x="102488" y="144107"/>
                    <a:pt x="100322" y="144543"/>
                    <a:pt x="99767" y="143988"/>
                  </a:cubicBezTo>
                  <a:cubicBezTo>
                    <a:pt x="99211" y="143432"/>
                    <a:pt x="99070" y="143073"/>
                    <a:pt x="98571" y="143052"/>
                  </a:cubicBezTo>
                  <a:cubicBezTo>
                    <a:pt x="98079" y="143031"/>
                    <a:pt x="93148" y="142616"/>
                    <a:pt x="92670" y="143052"/>
                  </a:cubicBezTo>
                  <a:cubicBezTo>
                    <a:pt x="92192" y="143488"/>
                    <a:pt x="91995" y="144023"/>
                    <a:pt x="91517" y="144185"/>
                  </a:cubicBezTo>
                  <a:cubicBezTo>
                    <a:pt x="91039" y="144346"/>
                    <a:pt x="89505" y="143784"/>
                    <a:pt x="89034" y="143552"/>
                  </a:cubicBezTo>
                  <a:cubicBezTo>
                    <a:pt x="88556" y="143313"/>
                    <a:pt x="85496" y="143727"/>
                    <a:pt x="85039" y="143552"/>
                  </a:cubicBezTo>
                  <a:cubicBezTo>
                    <a:pt x="84582" y="143369"/>
                    <a:pt x="80503" y="143369"/>
                    <a:pt x="80011" y="143369"/>
                  </a:cubicBezTo>
                  <a:cubicBezTo>
                    <a:pt x="79511" y="143369"/>
                    <a:pt x="75418" y="143327"/>
                    <a:pt x="75116" y="143847"/>
                  </a:cubicBezTo>
                  <a:cubicBezTo>
                    <a:pt x="74820" y="144361"/>
                    <a:pt x="73526" y="146091"/>
                    <a:pt x="72914" y="146351"/>
                  </a:cubicBezTo>
                  <a:cubicBezTo>
                    <a:pt x="72295" y="146611"/>
                    <a:pt x="72035" y="147286"/>
                    <a:pt x="71339" y="147483"/>
                  </a:cubicBezTo>
                  <a:cubicBezTo>
                    <a:pt x="70643" y="147680"/>
                    <a:pt x="70066" y="147982"/>
                    <a:pt x="69292" y="147982"/>
                  </a:cubicBezTo>
                  <a:cubicBezTo>
                    <a:pt x="68519" y="147982"/>
                    <a:pt x="67429" y="147645"/>
                    <a:pt x="66690" y="147982"/>
                  </a:cubicBezTo>
                  <a:cubicBezTo>
                    <a:pt x="65952" y="148320"/>
                    <a:pt x="63272" y="150289"/>
                    <a:pt x="62794" y="150704"/>
                  </a:cubicBezTo>
                  <a:cubicBezTo>
                    <a:pt x="62316" y="151119"/>
                    <a:pt x="60824" y="153011"/>
                    <a:pt x="60332" y="154165"/>
                  </a:cubicBezTo>
                  <a:cubicBezTo>
                    <a:pt x="59931" y="155086"/>
                    <a:pt x="59256" y="153827"/>
                    <a:pt x="59594" y="153250"/>
                  </a:cubicBezTo>
                  <a:cubicBezTo>
                    <a:pt x="59151" y="153363"/>
                    <a:pt x="58180" y="153700"/>
                    <a:pt x="57842" y="154165"/>
                  </a:cubicBezTo>
                  <a:cubicBezTo>
                    <a:pt x="57428" y="154741"/>
                    <a:pt x="55761" y="154819"/>
                    <a:pt x="54846" y="154819"/>
                  </a:cubicBezTo>
                  <a:cubicBezTo>
                    <a:pt x="53932" y="154819"/>
                    <a:pt x="51998" y="154165"/>
                    <a:pt x="51006" y="154165"/>
                  </a:cubicBezTo>
                  <a:cubicBezTo>
                    <a:pt x="50015" y="154165"/>
                    <a:pt x="48341" y="153447"/>
                    <a:pt x="48003" y="152076"/>
                  </a:cubicBezTo>
                  <a:cubicBezTo>
                    <a:pt x="47666" y="150704"/>
                    <a:pt x="46674" y="150486"/>
                    <a:pt x="46674" y="149234"/>
                  </a:cubicBezTo>
                  <a:cubicBezTo>
                    <a:pt x="46674" y="147982"/>
                    <a:pt x="47349" y="146351"/>
                    <a:pt x="46674" y="146351"/>
                  </a:cubicBezTo>
                  <a:cubicBezTo>
                    <a:pt x="45999" y="146351"/>
                    <a:pt x="44845" y="146252"/>
                    <a:pt x="44431" y="145500"/>
                  </a:cubicBezTo>
                  <a:cubicBezTo>
                    <a:pt x="44008" y="144740"/>
                    <a:pt x="44008" y="143685"/>
                    <a:pt x="44008" y="143052"/>
                  </a:cubicBezTo>
                  <a:lnTo>
                    <a:pt x="44008" y="140907"/>
                  </a:lnTo>
                  <a:cubicBezTo>
                    <a:pt x="44008" y="140232"/>
                    <a:pt x="38445" y="133389"/>
                    <a:pt x="36019" y="133389"/>
                  </a:cubicBezTo>
                  <a:cubicBezTo>
                    <a:pt x="34078" y="133389"/>
                    <a:pt x="29738" y="133938"/>
                    <a:pt x="27811" y="134205"/>
                  </a:cubicBezTo>
                  <a:cubicBezTo>
                    <a:pt x="27404" y="132236"/>
                    <a:pt x="26700" y="127889"/>
                    <a:pt x="27192" y="126292"/>
                  </a:cubicBezTo>
                  <a:cubicBezTo>
                    <a:pt x="27811" y="124309"/>
                    <a:pt x="29921" y="123571"/>
                    <a:pt x="30238" y="120673"/>
                  </a:cubicBezTo>
                  <a:cubicBezTo>
                    <a:pt x="30554" y="117769"/>
                    <a:pt x="34809" y="117790"/>
                    <a:pt x="34809" y="116256"/>
                  </a:cubicBezTo>
                  <a:cubicBezTo>
                    <a:pt x="34809" y="114730"/>
                    <a:pt x="29344" y="111868"/>
                    <a:pt x="29183" y="109877"/>
                  </a:cubicBezTo>
                  <a:cubicBezTo>
                    <a:pt x="29021" y="107887"/>
                    <a:pt x="30716" y="104251"/>
                    <a:pt x="31468" y="102422"/>
                  </a:cubicBezTo>
                  <a:cubicBezTo>
                    <a:pt x="32221" y="100594"/>
                    <a:pt x="36019" y="96479"/>
                    <a:pt x="36019" y="94813"/>
                  </a:cubicBezTo>
                  <a:lnTo>
                    <a:pt x="36019" y="88272"/>
                  </a:lnTo>
                  <a:cubicBezTo>
                    <a:pt x="36019" y="86739"/>
                    <a:pt x="34809" y="85388"/>
                    <a:pt x="34809" y="83560"/>
                  </a:cubicBezTo>
                  <a:cubicBezTo>
                    <a:pt x="34809" y="81731"/>
                    <a:pt x="36019" y="79903"/>
                    <a:pt x="36019" y="78693"/>
                  </a:cubicBezTo>
                  <a:cubicBezTo>
                    <a:pt x="36019" y="77476"/>
                    <a:pt x="33592" y="76428"/>
                    <a:pt x="34809" y="74895"/>
                  </a:cubicBezTo>
                  <a:cubicBezTo>
                    <a:pt x="36019" y="73362"/>
                    <a:pt x="38009" y="70802"/>
                    <a:pt x="37847" y="69571"/>
                  </a:cubicBezTo>
                  <a:cubicBezTo>
                    <a:pt x="37693" y="68333"/>
                    <a:pt x="37847" y="61335"/>
                    <a:pt x="37847" y="60583"/>
                  </a:cubicBezTo>
                  <a:cubicBezTo>
                    <a:pt x="37847" y="59830"/>
                    <a:pt x="35105" y="58613"/>
                    <a:pt x="36019" y="57699"/>
                  </a:cubicBezTo>
                  <a:cubicBezTo>
                    <a:pt x="36933" y="56785"/>
                    <a:pt x="39064" y="52213"/>
                    <a:pt x="41188" y="51918"/>
                  </a:cubicBezTo>
                  <a:cubicBezTo>
                    <a:pt x="43312" y="51616"/>
                    <a:pt x="47131" y="47368"/>
                    <a:pt x="46969" y="46292"/>
                  </a:cubicBezTo>
                  <a:cubicBezTo>
                    <a:pt x="46815" y="45216"/>
                    <a:pt x="44705" y="43408"/>
                    <a:pt x="42419" y="42951"/>
                  </a:cubicBezTo>
                  <a:cubicBezTo>
                    <a:pt x="40133" y="42494"/>
                    <a:pt x="42398" y="39434"/>
                    <a:pt x="41188" y="38682"/>
                  </a:cubicBezTo>
                  <a:cubicBezTo>
                    <a:pt x="39979" y="37922"/>
                    <a:pt x="35084" y="36572"/>
                    <a:pt x="33276" y="37627"/>
                  </a:cubicBezTo>
                  <a:cubicBezTo>
                    <a:pt x="31468" y="38682"/>
                    <a:pt x="31630" y="38379"/>
                    <a:pt x="29640" y="39294"/>
                  </a:cubicBezTo>
                  <a:cubicBezTo>
                    <a:pt x="27650" y="40208"/>
                    <a:pt x="26278" y="39294"/>
                    <a:pt x="25068" y="39294"/>
                  </a:cubicBezTo>
                  <a:cubicBezTo>
                    <a:pt x="23859" y="39294"/>
                    <a:pt x="21573" y="38379"/>
                    <a:pt x="20201" y="39294"/>
                  </a:cubicBezTo>
                  <a:cubicBezTo>
                    <a:pt x="18830" y="40208"/>
                    <a:pt x="15947" y="42634"/>
                    <a:pt x="15947" y="40968"/>
                  </a:cubicBezTo>
                  <a:cubicBezTo>
                    <a:pt x="15947" y="39294"/>
                    <a:pt x="16840" y="39153"/>
                    <a:pt x="17156" y="37627"/>
                  </a:cubicBezTo>
                  <a:cubicBezTo>
                    <a:pt x="17473" y="36094"/>
                    <a:pt x="16101" y="34286"/>
                    <a:pt x="14730" y="34582"/>
                  </a:cubicBezTo>
                  <a:cubicBezTo>
                    <a:pt x="13358" y="34884"/>
                    <a:pt x="9863" y="35200"/>
                    <a:pt x="8653" y="36410"/>
                  </a:cubicBezTo>
                  <a:cubicBezTo>
                    <a:pt x="7437" y="37627"/>
                    <a:pt x="5608" y="38239"/>
                    <a:pt x="5608" y="36410"/>
                  </a:cubicBezTo>
                  <a:cubicBezTo>
                    <a:pt x="5608" y="34582"/>
                    <a:pt x="9863" y="31522"/>
                    <a:pt x="9863" y="30312"/>
                  </a:cubicBezTo>
                  <a:cubicBezTo>
                    <a:pt x="9863" y="29096"/>
                    <a:pt x="7437" y="31248"/>
                    <a:pt x="6522" y="29419"/>
                  </a:cubicBezTo>
                  <a:cubicBezTo>
                    <a:pt x="5608" y="27591"/>
                    <a:pt x="6522" y="26515"/>
                    <a:pt x="6522" y="25305"/>
                  </a:cubicBezTo>
                  <a:cubicBezTo>
                    <a:pt x="6522" y="22857"/>
                    <a:pt x="4673" y="23153"/>
                    <a:pt x="4082" y="24229"/>
                  </a:cubicBezTo>
                  <a:cubicBezTo>
                    <a:pt x="3484" y="25305"/>
                    <a:pt x="1332" y="26198"/>
                    <a:pt x="1951" y="24229"/>
                  </a:cubicBezTo>
                  <a:cubicBezTo>
                    <a:pt x="2570" y="22260"/>
                    <a:pt x="2549" y="21191"/>
                    <a:pt x="4082" y="20734"/>
                  </a:cubicBezTo>
                  <a:cubicBezTo>
                    <a:pt x="5481" y="20311"/>
                    <a:pt x="3301" y="18898"/>
                    <a:pt x="2218" y="19468"/>
                  </a:cubicBezTo>
                  <a:cubicBezTo>
                    <a:pt x="2014" y="20143"/>
                    <a:pt x="1346" y="20375"/>
                    <a:pt x="1951" y="19679"/>
                  </a:cubicBezTo>
                  <a:cubicBezTo>
                    <a:pt x="2028" y="19587"/>
                    <a:pt x="2120" y="19517"/>
                    <a:pt x="2218" y="19468"/>
                  </a:cubicBezTo>
                  <a:cubicBezTo>
                    <a:pt x="2331" y="19116"/>
                    <a:pt x="2316" y="18659"/>
                    <a:pt x="1951" y="18145"/>
                  </a:cubicBezTo>
                  <a:cubicBezTo>
                    <a:pt x="-1087" y="16633"/>
                    <a:pt x="-173" y="14369"/>
                    <a:pt x="1951" y="11928"/>
                  </a:cubicBezTo>
                  <a:cubicBezTo>
                    <a:pt x="4082" y="9481"/>
                    <a:pt x="4694" y="9023"/>
                    <a:pt x="5608" y="9023"/>
                  </a:cubicBezTo>
                  <a:lnTo>
                    <a:pt x="8653" y="9023"/>
                  </a:lnTo>
                  <a:cubicBezTo>
                    <a:pt x="9863" y="9023"/>
                    <a:pt x="12310" y="6597"/>
                    <a:pt x="14730" y="7054"/>
                  </a:cubicBezTo>
                  <a:cubicBezTo>
                    <a:pt x="17156" y="7511"/>
                    <a:pt x="14730" y="6302"/>
                    <a:pt x="14730" y="5387"/>
                  </a:cubicBezTo>
                  <a:cubicBezTo>
                    <a:pt x="14730" y="4473"/>
                    <a:pt x="18071" y="380"/>
                    <a:pt x="21573" y="56"/>
                  </a:cubicBezTo>
                  <a:cubicBezTo>
                    <a:pt x="25068" y="-260"/>
                    <a:pt x="27516" y="795"/>
                    <a:pt x="29640" y="2328"/>
                  </a:cubicBezTo>
                  <a:cubicBezTo>
                    <a:pt x="31764" y="3854"/>
                    <a:pt x="34507" y="3875"/>
                    <a:pt x="37847" y="3559"/>
                  </a:cubicBezTo>
                  <a:cubicBezTo>
                    <a:pt x="41188" y="3242"/>
                    <a:pt x="44986" y="3559"/>
                    <a:pt x="46969" y="3559"/>
                  </a:cubicBezTo>
                  <a:cubicBezTo>
                    <a:pt x="48960" y="3559"/>
                    <a:pt x="50015" y="3376"/>
                    <a:pt x="51843" y="2328"/>
                  </a:cubicBezTo>
                  <a:cubicBezTo>
                    <a:pt x="53672" y="1273"/>
                    <a:pt x="53946" y="3559"/>
                    <a:pt x="55184" y="3559"/>
                  </a:cubicBezTo>
                  <a:cubicBezTo>
                    <a:pt x="56415" y="3559"/>
                    <a:pt x="63392" y="3714"/>
                    <a:pt x="66134" y="5387"/>
                  </a:cubicBezTo>
                  <a:cubicBezTo>
                    <a:pt x="68877" y="7054"/>
                    <a:pt x="77226" y="8285"/>
                    <a:pt x="78295" y="7511"/>
                  </a:cubicBezTo>
                  <a:cubicBezTo>
                    <a:pt x="79371" y="6738"/>
                    <a:pt x="83647" y="5387"/>
                    <a:pt x="84695" y="5387"/>
                  </a:cubicBezTo>
                  <a:cubicBezTo>
                    <a:pt x="85426" y="5387"/>
                    <a:pt x="85159" y="6435"/>
                    <a:pt x="84849" y="7181"/>
                  </a:cubicBezTo>
                  <a:cubicBezTo>
                    <a:pt x="85370" y="6154"/>
                    <a:pt x="86558" y="4740"/>
                    <a:pt x="88197" y="5387"/>
                  </a:cubicBezTo>
                  <a:cubicBezTo>
                    <a:pt x="90483" y="6281"/>
                    <a:pt x="94281" y="6302"/>
                    <a:pt x="94738" y="7511"/>
                  </a:cubicBezTo>
                  <a:cubicBezTo>
                    <a:pt x="96566" y="7511"/>
                    <a:pt x="97776" y="5387"/>
                    <a:pt x="98690" y="5387"/>
                  </a:cubicBezTo>
                  <a:cubicBezTo>
                    <a:pt x="99605" y="5387"/>
                    <a:pt x="102488" y="6302"/>
                    <a:pt x="104612" y="7511"/>
                  </a:cubicBezTo>
                  <a:cubicBezTo>
                    <a:pt x="106743" y="8728"/>
                    <a:pt x="107953" y="9481"/>
                    <a:pt x="109486" y="9023"/>
                  </a:cubicBezTo>
                  <a:cubicBezTo>
                    <a:pt x="111012" y="8566"/>
                    <a:pt x="115549" y="8067"/>
                    <a:pt x="116259" y="8545"/>
                  </a:cubicBezTo>
                  <a:cubicBezTo>
                    <a:pt x="116976" y="9023"/>
                    <a:pt x="120936" y="10395"/>
                    <a:pt x="121428" y="10831"/>
                  </a:cubicBezTo>
                  <a:cubicBezTo>
                    <a:pt x="121928" y="11267"/>
                    <a:pt x="120634" y="13757"/>
                    <a:pt x="121428" y="13911"/>
                  </a:cubicBezTo>
                  <a:cubicBezTo>
                    <a:pt x="122068" y="14038"/>
                    <a:pt x="125050" y="14882"/>
                    <a:pt x="126457" y="15283"/>
                  </a:cubicBezTo>
                  <a:cubicBezTo>
                    <a:pt x="127364" y="15782"/>
                    <a:pt x="129362" y="16795"/>
                    <a:pt x="130093" y="16872"/>
                  </a:cubicBezTo>
                  <a:cubicBezTo>
                    <a:pt x="131007" y="16971"/>
                    <a:pt x="134447" y="19875"/>
                    <a:pt x="135023" y="19798"/>
                  </a:cubicBezTo>
                  <a:cubicBezTo>
                    <a:pt x="135600" y="19714"/>
                    <a:pt x="136676" y="19299"/>
                    <a:pt x="137351" y="19299"/>
                  </a:cubicBezTo>
                  <a:cubicBezTo>
                    <a:pt x="138026" y="19299"/>
                    <a:pt x="140354" y="19038"/>
                    <a:pt x="140847" y="19798"/>
                  </a:cubicBezTo>
                  <a:cubicBezTo>
                    <a:pt x="141346" y="20551"/>
                    <a:pt x="142443" y="21563"/>
                    <a:pt x="143273" y="21803"/>
                  </a:cubicBezTo>
                  <a:cubicBezTo>
                    <a:pt x="144110" y="22042"/>
                    <a:pt x="146114" y="21803"/>
                    <a:pt x="147472" y="21803"/>
                  </a:cubicBezTo>
                  <a:cubicBezTo>
                    <a:pt x="148822" y="21803"/>
                    <a:pt x="149835" y="22836"/>
                    <a:pt x="151044" y="22323"/>
                  </a:cubicBezTo>
                  <a:cubicBezTo>
                    <a:pt x="152261" y="21803"/>
                    <a:pt x="154484" y="21226"/>
                    <a:pt x="154568" y="20515"/>
                  </a:cubicBezTo>
                  <a:cubicBezTo>
                    <a:pt x="154645" y="19798"/>
                    <a:pt x="155581" y="18799"/>
                    <a:pt x="156573" y="19299"/>
                  </a:cubicBezTo>
                  <a:cubicBezTo>
                    <a:pt x="157564" y="19798"/>
                    <a:pt x="161861" y="20530"/>
                    <a:pt x="162874" y="21169"/>
                  </a:cubicBezTo>
                  <a:cubicBezTo>
                    <a:pt x="163887" y="21803"/>
                    <a:pt x="166313" y="23969"/>
                    <a:pt x="167326" y="23969"/>
                  </a:cubicBezTo>
                  <a:cubicBezTo>
                    <a:pt x="168339" y="23969"/>
                    <a:pt x="169612" y="23195"/>
                    <a:pt x="170625" y="23969"/>
                  </a:cubicBezTo>
                  <a:cubicBezTo>
                    <a:pt x="171637" y="24742"/>
                    <a:pt x="173051" y="27267"/>
                    <a:pt x="173846" y="27626"/>
                  </a:cubicBezTo>
                  <a:cubicBezTo>
                    <a:pt x="174640" y="27985"/>
                    <a:pt x="176174" y="29040"/>
                    <a:pt x="176947" y="28758"/>
                  </a:cubicBezTo>
                  <a:cubicBezTo>
                    <a:pt x="177721" y="28484"/>
                    <a:pt x="178157" y="27626"/>
                    <a:pt x="179233" y="27626"/>
                  </a:cubicBezTo>
                  <a:cubicBezTo>
                    <a:pt x="180302" y="27626"/>
                    <a:pt x="181737" y="28062"/>
                    <a:pt x="182096" y="28758"/>
                  </a:cubicBezTo>
                  <a:cubicBezTo>
                    <a:pt x="182454" y="29454"/>
                    <a:pt x="184121" y="28758"/>
                    <a:pt x="184754" y="28758"/>
                  </a:cubicBezTo>
                  <a:cubicBezTo>
                    <a:pt x="185394" y="28758"/>
                    <a:pt x="186702" y="27626"/>
                    <a:pt x="187701" y="27626"/>
                  </a:cubicBezTo>
                  <a:cubicBezTo>
                    <a:pt x="188495" y="27626"/>
                    <a:pt x="190802" y="26796"/>
                    <a:pt x="191850" y="26374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9" name="Freihandform: Form 224">
              <a:extLst>
                <a:ext uri="{FF2B5EF4-FFF2-40B4-BE49-F238E27FC236}">
                  <a16:creationId xmlns:a16="http://schemas.microsoft.com/office/drawing/2014/main" id="{61693A0D-810F-2146-8D21-93EB63D2F245}"/>
                </a:ext>
              </a:extLst>
            </p:cNvPr>
            <p:cNvSpPr/>
            <p:nvPr/>
          </p:nvSpPr>
          <p:spPr>
            <a:xfrm>
              <a:off x="6190167" y="3788162"/>
              <a:ext cx="5589" cy="4344"/>
            </a:xfrm>
            <a:custGeom>
              <a:avLst/>
              <a:gdLst>
                <a:gd name="connsiteX0" fmla="*/ 3116 w 5589"/>
                <a:gd name="connsiteY0" fmla="*/ 69 h 4344"/>
                <a:gd name="connsiteX1" fmla="*/ 0 w 5589"/>
                <a:gd name="connsiteY1" fmla="*/ 1517 h 4344"/>
                <a:gd name="connsiteX2" fmla="*/ 5521 w 5589"/>
                <a:gd name="connsiteY2" fmla="*/ 2411 h 4344"/>
                <a:gd name="connsiteX3" fmla="*/ 3116 w 5589"/>
                <a:gd name="connsiteY3" fmla="*/ 69 h 4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9" h="4344">
                  <a:moveTo>
                    <a:pt x="3116" y="69"/>
                  </a:moveTo>
                  <a:cubicBezTo>
                    <a:pt x="1498" y="-297"/>
                    <a:pt x="359" y="885"/>
                    <a:pt x="0" y="1517"/>
                  </a:cubicBezTo>
                  <a:cubicBezTo>
                    <a:pt x="2539" y="6842"/>
                    <a:pt x="5226" y="3149"/>
                    <a:pt x="5521" y="2411"/>
                  </a:cubicBezTo>
                  <a:cubicBezTo>
                    <a:pt x="5823" y="1679"/>
                    <a:pt x="5148" y="526"/>
                    <a:pt x="3116" y="69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0" name="Freihandform: Form 225">
              <a:extLst>
                <a:ext uri="{FF2B5EF4-FFF2-40B4-BE49-F238E27FC236}">
                  <a16:creationId xmlns:a16="http://schemas.microsoft.com/office/drawing/2014/main" id="{41888322-D856-2143-AA49-C2107B98AA00}"/>
                </a:ext>
              </a:extLst>
            </p:cNvPr>
            <p:cNvSpPr/>
            <p:nvPr/>
          </p:nvSpPr>
          <p:spPr>
            <a:xfrm>
              <a:off x="6009166" y="3795028"/>
              <a:ext cx="50889" cy="103354"/>
            </a:xfrm>
            <a:custGeom>
              <a:avLst/>
              <a:gdLst>
                <a:gd name="connsiteX0" fmla="*/ 15920 w 50889"/>
                <a:gd name="connsiteY0" fmla="*/ 101308 h 103354"/>
                <a:gd name="connsiteX1" fmla="*/ 8311 w 50889"/>
                <a:gd name="connsiteY1" fmla="*/ 103354 h 103354"/>
                <a:gd name="connsiteX2" fmla="*/ 8311 w 50889"/>
                <a:gd name="connsiteY2" fmla="*/ 102222 h 103354"/>
                <a:gd name="connsiteX3" fmla="*/ 8923 w 50889"/>
                <a:gd name="connsiteY3" fmla="*/ 100077 h 103354"/>
                <a:gd name="connsiteX4" fmla="*/ 10850 w 50889"/>
                <a:gd name="connsiteY4" fmla="*/ 95428 h 103354"/>
                <a:gd name="connsiteX5" fmla="*/ 10850 w 50889"/>
                <a:gd name="connsiteY5" fmla="*/ 91110 h 103354"/>
                <a:gd name="connsiteX6" fmla="*/ 10850 w 50889"/>
                <a:gd name="connsiteY6" fmla="*/ 86383 h 103354"/>
                <a:gd name="connsiteX7" fmla="*/ 9661 w 50889"/>
                <a:gd name="connsiteY7" fmla="*/ 84013 h 103354"/>
                <a:gd name="connsiteX8" fmla="*/ 10850 w 50889"/>
                <a:gd name="connsiteY8" fmla="*/ 81355 h 103354"/>
                <a:gd name="connsiteX9" fmla="*/ 10850 w 50889"/>
                <a:gd name="connsiteY9" fmla="*/ 77339 h 103354"/>
                <a:gd name="connsiteX10" fmla="*/ 11511 w 50889"/>
                <a:gd name="connsiteY10" fmla="*/ 75848 h 103354"/>
                <a:gd name="connsiteX11" fmla="*/ 12024 w 50889"/>
                <a:gd name="connsiteY11" fmla="*/ 74258 h 103354"/>
                <a:gd name="connsiteX12" fmla="*/ 10850 w 50889"/>
                <a:gd name="connsiteY12" fmla="*/ 73639 h 103354"/>
                <a:gd name="connsiteX13" fmla="*/ 6004 w 50889"/>
                <a:gd name="connsiteY13" fmla="*/ 75447 h 103354"/>
                <a:gd name="connsiteX14" fmla="*/ 4217 w 50889"/>
                <a:gd name="connsiteY14" fmla="*/ 72071 h 103354"/>
                <a:gd name="connsiteX15" fmla="*/ 6679 w 50889"/>
                <a:gd name="connsiteY15" fmla="*/ 70264 h 103354"/>
                <a:gd name="connsiteX16" fmla="*/ 8923 w 50889"/>
                <a:gd name="connsiteY16" fmla="*/ 67675 h 103354"/>
                <a:gd name="connsiteX17" fmla="*/ 8029 w 50889"/>
                <a:gd name="connsiteY17" fmla="*/ 64159 h 103354"/>
                <a:gd name="connsiteX18" fmla="*/ 6004 w 50889"/>
                <a:gd name="connsiteY18" fmla="*/ 67675 h 103354"/>
                <a:gd name="connsiteX19" fmla="*/ 3078 w 50889"/>
                <a:gd name="connsiteY19" fmla="*/ 69588 h 103354"/>
                <a:gd name="connsiteX20" fmla="*/ 40 w 50889"/>
                <a:gd name="connsiteY20" fmla="*/ 68470 h 103354"/>
                <a:gd name="connsiteX21" fmla="*/ 2185 w 50889"/>
                <a:gd name="connsiteY21" fmla="*/ 64159 h 103354"/>
                <a:gd name="connsiteX22" fmla="*/ 3641 w 50889"/>
                <a:gd name="connsiteY22" fmla="*/ 57878 h 103354"/>
                <a:gd name="connsiteX23" fmla="*/ 3078 w 50889"/>
                <a:gd name="connsiteY23" fmla="*/ 48876 h 103354"/>
                <a:gd name="connsiteX24" fmla="*/ 6004 w 50889"/>
                <a:gd name="connsiteY24" fmla="*/ 45950 h 103354"/>
                <a:gd name="connsiteX25" fmla="*/ 8923 w 50889"/>
                <a:gd name="connsiteY25" fmla="*/ 42750 h 103354"/>
                <a:gd name="connsiteX26" fmla="*/ 10280 w 50889"/>
                <a:gd name="connsiteY26" fmla="*/ 35197 h 103354"/>
                <a:gd name="connsiteX27" fmla="*/ 12326 w 50889"/>
                <a:gd name="connsiteY27" fmla="*/ 26870 h 103354"/>
                <a:gd name="connsiteX28" fmla="*/ 13100 w 50889"/>
                <a:gd name="connsiteY28" fmla="*/ 21145 h 103354"/>
                <a:gd name="connsiteX29" fmla="*/ 10280 w 50889"/>
                <a:gd name="connsiteY29" fmla="*/ 14569 h 103354"/>
                <a:gd name="connsiteX30" fmla="*/ 10280 w 50889"/>
                <a:gd name="connsiteY30" fmla="*/ 8844 h 103354"/>
                <a:gd name="connsiteX31" fmla="*/ 9443 w 50889"/>
                <a:gd name="connsiteY31" fmla="*/ 6614 h 103354"/>
                <a:gd name="connsiteX32" fmla="*/ 10280 w 50889"/>
                <a:gd name="connsiteY32" fmla="*/ 2838 h 103354"/>
                <a:gd name="connsiteX33" fmla="*/ 12326 w 50889"/>
                <a:gd name="connsiteY33" fmla="*/ 1867 h 103354"/>
                <a:gd name="connsiteX34" fmla="*/ 16202 w 50889"/>
                <a:gd name="connsiteY34" fmla="*/ 418 h 103354"/>
                <a:gd name="connsiteX35" fmla="*/ 20253 w 50889"/>
                <a:gd name="connsiteY35" fmla="*/ 418 h 103354"/>
                <a:gd name="connsiteX36" fmla="*/ 20949 w 50889"/>
                <a:gd name="connsiteY36" fmla="*/ 3414 h 103354"/>
                <a:gd name="connsiteX37" fmla="*/ 20253 w 50889"/>
                <a:gd name="connsiteY37" fmla="*/ 6614 h 103354"/>
                <a:gd name="connsiteX38" fmla="*/ 23551 w 50889"/>
                <a:gd name="connsiteY38" fmla="*/ 5264 h 103354"/>
                <a:gd name="connsiteX39" fmla="*/ 26857 w 50889"/>
                <a:gd name="connsiteY39" fmla="*/ 4392 h 103354"/>
                <a:gd name="connsiteX40" fmla="*/ 31984 w 50889"/>
                <a:gd name="connsiteY40" fmla="*/ 5264 h 103354"/>
                <a:gd name="connsiteX41" fmla="*/ 36155 w 50889"/>
                <a:gd name="connsiteY41" fmla="*/ 3414 h 103354"/>
                <a:gd name="connsiteX42" fmla="*/ 41183 w 50889"/>
                <a:gd name="connsiteY42" fmla="*/ 2838 h 103354"/>
                <a:gd name="connsiteX43" fmla="*/ 45635 w 50889"/>
                <a:gd name="connsiteY43" fmla="*/ 4392 h 103354"/>
                <a:gd name="connsiteX44" fmla="*/ 45635 w 50889"/>
                <a:gd name="connsiteY44" fmla="*/ 7690 h 103354"/>
                <a:gd name="connsiteX45" fmla="*/ 49335 w 50889"/>
                <a:gd name="connsiteY45" fmla="*/ 9716 h 103354"/>
                <a:gd name="connsiteX46" fmla="*/ 50882 w 50889"/>
                <a:gd name="connsiteY46" fmla="*/ 12241 h 103354"/>
                <a:gd name="connsiteX47" fmla="*/ 47583 w 50889"/>
                <a:gd name="connsiteY47" fmla="*/ 16018 h 103354"/>
                <a:gd name="connsiteX48" fmla="*/ 44186 w 50889"/>
                <a:gd name="connsiteY48" fmla="*/ 17670 h 103354"/>
                <a:gd name="connsiteX49" fmla="*/ 41183 w 50889"/>
                <a:gd name="connsiteY49" fmla="*/ 21145 h 103354"/>
                <a:gd name="connsiteX50" fmla="*/ 41183 w 50889"/>
                <a:gd name="connsiteY50" fmla="*/ 24921 h 103354"/>
                <a:gd name="connsiteX51" fmla="*/ 41760 w 50889"/>
                <a:gd name="connsiteY51" fmla="*/ 28522 h 103354"/>
                <a:gd name="connsiteX52" fmla="*/ 41760 w 50889"/>
                <a:gd name="connsiteY52" fmla="*/ 35197 h 103354"/>
                <a:gd name="connsiteX53" fmla="*/ 38757 w 50889"/>
                <a:gd name="connsiteY53" fmla="*/ 40127 h 103354"/>
                <a:gd name="connsiteX54" fmla="*/ 40030 w 50889"/>
                <a:gd name="connsiteY54" fmla="*/ 43425 h 103354"/>
                <a:gd name="connsiteX55" fmla="*/ 38757 w 50889"/>
                <a:gd name="connsiteY55" fmla="*/ 47603 h 103354"/>
                <a:gd name="connsiteX56" fmla="*/ 40030 w 50889"/>
                <a:gd name="connsiteY56" fmla="*/ 53110 h 103354"/>
                <a:gd name="connsiteX57" fmla="*/ 40030 w 50889"/>
                <a:gd name="connsiteY57" fmla="*/ 58455 h 103354"/>
                <a:gd name="connsiteX58" fmla="*/ 37983 w 50889"/>
                <a:gd name="connsiteY58" fmla="*/ 64159 h 103354"/>
                <a:gd name="connsiteX59" fmla="*/ 33630 w 50889"/>
                <a:gd name="connsiteY59" fmla="*/ 72985 h 103354"/>
                <a:gd name="connsiteX60" fmla="*/ 36436 w 50889"/>
                <a:gd name="connsiteY60" fmla="*/ 78985 h 103354"/>
                <a:gd name="connsiteX61" fmla="*/ 38757 w 50889"/>
                <a:gd name="connsiteY61" fmla="*/ 81791 h 103354"/>
                <a:gd name="connsiteX62" fmla="*/ 34305 w 50889"/>
                <a:gd name="connsiteY62" fmla="*/ 85371 h 103354"/>
                <a:gd name="connsiteX63" fmla="*/ 33630 w 50889"/>
                <a:gd name="connsiteY63" fmla="*/ 88472 h 103354"/>
                <a:gd name="connsiteX64" fmla="*/ 30929 w 50889"/>
                <a:gd name="connsiteY64" fmla="*/ 93501 h 103354"/>
                <a:gd name="connsiteX65" fmla="*/ 32160 w 50889"/>
                <a:gd name="connsiteY65" fmla="*/ 99662 h 103354"/>
                <a:gd name="connsiteX66" fmla="*/ 23734 w 50889"/>
                <a:gd name="connsiteY66" fmla="*/ 103354 h 103354"/>
                <a:gd name="connsiteX67" fmla="*/ 15920 w 50889"/>
                <a:gd name="connsiteY67" fmla="*/ 101308 h 10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50889" h="103354">
                  <a:moveTo>
                    <a:pt x="15920" y="101308"/>
                  </a:moveTo>
                  <a:cubicBezTo>
                    <a:pt x="13614" y="100991"/>
                    <a:pt x="9886" y="102538"/>
                    <a:pt x="8311" y="103354"/>
                  </a:cubicBezTo>
                  <a:cubicBezTo>
                    <a:pt x="8135" y="103024"/>
                    <a:pt x="7896" y="102334"/>
                    <a:pt x="8311" y="102222"/>
                  </a:cubicBezTo>
                  <a:cubicBezTo>
                    <a:pt x="8824" y="102081"/>
                    <a:pt x="8311" y="100653"/>
                    <a:pt x="8923" y="100077"/>
                  </a:cubicBezTo>
                  <a:cubicBezTo>
                    <a:pt x="9541" y="99500"/>
                    <a:pt x="10217" y="95920"/>
                    <a:pt x="10850" y="95428"/>
                  </a:cubicBezTo>
                  <a:cubicBezTo>
                    <a:pt x="11490" y="94928"/>
                    <a:pt x="10850" y="92045"/>
                    <a:pt x="10850" y="91110"/>
                  </a:cubicBezTo>
                  <a:lnTo>
                    <a:pt x="10850" y="86383"/>
                  </a:lnTo>
                  <a:cubicBezTo>
                    <a:pt x="10850" y="85666"/>
                    <a:pt x="9802" y="84512"/>
                    <a:pt x="9661" y="84013"/>
                  </a:cubicBezTo>
                  <a:cubicBezTo>
                    <a:pt x="9520" y="83521"/>
                    <a:pt x="10378" y="82290"/>
                    <a:pt x="10850" y="81355"/>
                  </a:cubicBezTo>
                  <a:cubicBezTo>
                    <a:pt x="11328" y="80419"/>
                    <a:pt x="10850" y="78492"/>
                    <a:pt x="10850" y="77339"/>
                  </a:cubicBezTo>
                  <a:cubicBezTo>
                    <a:pt x="10850" y="76185"/>
                    <a:pt x="10850" y="75848"/>
                    <a:pt x="11511" y="75848"/>
                  </a:cubicBezTo>
                  <a:cubicBezTo>
                    <a:pt x="12165" y="75848"/>
                    <a:pt x="12165" y="74976"/>
                    <a:pt x="12024" y="74258"/>
                  </a:cubicBezTo>
                  <a:cubicBezTo>
                    <a:pt x="11883" y="73541"/>
                    <a:pt x="11651" y="73639"/>
                    <a:pt x="10850" y="73639"/>
                  </a:cubicBezTo>
                  <a:cubicBezTo>
                    <a:pt x="10055" y="73639"/>
                    <a:pt x="8029" y="74772"/>
                    <a:pt x="6004" y="75447"/>
                  </a:cubicBezTo>
                  <a:cubicBezTo>
                    <a:pt x="3978" y="76122"/>
                    <a:pt x="4217" y="72985"/>
                    <a:pt x="4217" y="72071"/>
                  </a:cubicBezTo>
                  <a:cubicBezTo>
                    <a:pt x="4217" y="71157"/>
                    <a:pt x="6004" y="70601"/>
                    <a:pt x="6679" y="70264"/>
                  </a:cubicBezTo>
                  <a:cubicBezTo>
                    <a:pt x="7220" y="69989"/>
                    <a:pt x="8402" y="68428"/>
                    <a:pt x="8923" y="67675"/>
                  </a:cubicBezTo>
                  <a:cubicBezTo>
                    <a:pt x="8923" y="66853"/>
                    <a:pt x="8747" y="64989"/>
                    <a:pt x="8029" y="64159"/>
                  </a:cubicBezTo>
                  <a:cubicBezTo>
                    <a:pt x="7136" y="63125"/>
                    <a:pt x="6679" y="66205"/>
                    <a:pt x="6004" y="67675"/>
                  </a:cubicBezTo>
                  <a:cubicBezTo>
                    <a:pt x="5329" y="69145"/>
                    <a:pt x="4435" y="68470"/>
                    <a:pt x="3078" y="69588"/>
                  </a:cubicBezTo>
                  <a:cubicBezTo>
                    <a:pt x="1728" y="70700"/>
                    <a:pt x="377" y="69708"/>
                    <a:pt x="40" y="68470"/>
                  </a:cubicBezTo>
                  <a:cubicBezTo>
                    <a:pt x="-298" y="67239"/>
                    <a:pt x="1608" y="64159"/>
                    <a:pt x="2185" y="64159"/>
                  </a:cubicBezTo>
                  <a:cubicBezTo>
                    <a:pt x="2762" y="64159"/>
                    <a:pt x="3078" y="59130"/>
                    <a:pt x="3641" y="57878"/>
                  </a:cubicBezTo>
                  <a:cubicBezTo>
                    <a:pt x="4196" y="56627"/>
                    <a:pt x="3078" y="50107"/>
                    <a:pt x="3078" y="48876"/>
                  </a:cubicBezTo>
                  <a:cubicBezTo>
                    <a:pt x="3078" y="47645"/>
                    <a:pt x="3760" y="46168"/>
                    <a:pt x="6004" y="45950"/>
                  </a:cubicBezTo>
                  <a:cubicBezTo>
                    <a:pt x="8247" y="45732"/>
                    <a:pt x="7671" y="43425"/>
                    <a:pt x="8923" y="42750"/>
                  </a:cubicBezTo>
                  <a:cubicBezTo>
                    <a:pt x="10174" y="42075"/>
                    <a:pt x="9422" y="37025"/>
                    <a:pt x="10280" y="35197"/>
                  </a:cubicBezTo>
                  <a:cubicBezTo>
                    <a:pt x="11131" y="33368"/>
                    <a:pt x="11651" y="27826"/>
                    <a:pt x="12326" y="26870"/>
                  </a:cubicBezTo>
                  <a:cubicBezTo>
                    <a:pt x="13002" y="25920"/>
                    <a:pt x="13100" y="21820"/>
                    <a:pt x="13100" y="21145"/>
                  </a:cubicBezTo>
                  <a:cubicBezTo>
                    <a:pt x="13100" y="20469"/>
                    <a:pt x="10280" y="15343"/>
                    <a:pt x="10280" y="14569"/>
                  </a:cubicBezTo>
                  <a:lnTo>
                    <a:pt x="10280" y="8844"/>
                  </a:lnTo>
                  <a:cubicBezTo>
                    <a:pt x="10280" y="8844"/>
                    <a:pt x="9506" y="8239"/>
                    <a:pt x="9443" y="6614"/>
                  </a:cubicBezTo>
                  <a:cubicBezTo>
                    <a:pt x="9366" y="4589"/>
                    <a:pt x="9999" y="2838"/>
                    <a:pt x="10280" y="2838"/>
                  </a:cubicBezTo>
                  <a:cubicBezTo>
                    <a:pt x="10554" y="2838"/>
                    <a:pt x="11750" y="2838"/>
                    <a:pt x="12326" y="1867"/>
                  </a:cubicBezTo>
                  <a:cubicBezTo>
                    <a:pt x="12903" y="890"/>
                    <a:pt x="14450" y="1192"/>
                    <a:pt x="16202" y="418"/>
                  </a:cubicBezTo>
                  <a:cubicBezTo>
                    <a:pt x="17946" y="-362"/>
                    <a:pt x="19402" y="137"/>
                    <a:pt x="20253" y="418"/>
                  </a:cubicBezTo>
                  <a:cubicBezTo>
                    <a:pt x="20935" y="636"/>
                    <a:pt x="21005" y="2507"/>
                    <a:pt x="20949" y="3414"/>
                  </a:cubicBezTo>
                  <a:cubicBezTo>
                    <a:pt x="20527" y="4357"/>
                    <a:pt x="19796" y="6312"/>
                    <a:pt x="20253" y="6614"/>
                  </a:cubicBezTo>
                  <a:cubicBezTo>
                    <a:pt x="20830" y="6994"/>
                    <a:pt x="22778" y="5841"/>
                    <a:pt x="23551" y="5264"/>
                  </a:cubicBezTo>
                  <a:cubicBezTo>
                    <a:pt x="24332" y="4687"/>
                    <a:pt x="25879" y="4392"/>
                    <a:pt x="26857" y="4392"/>
                  </a:cubicBezTo>
                  <a:cubicBezTo>
                    <a:pt x="27827" y="4392"/>
                    <a:pt x="30732" y="5067"/>
                    <a:pt x="31984" y="5264"/>
                  </a:cubicBezTo>
                  <a:cubicBezTo>
                    <a:pt x="33236" y="5461"/>
                    <a:pt x="34509" y="4392"/>
                    <a:pt x="36155" y="3414"/>
                  </a:cubicBezTo>
                  <a:cubicBezTo>
                    <a:pt x="37807" y="2444"/>
                    <a:pt x="39256" y="2739"/>
                    <a:pt x="41183" y="2838"/>
                  </a:cubicBezTo>
                  <a:cubicBezTo>
                    <a:pt x="43110" y="2936"/>
                    <a:pt x="44861" y="4090"/>
                    <a:pt x="45635" y="4392"/>
                  </a:cubicBezTo>
                  <a:cubicBezTo>
                    <a:pt x="46416" y="4687"/>
                    <a:pt x="45262" y="6917"/>
                    <a:pt x="45635" y="7690"/>
                  </a:cubicBezTo>
                  <a:cubicBezTo>
                    <a:pt x="46015" y="8464"/>
                    <a:pt x="47583" y="8942"/>
                    <a:pt x="49335" y="9716"/>
                  </a:cubicBezTo>
                  <a:cubicBezTo>
                    <a:pt x="51086" y="10490"/>
                    <a:pt x="50882" y="11566"/>
                    <a:pt x="50882" y="12241"/>
                  </a:cubicBezTo>
                  <a:cubicBezTo>
                    <a:pt x="50882" y="12916"/>
                    <a:pt x="47865" y="15441"/>
                    <a:pt x="47583" y="16018"/>
                  </a:cubicBezTo>
                  <a:cubicBezTo>
                    <a:pt x="47309" y="16594"/>
                    <a:pt x="44861" y="17467"/>
                    <a:pt x="44186" y="17670"/>
                  </a:cubicBezTo>
                  <a:cubicBezTo>
                    <a:pt x="43511" y="17867"/>
                    <a:pt x="42836" y="19401"/>
                    <a:pt x="41183" y="21145"/>
                  </a:cubicBezTo>
                  <a:cubicBezTo>
                    <a:pt x="39537" y="22896"/>
                    <a:pt x="40606" y="24549"/>
                    <a:pt x="41183" y="24921"/>
                  </a:cubicBezTo>
                  <a:cubicBezTo>
                    <a:pt x="41647" y="25224"/>
                    <a:pt x="41760" y="27446"/>
                    <a:pt x="41760" y="28522"/>
                  </a:cubicBezTo>
                  <a:lnTo>
                    <a:pt x="41760" y="35197"/>
                  </a:lnTo>
                  <a:cubicBezTo>
                    <a:pt x="41760" y="36751"/>
                    <a:pt x="40030" y="38580"/>
                    <a:pt x="38757" y="40127"/>
                  </a:cubicBezTo>
                  <a:cubicBezTo>
                    <a:pt x="37491" y="41681"/>
                    <a:pt x="39354" y="42455"/>
                    <a:pt x="40030" y="43425"/>
                  </a:cubicBezTo>
                  <a:cubicBezTo>
                    <a:pt x="40705" y="44403"/>
                    <a:pt x="39256" y="45852"/>
                    <a:pt x="38757" y="47603"/>
                  </a:cubicBezTo>
                  <a:cubicBezTo>
                    <a:pt x="38264" y="49354"/>
                    <a:pt x="40030" y="52632"/>
                    <a:pt x="40030" y="53110"/>
                  </a:cubicBezTo>
                  <a:cubicBezTo>
                    <a:pt x="40030" y="53588"/>
                    <a:pt x="39833" y="56704"/>
                    <a:pt x="40030" y="58455"/>
                  </a:cubicBezTo>
                  <a:cubicBezTo>
                    <a:pt x="40234" y="60206"/>
                    <a:pt x="39256" y="62809"/>
                    <a:pt x="37983" y="64159"/>
                  </a:cubicBezTo>
                  <a:cubicBezTo>
                    <a:pt x="36710" y="65509"/>
                    <a:pt x="34980" y="69490"/>
                    <a:pt x="33630" y="72985"/>
                  </a:cubicBezTo>
                  <a:cubicBezTo>
                    <a:pt x="32279" y="76481"/>
                    <a:pt x="35859" y="78591"/>
                    <a:pt x="36436" y="78985"/>
                  </a:cubicBezTo>
                  <a:cubicBezTo>
                    <a:pt x="37013" y="79385"/>
                    <a:pt x="38658" y="81116"/>
                    <a:pt x="38757" y="81791"/>
                  </a:cubicBezTo>
                  <a:cubicBezTo>
                    <a:pt x="38862" y="82466"/>
                    <a:pt x="34410" y="84695"/>
                    <a:pt x="34305" y="85371"/>
                  </a:cubicBezTo>
                  <a:cubicBezTo>
                    <a:pt x="34228" y="85905"/>
                    <a:pt x="33827" y="87663"/>
                    <a:pt x="33630" y="88472"/>
                  </a:cubicBezTo>
                  <a:cubicBezTo>
                    <a:pt x="32729" y="89597"/>
                    <a:pt x="30929" y="92179"/>
                    <a:pt x="30929" y="93501"/>
                  </a:cubicBezTo>
                  <a:cubicBezTo>
                    <a:pt x="30929" y="94816"/>
                    <a:pt x="31752" y="98157"/>
                    <a:pt x="32160" y="99662"/>
                  </a:cubicBezTo>
                  <a:cubicBezTo>
                    <a:pt x="29895" y="100893"/>
                    <a:pt x="25035" y="103354"/>
                    <a:pt x="23734" y="103354"/>
                  </a:cubicBezTo>
                  <a:cubicBezTo>
                    <a:pt x="22103" y="103354"/>
                    <a:pt x="18804" y="101708"/>
                    <a:pt x="15920" y="10130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1" name="Freihandform: Form 226">
              <a:extLst>
                <a:ext uri="{FF2B5EF4-FFF2-40B4-BE49-F238E27FC236}">
                  <a16:creationId xmlns:a16="http://schemas.microsoft.com/office/drawing/2014/main" id="{ED581736-64C3-8D40-8F50-F29ADD0E7047}"/>
                </a:ext>
              </a:extLst>
            </p:cNvPr>
            <p:cNvSpPr/>
            <p:nvPr/>
          </p:nvSpPr>
          <p:spPr>
            <a:xfrm>
              <a:off x="6348055" y="3591542"/>
              <a:ext cx="103104" cy="58772"/>
            </a:xfrm>
            <a:custGeom>
              <a:avLst/>
              <a:gdLst>
                <a:gd name="connsiteX0" fmla="*/ 39825 w 103104"/>
                <a:gd name="connsiteY0" fmla="*/ 3582 h 58772"/>
                <a:gd name="connsiteX1" fmla="*/ 42744 w 103104"/>
                <a:gd name="connsiteY1" fmla="*/ 1099 h 58772"/>
                <a:gd name="connsiteX2" fmla="*/ 47555 w 103104"/>
                <a:gd name="connsiteY2" fmla="*/ 1099 h 58772"/>
                <a:gd name="connsiteX3" fmla="*/ 52323 w 103104"/>
                <a:gd name="connsiteY3" fmla="*/ 6508 h 58772"/>
                <a:gd name="connsiteX4" fmla="*/ 59961 w 103104"/>
                <a:gd name="connsiteY4" fmla="*/ 9862 h 58772"/>
                <a:gd name="connsiteX5" fmla="*/ 65221 w 103104"/>
                <a:gd name="connsiteY5" fmla="*/ 9862 h 58772"/>
                <a:gd name="connsiteX6" fmla="*/ 62837 w 103104"/>
                <a:gd name="connsiteY6" fmla="*/ 14617 h 58772"/>
                <a:gd name="connsiteX7" fmla="*/ 66895 w 103104"/>
                <a:gd name="connsiteY7" fmla="*/ 17479 h 58772"/>
                <a:gd name="connsiteX8" fmla="*/ 68562 w 103104"/>
                <a:gd name="connsiteY8" fmla="*/ 22726 h 58772"/>
                <a:gd name="connsiteX9" fmla="*/ 75004 w 103104"/>
                <a:gd name="connsiteY9" fmla="*/ 18949 h 58772"/>
                <a:gd name="connsiteX10" fmla="*/ 75004 w 103104"/>
                <a:gd name="connsiteY10" fmla="*/ 14617 h 58772"/>
                <a:gd name="connsiteX11" fmla="*/ 81939 w 103104"/>
                <a:gd name="connsiteY11" fmla="*/ 18949 h 58772"/>
                <a:gd name="connsiteX12" fmla="*/ 86236 w 103104"/>
                <a:gd name="connsiteY12" fmla="*/ 18949 h 58772"/>
                <a:gd name="connsiteX13" fmla="*/ 88860 w 103104"/>
                <a:gd name="connsiteY13" fmla="*/ 26207 h 58772"/>
                <a:gd name="connsiteX14" fmla="*/ 94345 w 103104"/>
                <a:gd name="connsiteY14" fmla="*/ 26207 h 58772"/>
                <a:gd name="connsiteX15" fmla="*/ 99613 w 103104"/>
                <a:gd name="connsiteY15" fmla="*/ 29224 h 58772"/>
                <a:gd name="connsiteX16" fmla="*/ 102715 w 103104"/>
                <a:gd name="connsiteY16" fmla="*/ 34197 h 58772"/>
                <a:gd name="connsiteX17" fmla="*/ 99613 w 103104"/>
                <a:gd name="connsiteY17" fmla="*/ 38248 h 58772"/>
                <a:gd name="connsiteX18" fmla="*/ 93150 w 103104"/>
                <a:gd name="connsiteY18" fmla="*/ 43755 h 58772"/>
                <a:gd name="connsiteX19" fmla="*/ 88860 w 103104"/>
                <a:gd name="connsiteY19" fmla="*/ 49958 h 58772"/>
                <a:gd name="connsiteX20" fmla="*/ 81939 w 103104"/>
                <a:gd name="connsiteY20" fmla="*/ 52363 h 58772"/>
                <a:gd name="connsiteX21" fmla="*/ 77150 w 103104"/>
                <a:gd name="connsiteY21" fmla="*/ 52363 h 58772"/>
                <a:gd name="connsiteX22" fmla="*/ 73570 w 103104"/>
                <a:gd name="connsiteY22" fmla="*/ 56632 h 58772"/>
                <a:gd name="connsiteX23" fmla="*/ 67613 w 103104"/>
                <a:gd name="connsiteY23" fmla="*/ 53538 h 58772"/>
                <a:gd name="connsiteX24" fmla="*/ 62837 w 103104"/>
                <a:gd name="connsiteY24" fmla="*/ 55401 h 58772"/>
                <a:gd name="connsiteX25" fmla="*/ 54475 w 103104"/>
                <a:gd name="connsiteY25" fmla="*/ 52363 h 58772"/>
                <a:gd name="connsiteX26" fmla="*/ 54461 w 103104"/>
                <a:gd name="connsiteY26" fmla="*/ 52356 h 58772"/>
                <a:gd name="connsiteX27" fmla="*/ 47555 w 103104"/>
                <a:gd name="connsiteY27" fmla="*/ 49958 h 58772"/>
                <a:gd name="connsiteX28" fmla="*/ 43482 w 103104"/>
                <a:gd name="connsiteY28" fmla="*/ 51385 h 58772"/>
                <a:gd name="connsiteX29" fmla="*/ 39825 w 103104"/>
                <a:gd name="connsiteY29" fmla="*/ 56632 h 58772"/>
                <a:gd name="connsiteX30" fmla="*/ 31554 w 103104"/>
                <a:gd name="connsiteY30" fmla="*/ 58306 h 58772"/>
                <a:gd name="connsiteX31" fmla="*/ 26406 w 103104"/>
                <a:gd name="connsiteY31" fmla="*/ 55401 h 58772"/>
                <a:gd name="connsiteX32" fmla="*/ 23804 w 103104"/>
                <a:gd name="connsiteY32" fmla="*/ 52363 h 58772"/>
                <a:gd name="connsiteX33" fmla="*/ 19591 w 103104"/>
                <a:gd name="connsiteY33" fmla="*/ 48488 h 58772"/>
                <a:gd name="connsiteX34" fmla="*/ 13423 w 103104"/>
                <a:gd name="connsiteY34" fmla="*/ 43178 h 58772"/>
                <a:gd name="connsiteX35" fmla="*/ 10068 w 103104"/>
                <a:gd name="connsiteY35" fmla="*/ 41230 h 58772"/>
                <a:gd name="connsiteX36" fmla="*/ 3689 w 103104"/>
                <a:gd name="connsiteY36" fmla="*/ 31608 h 58772"/>
                <a:gd name="connsiteX37" fmla="*/ 4442 w 103104"/>
                <a:gd name="connsiteY37" fmla="*/ 29224 h 58772"/>
                <a:gd name="connsiteX38" fmla="*/ 4442 w 103104"/>
                <a:gd name="connsiteY38" fmla="*/ 26207 h 58772"/>
                <a:gd name="connsiteX39" fmla="*/ 328 w 103104"/>
                <a:gd name="connsiteY39" fmla="*/ 22726 h 58772"/>
                <a:gd name="connsiteX40" fmla="*/ 1418 w 103104"/>
                <a:gd name="connsiteY40" fmla="*/ 18949 h 58772"/>
                <a:gd name="connsiteX41" fmla="*/ 5096 w 103104"/>
                <a:gd name="connsiteY41" fmla="*/ 15805 h 58772"/>
                <a:gd name="connsiteX42" fmla="*/ 10940 w 103104"/>
                <a:gd name="connsiteY42" fmla="*/ 14617 h 58772"/>
                <a:gd name="connsiteX43" fmla="*/ 18297 w 103104"/>
                <a:gd name="connsiteY43" fmla="*/ 9862 h 58772"/>
                <a:gd name="connsiteX44" fmla="*/ 20878 w 103104"/>
                <a:gd name="connsiteY44" fmla="*/ 7380 h 58772"/>
                <a:gd name="connsiteX45" fmla="*/ 25752 w 103104"/>
                <a:gd name="connsiteY45" fmla="*/ 6508 h 58772"/>
                <a:gd name="connsiteX46" fmla="*/ 33319 w 103104"/>
                <a:gd name="connsiteY46" fmla="*/ 1099 h 58772"/>
                <a:gd name="connsiteX47" fmla="*/ 36681 w 103104"/>
                <a:gd name="connsiteY47" fmla="*/ 1753 h 58772"/>
                <a:gd name="connsiteX48" fmla="*/ 39825 w 103104"/>
                <a:gd name="connsiteY48" fmla="*/ 3582 h 5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03104" h="58772">
                  <a:moveTo>
                    <a:pt x="39825" y="3582"/>
                  </a:moveTo>
                  <a:cubicBezTo>
                    <a:pt x="41773" y="3244"/>
                    <a:pt x="41872" y="2513"/>
                    <a:pt x="42744" y="1099"/>
                  </a:cubicBezTo>
                  <a:cubicBezTo>
                    <a:pt x="43792" y="269"/>
                    <a:pt x="46218" y="-891"/>
                    <a:pt x="47555" y="1099"/>
                  </a:cubicBezTo>
                  <a:cubicBezTo>
                    <a:pt x="49221" y="3582"/>
                    <a:pt x="49699" y="5628"/>
                    <a:pt x="52323" y="6508"/>
                  </a:cubicBezTo>
                  <a:cubicBezTo>
                    <a:pt x="54946" y="7380"/>
                    <a:pt x="58287" y="9862"/>
                    <a:pt x="59961" y="9862"/>
                  </a:cubicBezTo>
                  <a:cubicBezTo>
                    <a:pt x="61627" y="9862"/>
                    <a:pt x="64511" y="8456"/>
                    <a:pt x="65221" y="9862"/>
                  </a:cubicBezTo>
                  <a:cubicBezTo>
                    <a:pt x="65939" y="11276"/>
                    <a:pt x="61888" y="13421"/>
                    <a:pt x="62837" y="14617"/>
                  </a:cubicBezTo>
                  <a:cubicBezTo>
                    <a:pt x="63794" y="15805"/>
                    <a:pt x="66417" y="16009"/>
                    <a:pt x="66895" y="17479"/>
                  </a:cubicBezTo>
                  <a:cubicBezTo>
                    <a:pt x="67373" y="18949"/>
                    <a:pt x="67134" y="24154"/>
                    <a:pt x="68562" y="22726"/>
                  </a:cubicBezTo>
                  <a:cubicBezTo>
                    <a:pt x="69997" y="21291"/>
                    <a:pt x="75243" y="20419"/>
                    <a:pt x="75004" y="18949"/>
                  </a:cubicBezTo>
                  <a:cubicBezTo>
                    <a:pt x="74765" y="17479"/>
                    <a:pt x="72381" y="13421"/>
                    <a:pt x="75004" y="14617"/>
                  </a:cubicBezTo>
                  <a:cubicBezTo>
                    <a:pt x="77628" y="15805"/>
                    <a:pt x="80272" y="18949"/>
                    <a:pt x="81939" y="18949"/>
                  </a:cubicBezTo>
                  <a:cubicBezTo>
                    <a:pt x="83613" y="18949"/>
                    <a:pt x="85758" y="16839"/>
                    <a:pt x="86236" y="18949"/>
                  </a:cubicBezTo>
                  <a:cubicBezTo>
                    <a:pt x="86714" y="21059"/>
                    <a:pt x="86714" y="26207"/>
                    <a:pt x="88860" y="26207"/>
                  </a:cubicBezTo>
                  <a:lnTo>
                    <a:pt x="94345" y="26207"/>
                  </a:lnTo>
                  <a:cubicBezTo>
                    <a:pt x="96272" y="26207"/>
                    <a:pt x="99135" y="26840"/>
                    <a:pt x="99613" y="29224"/>
                  </a:cubicBezTo>
                  <a:cubicBezTo>
                    <a:pt x="100091" y="31608"/>
                    <a:pt x="101519" y="33240"/>
                    <a:pt x="102715" y="34197"/>
                  </a:cubicBezTo>
                  <a:cubicBezTo>
                    <a:pt x="103903" y="35146"/>
                    <a:pt x="102237" y="35266"/>
                    <a:pt x="99613" y="38248"/>
                  </a:cubicBezTo>
                  <a:cubicBezTo>
                    <a:pt x="96990" y="41230"/>
                    <a:pt x="91961" y="42088"/>
                    <a:pt x="93150" y="43755"/>
                  </a:cubicBezTo>
                  <a:cubicBezTo>
                    <a:pt x="94345" y="45421"/>
                    <a:pt x="91483" y="47553"/>
                    <a:pt x="88860" y="49958"/>
                  </a:cubicBezTo>
                  <a:cubicBezTo>
                    <a:pt x="86236" y="52363"/>
                    <a:pt x="84323" y="52363"/>
                    <a:pt x="81939" y="52363"/>
                  </a:cubicBezTo>
                  <a:cubicBezTo>
                    <a:pt x="79555" y="52363"/>
                    <a:pt x="77628" y="50949"/>
                    <a:pt x="77150" y="52363"/>
                  </a:cubicBezTo>
                  <a:cubicBezTo>
                    <a:pt x="76671" y="53770"/>
                    <a:pt x="75722" y="57870"/>
                    <a:pt x="73570" y="56632"/>
                  </a:cubicBezTo>
                  <a:cubicBezTo>
                    <a:pt x="71425" y="55401"/>
                    <a:pt x="68323" y="51667"/>
                    <a:pt x="67613" y="53538"/>
                  </a:cubicBezTo>
                  <a:cubicBezTo>
                    <a:pt x="66895" y="55401"/>
                    <a:pt x="65721" y="57272"/>
                    <a:pt x="62837" y="55401"/>
                  </a:cubicBezTo>
                  <a:cubicBezTo>
                    <a:pt x="59961" y="53538"/>
                    <a:pt x="57809" y="54051"/>
                    <a:pt x="54475" y="52363"/>
                  </a:cubicBezTo>
                  <a:lnTo>
                    <a:pt x="54461" y="52356"/>
                  </a:lnTo>
                  <a:cubicBezTo>
                    <a:pt x="51127" y="50668"/>
                    <a:pt x="49721" y="49958"/>
                    <a:pt x="47555" y="49958"/>
                  </a:cubicBezTo>
                  <a:cubicBezTo>
                    <a:pt x="45388" y="49958"/>
                    <a:pt x="44214" y="49240"/>
                    <a:pt x="43482" y="51385"/>
                  </a:cubicBezTo>
                  <a:cubicBezTo>
                    <a:pt x="42744" y="53538"/>
                    <a:pt x="41415" y="56632"/>
                    <a:pt x="39825" y="56632"/>
                  </a:cubicBezTo>
                  <a:cubicBezTo>
                    <a:pt x="38236" y="56632"/>
                    <a:pt x="33938" y="59973"/>
                    <a:pt x="31554" y="58306"/>
                  </a:cubicBezTo>
                  <a:cubicBezTo>
                    <a:pt x="29648" y="56970"/>
                    <a:pt x="27327" y="55816"/>
                    <a:pt x="26406" y="55401"/>
                  </a:cubicBezTo>
                  <a:cubicBezTo>
                    <a:pt x="26842" y="54332"/>
                    <a:pt x="24992" y="53017"/>
                    <a:pt x="23804" y="52363"/>
                  </a:cubicBezTo>
                  <a:cubicBezTo>
                    <a:pt x="22608" y="51709"/>
                    <a:pt x="20660" y="49993"/>
                    <a:pt x="19591" y="48488"/>
                  </a:cubicBezTo>
                  <a:cubicBezTo>
                    <a:pt x="18515" y="46976"/>
                    <a:pt x="14401" y="44155"/>
                    <a:pt x="13423" y="43178"/>
                  </a:cubicBezTo>
                  <a:cubicBezTo>
                    <a:pt x="12452" y="42207"/>
                    <a:pt x="12452" y="41764"/>
                    <a:pt x="10068" y="41230"/>
                  </a:cubicBezTo>
                  <a:cubicBezTo>
                    <a:pt x="7684" y="40695"/>
                    <a:pt x="4442" y="33121"/>
                    <a:pt x="3689" y="31608"/>
                  </a:cubicBezTo>
                  <a:cubicBezTo>
                    <a:pt x="2930" y="30096"/>
                    <a:pt x="4442" y="29984"/>
                    <a:pt x="4442" y="29224"/>
                  </a:cubicBezTo>
                  <a:cubicBezTo>
                    <a:pt x="4442" y="28472"/>
                    <a:pt x="5096" y="27178"/>
                    <a:pt x="4442" y="26207"/>
                  </a:cubicBezTo>
                  <a:cubicBezTo>
                    <a:pt x="3788" y="25230"/>
                    <a:pt x="1418" y="23380"/>
                    <a:pt x="328" y="22726"/>
                  </a:cubicBezTo>
                  <a:cubicBezTo>
                    <a:pt x="-763" y="22072"/>
                    <a:pt x="1200" y="19920"/>
                    <a:pt x="1418" y="18949"/>
                  </a:cubicBezTo>
                  <a:cubicBezTo>
                    <a:pt x="1643" y="17978"/>
                    <a:pt x="3148" y="17001"/>
                    <a:pt x="5096" y="15805"/>
                  </a:cubicBezTo>
                  <a:cubicBezTo>
                    <a:pt x="7044" y="14617"/>
                    <a:pt x="9414" y="15053"/>
                    <a:pt x="10940" y="14617"/>
                  </a:cubicBezTo>
                  <a:cubicBezTo>
                    <a:pt x="12473" y="14181"/>
                    <a:pt x="16349" y="10622"/>
                    <a:pt x="18297" y="9862"/>
                  </a:cubicBezTo>
                  <a:cubicBezTo>
                    <a:pt x="20245" y="9110"/>
                    <a:pt x="20027" y="7802"/>
                    <a:pt x="20878" y="7380"/>
                  </a:cubicBezTo>
                  <a:cubicBezTo>
                    <a:pt x="21736" y="6965"/>
                    <a:pt x="24240" y="6944"/>
                    <a:pt x="25752" y="6508"/>
                  </a:cubicBezTo>
                  <a:cubicBezTo>
                    <a:pt x="27257" y="6072"/>
                    <a:pt x="32250" y="2731"/>
                    <a:pt x="33319" y="1099"/>
                  </a:cubicBezTo>
                  <a:cubicBezTo>
                    <a:pt x="34396" y="-533"/>
                    <a:pt x="34831" y="1099"/>
                    <a:pt x="36681" y="1753"/>
                  </a:cubicBezTo>
                  <a:cubicBezTo>
                    <a:pt x="38531" y="2414"/>
                    <a:pt x="37877" y="3919"/>
                    <a:pt x="39825" y="358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2" name="Freihandform: Form 227">
              <a:extLst>
                <a:ext uri="{FF2B5EF4-FFF2-40B4-BE49-F238E27FC236}">
                  <a16:creationId xmlns:a16="http://schemas.microsoft.com/office/drawing/2014/main" id="{23264223-B4BB-2549-9A43-F125B4A58A17}"/>
                </a:ext>
              </a:extLst>
            </p:cNvPr>
            <p:cNvSpPr/>
            <p:nvPr/>
          </p:nvSpPr>
          <p:spPr>
            <a:xfrm>
              <a:off x="6352385" y="3872870"/>
              <a:ext cx="49223" cy="32144"/>
            </a:xfrm>
            <a:custGeom>
              <a:avLst/>
              <a:gdLst>
                <a:gd name="connsiteX0" fmla="*/ 46129 w 49223"/>
                <a:gd name="connsiteY0" fmla="*/ 6953 h 32144"/>
                <a:gd name="connsiteX1" fmla="*/ 49223 w 49223"/>
                <a:gd name="connsiteY1" fmla="*/ 749 h 32144"/>
                <a:gd name="connsiteX2" fmla="*/ 46129 w 49223"/>
                <a:gd name="connsiteY2" fmla="*/ 1622 h 32144"/>
                <a:gd name="connsiteX3" fmla="*/ 44096 w 49223"/>
                <a:gd name="connsiteY3" fmla="*/ 1622 h 32144"/>
                <a:gd name="connsiteX4" fmla="*/ 41473 w 49223"/>
                <a:gd name="connsiteY4" fmla="*/ 3077 h 32144"/>
                <a:gd name="connsiteX5" fmla="*/ 38969 w 49223"/>
                <a:gd name="connsiteY5" fmla="*/ 2501 h 32144"/>
                <a:gd name="connsiteX6" fmla="*/ 36648 w 49223"/>
                <a:gd name="connsiteY6" fmla="*/ 3077 h 32144"/>
                <a:gd name="connsiteX7" fmla="*/ 33722 w 49223"/>
                <a:gd name="connsiteY7" fmla="*/ 4822 h 32144"/>
                <a:gd name="connsiteX8" fmla="*/ 28890 w 49223"/>
                <a:gd name="connsiteY8" fmla="*/ 6073 h 32144"/>
                <a:gd name="connsiteX9" fmla="*/ 23166 w 49223"/>
                <a:gd name="connsiteY9" fmla="*/ 5398 h 32144"/>
                <a:gd name="connsiteX10" fmla="*/ 19867 w 49223"/>
                <a:gd name="connsiteY10" fmla="*/ 6953 h 32144"/>
                <a:gd name="connsiteX11" fmla="*/ 16787 w 49223"/>
                <a:gd name="connsiteY11" fmla="*/ 4428 h 32144"/>
                <a:gd name="connsiteX12" fmla="*/ 14466 w 49223"/>
                <a:gd name="connsiteY12" fmla="*/ 4428 h 32144"/>
                <a:gd name="connsiteX13" fmla="*/ 12039 w 49223"/>
                <a:gd name="connsiteY13" fmla="*/ 2501 h 32144"/>
                <a:gd name="connsiteX14" fmla="*/ 9613 w 49223"/>
                <a:gd name="connsiteY14" fmla="*/ 3077 h 32144"/>
                <a:gd name="connsiteX15" fmla="*/ 8164 w 49223"/>
                <a:gd name="connsiteY15" fmla="*/ 5398 h 32144"/>
                <a:gd name="connsiteX16" fmla="*/ 5639 w 49223"/>
                <a:gd name="connsiteY16" fmla="*/ 4822 h 32144"/>
                <a:gd name="connsiteX17" fmla="*/ 4760 w 49223"/>
                <a:gd name="connsiteY17" fmla="*/ 3077 h 32144"/>
                <a:gd name="connsiteX18" fmla="*/ 3410 w 49223"/>
                <a:gd name="connsiteY18" fmla="*/ 4428 h 32144"/>
                <a:gd name="connsiteX19" fmla="*/ 1286 w 49223"/>
                <a:gd name="connsiteY19" fmla="*/ 5398 h 32144"/>
                <a:gd name="connsiteX20" fmla="*/ 512 w 49223"/>
                <a:gd name="connsiteY20" fmla="*/ 7726 h 32144"/>
                <a:gd name="connsiteX21" fmla="*/ 13 w 49223"/>
                <a:gd name="connsiteY21" fmla="*/ 10251 h 32144"/>
                <a:gd name="connsiteX22" fmla="*/ 2833 w 49223"/>
                <a:gd name="connsiteY22" fmla="*/ 13451 h 32144"/>
                <a:gd name="connsiteX23" fmla="*/ 6117 w 49223"/>
                <a:gd name="connsiteY23" fmla="*/ 14028 h 32144"/>
                <a:gd name="connsiteX24" fmla="*/ 8164 w 49223"/>
                <a:gd name="connsiteY24" fmla="*/ 15477 h 32144"/>
                <a:gd name="connsiteX25" fmla="*/ 11442 w 49223"/>
                <a:gd name="connsiteY25" fmla="*/ 16728 h 32144"/>
                <a:gd name="connsiteX26" fmla="*/ 13587 w 49223"/>
                <a:gd name="connsiteY26" fmla="*/ 18775 h 32144"/>
                <a:gd name="connsiteX27" fmla="*/ 13622 w 49223"/>
                <a:gd name="connsiteY27" fmla="*/ 18803 h 32144"/>
                <a:gd name="connsiteX28" fmla="*/ 16787 w 49223"/>
                <a:gd name="connsiteY28" fmla="*/ 20133 h 32144"/>
                <a:gd name="connsiteX29" fmla="*/ 19867 w 49223"/>
                <a:gd name="connsiteY29" fmla="*/ 22650 h 32144"/>
                <a:gd name="connsiteX30" fmla="*/ 24045 w 49223"/>
                <a:gd name="connsiteY30" fmla="*/ 23902 h 32144"/>
                <a:gd name="connsiteX31" fmla="*/ 28890 w 49223"/>
                <a:gd name="connsiteY31" fmla="*/ 25358 h 32144"/>
                <a:gd name="connsiteX32" fmla="*/ 32766 w 49223"/>
                <a:gd name="connsiteY32" fmla="*/ 30204 h 32144"/>
                <a:gd name="connsiteX33" fmla="*/ 37422 w 49223"/>
                <a:gd name="connsiteY33" fmla="*/ 31083 h 32144"/>
                <a:gd name="connsiteX34" fmla="*/ 41473 w 49223"/>
                <a:gd name="connsiteY34" fmla="*/ 32138 h 32144"/>
                <a:gd name="connsiteX35" fmla="*/ 41473 w 49223"/>
                <a:gd name="connsiteY35" fmla="*/ 28080 h 32144"/>
                <a:gd name="connsiteX36" fmla="*/ 44096 w 49223"/>
                <a:gd name="connsiteY36" fmla="*/ 25935 h 32144"/>
                <a:gd name="connsiteX37" fmla="*/ 43224 w 49223"/>
                <a:gd name="connsiteY37" fmla="*/ 22650 h 32144"/>
                <a:gd name="connsiteX38" fmla="*/ 42549 w 49223"/>
                <a:gd name="connsiteY38" fmla="*/ 20133 h 32144"/>
                <a:gd name="connsiteX39" fmla="*/ 41473 w 49223"/>
                <a:gd name="connsiteY39" fmla="*/ 17228 h 32144"/>
                <a:gd name="connsiteX40" fmla="*/ 43224 w 49223"/>
                <a:gd name="connsiteY40" fmla="*/ 12178 h 32144"/>
                <a:gd name="connsiteX41" fmla="*/ 46129 w 49223"/>
                <a:gd name="connsiteY41" fmla="*/ 6953 h 32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9223" h="32144">
                  <a:moveTo>
                    <a:pt x="46129" y="6953"/>
                  </a:moveTo>
                  <a:cubicBezTo>
                    <a:pt x="46965" y="6010"/>
                    <a:pt x="48541" y="2423"/>
                    <a:pt x="49223" y="749"/>
                  </a:cubicBezTo>
                  <a:cubicBezTo>
                    <a:pt x="49223" y="-1002"/>
                    <a:pt x="47001" y="749"/>
                    <a:pt x="46129" y="1622"/>
                  </a:cubicBezTo>
                  <a:cubicBezTo>
                    <a:pt x="45249" y="2501"/>
                    <a:pt x="44771" y="1622"/>
                    <a:pt x="44096" y="1622"/>
                  </a:cubicBezTo>
                  <a:cubicBezTo>
                    <a:pt x="43421" y="1622"/>
                    <a:pt x="42549" y="2501"/>
                    <a:pt x="41473" y="3077"/>
                  </a:cubicBezTo>
                  <a:cubicBezTo>
                    <a:pt x="40404" y="3654"/>
                    <a:pt x="39743" y="3077"/>
                    <a:pt x="38969" y="2501"/>
                  </a:cubicBezTo>
                  <a:cubicBezTo>
                    <a:pt x="38195" y="1924"/>
                    <a:pt x="37422" y="3077"/>
                    <a:pt x="36648" y="3077"/>
                  </a:cubicBezTo>
                  <a:cubicBezTo>
                    <a:pt x="35867" y="3077"/>
                    <a:pt x="34496" y="4428"/>
                    <a:pt x="33722" y="4822"/>
                  </a:cubicBezTo>
                  <a:cubicBezTo>
                    <a:pt x="32948" y="5222"/>
                    <a:pt x="30818" y="5898"/>
                    <a:pt x="28890" y="6073"/>
                  </a:cubicBezTo>
                  <a:cubicBezTo>
                    <a:pt x="26964" y="6256"/>
                    <a:pt x="24045" y="5398"/>
                    <a:pt x="23166" y="5398"/>
                  </a:cubicBezTo>
                  <a:cubicBezTo>
                    <a:pt x="22293" y="5398"/>
                    <a:pt x="21337" y="6953"/>
                    <a:pt x="19867" y="6953"/>
                  </a:cubicBezTo>
                  <a:cubicBezTo>
                    <a:pt x="18397" y="6953"/>
                    <a:pt x="17265" y="4723"/>
                    <a:pt x="16787" y="4428"/>
                  </a:cubicBezTo>
                  <a:cubicBezTo>
                    <a:pt x="16309" y="4125"/>
                    <a:pt x="15141" y="4428"/>
                    <a:pt x="14466" y="4428"/>
                  </a:cubicBezTo>
                  <a:cubicBezTo>
                    <a:pt x="13783" y="4428"/>
                    <a:pt x="12714" y="2501"/>
                    <a:pt x="12039" y="2501"/>
                  </a:cubicBezTo>
                  <a:cubicBezTo>
                    <a:pt x="11364" y="2501"/>
                    <a:pt x="10190" y="2501"/>
                    <a:pt x="9613" y="3077"/>
                  </a:cubicBezTo>
                  <a:cubicBezTo>
                    <a:pt x="9036" y="3654"/>
                    <a:pt x="8164" y="4822"/>
                    <a:pt x="8164" y="5398"/>
                  </a:cubicBezTo>
                  <a:cubicBezTo>
                    <a:pt x="8164" y="5862"/>
                    <a:pt x="6476" y="5208"/>
                    <a:pt x="5639" y="4822"/>
                  </a:cubicBezTo>
                  <a:cubicBezTo>
                    <a:pt x="5541" y="4308"/>
                    <a:pt x="5224" y="3232"/>
                    <a:pt x="4760" y="3077"/>
                  </a:cubicBezTo>
                  <a:cubicBezTo>
                    <a:pt x="4183" y="2873"/>
                    <a:pt x="3888" y="4048"/>
                    <a:pt x="3410" y="4428"/>
                  </a:cubicBezTo>
                  <a:cubicBezTo>
                    <a:pt x="2932" y="4807"/>
                    <a:pt x="1659" y="5026"/>
                    <a:pt x="1286" y="5398"/>
                  </a:cubicBezTo>
                  <a:cubicBezTo>
                    <a:pt x="906" y="5778"/>
                    <a:pt x="611" y="6953"/>
                    <a:pt x="512" y="7726"/>
                  </a:cubicBezTo>
                  <a:cubicBezTo>
                    <a:pt x="407" y="8500"/>
                    <a:pt x="-86" y="8500"/>
                    <a:pt x="13" y="10251"/>
                  </a:cubicBezTo>
                  <a:cubicBezTo>
                    <a:pt x="111" y="12002"/>
                    <a:pt x="1764" y="12178"/>
                    <a:pt x="2833" y="13451"/>
                  </a:cubicBezTo>
                  <a:cubicBezTo>
                    <a:pt x="3909" y="14724"/>
                    <a:pt x="4964" y="13929"/>
                    <a:pt x="6117" y="14028"/>
                  </a:cubicBezTo>
                  <a:cubicBezTo>
                    <a:pt x="7264" y="14126"/>
                    <a:pt x="7763" y="14703"/>
                    <a:pt x="8164" y="15477"/>
                  </a:cubicBezTo>
                  <a:cubicBezTo>
                    <a:pt x="8558" y="16250"/>
                    <a:pt x="9993" y="15878"/>
                    <a:pt x="11442" y="16728"/>
                  </a:cubicBezTo>
                  <a:cubicBezTo>
                    <a:pt x="12890" y="17587"/>
                    <a:pt x="12714" y="18100"/>
                    <a:pt x="13587" y="18775"/>
                  </a:cubicBezTo>
                  <a:lnTo>
                    <a:pt x="13622" y="18803"/>
                  </a:lnTo>
                  <a:cubicBezTo>
                    <a:pt x="14487" y="19471"/>
                    <a:pt x="15338" y="20133"/>
                    <a:pt x="16787" y="20133"/>
                  </a:cubicBezTo>
                  <a:cubicBezTo>
                    <a:pt x="18257" y="20133"/>
                    <a:pt x="18517" y="22060"/>
                    <a:pt x="19867" y="22650"/>
                  </a:cubicBezTo>
                  <a:cubicBezTo>
                    <a:pt x="21218" y="23248"/>
                    <a:pt x="22012" y="23804"/>
                    <a:pt x="24045" y="23902"/>
                  </a:cubicBezTo>
                  <a:cubicBezTo>
                    <a:pt x="26070" y="24008"/>
                    <a:pt x="27920" y="24978"/>
                    <a:pt x="28890" y="25358"/>
                  </a:cubicBezTo>
                  <a:cubicBezTo>
                    <a:pt x="29868" y="25738"/>
                    <a:pt x="31992" y="29711"/>
                    <a:pt x="32766" y="30204"/>
                  </a:cubicBezTo>
                  <a:cubicBezTo>
                    <a:pt x="33546" y="30703"/>
                    <a:pt x="36345" y="31181"/>
                    <a:pt x="37422" y="31083"/>
                  </a:cubicBezTo>
                  <a:cubicBezTo>
                    <a:pt x="38491" y="30985"/>
                    <a:pt x="40523" y="31955"/>
                    <a:pt x="41473" y="32138"/>
                  </a:cubicBezTo>
                  <a:cubicBezTo>
                    <a:pt x="42429" y="32314"/>
                    <a:pt x="41473" y="28952"/>
                    <a:pt x="41473" y="28080"/>
                  </a:cubicBezTo>
                  <a:cubicBezTo>
                    <a:pt x="41473" y="27208"/>
                    <a:pt x="43224" y="26905"/>
                    <a:pt x="44096" y="25935"/>
                  </a:cubicBezTo>
                  <a:cubicBezTo>
                    <a:pt x="44975" y="24957"/>
                    <a:pt x="43224" y="23431"/>
                    <a:pt x="43224" y="22650"/>
                  </a:cubicBezTo>
                  <a:cubicBezTo>
                    <a:pt x="43224" y="21877"/>
                    <a:pt x="43224" y="20808"/>
                    <a:pt x="42549" y="20133"/>
                  </a:cubicBezTo>
                  <a:cubicBezTo>
                    <a:pt x="41874" y="19450"/>
                    <a:pt x="41677" y="18979"/>
                    <a:pt x="41473" y="17228"/>
                  </a:cubicBezTo>
                  <a:cubicBezTo>
                    <a:pt x="41276" y="15477"/>
                    <a:pt x="42647" y="13725"/>
                    <a:pt x="43224" y="12178"/>
                  </a:cubicBezTo>
                  <a:cubicBezTo>
                    <a:pt x="43801" y="10631"/>
                    <a:pt x="45074" y="8127"/>
                    <a:pt x="46129" y="6953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3" name="Freihandform: Form 228">
              <a:extLst>
                <a:ext uri="{FF2B5EF4-FFF2-40B4-BE49-F238E27FC236}">
                  <a16:creationId xmlns:a16="http://schemas.microsoft.com/office/drawing/2014/main" id="{25E55856-EE06-8C4D-B2EC-046DAF4A96EF}"/>
                </a:ext>
              </a:extLst>
            </p:cNvPr>
            <p:cNvSpPr/>
            <p:nvPr/>
          </p:nvSpPr>
          <p:spPr>
            <a:xfrm>
              <a:off x="6284496" y="3813530"/>
              <a:ext cx="26958" cy="47625"/>
            </a:xfrm>
            <a:custGeom>
              <a:avLst/>
              <a:gdLst>
                <a:gd name="connsiteX0" fmla="*/ 6940 w 26958"/>
                <a:gd name="connsiteY0" fmla="*/ 8051 h 47625"/>
                <a:gd name="connsiteX1" fmla="*/ 1412 w 26958"/>
                <a:gd name="connsiteY1" fmla="*/ 5604 h 47625"/>
                <a:gd name="connsiteX2" fmla="*/ 1412 w 26958"/>
                <a:gd name="connsiteY2" fmla="*/ 7397 h 47625"/>
                <a:gd name="connsiteX3" fmla="*/ 6 w 26958"/>
                <a:gd name="connsiteY3" fmla="*/ 10098 h 47625"/>
                <a:gd name="connsiteX4" fmla="*/ 1454 w 26958"/>
                <a:gd name="connsiteY4" fmla="*/ 10675 h 47625"/>
                <a:gd name="connsiteX5" fmla="*/ 920 w 26958"/>
                <a:gd name="connsiteY5" fmla="*/ 11969 h 47625"/>
                <a:gd name="connsiteX6" fmla="*/ 1736 w 26958"/>
                <a:gd name="connsiteY6" fmla="*/ 13242 h 47625"/>
                <a:gd name="connsiteX7" fmla="*/ 3796 w 26958"/>
                <a:gd name="connsiteY7" fmla="*/ 14930 h 47625"/>
                <a:gd name="connsiteX8" fmla="*/ 5526 w 26958"/>
                <a:gd name="connsiteY8" fmla="*/ 19895 h 47625"/>
                <a:gd name="connsiteX9" fmla="*/ 5154 w 26958"/>
                <a:gd name="connsiteY9" fmla="*/ 24234 h 47625"/>
                <a:gd name="connsiteX10" fmla="*/ 4457 w 26958"/>
                <a:gd name="connsiteY10" fmla="*/ 25543 h 47625"/>
                <a:gd name="connsiteX11" fmla="*/ 5154 w 26958"/>
                <a:gd name="connsiteY11" fmla="*/ 26991 h 47625"/>
                <a:gd name="connsiteX12" fmla="*/ 6799 w 26958"/>
                <a:gd name="connsiteY12" fmla="*/ 27927 h 47625"/>
                <a:gd name="connsiteX13" fmla="*/ 6103 w 26958"/>
                <a:gd name="connsiteY13" fmla="*/ 30810 h 47625"/>
                <a:gd name="connsiteX14" fmla="*/ 5526 w 26958"/>
                <a:gd name="connsiteY14" fmla="*/ 35023 h 47625"/>
                <a:gd name="connsiteX15" fmla="*/ 4457 w 26958"/>
                <a:gd name="connsiteY15" fmla="*/ 35797 h 47625"/>
                <a:gd name="connsiteX16" fmla="*/ 4457 w 26958"/>
                <a:gd name="connsiteY16" fmla="*/ 40706 h 47625"/>
                <a:gd name="connsiteX17" fmla="*/ 8487 w 26958"/>
                <a:gd name="connsiteY17" fmla="*/ 46832 h 47625"/>
                <a:gd name="connsiteX18" fmla="*/ 13319 w 26958"/>
                <a:gd name="connsiteY18" fmla="*/ 46093 h 47625"/>
                <a:gd name="connsiteX19" fmla="*/ 14198 w 26958"/>
                <a:gd name="connsiteY19" fmla="*/ 42063 h 47625"/>
                <a:gd name="connsiteX20" fmla="*/ 16976 w 26958"/>
                <a:gd name="connsiteY20" fmla="*/ 40706 h 47625"/>
                <a:gd name="connsiteX21" fmla="*/ 19044 w 26958"/>
                <a:gd name="connsiteY21" fmla="*/ 41803 h 47625"/>
                <a:gd name="connsiteX22" fmla="*/ 22701 w 26958"/>
                <a:gd name="connsiteY22" fmla="*/ 42759 h 47625"/>
                <a:gd name="connsiteX23" fmla="*/ 22961 w 26958"/>
                <a:gd name="connsiteY23" fmla="*/ 39236 h 47625"/>
                <a:gd name="connsiteX24" fmla="*/ 23932 w 26958"/>
                <a:gd name="connsiteY24" fmla="*/ 36556 h 47625"/>
                <a:gd name="connsiteX25" fmla="*/ 23932 w 26958"/>
                <a:gd name="connsiteY25" fmla="*/ 28447 h 47625"/>
                <a:gd name="connsiteX26" fmla="*/ 23932 w 26958"/>
                <a:gd name="connsiteY26" fmla="*/ 21091 h 47625"/>
                <a:gd name="connsiteX27" fmla="*/ 26696 w 26958"/>
                <a:gd name="connsiteY27" fmla="*/ 16182 h 47625"/>
                <a:gd name="connsiteX28" fmla="*/ 23932 w 26958"/>
                <a:gd name="connsiteY28" fmla="*/ 9127 h 47625"/>
                <a:gd name="connsiteX29" fmla="*/ 19958 w 26958"/>
                <a:gd name="connsiteY29" fmla="*/ 1475 h 47625"/>
                <a:gd name="connsiteX30" fmla="*/ 15668 w 26958"/>
                <a:gd name="connsiteY30" fmla="*/ 1475 h 47625"/>
                <a:gd name="connsiteX31" fmla="*/ 6940 w 26958"/>
                <a:gd name="connsiteY31" fmla="*/ 8051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6958" h="47625">
                  <a:moveTo>
                    <a:pt x="6940" y="8051"/>
                  </a:moveTo>
                  <a:cubicBezTo>
                    <a:pt x="4746" y="9036"/>
                    <a:pt x="2340" y="6835"/>
                    <a:pt x="1412" y="5604"/>
                  </a:cubicBezTo>
                  <a:cubicBezTo>
                    <a:pt x="561" y="6082"/>
                    <a:pt x="1412" y="6483"/>
                    <a:pt x="1412" y="7397"/>
                  </a:cubicBezTo>
                  <a:cubicBezTo>
                    <a:pt x="1412" y="8312"/>
                    <a:pt x="104" y="9641"/>
                    <a:pt x="6" y="10098"/>
                  </a:cubicBezTo>
                  <a:cubicBezTo>
                    <a:pt x="-93" y="10555"/>
                    <a:pt x="1159" y="10098"/>
                    <a:pt x="1454" y="10675"/>
                  </a:cubicBezTo>
                  <a:cubicBezTo>
                    <a:pt x="1750" y="11251"/>
                    <a:pt x="1173" y="11392"/>
                    <a:pt x="920" y="11969"/>
                  </a:cubicBezTo>
                  <a:cubicBezTo>
                    <a:pt x="659" y="12545"/>
                    <a:pt x="877" y="13059"/>
                    <a:pt x="1736" y="13242"/>
                  </a:cubicBezTo>
                  <a:cubicBezTo>
                    <a:pt x="2587" y="13418"/>
                    <a:pt x="3023" y="14058"/>
                    <a:pt x="3796" y="14930"/>
                  </a:cubicBezTo>
                  <a:cubicBezTo>
                    <a:pt x="4577" y="15802"/>
                    <a:pt x="4950" y="18924"/>
                    <a:pt x="5526" y="19895"/>
                  </a:cubicBezTo>
                  <a:cubicBezTo>
                    <a:pt x="6103" y="20873"/>
                    <a:pt x="5526" y="23812"/>
                    <a:pt x="5154" y="24234"/>
                  </a:cubicBezTo>
                  <a:cubicBezTo>
                    <a:pt x="4774" y="24649"/>
                    <a:pt x="4457" y="25149"/>
                    <a:pt x="4457" y="25543"/>
                  </a:cubicBezTo>
                  <a:cubicBezTo>
                    <a:pt x="4457" y="25943"/>
                    <a:pt x="4457" y="26816"/>
                    <a:pt x="5154" y="26991"/>
                  </a:cubicBezTo>
                  <a:cubicBezTo>
                    <a:pt x="5850" y="27174"/>
                    <a:pt x="6525" y="27111"/>
                    <a:pt x="6799" y="27927"/>
                  </a:cubicBezTo>
                  <a:cubicBezTo>
                    <a:pt x="7081" y="28743"/>
                    <a:pt x="6799" y="29798"/>
                    <a:pt x="6103" y="30810"/>
                  </a:cubicBezTo>
                  <a:cubicBezTo>
                    <a:pt x="5407" y="31823"/>
                    <a:pt x="5526" y="34489"/>
                    <a:pt x="5526" y="35023"/>
                  </a:cubicBezTo>
                  <a:cubicBezTo>
                    <a:pt x="5526" y="35558"/>
                    <a:pt x="5210" y="35220"/>
                    <a:pt x="4457" y="35797"/>
                  </a:cubicBezTo>
                  <a:cubicBezTo>
                    <a:pt x="3698" y="36374"/>
                    <a:pt x="4457" y="39236"/>
                    <a:pt x="4457" y="40706"/>
                  </a:cubicBezTo>
                  <a:cubicBezTo>
                    <a:pt x="4457" y="42183"/>
                    <a:pt x="6680" y="45024"/>
                    <a:pt x="8487" y="46832"/>
                  </a:cubicBezTo>
                  <a:cubicBezTo>
                    <a:pt x="10302" y="48639"/>
                    <a:pt x="12130" y="46909"/>
                    <a:pt x="13319" y="46093"/>
                  </a:cubicBezTo>
                  <a:cubicBezTo>
                    <a:pt x="14515" y="45277"/>
                    <a:pt x="13896" y="42759"/>
                    <a:pt x="14198" y="42063"/>
                  </a:cubicBezTo>
                  <a:cubicBezTo>
                    <a:pt x="14493" y="41367"/>
                    <a:pt x="16280" y="40931"/>
                    <a:pt x="16976" y="40706"/>
                  </a:cubicBezTo>
                  <a:cubicBezTo>
                    <a:pt x="17672" y="40488"/>
                    <a:pt x="18488" y="40846"/>
                    <a:pt x="19044" y="41803"/>
                  </a:cubicBezTo>
                  <a:cubicBezTo>
                    <a:pt x="19600" y="42759"/>
                    <a:pt x="21864" y="42717"/>
                    <a:pt x="22701" y="42759"/>
                  </a:cubicBezTo>
                  <a:cubicBezTo>
                    <a:pt x="23538" y="42795"/>
                    <a:pt x="22961" y="40333"/>
                    <a:pt x="22961" y="39236"/>
                  </a:cubicBezTo>
                  <a:cubicBezTo>
                    <a:pt x="22961" y="38146"/>
                    <a:pt x="23559" y="37949"/>
                    <a:pt x="23932" y="36556"/>
                  </a:cubicBezTo>
                  <a:cubicBezTo>
                    <a:pt x="24312" y="35164"/>
                    <a:pt x="24171" y="30649"/>
                    <a:pt x="23932" y="28447"/>
                  </a:cubicBezTo>
                  <a:cubicBezTo>
                    <a:pt x="23693" y="26239"/>
                    <a:pt x="25008" y="23834"/>
                    <a:pt x="23932" y="21091"/>
                  </a:cubicBezTo>
                  <a:cubicBezTo>
                    <a:pt x="22863" y="18348"/>
                    <a:pt x="25486" y="17715"/>
                    <a:pt x="26696" y="16182"/>
                  </a:cubicBezTo>
                  <a:cubicBezTo>
                    <a:pt x="27912" y="14648"/>
                    <a:pt x="24551" y="10654"/>
                    <a:pt x="23932" y="9127"/>
                  </a:cubicBezTo>
                  <a:cubicBezTo>
                    <a:pt x="23320" y="7594"/>
                    <a:pt x="22560" y="4535"/>
                    <a:pt x="19958" y="1475"/>
                  </a:cubicBezTo>
                  <a:cubicBezTo>
                    <a:pt x="17356" y="-1591"/>
                    <a:pt x="17518" y="997"/>
                    <a:pt x="15668" y="1475"/>
                  </a:cubicBezTo>
                  <a:cubicBezTo>
                    <a:pt x="13818" y="1947"/>
                    <a:pt x="9683" y="6821"/>
                    <a:pt x="6940" y="805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4" name="Freihandform: Form 229">
              <a:extLst>
                <a:ext uri="{FF2B5EF4-FFF2-40B4-BE49-F238E27FC236}">
                  <a16:creationId xmlns:a16="http://schemas.microsoft.com/office/drawing/2014/main" id="{3717BD08-9930-E648-B03C-170F5B9454F7}"/>
                </a:ext>
              </a:extLst>
            </p:cNvPr>
            <p:cNvSpPr/>
            <p:nvPr/>
          </p:nvSpPr>
          <p:spPr>
            <a:xfrm>
              <a:off x="6261636" y="3685823"/>
              <a:ext cx="184960" cy="194492"/>
            </a:xfrm>
            <a:custGeom>
              <a:avLst/>
              <a:gdLst>
                <a:gd name="connsiteX0" fmla="*/ 21353 w 184960"/>
                <a:gd name="connsiteY0" fmla="*/ 71456 h 194492"/>
                <a:gd name="connsiteX1" fmla="*/ 13005 w 184960"/>
                <a:gd name="connsiteY1" fmla="*/ 73284 h 194492"/>
                <a:gd name="connsiteX2" fmla="*/ 15565 w 184960"/>
                <a:gd name="connsiteY2" fmla="*/ 65337 h 194492"/>
                <a:gd name="connsiteX3" fmla="*/ 14193 w 184960"/>
                <a:gd name="connsiteY3" fmla="*/ 65513 h 194492"/>
                <a:gd name="connsiteX4" fmla="*/ 9545 w 184960"/>
                <a:gd name="connsiteY4" fmla="*/ 64999 h 194492"/>
                <a:gd name="connsiteX5" fmla="*/ 5430 w 184960"/>
                <a:gd name="connsiteY5" fmla="*/ 62074 h 194492"/>
                <a:gd name="connsiteX6" fmla="*/ 3144 w 184960"/>
                <a:gd name="connsiteY6" fmla="*/ 59415 h 194492"/>
                <a:gd name="connsiteX7" fmla="*/ 2884 w 184960"/>
                <a:gd name="connsiteY7" fmla="*/ 56490 h 194492"/>
                <a:gd name="connsiteX8" fmla="*/ 5866 w 184960"/>
                <a:gd name="connsiteY8" fmla="*/ 52157 h 194492"/>
                <a:gd name="connsiteX9" fmla="*/ 5430 w 184960"/>
                <a:gd name="connsiteY9" fmla="*/ 50068 h 194492"/>
                <a:gd name="connsiteX10" fmla="*/ 4298 w 184960"/>
                <a:gd name="connsiteY10" fmla="*/ 50329 h 194492"/>
                <a:gd name="connsiteX11" fmla="*/ 2132 w 184960"/>
                <a:gd name="connsiteY11" fmla="*/ 49513 h 194492"/>
                <a:gd name="connsiteX12" fmla="*/ 8 w 184960"/>
                <a:gd name="connsiteY12" fmla="*/ 44625 h 194492"/>
                <a:gd name="connsiteX13" fmla="*/ 781 w 184960"/>
                <a:gd name="connsiteY13" fmla="*/ 43872 h 194492"/>
                <a:gd name="connsiteX14" fmla="*/ 7097 w 184960"/>
                <a:gd name="connsiteY14" fmla="*/ 40215 h 194492"/>
                <a:gd name="connsiteX15" fmla="*/ 7336 w 184960"/>
                <a:gd name="connsiteY15" fmla="*/ 36832 h 194492"/>
                <a:gd name="connsiteX16" fmla="*/ 5289 w 184960"/>
                <a:gd name="connsiteY16" fmla="*/ 36016 h 194492"/>
                <a:gd name="connsiteX17" fmla="*/ 5289 w 184960"/>
                <a:gd name="connsiteY17" fmla="*/ 32999 h 194492"/>
                <a:gd name="connsiteX18" fmla="*/ 2849 w 184960"/>
                <a:gd name="connsiteY18" fmla="*/ 30952 h 194492"/>
                <a:gd name="connsiteX19" fmla="*/ 2293 w 184960"/>
                <a:gd name="connsiteY19" fmla="*/ 27190 h 194492"/>
                <a:gd name="connsiteX20" fmla="*/ 4931 w 184960"/>
                <a:gd name="connsiteY20" fmla="*/ 26360 h 194492"/>
                <a:gd name="connsiteX21" fmla="*/ 7997 w 184960"/>
                <a:gd name="connsiteY21" fmla="*/ 27190 h 194492"/>
                <a:gd name="connsiteX22" fmla="*/ 11275 w 184960"/>
                <a:gd name="connsiteY22" fmla="*/ 25544 h 194492"/>
                <a:gd name="connsiteX23" fmla="*/ 17815 w 184960"/>
                <a:gd name="connsiteY23" fmla="*/ 24770 h 194492"/>
                <a:gd name="connsiteX24" fmla="*/ 21156 w 184960"/>
                <a:gd name="connsiteY24" fmla="*/ 23216 h 194492"/>
                <a:gd name="connsiteX25" fmla="*/ 21473 w 184960"/>
                <a:gd name="connsiteY25" fmla="*/ 18743 h 194492"/>
                <a:gd name="connsiteX26" fmla="*/ 23836 w 184960"/>
                <a:gd name="connsiteY26" fmla="*/ 15445 h 194492"/>
                <a:gd name="connsiteX27" fmla="*/ 27219 w 184960"/>
                <a:gd name="connsiteY27" fmla="*/ 14769 h 194492"/>
                <a:gd name="connsiteX28" fmla="*/ 29223 w 184960"/>
                <a:gd name="connsiteY28" fmla="*/ 18743 h 194492"/>
                <a:gd name="connsiteX29" fmla="*/ 31051 w 184960"/>
                <a:gd name="connsiteY29" fmla="*/ 21113 h 194492"/>
                <a:gd name="connsiteX30" fmla="*/ 35447 w 184960"/>
                <a:gd name="connsiteY30" fmla="*/ 26001 h 194492"/>
                <a:gd name="connsiteX31" fmla="*/ 37733 w 184960"/>
                <a:gd name="connsiteY31" fmla="*/ 26817 h 194492"/>
                <a:gd name="connsiteX32" fmla="*/ 38148 w 184960"/>
                <a:gd name="connsiteY32" fmla="*/ 21908 h 194492"/>
                <a:gd name="connsiteX33" fmla="*/ 40511 w 184960"/>
                <a:gd name="connsiteY33" fmla="*/ 18743 h 194492"/>
                <a:gd name="connsiteX34" fmla="*/ 40869 w 184960"/>
                <a:gd name="connsiteY34" fmla="*/ 15445 h 194492"/>
                <a:gd name="connsiteX35" fmla="*/ 42663 w 184960"/>
                <a:gd name="connsiteY35" fmla="*/ 13876 h 194492"/>
                <a:gd name="connsiteX36" fmla="*/ 44527 w 184960"/>
                <a:gd name="connsiteY36" fmla="*/ 16598 h 194492"/>
                <a:gd name="connsiteX37" fmla="*/ 47333 w 184960"/>
                <a:gd name="connsiteY37" fmla="*/ 17590 h 194492"/>
                <a:gd name="connsiteX38" fmla="*/ 50195 w 184960"/>
                <a:gd name="connsiteY38" fmla="*/ 16598 h 194492"/>
                <a:gd name="connsiteX39" fmla="*/ 53353 w 184960"/>
                <a:gd name="connsiteY39" fmla="*/ 17590 h 194492"/>
                <a:gd name="connsiteX40" fmla="*/ 52558 w 184960"/>
                <a:gd name="connsiteY40" fmla="*/ 13876 h 194492"/>
                <a:gd name="connsiteX41" fmla="*/ 55062 w 184960"/>
                <a:gd name="connsiteY41" fmla="*/ 11070 h 194492"/>
                <a:gd name="connsiteX42" fmla="*/ 58797 w 184960"/>
                <a:gd name="connsiteY42" fmla="*/ 10437 h 194492"/>
                <a:gd name="connsiteX43" fmla="*/ 57643 w 184960"/>
                <a:gd name="connsiteY43" fmla="*/ 4178 h 194492"/>
                <a:gd name="connsiteX44" fmla="*/ 61941 w 184960"/>
                <a:gd name="connsiteY44" fmla="*/ 4733 h 194492"/>
                <a:gd name="connsiteX45" fmla="*/ 67567 w 184960"/>
                <a:gd name="connsiteY45" fmla="*/ 7314 h 194492"/>
                <a:gd name="connsiteX46" fmla="*/ 69712 w 184960"/>
                <a:gd name="connsiteY46" fmla="*/ 4234 h 194492"/>
                <a:gd name="connsiteX47" fmla="*/ 70823 w 184960"/>
                <a:gd name="connsiteY47" fmla="*/ 2025 h 194492"/>
                <a:gd name="connsiteX48" fmla="*/ 77245 w 184960"/>
                <a:gd name="connsiteY48" fmla="*/ 2025 h 194492"/>
                <a:gd name="connsiteX49" fmla="*/ 82751 w 184960"/>
                <a:gd name="connsiteY49" fmla="*/ 724 h 194492"/>
                <a:gd name="connsiteX50" fmla="*/ 85114 w 184960"/>
                <a:gd name="connsiteY50" fmla="*/ 0 h 194492"/>
                <a:gd name="connsiteX51" fmla="*/ 86662 w 184960"/>
                <a:gd name="connsiteY51" fmla="*/ 2996 h 194492"/>
                <a:gd name="connsiteX52" fmla="*/ 88378 w 184960"/>
                <a:gd name="connsiteY52" fmla="*/ 7314 h 194492"/>
                <a:gd name="connsiteX53" fmla="*/ 98998 w 184960"/>
                <a:gd name="connsiteY53" fmla="*/ 10768 h 194492"/>
                <a:gd name="connsiteX54" fmla="*/ 101276 w 184960"/>
                <a:gd name="connsiteY54" fmla="*/ 11035 h 194492"/>
                <a:gd name="connsiteX55" fmla="*/ 109069 w 184960"/>
                <a:gd name="connsiteY55" fmla="*/ 12800 h 194492"/>
                <a:gd name="connsiteX56" fmla="*/ 105110 w 184960"/>
                <a:gd name="connsiteY56" fmla="*/ 17674 h 194492"/>
                <a:gd name="connsiteX57" fmla="*/ 108373 w 184960"/>
                <a:gd name="connsiteY57" fmla="*/ 21113 h 194492"/>
                <a:gd name="connsiteX58" fmla="*/ 105848 w 184960"/>
                <a:gd name="connsiteY58" fmla="*/ 24194 h 194492"/>
                <a:gd name="connsiteX59" fmla="*/ 108373 w 184960"/>
                <a:gd name="connsiteY59" fmla="*/ 25066 h 194492"/>
                <a:gd name="connsiteX60" fmla="*/ 108373 w 184960"/>
                <a:gd name="connsiteY60" fmla="*/ 29475 h 194492"/>
                <a:gd name="connsiteX61" fmla="*/ 105110 w 184960"/>
                <a:gd name="connsiteY61" fmla="*/ 31803 h 194492"/>
                <a:gd name="connsiteX62" fmla="*/ 103703 w 184960"/>
                <a:gd name="connsiteY62" fmla="*/ 30812 h 194492"/>
                <a:gd name="connsiteX63" fmla="*/ 101276 w 184960"/>
                <a:gd name="connsiteY63" fmla="*/ 31803 h 194492"/>
                <a:gd name="connsiteX64" fmla="*/ 98119 w 184960"/>
                <a:gd name="connsiteY64" fmla="*/ 32563 h 194492"/>
                <a:gd name="connsiteX65" fmla="*/ 90621 w 184960"/>
                <a:gd name="connsiteY65" fmla="*/ 37050 h 194492"/>
                <a:gd name="connsiteX66" fmla="*/ 88378 w 184960"/>
                <a:gd name="connsiteY66" fmla="*/ 43809 h 194492"/>
                <a:gd name="connsiteX67" fmla="*/ 91458 w 184960"/>
                <a:gd name="connsiteY67" fmla="*/ 47227 h 194492"/>
                <a:gd name="connsiteX68" fmla="*/ 90621 w 184960"/>
                <a:gd name="connsiteY68" fmla="*/ 50469 h 194492"/>
                <a:gd name="connsiteX69" fmla="*/ 87857 w 184960"/>
                <a:gd name="connsiteY69" fmla="*/ 50469 h 194492"/>
                <a:gd name="connsiteX70" fmla="*/ 87857 w 184960"/>
                <a:gd name="connsiteY70" fmla="*/ 58817 h 194492"/>
                <a:gd name="connsiteX71" fmla="*/ 93625 w 184960"/>
                <a:gd name="connsiteY71" fmla="*/ 68396 h 194492"/>
                <a:gd name="connsiteX72" fmla="*/ 104118 w 184960"/>
                <a:gd name="connsiteY72" fmla="*/ 75732 h 194492"/>
                <a:gd name="connsiteX73" fmla="*/ 108295 w 184960"/>
                <a:gd name="connsiteY73" fmla="*/ 78060 h 194492"/>
                <a:gd name="connsiteX74" fmla="*/ 114611 w 184960"/>
                <a:gd name="connsiteY74" fmla="*/ 95586 h 194492"/>
                <a:gd name="connsiteX75" fmla="*/ 124310 w 184960"/>
                <a:gd name="connsiteY75" fmla="*/ 107894 h 194492"/>
                <a:gd name="connsiteX76" fmla="*/ 135900 w 184960"/>
                <a:gd name="connsiteY76" fmla="*/ 113380 h 194492"/>
                <a:gd name="connsiteX77" fmla="*/ 143454 w 184960"/>
                <a:gd name="connsiteY77" fmla="*/ 112606 h 194492"/>
                <a:gd name="connsiteX78" fmla="*/ 148961 w 184960"/>
                <a:gd name="connsiteY78" fmla="*/ 114294 h 194492"/>
                <a:gd name="connsiteX79" fmla="*/ 147849 w 184960"/>
                <a:gd name="connsiteY79" fmla="*/ 117093 h 194492"/>
                <a:gd name="connsiteX80" fmla="*/ 144685 w 184960"/>
                <a:gd name="connsiteY80" fmla="*/ 120357 h 194492"/>
                <a:gd name="connsiteX81" fmla="*/ 146077 w 184960"/>
                <a:gd name="connsiteY81" fmla="*/ 123732 h 194492"/>
                <a:gd name="connsiteX82" fmla="*/ 154826 w 184960"/>
                <a:gd name="connsiteY82" fmla="*/ 128030 h 194492"/>
                <a:gd name="connsiteX83" fmla="*/ 161803 w 184960"/>
                <a:gd name="connsiteY83" fmla="*/ 130273 h 194492"/>
                <a:gd name="connsiteX84" fmla="*/ 169912 w 184960"/>
                <a:gd name="connsiteY84" fmla="*/ 136076 h 194492"/>
                <a:gd name="connsiteX85" fmla="*/ 178021 w 184960"/>
                <a:gd name="connsiteY85" fmla="*/ 140049 h 194492"/>
                <a:gd name="connsiteX86" fmla="*/ 184878 w 184960"/>
                <a:gd name="connsiteY86" fmla="*/ 150029 h 194492"/>
                <a:gd name="connsiteX87" fmla="*/ 183767 w 184960"/>
                <a:gd name="connsiteY87" fmla="*/ 152934 h 194492"/>
                <a:gd name="connsiteX88" fmla="*/ 182853 w 184960"/>
                <a:gd name="connsiteY88" fmla="*/ 156612 h 194492"/>
                <a:gd name="connsiteX89" fmla="*/ 179709 w 184960"/>
                <a:gd name="connsiteY89" fmla="*/ 155276 h 194492"/>
                <a:gd name="connsiteX90" fmla="*/ 177107 w 184960"/>
                <a:gd name="connsiteY90" fmla="*/ 150029 h 194492"/>
                <a:gd name="connsiteX91" fmla="*/ 171143 w 184960"/>
                <a:gd name="connsiteY91" fmla="*/ 147047 h 194492"/>
                <a:gd name="connsiteX92" fmla="*/ 166072 w 184960"/>
                <a:gd name="connsiteY92" fmla="*/ 145240 h 194492"/>
                <a:gd name="connsiteX93" fmla="*/ 164841 w 184960"/>
                <a:gd name="connsiteY93" fmla="*/ 142539 h 194492"/>
                <a:gd name="connsiteX94" fmla="*/ 160671 w 184960"/>
                <a:gd name="connsiteY94" fmla="*/ 143671 h 194492"/>
                <a:gd name="connsiteX95" fmla="*/ 154503 w 184960"/>
                <a:gd name="connsiteY95" fmla="*/ 156612 h 194492"/>
                <a:gd name="connsiteX96" fmla="*/ 156732 w 184960"/>
                <a:gd name="connsiteY96" fmla="*/ 160783 h 194492"/>
                <a:gd name="connsiteX97" fmla="*/ 163491 w 184960"/>
                <a:gd name="connsiteY97" fmla="*/ 165059 h 194492"/>
                <a:gd name="connsiteX98" fmla="*/ 163491 w 184960"/>
                <a:gd name="connsiteY98" fmla="*/ 170580 h 194492"/>
                <a:gd name="connsiteX99" fmla="*/ 163491 w 184960"/>
                <a:gd name="connsiteY99" fmla="*/ 174715 h 194492"/>
                <a:gd name="connsiteX100" fmla="*/ 158638 w 184960"/>
                <a:gd name="connsiteY100" fmla="*/ 175411 h 194492"/>
                <a:gd name="connsiteX101" fmla="*/ 154503 w 184960"/>
                <a:gd name="connsiteY101" fmla="*/ 179666 h 194492"/>
                <a:gd name="connsiteX102" fmla="*/ 154032 w 184960"/>
                <a:gd name="connsiteY102" fmla="*/ 185968 h 194492"/>
                <a:gd name="connsiteX103" fmla="*/ 150353 w 184960"/>
                <a:gd name="connsiteY103" fmla="*/ 188394 h 194492"/>
                <a:gd name="connsiteX104" fmla="*/ 148307 w 184960"/>
                <a:gd name="connsiteY104" fmla="*/ 191967 h 194492"/>
                <a:gd name="connsiteX105" fmla="*/ 146077 w 184960"/>
                <a:gd name="connsiteY105" fmla="*/ 194492 h 194492"/>
                <a:gd name="connsiteX106" fmla="*/ 141625 w 184960"/>
                <a:gd name="connsiteY106" fmla="*/ 193796 h 194492"/>
                <a:gd name="connsiteX107" fmla="*/ 140753 w 184960"/>
                <a:gd name="connsiteY107" fmla="*/ 190223 h 194492"/>
                <a:gd name="connsiteX108" fmla="*/ 142202 w 184960"/>
                <a:gd name="connsiteY108" fmla="*/ 188394 h 194492"/>
                <a:gd name="connsiteX109" fmla="*/ 143573 w 184960"/>
                <a:gd name="connsiteY109" fmla="*/ 185968 h 194492"/>
                <a:gd name="connsiteX110" fmla="*/ 144924 w 184960"/>
                <a:gd name="connsiteY110" fmla="*/ 182768 h 194492"/>
                <a:gd name="connsiteX111" fmla="*/ 143573 w 184960"/>
                <a:gd name="connsiteY111" fmla="*/ 181319 h 194492"/>
                <a:gd name="connsiteX112" fmla="*/ 144924 w 184960"/>
                <a:gd name="connsiteY112" fmla="*/ 179272 h 194492"/>
                <a:gd name="connsiteX113" fmla="*/ 149178 w 184960"/>
                <a:gd name="connsiteY113" fmla="*/ 178316 h 194492"/>
                <a:gd name="connsiteX114" fmla="*/ 149178 w 184960"/>
                <a:gd name="connsiteY114" fmla="*/ 174715 h 194492"/>
                <a:gd name="connsiteX115" fmla="*/ 147526 w 184960"/>
                <a:gd name="connsiteY115" fmla="*/ 171916 h 194492"/>
                <a:gd name="connsiteX116" fmla="*/ 146077 w 184960"/>
                <a:gd name="connsiteY116" fmla="*/ 164067 h 194492"/>
                <a:gd name="connsiteX117" fmla="*/ 143573 w 184960"/>
                <a:gd name="connsiteY117" fmla="*/ 160185 h 194492"/>
                <a:gd name="connsiteX118" fmla="*/ 142603 w 184960"/>
                <a:gd name="connsiteY118" fmla="*/ 154481 h 194492"/>
                <a:gd name="connsiteX119" fmla="*/ 139100 w 184960"/>
                <a:gd name="connsiteY119" fmla="*/ 151182 h 194492"/>
                <a:gd name="connsiteX120" fmla="*/ 135900 w 184960"/>
                <a:gd name="connsiteY120" fmla="*/ 152934 h 194492"/>
                <a:gd name="connsiteX121" fmla="*/ 133875 w 184960"/>
                <a:gd name="connsiteY121" fmla="*/ 150029 h 194492"/>
                <a:gd name="connsiteX122" fmla="*/ 130970 w 184960"/>
                <a:gd name="connsiteY122" fmla="*/ 148960 h 194492"/>
                <a:gd name="connsiteX123" fmla="*/ 130196 w 184960"/>
                <a:gd name="connsiteY123" fmla="*/ 144684 h 194492"/>
                <a:gd name="connsiteX124" fmla="*/ 127292 w 184960"/>
                <a:gd name="connsiteY124" fmla="*/ 139458 h 194492"/>
                <a:gd name="connsiteX125" fmla="*/ 123318 w 184960"/>
                <a:gd name="connsiteY125" fmla="*/ 140049 h 194492"/>
                <a:gd name="connsiteX126" fmla="*/ 121292 w 184960"/>
                <a:gd name="connsiteY126" fmla="*/ 139458 h 194492"/>
                <a:gd name="connsiteX127" fmla="*/ 120019 w 184960"/>
                <a:gd name="connsiteY127" fmla="*/ 136076 h 194492"/>
                <a:gd name="connsiteX128" fmla="*/ 115666 w 184960"/>
                <a:gd name="connsiteY128" fmla="*/ 136076 h 194492"/>
                <a:gd name="connsiteX129" fmla="*/ 113641 w 184960"/>
                <a:gd name="connsiteY129" fmla="*/ 130927 h 194492"/>
                <a:gd name="connsiteX130" fmla="*/ 109463 w 184960"/>
                <a:gd name="connsiteY130" fmla="*/ 126672 h 194492"/>
                <a:gd name="connsiteX131" fmla="*/ 106565 w 184960"/>
                <a:gd name="connsiteY131" fmla="*/ 127552 h 194492"/>
                <a:gd name="connsiteX132" fmla="*/ 104139 w 184960"/>
                <a:gd name="connsiteY132" fmla="*/ 126103 h 194492"/>
                <a:gd name="connsiteX133" fmla="*/ 100165 w 184960"/>
                <a:gd name="connsiteY133" fmla="*/ 127552 h 194492"/>
                <a:gd name="connsiteX134" fmla="*/ 97064 w 184960"/>
                <a:gd name="connsiteY134" fmla="*/ 124049 h 194492"/>
                <a:gd name="connsiteX135" fmla="*/ 93962 w 184960"/>
                <a:gd name="connsiteY135" fmla="*/ 123374 h 194492"/>
                <a:gd name="connsiteX136" fmla="*/ 89032 w 184960"/>
                <a:gd name="connsiteY136" fmla="*/ 117768 h 194492"/>
                <a:gd name="connsiteX137" fmla="*/ 86408 w 184960"/>
                <a:gd name="connsiteY137" fmla="*/ 113499 h 194492"/>
                <a:gd name="connsiteX138" fmla="*/ 83110 w 184960"/>
                <a:gd name="connsiteY138" fmla="*/ 110975 h 194492"/>
                <a:gd name="connsiteX139" fmla="*/ 74783 w 184960"/>
                <a:gd name="connsiteY139" fmla="*/ 103041 h 194492"/>
                <a:gd name="connsiteX140" fmla="*/ 66829 w 184960"/>
                <a:gd name="connsiteY140" fmla="*/ 95333 h 194492"/>
                <a:gd name="connsiteX141" fmla="*/ 64247 w 184960"/>
                <a:gd name="connsiteY141" fmla="*/ 94573 h 194492"/>
                <a:gd name="connsiteX142" fmla="*/ 63333 w 184960"/>
                <a:gd name="connsiteY142" fmla="*/ 91690 h 194492"/>
                <a:gd name="connsiteX143" fmla="*/ 60154 w 184960"/>
                <a:gd name="connsiteY143" fmla="*/ 90776 h 194492"/>
                <a:gd name="connsiteX144" fmla="*/ 60154 w 184960"/>
                <a:gd name="connsiteY144" fmla="*/ 84537 h 194492"/>
                <a:gd name="connsiteX145" fmla="*/ 58480 w 184960"/>
                <a:gd name="connsiteY145" fmla="*/ 81042 h 194492"/>
                <a:gd name="connsiteX146" fmla="*/ 56954 w 184960"/>
                <a:gd name="connsiteY146" fmla="*/ 75873 h 194492"/>
                <a:gd name="connsiteX147" fmla="*/ 53909 w 184960"/>
                <a:gd name="connsiteY147" fmla="*/ 68875 h 194492"/>
                <a:gd name="connsiteX148" fmla="*/ 48740 w 184960"/>
                <a:gd name="connsiteY148" fmla="*/ 66589 h 194492"/>
                <a:gd name="connsiteX149" fmla="*/ 43120 w 184960"/>
                <a:gd name="connsiteY149" fmla="*/ 63846 h 194492"/>
                <a:gd name="connsiteX150" fmla="*/ 38246 w 184960"/>
                <a:gd name="connsiteY150" fmla="*/ 60808 h 194492"/>
                <a:gd name="connsiteX151" fmla="*/ 32163 w 184960"/>
                <a:gd name="connsiteY151" fmla="*/ 59591 h 194492"/>
                <a:gd name="connsiteX152" fmla="*/ 27296 w 184960"/>
                <a:gd name="connsiteY152" fmla="*/ 63846 h 194492"/>
                <a:gd name="connsiteX153" fmla="*/ 21353 w 184960"/>
                <a:gd name="connsiteY153" fmla="*/ 71456 h 194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</a:cxnLst>
              <a:rect l="l" t="t" r="r" b="b"/>
              <a:pathLst>
                <a:path w="184960" h="194492">
                  <a:moveTo>
                    <a:pt x="21353" y="71456"/>
                  </a:moveTo>
                  <a:cubicBezTo>
                    <a:pt x="19524" y="73524"/>
                    <a:pt x="15023" y="73538"/>
                    <a:pt x="13005" y="73284"/>
                  </a:cubicBezTo>
                  <a:cubicBezTo>
                    <a:pt x="13856" y="70696"/>
                    <a:pt x="15565" y="65478"/>
                    <a:pt x="15565" y="65337"/>
                  </a:cubicBezTo>
                  <a:cubicBezTo>
                    <a:pt x="15565" y="65154"/>
                    <a:pt x="14495" y="65513"/>
                    <a:pt x="14193" y="65513"/>
                  </a:cubicBezTo>
                  <a:cubicBezTo>
                    <a:pt x="13898" y="65513"/>
                    <a:pt x="10065" y="65021"/>
                    <a:pt x="9545" y="64999"/>
                  </a:cubicBezTo>
                  <a:cubicBezTo>
                    <a:pt x="9031" y="64978"/>
                    <a:pt x="5648" y="62313"/>
                    <a:pt x="5430" y="62074"/>
                  </a:cubicBezTo>
                  <a:cubicBezTo>
                    <a:pt x="5212" y="61835"/>
                    <a:pt x="3144" y="59753"/>
                    <a:pt x="3144" y="59415"/>
                  </a:cubicBezTo>
                  <a:cubicBezTo>
                    <a:pt x="3144" y="59078"/>
                    <a:pt x="2905" y="56729"/>
                    <a:pt x="2884" y="56490"/>
                  </a:cubicBezTo>
                  <a:cubicBezTo>
                    <a:pt x="2863" y="56250"/>
                    <a:pt x="5430" y="52396"/>
                    <a:pt x="5866" y="52157"/>
                  </a:cubicBezTo>
                  <a:cubicBezTo>
                    <a:pt x="6302" y="51918"/>
                    <a:pt x="5550" y="50329"/>
                    <a:pt x="5430" y="50068"/>
                  </a:cubicBezTo>
                  <a:cubicBezTo>
                    <a:pt x="5311" y="49815"/>
                    <a:pt x="4713" y="50209"/>
                    <a:pt x="4298" y="50329"/>
                  </a:cubicBezTo>
                  <a:cubicBezTo>
                    <a:pt x="3883" y="50448"/>
                    <a:pt x="2610" y="49773"/>
                    <a:pt x="2132" y="49513"/>
                  </a:cubicBezTo>
                  <a:cubicBezTo>
                    <a:pt x="1653" y="49252"/>
                    <a:pt x="64" y="45005"/>
                    <a:pt x="8" y="44625"/>
                  </a:cubicBezTo>
                  <a:cubicBezTo>
                    <a:pt x="-56" y="44245"/>
                    <a:pt x="282" y="44048"/>
                    <a:pt x="781" y="43872"/>
                  </a:cubicBezTo>
                  <a:cubicBezTo>
                    <a:pt x="1273" y="43689"/>
                    <a:pt x="6801" y="40412"/>
                    <a:pt x="7097" y="40215"/>
                  </a:cubicBezTo>
                  <a:cubicBezTo>
                    <a:pt x="7399" y="40011"/>
                    <a:pt x="7441" y="37191"/>
                    <a:pt x="7336" y="36832"/>
                  </a:cubicBezTo>
                  <a:cubicBezTo>
                    <a:pt x="7237" y="36473"/>
                    <a:pt x="5725" y="36375"/>
                    <a:pt x="5289" y="36016"/>
                  </a:cubicBezTo>
                  <a:cubicBezTo>
                    <a:pt x="4853" y="35658"/>
                    <a:pt x="5353" y="33372"/>
                    <a:pt x="5289" y="32999"/>
                  </a:cubicBezTo>
                  <a:cubicBezTo>
                    <a:pt x="5233" y="32619"/>
                    <a:pt x="3144" y="31185"/>
                    <a:pt x="2849" y="30952"/>
                  </a:cubicBezTo>
                  <a:cubicBezTo>
                    <a:pt x="2547" y="30713"/>
                    <a:pt x="2089" y="27689"/>
                    <a:pt x="2293" y="27190"/>
                  </a:cubicBezTo>
                  <a:cubicBezTo>
                    <a:pt x="2490" y="26697"/>
                    <a:pt x="4614" y="26500"/>
                    <a:pt x="4931" y="26360"/>
                  </a:cubicBezTo>
                  <a:cubicBezTo>
                    <a:pt x="5254" y="26219"/>
                    <a:pt x="6844" y="27056"/>
                    <a:pt x="7997" y="27190"/>
                  </a:cubicBezTo>
                  <a:cubicBezTo>
                    <a:pt x="9151" y="27331"/>
                    <a:pt x="10318" y="26001"/>
                    <a:pt x="11275" y="25544"/>
                  </a:cubicBezTo>
                  <a:cubicBezTo>
                    <a:pt x="12231" y="25087"/>
                    <a:pt x="16402" y="24770"/>
                    <a:pt x="17815" y="24770"/>
                  </a:cubicBezTo>
                  <a:cubicBezTo>
                    <a:pt x="19222" y="24770"/>
                    <a:pt x="20734" y="23575"/>
                    <a:pt x="21156" y="23216"/>
                  </a:cubicBezTo>
                  <a:cubicBezTo>
                    <a:pt x="21571" y="22857"/>
                    <a:pt x="21374" y="19601"/>
                    <a:pt x="21473" y="18743"/>
                  </a:cubicBezTo>
                  <a:cubicBezTo>
                    <a:pt x="21571" y="17892"/>
                    <a:pt x="22563" y="16598"/>
                    <a:pt x="23836" y="15445"/>
                  </a:cubicBezTo>
                  <a:cubicBezTo>
                    <a:pt x="25109" y="14291"/>
                    <a:pt x="25945" y="14629"/>
                    <a:pt x="27219" y="14769"/>
                  </a:cubicBezTo>
                  <a:cubicBezTo>
                    <a:pt x="28484" y="14910"/>
                    <a:pt x="29047" y="18012"/>
                    <a:pt x="29223" y="18743"/>
                  </a:cubicBezTo>
                  <a:cubicBezTo>
                    <a:pt x="29399" y="19482"/>
                    <a:pt x="30552" y="20930"/>
                    <a:pt x="31051" y="21113"/>
                  </a:cubicBezTo>
                  <a:cubicBezTo>
                    <a:pt x="31551" y="21289"/>
                    <a:pt x="34427" y="25263"/>
                    <a:pt x="35447" y="26001"/>
                  </a:cubicBezTo>
                  <a:cubicBezTo>
                    <a:pt x="36460" y="26733"/>
                    <a:pt x="37170" y="27134"/>
                    <a:pt x="37733" y="26817"/>
                  </a:cubicBezTo>
                  <a:cubicBezTo>
                    <a:pt x="38288" y="26500"/>
                    <a:pt x="37649" y="22400"/>
                    <a:pt x="38148" y="21908"/>
                  </a:cubicBezTo>
                  <a:cubicBezTo>
                    <a:pt x="38647" y="21409"/>
                    <a:pt x="40293" y="19460"/>
                    <a:pt x="40511" y="18743"/>
                  </a:cubicBezTo>
                  <a:cubicBezTo>
                    <a:pt x="40729" y="18033"/>
                    <a:pt x="40729" y="16598"/>
                    <a:pt x="40869" y="15445"/>
                  </a:cubicBezTo>
                  <a:cubicBezTo>
                    <a:pt x="41010" y="14291"/>
                    <a:pt x="42023" y="13876"/>
                    <a:pt x="42663" y="13876"/>
                  </a:cubicBezTo>
                  <a:cubicBezTo>
                    <a:pt x="43296" y="13876"/>
                    <a:pt x="43950" y="15747"/>
                    <a:pt x="44527" y="16598"/>
                  </a:cubicBezTo>
                  <a:cubicBezTo>
                    <a:pt x="45103" y="17456"/>
                    <a:pt x="46454" y="17590"/>
                    <a:pt x="47333" y="17590"/>
                  </a:cubicBezTo>
                  <a:cubicBezTo>
                    <a:pt x="48205" y="17590"/>
                    <a:pt x="49337" y="15881"/>
                    <a:pt x="50195" y="16598"/>
                  </a:cubicBezTo>
                  <a:cubicBezTo>
                    <a:pt x="51046" y="17315"/>
                    <a:pt x="52558" y="17892"/>
                    <a:pt x="53353" y="17590"/>
                  </a:cubicBezTo>
                  <a:cubicBezTo>
                    <a:pt x="54148" y="17294"/>
                    <a:pt x="52995" y="14868"/>
                    <a:pt x="52558" y="13876"/>
                  </a:cubicBezTo>
                  <a:cubicBezTo>
                    <a:pt x="52122" y="12885"/>
                    <a:pt x="53930" y="11513"/>
                    <a:pt x="55062" y="11070"/>
                  </a:cubicBezTo>
                  <a:cubicBezTo>
                    <a:pt x="56194" y="10634"/>
                    <a:pt x="58304" y="10993"/>
                    <a:pt x="58797" y="10437"/>
                  </a:cubicBezTo>
                  <a:lnTo>
                    <a:pt x="57643" y="4178"/>
                  </a:lnTo>
                  <a:cubicBezTo>
                    <a:pt x="57643" y="4178"/>
                    <a:pt x="61209" y="4733"/>
                    <a:pt x="61941" y="4733"/>
                  </a:cubicBezTo>
                  <a:cubicBezTo>
                    <a:pt x="62855" y="4733"/>
                    <a:pt x="66435" y="6541"/>
                    <a:pt x="67567" y="7314"/>
                  </a:cubicBezTo>
                  <a:cubicBezTo>
                    <a:pt x="68263" y="7793"/>
                    <a:pt x="69030" y="5894"/>
                    <a:pt x="69712" y="4234"/>
                  </a:cubicBezTo>
                  <a:cubicBezTo>
                    <a:pt x="70134" y="3193"/>
                    <a:pt x="70521" y="2244"/>
                    <a:pt x="70823" y="2025"/>
                  </a:cubicBezTo>
                  <a:cubicBezTo>
                    <a:pt x="71618" y="1470"/>
                    <a:pt x="75001" y="1688"/>
                    <a:pt x="77245" y="2025"/>
                  </a:cubicBezTo>
                  <a:cubicBezTo>
                    <a:pt x="78651" y="2244"/>
                    <a:pt x="80958" y="1385"/>
                    <a:pt x="82751" y="724"/>
                  </a:cubicBezTo>
                  <a:cubicBezTo>
                    <a:pt x="83813" y="331"/>
                    <a:pt x="84700" y="0"/>
                    <a:pt x="85114" y="0"/>
                  </a:cubicBezTo>
                  <a:cubicBezTo>
                    <a:pt x="85719" y="0"/>
                    <a:pt x="86134" y="1329"/>
                    <a:pt x="86662" y="2996"/>
                  </a:cubicBezTo>
                  <a:cubicBezTo>
                    <a:pt x="87098" y="4396"/>
                    <a:pt x="87611" y="6034"/>
                    <a:pt x="88378" y="7314"/>
                  </a:cubicBezTo>
                  <a:cubicBezTo>
                    <a:pt x="89813" y="9727"/>
                    <a:pt x="94356" y="10240"/>
                    <a:pt x="98998" y="10768"/>
                  </a:cubicBezTo>
                  <a:cubicBezTo>
                    <a:pt x="99758" y="10852"/>
                    <a:pt x="100524" y="10936"/>
                    <a:pt x="101276" y="11035"/>
                  </a:cubicBezTo>
                  <a:cubicBezTo>
                    <a:pt x="106622" y="11710"/>
                    <a:pt x="108373" y="12287"/>
                    <a:pt x="109069" y="12800"/>
                  </a:cubicBezTo>
                  <a:cubicBezTo>
                    <a:pt x="109766" y="13321"/>
                    <a:pt x="105110" y="17034"/>
                    <a:pt x="105110" y="17674"/>
                  </a:cubicBezTo>
                  <a:cubicBezTo>
                    <a:pt x="105110" y="18307"/>
                    <a:pt x="108373" y="20614"/>
                    <a:pt x="108373" y="21113"/>
                  </a:cubicBezTo>
                  <a:cubicBezTo>
                    <a:pt x="108373" y="21606"/>
                    <a:pt x="106045" y="23772"/>
                    <a:pt x="105848" y="24194"/>
                  </a:cubicBezTo>
                  <a:cubicBezTo>
                    <a:pt x="105651" y="24609"/>
                    <a:pt x="108373" y="24552"/>
                    <a:pt x="108373" y="25066"/>
                  </a:cubicBezTo>
                  <a:cubicBezTo>
                    <a:pt x="108373" y="25586"/>
                    <a:pt x="108113" y="28463"/>
                    <a:pt x="108373" y="29475"/>
                  </a:cubicBezTo>
                  <a:cubicBezTo>
                    <a:pt x="108633" y="30495"/>
                    <a:pt x="106122" y="30812"/>
                    <a:pt x="105110" y="31803"/>
                  </a:cubicBezTo>
                  <a:cubicBezTo>
                    <a:pt x="104097" y="32795"/>
                    <a:pt x="104455" y="30889"/>
                    <a:pt x="103703" y="30812"/>
                  </a:cubicBezTo>
                  <a:cubicBezTo>
                    <a:pt x="102943" y="30727"/>
                    <a:pt x="101452" y="31304"/>
                    <a:pt x="101276" y="31803"/>
                  </a:cubicBezTo>
                  <a:cubicBezTo>
                    <a:pt x="101094" y="32303"/>
                    <a:pt x="98695" y="32380"/>
                    <a:pt x="98119" y="32563"/>
                  </a:cubicBezTo>
                  <a:cubicBezTo>
                    <a:pt x="97542" y="32739"/>
                    <a:pt x="93625" y="35798"/>
                    <a:pt x="90621" y="37050"/>
                  </a:cubicBezTo>
                  <a:cubicBezTo>
                    <a:pt x="87618" y="38302"/>
                    <a:pt x="88455" y="42297"/>
                    <a:pt x="88378" y="43809"/>
                  </a:cubicBezTo>
                  <a:cubicBezTo>
                    <a:pt x="88293" y="45321"/>
                    <a:pt x="91121" y="46474"/>
                    <a:pt x="91458" y="47227"/>
                  </a:cubicBezTo>
                  <a:cubicBezTo>
                    <a:pt x="91796" y="47987"/>
                    <a:pt x="90938" y="49815"/>
                    <a:pt x="90621" y="50469"/>
                  </a:cubicBezTo>
                  <a:cubicBezTo>
                    <a:pt x="90305" y="51123"/>
                    <a:pt x="88772" y="50807"/>
                    <a:pt x="87857" y="50469"/>
                  </a:cubicBezTo>
                  <a:cubicBezTo>
                    <a:pt x="86943" y="50132"/>
                    <a:pt x="87780" y="54640"/>
                    <a:pt x="87857" y="58817"/>
                  </a:cubicBezTo>
                  <a:cubicBezTo>
                    <a:pt x="87942" y="62988"/>
                    <a:pt x="92788" y="67222"/>
                    <a:pt x="93625" y="68396"/>
                  </a:cubicBezTo>
                  <a:cubicBezTo>
                    <a:pt x="94461" y="69571"/>
                    <a:pt x="103042" y="74818"/>
                    <a:pt x="104118" y="75732"/>
                  </a:cubicBezTo>
                  <a:cubicBezTo>
                    <a:pt x="105194" y="76646"/>
                    <a:pt x="107459" y="77146"/>
                    <a:pt x="108295" y="78060"/>
                  </a:cubicBezTo>
                  <a:cubicBezTo>
                    <a:pt x="109125" y="78974"/>
                    <a:pt x="113641" y="92843"/>
                    <a:pt x="114611" y="95586"/>
                  </a:cubicBezTo>
                  <a:cubicBezTo>
                    <a:pt x="115589" y="98329"/>
                    <a:pt x="121947" y="105271"/>
                    <a:pt x="124310" y="107894"/>
                  </a:cubicBezTo>
                  <a:cubicBezTo>
                    <a:pt x="126680" y="110517"/>
                    <a:pt x="133875" y="113281"/>
                    <a:pt x="135900" y="113380"/>
                  </a:cubicBezTo>
                  <a:cubicBezTo>
                    <a:pt x="137926" y="113478"/>
                    <a:pt x="141189" y="113042"/>
                    <a:pt x="143454" y="112606"/>
                  </a:cubicBezTo>
                  <a:cubicBezTo>
                    <a:pt x="145718" y="112163"/>
                    <a:pt x="147849" y="113281"/>
                    <a:pt x="148961" y="114294"/>
                  </a:cubicBezTo>
                  <a:cubicBezTo>
                    <a:pt x="150072" y="115307"/>
                    <a:pt x="148623" y="116320"/>
                    <a:pt x="147849" y="117093"/>
                  </a:cubicBezTo>
                  <a:cubicBezTo>
                    <a:pt x="147069" y="117867"/>
                    <a:pt x="145022" y="119020"/>
                    <a:pt x="144685" y="120357"/>
                  </a:cubicBezTo>
                  <a:cubicBezTo>
                    <a:pt x="144347" y="121686"/>
                    <a:pt x="145360" y="122720"/>
                    <a:pt x="146077" y="123732"/>
                  </a:cubicBezTo>
                  <a:cubicBezTo>
                    <a:pt x="146795" y="124745"/>
                    <a:pt x="152576" y="126672"/>
                    <a:pt x="154826" y="128030"/>
                  </a:cubicBezTo>
                  <a:cubicBezTo>
                    <a:pt x="157070" y="129380"/>
                    <a:pt x="160671" y="129816"/>
                    <a:pt x="161803" y="130273"/>
                  </a:cubicBezTo>
                  <a:cubicBezTo>
                    <a:pt x="162935" y="130730"/>
                    <a:pt x="168337" y="134887"/>
                    <a:pt x="169912" y="136076"/>
                  </a:cubicBezTo>
                  <a:cubicBezTo>
                    <a:pt x="171481" y="137271"/>
                    <a:pt x="174737" y="138263"/>
                    <a:pt x="178021" y="140049"/>
                  </a:cubicBezTo>
                  <a:cubicBezTo>
                    <a:pt x="181299" y="141843"/>
                    <a:pt x="184541" y="148060"/>
                    <a:pt x="184878" y="150029"/>
                  </a:cubicBezTo>
                  <a:cubicBezTo>
                    <a:pt x="185216" y="151998"/>
                    <a:pt x="184442" y="152934"/>
                    <a:pt x="183767" y="152934"/>
                  </a:cubicBezTo>
                  <a:cubicBezTo>
                    <a:pt x="183085" y="152934"/>
                    <a:pt x="183430" y="156612"/>
                    <a:pt x="182853" y="156612"/>
                  </a:cubicBezTo>
                  <a:cubicBezTo>
                    <a:pt x="182276" y="156612"/>
                    <a:pt x="181615" y="156612"/>
                    <a:pt x="179709" y="155276"/>
                  </a:cubicBezTo>
                  <a:cubicBezTo>
                    <a:pt x="177803" y="153946"/>
                    <a:pt x="178359" y="153806"/>
                    <a:pt x="177107" y="150029"/>
                  </a:cubicBezTo>
                  <a:cubicBezTo>
                    <a:pt x="175855" y="146252"/>
                    <a:pt x="172156" y="146710"/>
                    <a:pt x="171143" y="147047"/>
                  </a:cubicBezTo>
                  <a:cubicBezTo>
                    <a:pt x="170130" y="147385"/>
                    <a:pt x="166986" y="145479"/>
                    <a:pt x="166072" y="145240"/>
                  </a:cubicBezTo>
                  <a:cubicBezTo>
                    <a:pt x="165158" y="145000"/>
                    <a:pt x="165854" y="143671"/>
                    <a:pt x="164841" y="142539"/>
                  </a:cubicBezTo>
                  <a:cubicBezTo>
                    <a:pt x="163828" y="141407"/>
                    <a:pt x="161346" y="143116"/>
                    <a:pt x="160671" y="143671"/>
                  </a:cubicBezTo>
                  <a:cubicBezTo>
                    <a:pt x="159988" y="144227"/>
                    <a:pt x="155382" y="154481"/>
                    <a:pt x="154503" y="156612"/>
                  </a:cubicBezTo>
                  <a:cubicBezTo>
                    <a:pt x="153630" y="158736"/>
                    <a:pt x="155501" y="160185"/>
                    <a:pt x="156732" y="160783"/>
                  </a:cubicBezTo>
                  <a:cubicBezTo>
                    <a:pt x="157963" y="161380"/>
                    <a:pt x="162696" y="164067"/>
                    <a:pt x="163491" y="165059"/>
                  </a:cubicBezTo>
                  <a:cubicBezTo>
                    <a:pt x="164286" y="166050"/>
                    <a:pt x="163491" y="169110"/>
                    <a:pt x="163491" y="170580"/>
                  </a:cubicBezTo>
                  <a:cubicBezTo>
                    <a:pt x="163491" y="172057"/>
                    <a:pt x="163709" y="173843"/>
                    <a:pt x="163491" y="174715"/>
                  </a:cubicBezTo>
                  <a:cubicBezTo>
                    <a:pt x="163273" y="175594"/>
                    <a:pt x="159988" y="175313"/>
                    <a:pt x="158638" y="175411"/>
                  </a:cubicBezTo>
                  <a:cubicBezTo>
                    <a:pt x="157288" y="175510"/>
                    <a:pt x="154503" y="178492"/>
                    <a:pt x="154503" y="179666"/>
                  </a:cubicBezTo>
                  <a:cubicBezTo>
                    <a:pt x="154503" y="180841"/>
                    <a:pt x="154032" y="184597"/>
                    <a:pt x="154032" y="185968"/>
                  </a:cubicBezTo>
                  <a:cubicBezTo>
                    <a:pt x="154032" y="187339"/>
                    <a:pt x="151225" y="187895"/>
                    <a:pt x="150353" y="188394"/>
                  </a:cubicBezTo>
                  <a:cubicBezTo>
                    <a:pt x="149474" y="188887"/>
                    <a:pt x="149178" y="190800"/>
                    <a:pt x="148307" y="191967"/>
                  </a:cubicBezTo>
                  <a:cubicBezTo>
                    <a:pt x="147427" y="193142"/>
                    <a:pt x="147526" y="194492"/>
                    <a:pt x="146077" y="194492"/>
                  </a:cubicBezTo>
                  <a:cubicBezTo>
                    <a:pt x="144628" y="194492"/>
                    <a:pt x="142800" y="194394"/>
                    <a:pt x="141625" y="193796"/>
                  </a:cubicBezTo>
                  <a:cubicBezTo>
                    <a:pt x="140451" y="193205"/>
                    <a:pt x="140950" y="191397"/>
                    <a:pt x="140753" y="190223"/>
                  </a:cubicBezTo>
                  <a:cubicBezTo>
                    <a:pt x="140549" y="189049"/>
                    <a:pt x="141428" y="188669"/>
                    <a:pt x="142202" y="188394"/>
                  </a:cubicBezTo>
                  <a:cubicBezTo>
                    <a:pt x="142975" y="188113"/>
                    <a:pt x="143573" y="186446"/>
                    <a:pt x="143573" y="185968"/>
                  </a:cubicBezTo>
                  <a:cubicBezTo>
                    <a:pt x="143573" y="185490"/>
                    <a:pt x="144924" y="183443"/>
                    <a:pt x="144924" y="182768"/>
                  </a:cubicBezTo>
                  <a:cubicBezTo>
                    <a:pt x="144924" y="182093"/>
                    <a:pt x="144924" y="181896"/>
                    <a:pt x="143573" y="181319"/>
                  </a:cubicBezTo>
                  <a:cubicBezTo>
                    <a:pt x="142223" y="180742"/>
                    <a:pt x="144431" y="179765"/>
                    <a:pt x="144924" y="179272"/>
                  </a:cubicBezTo>
                  <a:cubicBezTo>
                    <a:pt x="145423" y="178773"/>
                    <a:pt x="149178" y="178893"/>
                    <a:pt x="149178" y="178316"/>
                  </a:cubicBezTo>
                  <a:cubicBezTo>
                    <a:pt x="149178" y="177739"/>
                    <a:pt x="149474" y="175496"/>
                    <a:pt x="149178" y="174715"/>
                  </a:cubicBezTo>
                  <a:cubicBezTo>
                    <a:pt x="148883" y="173942"/>
                    <a:pt x="147927" y="172788"/>
                    <a:pt x="147526" y="171916"/>
                  </a:cubicBezTo>
                  <a:cubicBezTo>
                    <a:pt x="147132" y="171044"/>
                    <a:pt x="146478" y="165038"/>
                    <a:pt x="146077" y="164067"/>
                  </a:cubicBezTo>
                  <a:cubicBezTo>
                    <a:pt x="145683" y="163089"/>
                    <a:pt x="144431" y="161458"/>
                    <a:pt x="143573" y="160185"/>
                  </a:cubicBezTo>
                  <a:cubicBezTo>
                    <a:pt x="142715" y="158919"/>
                    <a:pt x="142975" y="156035"/>
                    <a:pt x="142603" y="154481"/>
                  </a:cubicBezTo>
                  <a:cubicBezTo>
                    <a:pt x="142223" y="152934"/>
                    <a:pt x="140275" y="150986"/>
                    <a:pt x="139100" y="151182"/>
                  </a:cubicBezTo>
                  <a:cubicBezTo>
                    <a:pt x="137926" y="151379"/>
                    <a:pt x="136976" y="152835"/>
                    <a:pt x="135900" y="152934"/>
                  </a:cubicBezTo>
                  <a:cubicBezTo>
                    <a:pt x="134831" y="153032"/>
                    <a:pt x="134550" y="151281"/>
                    <a:pt x="133875" y="150029"/>
                  </a:cubicBezTo>
                  <a:cubicBezTo>
                    <a:pt x="133200" y="148777"/>
                    <a:pt x="133101" y="150029"/>
                    <a:pt x="130970" y="148960"/>
                  </a:cubicBezTo>
                  <a:cubicBezTo>
                    <a:pt x="128846" y="147884"/>
                    <a:pt x="129901" y="147012"/>
                    <a:pt x="130196" y="144684"/>
                  </a:cubicBezTo>
                  <a:cubicBezTo>
                    <a:pt x="130492" y="142356"/>
                    <a:pt x="127672" y="140049"/>
                    <a:pt x="127292" y="139458"/>
                  </a:cubicBezTo>
                  <a:cubicBezTo>
                    <a:pt x="126919" y="138861"/>
                    <a:pt x="124971" y="139458"/>
                    <a:pt x="123318" y="140049"/>
                  </a:cubicBezTo>
                  <a:cubicBezTo>
                    <a:pt x="121672" y="140647"/>
                    <a:pt x="120519" y="139852"/>
                    <a:pt x="121292" y="139458"/>
                  </a:cubicBezTo>
                  <a:cubicBezTo>
                    <a:pt x="122066" y="139058"/>
                    <a:pt x="120892" y="136652"/>
                    <a:pt x="120019" y="136076"/>
                  </a:cubicBezTo>
                  <a:cubicBezTo>
                    <a:pt x="119148" y="135499"/>
                    <a:pt x="117016" y="136174"/>
                    <a:pt x="115666" y="136076"/>
                  </a:cubicBezTo>
                  <a:cubicBezTo>
                    <a:pt x="114316" y="135977"/>
                    <a:pt x="114696" y="134226"/>
                    <a:pt x="113641" y="130927"/>
                  </a:cubicBezTo>
                  <a:cubicBezTo>
                    <a:pt x="112586" y="127629"/>
                    <a:pt x="110138" y="127552"/>
                    <a:pt x="109463" y="126672"/>
                  </a:cubicBezTo>
                  <a:cubicBezTo>
                    <a:pt x="108788" y="125800"/>
                    <a:pt x="107916" y="127552"/>
                    <a:pt x="106565" y="127552"/>
                  </a:cubicBezTo>
                  <a:cubicBezTo>
                    <a:pt x="105208" y="127552"/>
                    <a:pt x="105391" y="126475"/>
                    <a:pt x="104139" y="126103"/>
                  </a:cubicBezTo>
                  <a:cubicBezTo>
                    <a:pt x="102887" y="125723"/>
                    <a:pt x="101333" y="127453"/>
                    <a:pt x="100165" y="127552"/>
                  </a:cubicBezTo>
                  <a:cubicBezTo>
                    <a:pt x="98991" y="127650"/>
                    <a:pt x="98238" y="125322"/>
                    <a:pt x="97064" y="124049"/>
                  </a:cubicBezTo>
                  <a:cubicBezTo>
                    <a:pt x="95889" y="122783"/>
                    <a:pt x="95137" y="123374"/>
                    <a:pt x="93962" y="123374"/>
                  </a:cubicBezTo>
                  <a:cubicBezTo>
                    <a:pt x="92788" y="123374"/>
                    <a:pt x="89890" y="118922"/>
                    <a:pt x="89032" y="117768"/>
                  </a:cubicBezTo>
                  <a:cubicBezTo>
                    <a:pt x="88174" y="116615"/>
                    <a:pt x="86606" y="114470"/>
                    <a:pt x="86408" y="113499"/>
                  </a:cubicBezTo>
                  <a:cubicBezTo>
                    <a:pt x="86212" y="112522"/>
                    <a:pt x="84482" y="111572"/>
                    <a:pt x="83110" y="110975"/>
                  </a:cubicBezTo>
                  <a:cubicBezTo>
                    <a:pt x="81739" y="110377"/>
                    <a:pt x="75753" y="104792"/>
                    <a:pt x="74783" y="103041"/>
                  </a:cubicBezTo>
                  <a:cubicBezTo>
                    <a:pt x="73805" y="101290"/>
                    <a:pt x="68059" y="95650"/>
                    <a:pt x="66829" y="95333"/>
                  </a:cubicBezTo>
                  <a:cubicBezTo>
                    <a:pt x="65844" y="95073"/>
                    <a:pt x="64698" y="94721"/>
                    <a:pt x="64247" y="94573"/>
                  </a:cubicBezTo>
                  <a:cubicBezTo>
                    <a:pt x="64247" y="93814"/>
                    <a:pt x="64065" y="92168"/>
                    <a:pt x="63333" y="91690"/>
                  </a:cubicBezTo>
                  <a:cubicBezTo>
                    <a:pt x="62419" y="91099"/>
                    <a:pt x="60154" y="91535"/>
                    <a:pt x="60154" y="90776"/>
                  </a:cubicBezTo>
                  <a:cubicBezTo>
                    <a:pt x="60154" y="90023"/>
                    <a:pt x="59993" y="85747"/>
                    <a:pt x="60154" y="84537"/>
                  </a:cubicBezTo>
                  <a:cubicBezTo>
                    <a:pt x="60309" y="83328"/>
                    <a:pt x="59535" y="82252"/>
                    <a:pt x="58480" y="81042"/>
                  </a:cubicBezTo>
                  <a:cubicBezTo>
                    <a:pt x="57425" y="79825"/>
                    <a:pt x="57109" y="77539"/>
                    <a:pt x="56954" y="75873"/>
                  </a:cubicBezTo>
                  <a:cubicBezTo>
                    <a:pt x="56792" y="74199"/>
                    <a:pt x="54668" y="69789"/>
                    <a:pt x="53909" y="68875"/>
                  </a:cubicBezTo>
                  <a:cubicBezTo>
                    <a:pt x="53156" y="67960"/>
                    <a:pt x="50414" y="66589"/>
                    <a:pt x="48740" y="66589"/>
                  </a:cubicBezTo>
                  <a:cubicBezTo>
                    <a:pt x="47073" y="66589"/>
                    <a:pt x="44949" y="64760"/>
                    <a:pt x="43120" y="63846"/>
                  </a:cubicBezTo>
                  <a:cubicBezTo>
                    <a:pt x="41285" y="62932"/>
                    <a:pt x="39456" y="61420"/>
                    <a:pt x="38246" y="60808"/>
                  </a:cubicBezTo>
                  <a:cubicBezTo>
                    <a:pt x="37037" y="60189"/>
                    <a:pt x="33991" y="59429"/>
                    <a:pt x="32163" y="59591"/>
                  </a:cubicBezTo>
                  <a:cubicBezTo>
                    <a:pt x="30334" y="59753"/>
                    <a:pt x="28351" y="62496"/>
                    <a:pt x="27296" y="63846"/>
                  </a:cubicBezTo>
                  <a:cubicBezTo>
                    <a:pt x="26241" y="65196"/>
                    <a:pt x="23638" y="68875"/>
                    <a:pt x="21353" y="71456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5" name="Freihandform: Form 230">
              <a:extLst>
                <a:ext uri="{FF2B5EF4-FFF2-40B4-BE49-F238E27FC236}">
                  <a16:creationId xmlns:a16="http://schemas.microsoft.com/office/drawing/2014/main" id="{37BD6EC8-20AD-0345-864E-CFE4804E657D}"/>
                </a:ext>
              </a:extLst>
            </p:cNvPr>
            <p:cNvSpPr/>
            <p:nvPr/>
          </p:nvSpPr>
          <p:spPr>
            <a:xfrm>
              <a:off x="6349835" y="3754101"/>
              <a:ext cx="3776" cy="3935"/>
            </a:xfrm>
            <a:custGeom>
              <a:avLst/>
              <a:gdLst>
                <a:gd name="connsiteX0" fmla="*/ 3777 w 3776"/>
                <a:gd name="connsiteY0" fmla="*/ 1968 h 3935"/>
                <a:gd name="connsiteX1" fmla="*/ 1888 w 3776"/>
                <a:gd name="connsiteY1" fmla="*/ 3935 h 3935"/>
                <a:gd name="connsiteX2" fmla="*/ 0 w 3776"/>
                <a:gd name="connsiteY2" fmla="*/ 1968 h 3935"/>
                <a:gd name="connsiteX3" fmla="*/ 1888 w 3776"/>
                <a:gd name="connsiteY3" fmla="*/ 0 h 3935"/>
                <a:gd name="connsiteX4" fmla="*/ 3777 w 3776"/>
                <a:gd name="connsiteY4" fmla="*/ 1968 h 3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76" h="3935">
                  <a:moveTo>
                    <a:pt x="3777" y="1968"/>
                  </a:moveTo>
                  <a:cubicBezTo>
                    <a:pt x="3777" y="3054"/>
                    <a:pt x="2931" y="3935"/>
                    <a:pt x="1888" y="3935"/>
                  </a:cubicBezTo>
                  <a:cubicBezTo>
                    <a:pt x="845" y="3935"/>
                    <a:pt x="0" y="3054"/>
                    <a:pt x="0" y="1968"/>
                  </a:cubicBezTo>
                  <a:cubicBezTo>
                    <a:pt x="0" y="881"/>
                    <a:pt x="845" y="0"/>
                    <a:pt x="1888" y="0"/>
                  </a:cubicBezTo>
                  <a:cubicBezTo>
                    <a:pt x="2931" y="0"/>
                    <a:pt x="3777" y="881"/>
                    <a:pt x="3777" y="196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6" name="Freihandform: Form 231">
              <a:extLst>
                <a:ext uri="{FF2B5EF4-FFF2-40B4-BE49-F238E27FC236}">
                  <a16:creationId xmlns:a16="http://schemas.microsoft.com/office/drawing/2014/main" id="{49FB7975-0C32-E545-B0FA-8B378506D95F}"/>
                </a:ext>
              </a:extLst>
            </p:cNvPr>
            <p:cNvSpPr/>
            <p:nvPr/>
          </p:nvSpPr>
          <p:spPr>
            <a:xfrm>
              <a:off x="6304925" y="3641345"/>
              <a:ext cx="121244" cy="58971"/>
            </a:xfrm>
            <a:custGeom>
              <a:avLst/>
              <a:gdLst>
                <a:gd name="connsiteX0" fmla="*/ 64219 w 121244"/>
                <a:gd name="connsiteY0" fmla="*/ 408 h 58971"/>
                <a:gd name="connsiteX1" fmla="*/ 64212 w 121244"/>
                <a:gd name="connsiteY1" fmla="*/ 408 h 58971"/>
                <a:gd name="connsiteX2" fmla="*/ 66934 w 121244"/>
                <a:gd name="connsiteY2" fmla="*/ 2560 h 58971"/>
                <a:gd name="connsiteX3" fmla="*/ 68854 w 121244"/>
                <a:gd name="connsiteY3" fmla="*/ 3932 h 58971"/>
                <a:gd name="connsiteX4" fmla="*/ 66891 w 121244"/>
                <a:gd name="connsiteY4" fmla="*/ 2518 h 58971"/>
                <a:gd name="connsiteX5" fmla="*/ 64219 w 121244"/>
                <a:gd name="connsiteY5" fmla="*/ 408 h 58971"/>
                <a:gd name="connsiteX6" fmla="*/ 69543 w 121244"/>
                <a:gd name="connsiteY6" fmla="*/ 5584 h 58971"/>
                <a:gd name="connsiteX7" fmla="*/ 69536 w 121244"/>
                <a:gd name="connsiteY7" fmla="*/ 5598 h 58971"/>
                <a:gd name="connsiteX8" fmla="*/ 69395 w 121244"/>
                <a:gd name="connsiteY8" fmla="*/ 5950 h 58971"/>
                <a:gd name="connsiteX9" fmla="*/ 66934 w 121244"/>
                <a:gd name="connsiteY9" fmla="*/ 9713 h 58971"/>
                <a:gd name="connsiteX10" fmla="*/ 64514 w 121244"/>
                <a:gd name="connsiteY10" fmla="*/ 9551 h 58971"/>
                <a:gd name="connsiteX11" fmla="*/ 62721 w 121244"/>
                <a:gd name="connsiteY11" fmla="*/ 9713 h 58971"/>
                <a:gd name="connsiteX12" fmla="*/ 62798 w 121244"/>
                <a:gd name="connsiteY12" fmla="*/ 10486 h 58971"/>
                <a:gd name="connsiteX13" fmla="*/ 60990 w 121244"/>
                <a:gd name="connsiteY13" fmla="*/ 15121 h 58971"/>
                <a:gd name="connsiteX14" fmla="*/ 58444 w 121244"/>
                <a:gd name="connsiteY14" fmla="*/ 15930 h 58971"/>
                <a:gd name="connsiteX15" fmla="*/ 58438 w 121244"/>
                <a:gd name="connsiteY15" fmla="*/ 15930 h 58971"/>
                <a:gd name="connsiteX16" fmla="*/ 58438 w 121244"/>
                <a:gd name="connsiteY16" fmla="*/ 15930 h 58971"/>
                <a:gd name="connsiteX17" fmla="*/ 52544 w 121244"/>
                <a:gd name="connsiteY17" fmla="*/ 19236 h 58971"/>
                <a:gd name="connsiteX18" fmla="*/ 54710 w 121244"/>
                <a:gd name="connsiteY18" fmla="*/ 25931 h 58971"/>
                <a:gd name="connsiteX19" fmla="*/ 54267 w 121244"/>
                <a:gd name="connsiteY19" fmla="*/ 34835 h 58971"/>
                <a:gd name="connsiteX20" fmla="*/ 53226 w 121244"/>
                <a:gd name="connsiteY20" fmla="*/ 33498 h 58971"/>
                <a:gd name="connsiteX21" fmla="*/ 51250 w 121244"/>
                <a:gd name="connsiteY21" fmla="*/ 30805 h 58971"/>
                <a:gd name="connsiteX22" fmla="*/ 48619 w 121244"/>
                <a:gd name="connsiteY22" fmla="*/ 30193 h 58971"/>
                <a:gd name="connsiteX23" fmla="*/ 43893 w 121244"/>
                <a:gd name="connsiteY23" fmla="*/ 29708 h 58971"/>
                <a:gd name="connsiteX24" fmla="*/ 42254 w 121244"/>
                <a:gd name="connsiteY24" fmla="*/ 30488 h 58971"/>
                <a:gd name="connsiteX25" fmla="*/ 40876 w 121244"/>
                <a:gd name="connsiteY25" fmla="*/ 31121 h 58971"/>
                <a:gd name="connsiteX26" fmla="*/ 38858 w 121244"/>
                <a:gd name="connsiteY26" fmla="*/ 31578 h 58971"/>
                <a:gd name="connsiteX27" fmla="*/ 33716 w 121244"/>
                <a:gd name="connsiteY27" fmla="*/ 33309 h 58971"/>
                <a:gd name="connsiteX28" fmla="*/ 32183 w 121244"/>
                <a:gd name="connsiteY28" fmla="*/ 34582 h 58971"/>
                <a:gd name="connsiteX29" fmla="*/ 32183 w 121244"/>
                <a:gd name="connsiteY29" fmla="*/ 34582 h 58971"/>
                <a:gd name="connsiteX30" fmla="*/ 32183 w 121244"/>
                <a:gd name="connsiteY30" fmla="*/ 34582 h 58971"/>
                <a:gd name="connsiteX31" fmla="*/ 28906 w 121244"/>
                <a:gd name="connsiteY31" fmla="*/ 36094 h 58971"/>
                <a:gd name="connsiteX32" fmla="*/ 27183 w 121244"/>
                <a:gd name="connsiteY32" fmla="*/ 36670 h 58971"/>
                <a:gd name="connsiteX33" fmla="*/ 24953 w 121244"/>
                <a:gd name="connsiteY33" fmla="*/ 36094 h 58971"/>
                <a:gd name="connsiteX34" fmla="*/ 22949 w 121244"/>
                <a:gd name="connsiteY34" fmla="*/ 34357 h 58971"/>
                <a:gd name="connsiteX35" fmla="*/ 20719 w 121244"/>
                <a:gd name="connsiteY35" fmla="*/ 33309 h 58971"/>
                <a:gd name="connsiteX36" fmla="*/ 15888 w 121244"/>
                <a:gd name="connsiteY36" fmla="*/ 33309 h 58971"/>
                <a:gd name="connsiteX37" fmla="*/ 15606 w 121244"/>
                <a:gd name="connsiteY37" fmla="*/ 36804 h 58971"/>
                <a:gd name="connsiteX38" fmla="*/ 15058 w 121244"/>
                <a:gd name="connsiteY38" fmla="*/ 37725 h 58971"/>
                <a:gd name="connsiteX39" fmla="*/ 12969 w 121244"/>
                <a:gd name="connsiteY39" fmla="*/ 38851 h 58971"/>
                <a:gd name="connsiteX40" fmla="*/ 11260 w 121244"/>
                <a:gd name="connsiteY40" fmla="*/ 37697 h 58971"/>
                <a:gd name="connsiteX41" fmla="*/ 9171 w 121244"/>
                <a:gd name="connsiteY41" fmla="*/ 36094 h 58971"/>
                <a:gd name="connsiteX42" fmla="*/ 8693 w 121244"/>
                <a:gd name="connsiteY42" fmla="*/ 35412 h 58971"/>
                <a:gd name="connsiteX43" fmla="*/ 2454 w 121244"/>
                <a:gd name="connsiteY43" fmla="*/ 34483 h 58971"/>
                <a:gd name="connsiteX44" fmla="*/ 0 w 121244"/>
                <a:gd name="connsiteY44" fmla="*/ 32662 h 58971"/>
                <a:gd name="connsiteX45" fmla="*/ 2651 w 121244"/>
                <a:gd name="connsiteY45" fmla="*/ 34856 h 58971"/>
                <a:gd name="connsiteX46" fmla="*/ 2651 w 121244"/>
                <a:gd name="connsiteY46" fmla="*/ 34856 h 58971"/>
                <a:gd name="connsiteX47" fmla="*/ 1878 w 121244"/>
                <a:gd name="connsiteY47" fmla="*/ 39245 h 58971"/>
                <a:gd name="connsiteX48" fmla="*/ 1878 w 121244"/>
                <a:gd name="connsiteY48" fmla="*/ 39245 h 58971"/>
                <a:gd name="connsiteX49" fmla="*/ 1280 w 121244"/>
                <a:gd name="connsiteY49" fmla="*/ 43865 h 58971"/>
                <a:gd name="connsiteX50" fmla="*/ 7223 w 121244"/>
                <a:gd name="connsiteY50" fmla="*/ 47600 h 58971"/>
                <a:gd name="connsiteX51" fmla="*/ 14354 w 121244"/>
                <a:gd name="connsiteY51" fmla="*/ 48788 h 58971"/>
                <a:gd name="connsiteX52" fmla="*/ 14404 w 121244"/>
                <a:gd name="connsiteY52" fmla="*/ 48901 h 58971"/>
                <a:gd name="connsiteX53" fmla="*/ 14354 w 121244"/>
                <a:gd name="connsiteY53" fmla="*/ 48655 h 58971"/>
                <a:gd name="connsiteX54" fmla="*/ 18652 w 121244"/>
                <a:gd name="connsiteY54" fmla="*/ 49210 h 58971"/>
                <a:gd name="connsiteX55" fmla="*/ 24278 w 121244"/>
                <a:gd name="connsiteY55" fmla="*/ 51791 h 58971"/>
                <a:gd name="connsiteX56" fmla="*/ 26423 w 121244"/>
                <a:gd name="connsiteY56" fmla="*/ 48711 h 58971"/>
                <a:gd name="connsiteX57" fmla="*/ 27534 w 121244"/>
                <a:gd name="connsiteY57" fmla="*/ 46503 h 58971"/>
                <a:gd name="connsiteX58" fmla="*/ 33955 w 121244"/>
                <a:gd name="connsiteY58" fmla="*/ 46503 h 58971"/>
                <a:gd name="connsiteX59" fmla="*/ 39462 w 121244"/>
                <a:gd name="connsiteY59" fmla="*/ 45202 h 58971"/>
                <a:gd name="connsiteX60" fmla="*/ 41825 w 121244"/>
                <a:gd name="connsiteY60" fmla="*/ 44477 h 58971"/>
                <a:gd name="connsiteX61" fmla="*/ 43373 w 121244"/>
                <a:gd name="connsiteY61" fmla="*/ 47473 h 58971"/>
                <a:gd name="connsiteX62" fmla="*/ 45089 w 121244"/>
                <a:gd name="connsiteY62" fmla="*/ 51791 h 58971"/>
                <a:gd name="connsiteX63" fmla="*/ 55709 w 121244"/>
                <a:gd name="connsiteY63" fmla="*/ 55245 h 58971"/>
                <a:gd name="connsiteX64" fmla="*/ 57987 w 121244"/>
                <a:gd name="connsiteY64" fmla="*/ 55512 h 58971"/>
                <a:gd name="connsiteX65" fmla="*/ 65780 w 121244"/>
                <a:gd name="connsiteY65" fmla="*/ 57277 h 58971"/>
                <a:gd name="connsiteX66" fmla="*/ 65717 w 121244"/>
                <a:gd name="connsiteY66" fmla="*/ 57791 h 58971"/>
                <a:gd name="connsiteX67" fmla="*/ 76252 w 121244"/>
                <a:gd name="connsiteY67" fmla="*/ 58909 h 58971"/>
                <a:gd name="connsiteX68" fmla="*/ 85958 w 121244"/>
                <a:gd name="connsiteY68" fmla="*/ 54689 h 58971"/>
                <a:gd name="connsiteX69" fmla="*/ 86788 w 121244"/>
                <a:gd name="connsiteY69" fmla="*/ 54042 h 58971"/>
                <a:gd name="connsiteX70" fmla="*/ 90825 w 121244"/>
                <a:gd name="connsiteY70" fmla="*/ 53557 h 58971"/>
                <a:gd name="connsiteX71" fmla="*/ 94383 w 121244"/>
                <a:gd name="connsiteY71" fmla="*/ 54042 h 58971"/>
                <a:gd name="connsiteX72" fmla="*/ 102190 w 121244"/>
                <a:gd name="connsiteY72" fmla="*/ 50519 h 58971"/>
                <a:gd name="connsiteX73" fmla="*/ 105939 w 121244"/>
                <a:gd name="connsiteY73" fmla="*/ 47916 h 58971"/>
                <a:gd name="connsiteX74" fmla="*/ 110180 w 121244"/>
                <a:gd name="connsiteY74" fmla="*/ 44301 h 58971"/>
                <a:gd name="connsiteX75" fmla="*/ 109983 w 121244"/>
                <a:gd name="connsiteY75" fmla="*/ 41523 h 58971"/>
                <a:gd name="connsiteX76" fmla="*/ 110180 w 121244"/>
                <a:gd name="connsiteY76" fmla="*/ 37859 h 58971"/>
                <a:gd name="connsiteX77" fmla="*/ 111242 w 121244"/>
                <a:gd name="connsiteY77" fmla="*/ 35981 h 58971"/>
                <a:gd name="connsiteX78" fmla="*/ 112128 w 121244"/>
                <a:gd name="connsiteY78" fmla="*/ 31818 h 58971"/>
                <a:gd name="connsiteX79" fmla="*/ 113682 w 121244"/>
                <a:gd name="connsiteY79" fmla="*/ 28892 h 58971"/>
                <a:gd name="connsiteX80" fmla="*/ 116137 w 121244"/>
                <a:gd name="connsiteY80" fmla="*/ 29504 h 58971"/>
                <a:gd name="connsiteX81" fmla="*/ 119147 w 121244"/>
                <a:gd name="connsiteY81" fmla="*/ 29869 h 58971"/>
                <a:gd name="connsiteX82" fmla="*/ 120363 w 121244"/>
                <a:gd name="connsiteY82" fmla="*/ 26754 h 58971"/>
                <a:gd name="connsiteX83" fmla="*/ 120715 w 121244"/>
                <a:gd name="connsiteY83" fmla="*/ 24025 h 58971"/>
                <a:gd name="connsiteX84" fmla="*/ 120392 w 121244"/>
                <a:gd name="connsiteY84" fmla="*/ 20987 h 58971"/>
                <a:gd name="connsiteX85" fmla="*/ 119147 w 121244"/>
                <a:gd name="connsiteY85" fmla="*/ 18363 h 58971"/>
                <a:gd name="connsiteX86" fmla="*/ 117051 w 121244"/>
                <a:gd name="connsiteY86" fmla="*/ 16296 h 58971"/>
                <a:gd name="connsiteX87" fmla="*/ 116228 w 121244"/>
                <a:gd name="connsiteY87" fmla="*/ 13292 h 58971"/>
                <a:gd name="connsiteX88" fmla="*/ 117522 w 121244"/>
                <a:gd name="connsiteY88" fmla="*/ 7019 h 58971"/>
                <a:gd name="connsiteX89" fmla="*/ 116664 w 121244"/>
                <a:gd name="connsiteY89" fmla="*/ 6794 h 58971"/>
                <a:gd name="connsiteX90" fmla="*/ 114414 w 121244"/>
                <a:gd name="connsiteY90" fmla="*/ 5099 h 58971"/>
                <a:gd name="connsiteX91" fmla="*/ 110700 w 121244"/>
                <a:gd name="connsiteY91" fmla="*/ 3692 h 58971"/>
                <a:gd name="connsiteX92" fmla="*/ 105932 w 121244"/>
                <a:gd name="connsiteY92" fmla="*/ 5563 h 58971"/>
                <a:gd name="connsiteX93" fmla="*/ 101642 w 121244"/>
                <a:gd name="connsiteY93" fmla="*/ 3910 h 58971"/>
                <a:gd name="connsiteX94" fmla="*/ 97562 w 121244"/>
                <a:gd name="connsiteY94" fmla="*/ 2518 h 58971"/>
                <a:gd name="connsiteX95" fmla="*/ 97548 w 121244"/>
                <a:gd name="connsiteY95" fmla="*/ 2511 h 58971"/>
                <a:gd name="connsiteX96" fmla="*/ 90642 w 121244"/>
                <a:gd name="connsiteY96" fmla="*/ 113 h 58971"/>
                <a:gd name="connsiteX97" fmla="*/ 89355 w 121244"/>
                <a:gd name="connsiteY97" fmla="*/ 49 h 58971"/>
                <a:gd name="connsiteX98" fmla="*/ 86570 w 121244"/>
                <a:gd name="connsiteY98" fmla="*/ 1547 h 58971"/>
                <a:gd name="connsiteX99" fmla="*/ 82912 w 121244"/>
                <a:gd name="connsiteY99" fmla="*/ 6794 h 58971"/>
                <a:gd name="connsiteX100" fmla="*/ 80549 w 121244"/>
                <a:gd name="connsiteY100" fmla="*/ 7617 h 58971"/>
                <a:gd name="connsiteX101" fmla="*/ 74642 w 121244"/>
                <a:gd name="connsiteY101" fmla="*/ 8461 h 58971"/>
                <a:gd name="connsiteX102" fmla="*/ 69543 w 121244"/>
                <a:gd name="connsiteY102" fmla="*/ 5584 h 58971"/>
                <a:gd name="connsiteX103" fmla="*/ 11773 w 121244"/>
                <a:gd name="connsiteY103" fmla="*/ 55547 h 58971"/>
                <a:gd name="connsiteX104" fmla="*/ 10085 w 121244"/>
                <a:gd name="connsiteY104" fmla="*/ 56602 h 58971"/>
                <a:gd name="connsiteX105" fmla="*/ 9867 w 121244"/>
                <a:gd name="connsiteY105" fmla="*/ 56440 h 58971"/>
                <a:gd name="connsiteX106" fmla="*/ 12800 w 121244"/>
                <a:gd name="connsiteY106" fmla="*/ 55343 h 58971"/>
                <a:gd name="connsiteX107" fmla="*/ 11773 w 121244"/>
                <a:gd name="connsiteY107" fmla="*/ 55547 h 58971"/>
                <a:gd name="connsiteX108" fmla="*/ 15508 w 121244"/>
                <a:gd name="connsiteY108" fmla="*/ 54914 h 58971"/>
                <a:gd name="connsiteX109" fmla="*/ 15339 w 121244"/>
                <a:gd name="connsiteY109" fmla="*/ 55041 h 58971"/>
                <a:gd name="connsiteX110" fmla="*/ 15487 w 121244"/>
                <a:gd name="connsiteY110" fmla="*/ 54773 h 58971"/>
                <a:gd name="connsiteX111" fmla="*/ 15508 w 121244"/>
                <a:gd name="connsiteY111" fmla="*/ 54914 h 58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121244" h="58971">
                  <a:moveTo>
                    <a:pt x="64219" y="408"/>
                  </a:moveTo>
                  <a:lnTo>
                    <a:pt x="64212" y="408"/>
                  </a:lnTo>
                  <a:cubicBezTo>
                    <a:pt x="65154" y="1329"/>
                    <a:pt x="66188" y="2152"/>
                    <a:pt x="66934" y="2560"/>
                  </a:cubicBezTo>
                  <a:cubicBezTo>
                    <a:pt x="67531" y="2891"/>
                    <a:pt x="68298" y="3383"/>
                    <a:pt x="68854" y="3932"/>
                  </a:cubicBezTo>
                  <a:cubicBezTo>
                    <a:pt x="68291" y="3369"/>
                    <a:pt x="67503" y="2856"/>
                    <a:pt x="66891" y="2518"/>
                  </a:cubicBezTo>
                  <a:cubicBezTo>
                    <a:pt x="66160" y="2117"/>
                    <a:pt x="65140" y="1315"/>
                    <a:pt x="64219" y="408"/>
                  </a:cubicBezTo>
                  <a:close/>
                  <a:moveTo>
                    <a:pt x="69543" y="5584"/>
                  </a:moveTo>
                  <a:cubicBezTo>
                    <a:pt x="69543" y="5584"/>
                    <a:pt x="69536" y="5591"/>
                    <a:pt x="69536" y="5598"/>
                  </a:cubicBezTo>
                  <a:cubicBezTo>
                    <a:pt x="69493" y="5704"/>
                    <a:pt x="69444" y="5823"/>
                    <a:pt x="69395" y="5950"/>
                  </a:cubicBezTo>
                  <a:cubicBezTo>
                    <a:pt x="68924" y="7139"/>
                    <a:pt x="68094" y="9227"/>
                    <a:pt x="66934" y="9713"/>
                  </a:cubicBezTo>
                  <a:cubicBezTo>
                    <a:pt x="66328" y="9966"/>
                    <a:pt x="65365" y="9748"/>
                    <a:pt x="64514" y="9551"/>
                  </a:cubicBezTo>
                  <a:cubicBezTo>
                    <a:pt x="63543" y="9333"/>
                    <a:pt x="62721" y="9143"/>
                    <a:pt x="62721" y="9713"/>
                  </a:cubicBezTo>
                  <a:cubicBezTo>
                    <a:pt x="62721" y="9910"/>
                    <a:pt x="62756" y="10177"/>
                    <a:pt x="62798" y="10486"/>
                  </a:cubicBezTo>
                  <a:cubicBezTo>
                    <a:pt x="62988" y="11893"/>
                    <a:pt x="63297" y="14242"/>
                    <a:pt x="60990" y="15121"/>
                  </a:cubicBezTo>
                  <a:cubicBezTo>
                    <a:pt x="60266" y="15395"/>
                    <a:pt x="59373" y="15656"/>
                    <a:pt x="58444" y="15930"/>
                  </a:cubicBezTo>
                  <a:lnTo>
                    <a:pt x="58438" y="15930"/>
                  </a:lnTo>
                  <a:lnTo>
                    <a:pt x="58438" y="15930"/>
                  </a:lnTo>
                  <a:cubicBezTo>
                    <a:pt x="55702" y="16732"/>
                    <a:pt x="52614" y="17632"/>
                    <a:pt x="52544" y="19236"/>
                  </a:cubicBezTo>
                  <a:cubicBezTo>
                    <a:pt x="52438" y="21380"/>
                    <a:pt x="53317" y="24370"/>
                    <a:pt x="54710" y="25931"/>
                  </a:cubicBezTo>
                  <a:cubicBezTo>
                    <a:pt x="59295" y="31121"/>
                    <a:pt x="55800" y="34279"/>
                    <a:pt x="54267" y="34835"/>
                  </a:cubicBezTo>
                  <a:cubicBezTo>
                    <a:pt x="53585" y="35088"/>
                    <a:pt x="53423" y="34385"/>
                    <a:pt x="53226" y="33498"/>
                  </a:cubicBezTo>
                  <a:cubicBezTo>
                    <a:pt x="52980" y="32408"/>
                    <a:pt x="52670" y="31044"/>
                    <a:pt x="51250" y="30805"/>
                  </a:cubicBezTo>
                  <a:cubicBezTo>
                    <a:pt x="50427" y="30664"/>
                    <a:pt x="49520" y="30425"/>
                    <a:pt x="48619" y="30193"/>
                  </a:cubicBezTo>
                  <a:cubicBezTo>
                    <a:pt x="46678" y="29687"/>
                    <a:pt x="44779" y="29194"/>
                    <a:pt x="43893" y="29708"/>
                  </a:cubicBezTo>
                  <a:cubicBezTo>
                    <a:pt x="43204" y="30116"/>
                    <a:pt x="42726" y="30306"/>
                    <a:pt x="42254" y="30488"/>
                  </a:cubicBezTo>
                  <a:cubicBezTo>
                    <a:pt x="41839" y="30650"/>
                    <a:pt x="41425" y="30819"/>
                    <a:pt x="40876" y="31121"/>
                  </a:cubicBezTo>
                  <a:cubicBezTo>
                    <a:pt x="40447" y="31353"/>
                    <a:pt x="39723" y="31459"/>
                    <a:pt x="38858" y="31578"/>
                  </a:cubicBezTo>
                  <a:cubicBezTo>
                    <a:pt x="37310" y="31804"/>
                    <a:pt x="35313" y="32085"/>
                    <a:pt x="33716" y="33309"/>
                  </a:cubicBezTo>
                  <a:cubicBezTo>
                    <a:pt x="33034" y="33836"/>
                    <a:pt x="32563" y="34251"/>
                    <a:pt x="32183" y="34582"/>
                  </a:cubicBezTo>
                  <a:lnTo>
                    <a:pt x="32183" y="34582"/>
                  </a:lnTo>
                  <a:lnTo>
                    <a:pt x="32183" y="34582"/>
                  </a:lnTo>
                  <a:cubicBezTo>
                    <a:pt x="31184" y="35454"/>
                    <a:pt x="30819" y="35770"/>
                    <a:pt x="28906" y="36094"/>
                  </a:cubicBezTo>
                  <a:cubicBezTo>
                    <a:pt x="27914" y="36255"/>
                    <a:pt x="27478" y="36502"/>
                    <a:pt x="27183" y="36670"/>
                  </a:cubicBezTo>
                  <a:cubicBezTo>
                    <a:pt x="26697" y="36952"/>
                    <a:pt x="26592" y="37008"/>
                    <a:pt x="24953" y="36094"/>
                  </a:cubicBezTo>
                  <a:cubicBezTo>
                    <a:pt x="23814" y="35454"/>
                    <a:pt x="23335" y="34842"/>
                    <a:pt x="22949" y="34357"/>
                  </a:cubicBezTo>
                  <a:cubicBezTo>
                    <a:pt x="22456" y="33731"/>
                    <a:pt x="22126" y="33309"/>
                    <a:pt x="20719" y="33309"/>
                  </a:cubicBezTo>
                  <a:lnTo>
                    <a:pt x="15888" y="33309"/>
                  </a:lnTo>
                  <a:cubicBezTo>
                    <a:pt x="16042" y="34174"/>
                    <a:pt x="16197" y="36094"/>
                    <a:pt x="15606" y="36804"/>
                  </a:cubicBezTo>
                  <a:cubicBezTo>
                    <a:pt x="15416" y="37043"/>
                    <a:pt x="15241" y="37381"/>
                    <a:pt x="15058" y="37725"/>
                  </a:cubicBezTo>
                  <a:cubicBezTo>
                    <a:pt x="14558" y="38682"/>
                    <a:pt x="14031" y="39702"/>
                    <a:pt x="12969" y="38851"/>
                  </a:cubicBezTo>
                  <a:cubicBezTo>
                    <a:pt x="12371" y="38379"/>
                    <a:pt x="11801" y="38028"/>
                    <a:pt x="11260" y="37697"/>
                  </a:cubicBezTo>
                  <a:cubicBezTo>
                    <a:pt x="10479" y="37219"/>
                    <a:pt x="9769" y="36783"/>
                    <a:pt x="9171" y="36094"/>
                  </a:cubicBezTo>
                  <a:cubicBezTo>
                    <a:pt x="9002" y="35897"/>
                    <a:pt x="8855" y="35658"/>
                    <a:pt x="8693" y="35412"/>
                  </a:cubicBezTo>
                  <a:cubicBezTo>
                    <a:pt x="7884" y="34146"/>
                    <a:pt x="6850" y="32535"/>
                    <a:pt x="2454" y="34483"/>
                  </a:cubicBezTo>
                  <a:cubicBezTo>
                    <a:pt x="2258" y="33920"/>
                    <a:pt x="1266" y="33266"/>
                    <a:pt x="0" y="32662"/>
                  </a:cubicBezTo>
                  <a:cubicBezTo>
                    <a:pt x="1266" y="33484"/>
                    <a:pt x="2300" y="34350"/>
                    <a:pt x="2651" y="34856"/>
                  </a:cubicBezTo>
                  <a:lnTo>
                    <a:pt x="2651" y="34856"/>
                  </a:lnTo>
                  <a:cubicBezTo>
                    <a:pt x="3045" y="35418"/>
                    <a:pt x="2462" y="37325"/>
                    <a:pt x="1878" y="39245"/>
                  </a:cubicBezTo>
                  <a:lnTo>
                    <a:pt x="1878" y="39245"/>
                  </a:lnTo>
                  <a:cubicBezTo>
                    <a:pt x="1217" y="41411"/>
                    <a:pt x="548" y="43591"/>
                    <a:pt x="1280" y="43865"/>
                  </a:cubicBezTo>
                  <a:cubicBezTo>
                    <a:pt x="2651" y="44379"/>
                    <a:pt x="5352" y="45574"/>
                    <a:pt x="7223" y="47600"/>
                  </a:cubicBezTo>
                  <a:cubicBezTo>
                    <a:pt x="8714" y="49224"/>
                    <a:pt x="12603" y="49070"/>
                    <a:pt x="14354" y="48788"/>
                  </a:cubicBezTo>
                  <a:cubicBezTo>
                    <a:pt x="14376" y="48831"/>
                    <a:pt x="14390" y="48866"/>
                    <a:pt x="14404" y="48901"/>
                  </a:cubicBezTo>
                  <a:lnTo>
                    <a:pt x="14354" y="48655"/>
                  </a:lnTo>
                  <a:cubicBezTo>
                    <a:pt x="14354" y="48655"/>
                    <a:pt x="17920" y="49210"/>
                    <a:pt x="18652" y="49210"/>
                  </a:cubicBezTo>
                  <a:cubicBezTo>
                    <a:pt x="19566" y="49210"/>
                    <a:pt x="23146" y="51018"/>
                    <a:pt x="24278" y="51791"/>
                  </a:cubicBezTo>
                  <a:cubicBezTo>
                    <a:pt x="24974" y="52270"/>
                    <a:pt x="25741" y="50371"/>
                    <a:pt x="26423" y="48711"/>
                  </a:cubicBezTo>
                  <a:cubicBezTo>
                    <a:pt x="26845" y="47670"/>
                    <a:pt x="27232" y="46721"/>
                    <a:pt x="27534" y="46503"/>
                  </a:cubicBezTo>
                  <a:cubicBezTo>
                    <a:pt x="28329" y="45947"/>
                    <a:pt x="31712" y="46165"/>
                    <a:pt x="33955" y="46503"/>
                  </a:cubicBezTo>
                  <a:cubicBezTo>
                    <a:pt x="35362" y="46721"/>
                    <a:pt x="37669" y="45863"/>
                    <a:pt x="39462" y="45202"/>
                  </a:cubicBezTo>
                  <a:cubicBezTo>
                    <a:pt x="40524" y="44808"/>
                    <a:pt x="41411" y="44477"/>
                    <a:pt x="41825" y="44477"/>
                  </a:cubicBezTo>
                  <a:cubicBezTo>
                    <a:pt x="42430" y="44477"/>
                    <a:pt x="42845" y="45806"/>
                    <a:pt x="43373" y="47473"/>
                  </a:cubicBezTo>
                  <a:cubicBezTo>
                    <a:pt x="43809" y="48873"/>
                    <a:pt x="44322" y="50512"/>
                    <a:pt x="45089" y="51791"/>
                  </a:cubicBezTo>
                  <a:cubicBezTo>
                    <a:pt x="46524" y="54204"/>
                    <a:pt x="51067" y="54717"/>
                    <a:pt x="55709" y="55245"/>
                  </a:cubicBezTo>
                  <a:cubicBezTo>
                    <a:pt x="56468" y="55329"/>
                    <a:pt x="57235" y="55414"/>
                    <a:pt x="57987" y="55512"/>
                  </a:cubicBezTo>
                  <a:cubicBezTo>
                    <a:pt x="63333" y="56187"/>
                    <a:pt x="65084" y="56764"/>
                    <a:pt x="65780" y="57277"/>
                  </a:cubicBezTo>
                  <a:cubicBezTo>
                    <a:pt x="65900" y="57369"/>
                    <a:pt x="65857" y="57545"/>
                    <a:pt x="65717" y="57791"/>
                  </a:cubicBezTo>
                  <a:cubicBezTo>
                    <a:pt x="69121" y="57945"/>
                    <a:pt x="72883" y="58438"/>
                    <a:pt x="76252" y="58909"/>
                  </a:cubicBezTo>
                  <a:cubicBezTo>
                    <a:pt x="79923" y="59422"/>
                    <a:pt x="83433" y="56665"/>
                    <a:pt x="85958" y="54689"/>
                  </a:cubicBezTo>
                  <a:cubicBezTo>
                    <a:pt x="86246" y="54457"/>
                    <a:pt x="86528" y="54239"/>
                    <a:pt x="86788" y="54042"/>
                  </a:cubicBezTo>
                  <a:cubicBezTo>
                    <a:pt x="88307" y="52875"/>
                    <a:pt x="89404" y="53170"/>
                    <a:pt x="90825" y="53557"/>
                  </a:cubicBezTo>
                  <a:cubicBezTo>
                    <a:pt x="91781" y="53817"/>
                    <a:pt x="92892" y="54119"/>
                    <a:pt x="94383" y="54042"/>
                  </a:cubicBezTo>
                  <a:cubicBezTo>
                    <a:pt x="98076" y="53838"/>
                    <a:pt x="101220" y="52867"/>
                    <a:pt x="102190" y="50519"/>
                  </a:cubicBezTo>
                  <a:cubicBezTo>
                    <a:pt x="102626" y="49478"/>
                    <a:pt x="104258" y="48704"/>
                    <a:pt x="105939" y="47916"/>
                  </a:cubicBezTo>
                  <a:cubicBezTo>
                    <a:pt x="108027" y="46932"/>
                    <a:pt x="110180" y="45919"/>
                    <a:pt x="110180" y="44301"/>
                  </a:cubicBezTo>
                  <a:cubicBezTo>
                    <a:pt x="110180" y="43218"/>
                    <a:pt x="110074" y="42325"/>
                    <a:pt x="109983" y="41523"/>
                  </a:cubicBezTo>
                  <a:cubicBezTo>
                    <a:pt x="109821" y="40166"/>
                    <a:pt x="109694" y="39090"/>
                    <a:pt x="110180" y="37859"/>
                  </a:cubicBezTo>
                  <a:cubicBezTo>
                    <a:pt x="110419" y="37275"/>
                    <a:pt x="110827" y="36635"/>
                    <a:pt x="111242" y="35981"/>
                  </a:cubicBezTo>
                  <a:cubicBezTo>
                    <a:pt x="112212" y="34469"/>
                    <a:pt x="113211" y="32901"/>
                    <a:pt x="112128" y="31818"/>
                  </a:cubicBezTo>
                  <a:cubicBezTo>
                    <a:pt x="110581" y="30263"/>
                    <a:pt x="110961" y="28892"/>
                    <a:pt x="113682" y="28892"/>
                  </a:cubicBezTo>
                  <a:cubicBezTo>
                    <a:pt x="114906" y="28892"/>
                    <a:pt x="115539" y="29208"/>
                    <a:pt x="116137" y="29504"/>
                  </a:cubicBezTo>
                  <a:cubicBezTo>
                    <a:pt x="116868" y="29855"/>
                    <a:pt x="117536" y="30186"/>
                    <a:pt x="119147" y="29869"/>
                  </a:cubicBezTo>
                  <a:cubicBezTo>
                    <a:pt x="120800" y="29546"/>
                    <a:pt x="120582" y="28153"/>
                    <a:pt x="120363" y="26754"/>
                  </a:cubicBezTo>
                  <a:cubicBezTo>
                    <a:pt x="120202" y="25685"/>
                    <a:pt x="120033" y="24616"/>
                    <a:pt x="120715" y="24025"/>
                  </a:cubicBezTo>
                  <a:cubicBezTo>
                    <a:pt x="121700" y="23181"/>
                    <a:pt x="121144" y="22238"/>
                    <a:pt x="120392" y="20987"/>
                  </a:cubicBezTo>
                  <a:cubicBezTo>
                    <a:pt x="119949" y="20241"/>
                    <a:pt x="119435" y="19376"/>
                    <a:pt x="119147" y="18363"/>
                  </a:cubicBezTo>
                  <a:cubicBezTo>
                    <a:pt x="118823" y="17217"/>
                    <a:pt x="117874" y="16725"/>
                    <a:pt x="117051" y="16296"/>
                  </a:cubicBezTo>
                  <a:cubicBezTo>
                    <a:pt x="115905" y="15698"/>
                    <a:pt x="114976" y="15220"/>
                    <a:pt x="116228" y="13292"/>
                  </a:cubicBezTo>
                  <a:cubicBezTo>
                    <a:pt x="117241" y="11717"/>
                    <a:pt x="117536" y="9241"/>
                    <a:pt x="117522" y="7019"/>
                  </a:cubicBezTo>
                  <a:cubicBezTo>
                    <a:pt x="117255" y="7040"/>
                    <a:pt x="116974" y="6970"/>
                    <a:pt x="116664" y="6794"/>
                  </a:cubicBezTo>
                  <a:cubicBezTo>
                    <a:pt x="115975" y="6400"/>
                    <a:pt x="115187" y="5746"/>
                    <a:pt x="114414" y="5099"/>
                  </a:cubicBezTo>
                  <a:cubicBezTo>
                    <a:pt x="112775" y="3742"/>
                    <a:pt x="111185" y="2426"/>
                    <a:pt x="110700" y="3692"/>
                  </a:cubicBezTo>
                  <a:cubicBezTo>
                    <a:pt x="109983" y="5563"/>
                    <a:pt x="108808" y="7427"/>
                    <a:pt x="105932" y="5563"/>
                  </a:cubicBezTo>
                  <a:cubicBezTo>
                    <a:pt x="104391" y="4565"/>
                    <a:pt x="103055" y="4241"/>
                    <a:pt x="101642" y="3910"/>
                  </a:cubicBezTo>
                  <a:cubicBezTo>
                    <a:pt x="100411" y="3615"/>
                    <a:pt x="99117" y="3306"/>
                    <a:pt x="97562" y="2518"/>
                  </a:cubicBezTo>
                  <a:lnTo>
                    <a:pt x="97548" y="2511"/>
                  </a:lnTo>
                  <a:cubicBezTo>
                    <a:pt x="94222" y="830"/>
                    <a:pt x="92808" y="113"/>
                    <a:pt x="90642" y="113"/>
                  </a:cubicBezTo>
                  <a:cubicBezTo>
                    <a:pt x="90171" y="113"/>
                    <a:pt x="89742" y="77"/>
                    <a:pt x="89355" y="49"/>
                  </a:cubicBezTo>
                  <a:cubicBezTo>
                    <a:pt x="87983" y="-63"/>
                    <a:pt x="87146" y="-126"/>
                    <a:pt x="86570" y="1547"/>
                  </a:cubicBezTo>
                  <a:cubicBezTo>
                    <a:pt x="85831" y="3692"/>
                    <a:pt x="84502" y="6794"/>
                    <a:pt x="82912" y="6794"/>
                  </a:cubicBezTo>
                  <a:cubicBezTo>
                    <a:pt x="82371" y="6794"/>
                    <a:pt x="81527" y="7174"/>
                    <a:pt x="80549" y="7617"/>
                  </a:cubicBezTo>
                  <a:cubicBezTo>
                    <a:pt x="78636" y="8482"/>
                    <a:pt x="76224" y="9565"/>
                    <a:pt x="74642" y="8461"/>
                  </a:cubicBezTo>
                  <a:cubicBezTo>
                    <a:pt x="72764" y="7146"/>
                    <a:pt x="70492" y="6006"/>
                    <a:pt x="69543" y="5584"/>
                  </a:cubicBezTo>
                  <a:close/>
                  <a:moveTo>
                    <a:pt x="11773" y="55547"/>
                  </a:moveTo>
                  <a:cubicBezTo>
                    <a:pt x="11260" y="55751"/>
                    <a:pt x="10606" y="56138"/>
                    <a:pt x="10085" y="56602"/>
                  </a:cubicBezTo>
                  <a:lnTo>
                    <a:pt x="9867" y="56440"/>
                  </a:lnTo>
                  <a:cubicBezTo>
                    <a:pt x="10486" y="55688"/>
                    <a:pt x="11590" y="55385"/>
                    <a:pt x="12800" y="55343"/>
                  </a:cubicBezTo>
                  <a:cubicBezTo>
                    <a:pt x="12427" y="55378"/>
                    <a:pt x="12068" y="55435"/>
                    <a:pt x="11773" y="55547"/>
                  </a:cubicBezTo>
                  <a:close/>
                  <a:moveTo>
                    <a:pt x="15508" y="54914"/>
                  </a:moveTo>
                  <a:cubicBezTo>
                    <a:pt x="15466" y="54963"/>
                    <a:pt x="15409" y="55006"/>
                    <a:pt x="15339" y="55041"/>
                  </a:cubicBezTo>
                  <a:cubicBezTo>
                    <a:pt x="15395" y="54963"/>
                    <a:pt x="15445" y="54872"/>
                    <a:pt x="15487" y="54773"/>
                  </a:cubicBezTo>
                  <a:lnTo>
                    <a:pt x="15508" y="54914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7" name="Freihandform: Form 232">
              <a:extLst>
                <a:ext uri="{FF2B5EF4-FFF2-40B4-BE49-F238E27FC236}">
                  <a16:creationId xmlns:a16="http://schemas.microsoft.com/office/drawing/2014/main" id="{E6A4C573-F059-FE4C-940D-1B9F4DB0CD20}"/>
                </a:ext>
              </a:extLst>
            </p:cNvPr>
            <p:cNvSpPr/>
            <p:nvPr/>
          </p:nvSpPr>
          <p:spPr>
            <a:xfrm>
              <a:off x="6378990" y="3492915"/>
              <a:ext cx="155453" cy="145938"/>
            </a:xfrm>
            <a:custGeom>
              <a:avLst/>
              <a:gdLst>
                <a:gd name="connsiteX0" fmla="*/ 4234 w 155453"/>
                <a:gd name="connsiteY0" fmla="*/ 99516 h 145938"/>
                <a:gd name="connsiteX1" fmla="*/ 4128 w 155453"/>
                <a:gd name="connsiteY1" fmla="*/ 99439 h 145938"/>
                <a:gd name="connsiteX2" fmla="*/ 4128 w 155453"/>
                <a:gd name="connsiteY2" fmla="*/ 99439 h 145938"/>
                <a:gd name="connsiteX3" fmla="*/ 4234 w 155453"/>
                <a:gd name="connsiteY3" fmla="*/ 99516 h 145938"/>
                <a:gd name="connsiteX4" fmla="*/ 5746 w 155453"/>
                <a:gd name="connsiteY4" fmla="*/ 100381 h 145938"/>
                <a:gd name="connsiteX5" fmla="*/ 7174 w 155453"/>
                <a:gd name="connsiteY5" fmla="*/ 101521 h 145938"/>
                <a:gd name="connsiteX6" fmla="*/ 8890 w 155453"/>
                <a:gd name="connsiteY6" fmla="*/ 102210 h 145938"/>
                <a:gd name="connsiteX7" fmla="*/ 9094 w 155453"/>
                <a:gd name="connsiteY7" fmla="*/ 102175 h 145938"/>
                <a:gd name="connsiteX8" fmla="*/ 8890 w 155453"/>
                <a:gd name="connsiteY8" fmla="*/ 102210 h 145938"/>
                <a:gd name="connsiteX9" fmla="*/ 7174 w 155453"/>
                <a:gd name="connsiteY9" fmla="*/ 101521 h 145938"/>
                <a:gd name="connsiteX10" fmla="*/ 5746 w 155453"/>
                <a:gd name="connsiteY10" fmla="*/ 100381 h 145938"/>
                <a:gd name="connsiteX11" fmla="*/ 4234 w 155453"/>
                <a:gd name="connsiteY11" fmla="*/ 99516 h 145938"/>
                <a:gd name="connsiteX12" fmla="*/ 11809 w 155453"/>
                <a:gd name="connsiteY12" fmla="*/ 99727 h 145938"/>
                <a:gd name="connsiteX13" fmla="*/ 13469 w 155453"/>
                <a:gd name="connsiteY13" fmla="*/ 94009 h 145938"/>
                <a:gd name="connsiteX14" fmla="*/ 13539 w 155453"/>
                <a:gd name="connsiteY14" fmla="*/ 93664 h 145938"/>
                <a:gd name="connsiteX15" fmla="*/ 12857 w 155453"/>
                <a:gd name="connsiteY15" fmla="*/ 91365 h 145938"/>
                <a:gd name="connsiteX16" fmla="*/ 12793 w 155453"/>
                <a:gd name="connsiteY16" fmla="*/ 91273 h 145938"/>
                <a:gd name="connsiteX17" fmla="*/ 12667 w 155453"/>
                <a:gd name="connsiteY17" fmla="*/ 91083 h 145938"/>
                <a:gd name="connsiteX18" fmla="*/ 12456 w 155453"/>
                <a:gd name="connsiteY18" fmla="*/ 89311 h 145938"/>
                <a:gd name="connsiteX19" fmla="*/ 12667 w 155453"/>
                <a:gd name="connsiteY19" fmla="*/ 88376 h 145938"/>
                <a:gd name="connsiteX20" fmla="*/ 9115 w 155453"/>
                <a:gd name="connsiteY20" fmla="*/ 86167 h 145938"/>
                <a:gd name="connsiteX21" fmla="*/ 9115 w 155453"/>
                <a:gd name="connsiteY21" fmla="*/ 86167 h 145938"/>
                <a:gd name="connsiteX22" fmla="*/ 8890 w 155453"/>
                <a:gd name="connsiteY22" fmla="*/ 86090 h 145938"/>
                <a:gd name="connsiteX23" fmla="*/ 8250 w 155453"/>
                <a:gd name="connsiteY23" fmla="*/ 84057 h 145938"/>
                <a:gd name="connsiteX24" fmla="*/ 8334 w 155453"/>
                <a:gd name="connsiteY24" fmla="*/ 83389 h 145938"/>
                <a:gd name="connsiteX25" fmla="*/ 7490 w 155453"/>
                <a:gd name="connsiteY25" fmla="*/ 79964 h 145938"/>
                <a:gd name="connsiteX26" fmla="*/ 6942 w 155453"/>
                <a:gd name="connsiteY26" fmla="*/ 78740 h 145938"/>
                <a:gd name="connsiteX27" fmla="*/ 8615 w 155453"/>
                <a:gd name="connsiteY27" fmla="*/ 74823 h 145938"/>
                <a:gd name="connsiteX28" fmla="*/ 8890 w 155453"/>
                <a:gd name="connsiteY28" fmla="*/ 74521 h 145938"/>
                <a:gd name="connsiteX29" fmla="*/ 9052 w 155453"/>
                <a:gd name="connsiteY29" fmla="*/ 70160 h 145938"/>
                <a:gd name="connsiteX30" fmla="*/ 8890 w 155453"/>
                <a:gd name="connsiteY30" fmla="*/ 68240 h 145938"/>
                <a:gd name="connsiteX31" fmla="*/ 6569 w 155453"/>
                <a:gd name="connsiteY31" fmla="*/ 65560 h 145938"/>
                <a:gd name="connsiteX32" fmla="*/ 5746 w 155453"/>
                <a:gd name="connsiteY32" fmla="*/ 64906 h 145938"/>
                <a:gd name="connsiteX33" fmla="*/ 6386 w 155453"/>
                <a:gd name="connsiteY33" fmla="*/ 62079 h 145938"/>
                <a:gd name="connsiteX34" fmla="*/ 6654 w 155453"/>
                <a:gd name="connsiteY34" fmla="*/ 59653 h 145938"/>
                <a:gd name="connsiteX35" fmla="*/ 6386 w 155453"/>
                <a:gd name="connsiteY35" fmla="*/ 58401 h 145938"/>
                <a:gd name="connsiteX36" fmla="*/ 3805 w 155453"/>
                <a:gd name="connsiteY36" fmla="*/ 55602 h 145938"/>
                <a:gd name="connsiteX37" fmla="*/ 0 w 155453"/>
                <a:gd name="connsiteY37" fmla="*/ 50672 h 145938"/>
                <a:gd name="connsiteX38" fmla="*/ 225 w 155453"/>
                <a:gd name="connsiteY38" fmla="*/ 48407 h 145938"/>
                <a:gd name="connsiteX39" fmla="*/ 598 w 155453"/>
                <a:gd name="connsiteY39" fmla="*/ 48245 h 145938"/>
                <a:gd name="connsiteX40" fmla="*/ 1709 w 155453"/>
                <a:gd name="connsiteY40" fmla="*/ 47732 h 145938"/>
                <a:gd name="connsiteX41" fmla="*/ 3918 w 155453"/>
                <a:gd name="connsiteY41" fmla="*/ 41606 h 145938"/>
                <a:gd name="connsiteX42" fmla="*/ 2335 w 155453"/>
                <a:gd name="connsiteY42" fmla="*/ 32639 h 145938"/>
                <a:gd name="connsiteX43" fmla="*/ 1709 w 155453"/>
                <a:gd name="connsiteY43" fmla="*/ 29347 h 145938"/>
                <a:gd name="connsiteX44" fmla="*/ 907 w 155453"/>
                <a:gd name="connsiteY44" fmla="*/ 28770 h 145938"/>
                <a:gd name="connsiteX45" fmla="*/ 1358 w 155453"/>
                <a:gd name="connsiteY45" fmla="*/ 28468 h 145938"/>
                <a:gd name="connsiteX46" fmla="*/ 5767 w 155453"/>
                <a:gd name="connsiteY46" fmla="*/ 30592 h 145938"/>
                <a:gd name="connsiteX47" fmla="*/ 7301 w 155453"/>
                <a:gd name="connsiteY47" fmla="*/ 31689 h 145938"/>
                <a:gd name="connsiteX48" fmla="*/ 6935 w 155453"/>
                <a:gd name="connsiteY48" fmla="*/ 30262 h 145938"/>
                <a:gd name="connsiteX49" fmla="*/ 6281 w 155453"/>
                <a:gd name="connsiteY49" fmla="*/ 28468 h 145938"/>
                <a:gd name="connsiteX50" fmla="*/ 5789 w 155453"/>
                <a:gd name="connsiteY50" fmla="*/ 25669 h 145938"/>
                <a:gd name="connsiteX51" fmla="*/ 2272 w 155453"/>
                <a:gd name="connsiteY51" fmla="*/ 24656 h 145938"/>
                <a:gd name="connsiteX52" fmla="*/ 3545 w 155453"/>
                <a:gd name="connsiteY52" fmla="*/ 23763 h 145938"/>
                <a:gd name="connsiteX53" fmla="*/ 6281 w 155453"/>
                <a:gd name="connsiteY53" fmla="*/ 22448 h 145938"/>
                <a:gd name="connsiteX54" fmla="*/ 7976 w 155453"/>
                <a:gd name="connsiteY54" fmla="*/ 22792 h 145938"/>
                <a:gd name="connsiteX55" fmla="*/ 8805 w 155453"/>
                <a:gd name="connsiteY55" fmla="*/ 23636 h 145938"/>
                <a:gd name="connsiteX56" fmla="*/ 10156 w 155453"/>
                <a:gd name="connsiteY56" fmla="*/ 21674 h 145938"/>
                <a:gd name="connsiteX57" fmla="*/ 10296 w 155453"/>
                <a:gd name="connsiteY57" fmla="*/ 21133 h 145938"/>
                <a:gd name="connsiteX58" fmla="*/ 13518 w 155453"/>
                <a:gd name="connsiteY58" fmla="*/ 20021 h 145938"/>
                <a:gd name="connsiteX59" fmla="*/ 28189 w 155453"/>
                <a:gd name="connsiteY59" fmla="*/ 15851 h 145938"/>
                <a:gd name="connsiteX60" fmla="*/ 34237 w 155453"/>
                <a:gd name="connsiteY60" fmla="*/ 10450 h 145938"/>
                <a:gd name="connsiteX61" fmla="*/ 35306 w 155453"/>
                <a:gd name="connsiteY61" fmla="*/ 9071 h 145938"/>
                <a:gd name="connsiteX62" fmla="*/ 40890 w 155453"/>
                <a:gd name="connsiteY62" fmla="*/ 6708 h 145938"/>
                <a:gd name="connsiteX63" fmla="*/ 48170 w 155453"/>
                <a:gd name="connsiteY63" fmla="*/ 4092 h 145938"/>
                <a:gd name="connsiteX64" fmla="*/ 55301 w 155453"/>
                <a:gd name="connsiteY64" fmla="*/ 1278 h 145938"/>
                <a:gd name="connsiteX65" fmla="*/ 66470 w 155453"/>
                <a:gd name="connsiteY65" fmla="*/ 1278 h 145938"/>
                <a:gd name="connsiteX66" fmla="*/ 68544 w 155453"/>
                <a:gd name="connsiteY66" fmla="*/ 6096 h 145938"/>
                <a:gd name="connsiteX67" fmla="*/ 71224 w 155453"/>
                <a:gd name="connsiteY67" fmla="*/ 11955 h 145938"/>
                <a:gd name="connsiteX68" fmla="*/ 75831 w 155453"/>
                <a:gd name="connsiteY68" fmla="*/ 12313 h 145938"/>
                <a:gd name="connsiteX69" fmla="*/ 77821 w 155453"/>
                <a:gd name="connsiteY69" fmla="*/ 11955 h 145938"/>
                <a:gd name="connsiteX70" fmla="*/ 80079 w 155453"/>
                <a:gd name="connsiteY70" fmla="*/ 13080 h 145938"/>
                <a:gd name="connsiteX71" fmla="*/ 81717 w 155453"/>
                <a:gd name="connsiteY71" fmla="*/ 13980 h 145938"/>
                <a:gd name="connsiteX72" fmla="*/ 85487 w 155453"/>
                <a:gd name="connsiteY72" fmla="*/ 11947 h 145938"/>
                <a:gd name="connsiteX73" fmla="*/ 88490 w 155453"/>
                <a:gd name="connsiteY73" fmla="*/ 10260 h 145938"/>
                <a:gd name="connsiteX74" fmla="*/ 93793 w 155453"/>
                <a:gd name="connsiteY74" fmla="*/ 10667 h 145938"/>
                <a:gd name="connsiteX75" fmla="*/ 113239 w 155453"/>
                <a:gd name="connsiteY75" fmla="*/ 11955 h 145938"/>
                <a:gd name="connsiteX76" fmla="*/ 120132 w 155453"/>
                <a:gd name="connsiteY76" fmla="*/ 12011 h 145938"/>
                <a:gd name="connsiteX77" fmla="*/ 120132 w 155453"/>
                <a:gd name="connsiteY77" fmla="*/ 12011 h 145938"/>
                <a:gd name="connsiteX78" fmla="*/ 137968 w 155453"/>
                <a:gd name="connsiteY78" fmla="*/ 11955 h 145938"/>
                <a:gd name="connsiteX79" fmla="*/ 144192 w 155453"/>
                <a:gd name="connsiteY79" fmla="*/ 16329 h 145938"/>
                <a:gd name="connsiteX80" fmla="*/ 145085 w 155453"/>
                <a:gd name="connsiteY80" fmla="*/ 17377 h 145938"/>
                <a:gd name="connsiteX81" fmla="*/ 146295 w 155453"/>
                <a:gd name="connsiteY81" fmla="*/ 23200 h 145938"/>
                <a:gd name="connsiteX82" fmla="*/ 146274 w 155453"/>
                <a:gd name="connsiteY82" fmla="*/ 24832 h 145938"/>
                <a:gd name="connsiteX83" fmla="*/ 150170 w 155453"/>
                <a:gd name="connsiteY83" fmla="*/ 40755 h 145938"/>
                <a:gd name="connsiteX84" fmla="*/ 152533 w 155453"/>
                <a:gd name="connsiteY84" fmla="*/ 55658 h 145938"/>
                <a:gd name="connsiteX85" fmla="*/ 145085 w 155453"/>
                <a:gd name="connsiteY85" fmla="*/ 60075 h 145938"/>
                <a:gd name="connsiteX86" fmla="*/ 142202 w 155453"/>
                <a:gd name="connsiteY86" fmla="*/ 67867 h 145938"/>
                <a:gd name="connsiteX87" fmla="*/ 148820 w 155453"/>
                <a:gd name="connsiteY87" fmla="*/ 73451 h 145938"/>
                <a:gd name="connsiteX88" fmla="*/ 148285 w 155453"/>
                <a:gd name="connsiteY88" fmla="*/ 76180 h 145938"/>
                <a:gd name="connsiteX89" fmla="*/ 147624 w 155453"/>
                <a:gd name="connsiteY89" fmla="*/ 79732 h 145938"/>
                <a:gd name="connsiteX90" fmla="*/ 147624 w 155453"/>
                <a:gd name="connsiteY90" fmla="*/ 86667 h 145938"/>
                <a:gd name="connsiteX91" fmla="*/ 149846 w 155453"/>
                <a:gd name="connsiteY91" fmla="*/ 92441 h 145938"/>
                <a:gd name="connsiteX92" fmla="*/ 149846 w 155453"/>
                <a:gd name="connsiteY92" fmla="*/ 92448 h 145938"/>
                <a:gd name="connsiteX93" fmla="*/ 150170 w 155453"/>
                <a:gd name="connsiteY93" fmla="*/ 92926 h 145938"/>
                <a:gd name="connsiteX94" fmla="*/ 153053 w 155453"/>
                <a:gd name="connsiteY94" fmla="*/ 99657 h 145938"/>
                <a:gd name="connsiteX95" fmla="*/ 154924 w 155453"/>
                <a:gd name="connsiteY95" fmla="*/ 104299 h 145938"/>
                <a:gd name="connsiteX96" fmla="*/ 155128 w 155453"/>
                <a:gd name="connsiteY96" fmla="*/ 109883 h 145938"/>
                <a:gd name="connsiteX97" fmla="*/ 154924 w 155453"/>
                <a:gd name="connsiteY97" fmla="*/ 111571 h 145938"/>
                <a:gd name="connsiteX98" fmla="*/ 148820 w 155453"/>
                <a:gd name="connsiteY98" fmla="*/ 115312 h 145938"/>
                <a:gd name="connsiteX99" fmla="*/ 139100 w 155453"/>
                <a:gd name="connsiteY99" fmla="*/ 126966 h 145938"/>
                <a:gd name="connsiteX100" fmla="*/ 134233 w 155453"/>
                <a:gd name="connsiteY100" fmla="*/ 133141 h 145938"/>
                <a:gd name="connsiteX101" fmla="*/ 133924 w 155453"/>
                <a:gd name="connsiteY101" fmla="*/ 136651 h 145938"/>
                <a:gd name="connsiteX102" fmla="*/ 134233 w 155453"/>
                <a:gd name="connsiteY102" fmla="*/ 138106 h 145938"/>
                <a:gd name="connsiteX103" fmla="*/ 134261 w 155453"/>
                <a:gd name="connsiteY103" fmla="*/ 139548 h 145938"/>
                <a:gd name="connsiteX104" fmla="*/ 134233 w 155453"/>
                <a:gd name="connsiteY104" fmla="*/ 144788 h 145938"/>
                <a:gd name="connsiteX105" fmla="*/ 131596 w 155453"/>
                <a:gd name="connsiteY105" fmla="*/ 145435 h 145938"/>
                <a:gd name="connsiteX106" fmla="*/ 131596 w 155453"/>
                <a:gd name="connsiteY106" fmla="*/ 145435 h 145938"/>
                <a:gd name="connsiteX107" fmla="*/ 129458 w 155453"/>
                <a:gd name="connsiteY107" fmla="*/ 144788 h 145938"/>
                <a:gd name="connsiteX108" fmla="*/ 124689 w 155453"/>
                <a:gd name="connsiteY108" fmla="*/ 142305 h 145938"/>
                <a:gd name="connsiteX109" fmla="*/ 121538 w 155453"/>
                <a:gd name="connsiteY109" fmla="*/ 140730 h 145938"/>
                <a:gd name="connsiteX110" fmla="*/ 119520 w 155453"/>
                <a:gd name="connsiteY110" fmla="*/ 139815 h 145938"/>
                <a:gd name="connsiteX111" fmla="*/ 112445 w 155453"/>
                <a:gd name="connsiteY111" fmla="*/ 138106 h 145938"/>
                <a:gd name="connsiteX112" fmla="*/ 107873 w 155453"/>
                <a:gd name="connsiteY112" fmla="*/ 139815 h 145938"/>
                <a:gd name="connsiteX113" fmla="*/ 102528 w 155453"/>
                <a:gd name="connsiteY113" fmla="*/ 138106 h 145938"/>
                <a:gd name="connsiteX114" fmla="*/ 94883 w 155453"/>
                <a:gd name="connsiteY114" fmla="*/ 139386 h 145938"/>
                <a:gd name="connsiteX115" fmla="*/ 93919 w 155453"/>
                <a:gd name="connsiteY115" fmla="*/ 139815 h 145938"/>
                <a:gd name="connsiteX116" fmla="*/ 91177 w 155453"/>
                <a:gd name="connsiteY116" fmla="*/ 141117 h 145938"/>
                <a:gd name="connsiteX117" fmla="*/ 91177 w 155453"/>
                <a:gd name="connsiteY117" fmla="*/ 141117 h 145938"/>
                <a:gd name="connsiteX118" fmla="*/ 87224 w 155453"/>
                <a:gd name="connsiteY118" fmla="*/ 142305 h 145938"/>
                <a:gd name="connsiteX119" fmla="*/ 86837 w 155453"/>
                <a:gd name="connsiteY119" fmla="*/ 140427 h 145938"/>
                <a:gd name="connsiteX120" fmla="*/ 87224 w 155453"/>
                <a:gd name="connsiteY120" fmla="*/ 138106 h 145938"/>
                <a:gd name="connsiteX121" fmla="*/ 84348 w 155453"/>
                <a:gd name="connsiteY121" fmla="*/ 135385 h 145938"/>
                <a:gd name="connsiteX122" fmla="*/ 82252 w 155453"/>
                <a:gd name="connsiteY122" fmla="*/ 134294 h 145938"/>
                <a:gd name="connsiteX123" fmla="*/ 78278 w 155453"/>
                <a:gd name="connsiteY123" fmla="*/ 136883 h 145938"/>
                <a:gd name="connsiteX124" fmla="*/ 77300 w 155453"/>
                <a:gd name="connsiteY124" fmla="*/ 138106 h 145938"/>
                <a:gd name="connsiteX125" fmla="*/ 73664 w 155453"/>
                <a:gd name="connsiteY125" fmla="*/ 135624 h 145938"/>
                <a:gd name="connsiteX126" fmla="*/ 71597 w 155453"/>
                <a:gd name="connsiteY126" fmla="*/ 134147 h 145938"/>
                <a:gd name="connsiteX127" fmla="*/ 71779 w 155453"/>
                <a:gd name="connsiteY127" fmla="*/ 132825 h 145938"/>
                <a:gd name="connsiteX128" fmla="*/ 68678 w 155453"/>
                <a:gd name="connsiteY128" fmla="*/ 127852 h 145938"/>
                <a:gd name="connsiteX129" fmla="*/ 63410 w 155453"/>
                <a:gd name="connsiteY129" fmla="*/ 124835 h 145938"/>
                <a:gd name="connsiteX130" fmla="*/ 57924 w 155453"/>
                <a:gd name="connsiteY130" fmla="*/ 124835 h 145938"/>
                <a:gd name="connsiteX131" fmla="*/ 55589 w 155453"/>
                <a:gd name="connsiteY131" fmla="*/ 119469 h 145938"/>
                <a:gd name="connsiteX132" fmla="*/ 55301 w 155453"/>
                <a:gd name="connsiteY132" fmla="*/ 117577 h 145938"/>
                <a:gd name="connsiteX133" fmla="*/ 52846 w 155453"/>
                <a:gd name="connsiteY133" fmla="*/ 117071 h 145938"/>
                <a:gd name="connsiteX134" fmla="*/ 51004 w 155453"/>
                <a:gd name="connsiteY134" fmla="*/ 117577 h 145938"/>
                <a:gd name="connsiteX135" fmla="*/ 47523 w 155453"/>
                <a:gd name="connsiteY135" fmla="*/ 115566 h 145938"/>
                <a:gd name="connsiteX136" fmla="*/ 44069 w 155453"/>
                <a:gd name="connsiteY136" fmla="*/ 113245 h 145938"/>
                <a:gd name="connsiteX137" fmla="*/ 43528 w 155453"/>
                <a:gd name="connsiteY137" fmla="*/ 115917 h 145938"/>
                <a:gd name="connsiteX138" fmla="*/ 44069 w 155453"/>
                <a:gd name="connsiteY138" fmla="*/ 117577 h 145938"/>
                <a:gd name="connsiteX139" fmla="*/ 40834 w 155453"/>
                <a:gd name="connsiteY139" fmla="*/ 119729 h 145938"/>
                <a:gd name="connsiteX140" fmla="*/ 37627 w 155453"/>
                <a:gd name="connsiteY140" fmla="*/ 121354 h 145938"/>
                <a:gd name="connsiteX141" fmla="*/ 36277 w 155453"/>
                <a:gd name="connsiteY141" fmla="*/ 118301 h 145938"/>
                <a:gd name="connsiteX142" fmla="*/ 35960 w 155453"/>
                <a:gd name="connsiteY142" fmla="*/ 116107 h 145938"/>
                <a:gd name="connsiteX143" fmla="*/ 33801 w 155453"/>
                <a:gd name="connsiteY143" fmla="*/ 114426 h 145938"/>
                <a:gd name="connsiteX144" fmla="*/ 31902 w 155453"/>
                <a:gd name="connsiteY144" fmla="*/ 113245 h 145938"/>
                <a:gd name="connsiteX145" fmla="*/ 33020 w 155453"/>
                <a:gd name="connsiteY145" fmla="*/ 110938 h 145938"/>
                <a:gd name="connsiteX146" fmla="*/ 34286 w 155453"/>
                <a:gd name="connsiteY146" fmla="*/ 108490 h 145938"/>
                <a:gd name="connsiteX147" fmla="*/ 30939 w 155453"/>
                <a:gd name="connsiteY147" fmla="*/ 108188 h 145938"/>
                <a:gd name="connsiteX148" fmla="*/ 29025 w 155453"/>
                <a:gd name="connsiteY148" fmla="*/ 108490 h 145938"/>
                <a:gd name="connsiteX149" fmla="*/ 25031 w 155453"/>
                <a:gd name="connsiteY149" fmla="*/ 106851 h 145938"/>
                <a:gd name="connsiteX150" fmla="*/ 21388 w 155453"/>
                <a:gd name="connsiteY150" fmla="*/ 105135 h 145938"/>
                <a:gd name="connsiteX151" fmla="*/ 17702 w 155453"/>
                <a:gd name="connsiteY151" fmla="*/ 101492 h 145938"/>
                <a:gd name="connsiteX152" fmla="*/ 16619 w 155453"/>
                <a:gd name="connsiteY152" fmla="*/ 99727 h 145938"/>
                <a:gd name="connsiteX153" fmla="*/ 11809 w 155453"/>
                <a:gd name="connsiteY153" fmla="*/ 99727 h 145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</a:cxnLst>
              <a:rect l="l" t="t" r="r" b="b"/>
              <a:pathLst>
                <a:path w="155453" h="145938">
                  <a:moveTo>
                    <a:pt x="4234" y="99516"/>
                  </a:moveTo>
                  <a:cubicBezTo>
                    <a:pt x="4199" y="99488"/>
                    <a:pt x="4164" y="99467"/>
                    <a:pt x="4128" y="99439"/>
                  </a:cubicBezTo>
                  <a:cubicBezTo>
                    <a:pt x="4128" y="99439"/>
                    <a:pt x="4128" y="99439"/>
                    <a:pt x="4128" y="99439"/>
                  </a:cubicBezTo>
                  <a:cubicBezTo>
                    <a:pt x="4164" y="99467"/>
                    <a:pt x="4199" y="99488"/>
                    <a:pt x="4234" y="99516"/>
                  </a:cubicBezTo>
                  <a:cubicBezTo>
                    <a:pt x="4621" y="99804"/>
                    <a:pt x="5099" y="100156"/>
                    <a:pt x="5746" y="100381"/>
                  </a:cubicBezTo>
                  <a:cubicBezTo>
                    <a:pt x="6562" y="100677"/>
                    <a:pt x="6893" y="101134"/>
                    <a:pt x="7174" y="101521"/>
                  </a:cubicBezTo>
                  <a:cubicBezTo>
                    <a:pt x="7526" y="102013"/>
                    <a:pt x="7800" y="102400"/>
                    <a:pt x="8890" y="102210"/>
                  </a:cubicBezTo>
                  <a:cubicBezTo>
                    <a:pt x="8960" y="102203"/>
                    <a:pt x="9031" y="102189"/>
                    <a:pt x="9094" y="102175"/>
                  </a:cubicBezTo>
                  <a:cubicBezTo>
                    <a:pt x="9031" y="102189"/>
                    <a:pt x="8960" y="102203"/>
                    <a:pt x="8890" y="102210"/>
                  </a:cubicBezTo>
                  <a:cubicBezTo>
                    <a:pt x="7800" y="102400"/>
                    <a:pt x="7526" y="102013"/>
                    <a:pt x="7174" y="101521"/>
                  </a:cubicBezTo>
                  <a:cubicBezTo>
                    <a:pt x="6893" y="101134"/>
                    <a:pt x="6562" y="100677"/>
                    <a:pt x="5746" y="100381"/>
                  </a:cubicBezTo>
                  <a:cubicBezTo>
                    <a:pt x="5099" y="100156"/>
                    <a:pt x="4621" y="99804"/>
                    <a:pt x="4234" y="99516"/>
                  </a:cubicBezTo>
                  <a:close/>
                  <a:moveTo>
                    <a:pt x="11809" y="99727"/>
                  </a:moveTo>
                  <a:cubicBezTo>
                    <a:pt x="12610" y="98440"/>
                    <a:pt x="13208" y="95367"/>
                    <a:pt x="13469" y="94009"/>
                  </a:cubicBezTo>
                  <a:cubicBezTo>
                    <a:pt x="13497" y="93876"/>
                    <a:pt x="13518" y="93763"/>
                    <a:pt x="13539" y="93664"/>
                  </a:cubicBezTo>
                  <a:cubicBezTo>
                    <a:pt x="13743" y="92659"/>
                    <a:pt x="13574" y="92413"/>
                    <a:pt x="12857" y="91365"/>
                  </a:cubicBezTo>
                  <a:cubicBezTo>
                    <a:pt x="12835" y="91337"/>
                    <a:pt x="12814" y="91301"/>
                    <a:pt x="12793" y="91273"/>
                  </a:cubicBezTo>
                  <a:cubicBezTo>
                    <a:pt x="12751" y="91210"/>
                    <a:pt x="12709" y="91147"/>
                    <a:pt x="12667" y="91083"/>
                  </a:cubicBezTo>
                  <a:cubicBezTo>
                    <a:pt x="12097" y="90247"/>
                    <a:pt x="12266" y="89810"/>
                    <a:pt x="12456" y="89311"/>
                  </a:cubicBezTo>
                  <a:cubicBezTo>
                    <a:pt x="12554" y="89044"/>
                    <a:pt x="12667" y="88755"/>
                    <a:pt x="12667" y="88376"/>
                  </a:cubicBezTo>
                  <a:cubicBezTo>
                    <a:pt x="12667" y="87377"/>
                    <a:pt x="10240" y="86554"/>
                    <a:pt x="9115" y="86167"/>
                  </a:cubicBezTo>
                  <a:lnTo>
                    <a:pt x="9115" y="86167"/>
                  </a:lnTo>
                  <a:cubicBezTo>
                    <a:pt x="9031" y="86139"/>
                    <a:pt x="8953" y="86118"/>
                    <a:pt x="8890" y="86090"/>
                  </a:cubicBezTo>
                  <a:cubicBezTo>
                    <a:pt x="8046" y="85802"/>
                    <a:pt x="8095" y="85373"/>
                    <a:pt x="8250" y="84057"/>
                  </a:cubicBezTo>
                  <a:cubicBezTo>
                    <a:pt x="8278" y="83860"/>
                    <a:pt x="8306" y="83635"/>
                    <a:pt x="8334" y="83389"/>
                  </a:cubicBezTo>
                  <a:cubicBezTo>
                    <a:pt x="8475" y="82032"/>
                    <a:pt x="8004" y="81040"/>
                    <a:pt x="7490" y="79964"/>
                  </a:cubicBezTo>
                  <a:cubicBezTo>
                    <a:pt x="7301" y="79577"/>
                    <a:pt x="7111" y="79169"/>
                    <a:pt x="6942" y="78740"/>
                  </a:cubicBezTo>
                  <a:cubicBezTo>
                    <a:pt x="6358" y="77249"/>
                    <a:pt x="7645" y="75864"/>
                    <a:pt x="8615" y="74823"/>
                  </a:cubicBezTo>
                  <a:cubicBezTo>
                    <a:pt x="8707" y="74717"/>
                    <a:pt x="8799" y="74619"/>
                    <a:pt x="8890" y="74521"/>
                  </a:cubicBezTo>
                  <a:cubicBezTo>
                    <a:pt x="9537" y="73810"/>
                    <a:pt x="9270" y="71785"/>
                    <a:pt x="9052" y="70160"/>
                  </a:cubicBezTo>
                  <a:cubicBezTo>
                    <a:pt x="8939" y="69351"/>
                    <a:pt x="8848" y="68641"/>
                    <a:pt x="8890" y="68240"/>
                  </a:cubicBezTo>
                  <a:cubicBezTo>
                    <a:pt x="8974" y="67361"/>
                    <a:pt x="7568" y="66306"/>
                    <a:pt x="6569" y="65560"/>
                  </a:cubicBezTo>
                  <a:cubicBezTo>
                    <a:pt x="6217" y="65293"/>
                    <a:pt x="5915" y="65068"/>
                    <a:pt x="5746" y="64906"/>
                  </a:cubicBezTo>
                  <a:cubicBezTo>
                    <a:pt x="5113" y="64266"/>
                    <a:pt x="5528" y="63394"/>
                    <a:pt x="6386" y="62079"/>
                  </a:cubicBezTo>
                  <a:cubicBezTo>
                    <a:pt x="7019" y="61109"/>
                    <a:pt x="6899" y="60630"/>
                    <a:pt x="6654" y="59653"/>
                  </a:cubicBezTo>
                  <a:cubicBezTo>
                    <a:pt x="6569" y="59308"/>
                    <a:pt x="6471" y="58907"/>
                    <a:pt x="6386" y="58401"/>
                  </a:cubicBezTo>
                  <a:cubicBezTo>
                    <a:pt x="6238" y="57585"/>
                    <a:pt x="5092" y="56650"/>
                    <a:pt x="3805" y="55602"/>
                  </a:cubicBezTo>
                  <a:cubicBezTo>
                    <a:pt x="2033" y="54167"/>
                    <a:pt x="0" y="52514"/>
                    <a:pt x="0" y="50672"/>
                  </a:cubicBezTo>
                  <a:cubicBezTo>
                    <a:pt x="0" y="49054"/>
                    <a:pt x="0" y="48604"/>
                    <a:pt x="225" y="48407"/>
                  </a:cubicBezTo>
                  <a:cubicBezTo>
                    <a:pt x="317" y="48329"/>
                    <a:pt x="436" y="48294"/>
                    <a:pt x="598" y="48245"/>
                  </a:cubicBezTo>
                  <a:cubicBezTo>
                    <a:pt x="851" y="48161"/>
                    <a:pt x="1210" y="48055"/>
                    <a:pt x="1709" y="47732"/>
                  </a:cubicBezTo>
                  <a:cubicBezTo>
                    <a:pt x="3418" y="46635"/>
                    <a:pt x="4276" y="45207"/>
                    <a:pt x="3918" y="41606"/>
                  </a:cubicBezTo>
                  <a:cubicBezTo>
                    <a:pt x="3692" y="39348"/>
                    <a:pt x="2905" y="35452"/>
                    <a:pt x="2335" y="32639"/>
                  </a:cubicBezTo>
                  <a:cubicBezTo>
                    <a:pt x="1998" y="30972"/>
                    <a:pt x="1737" y="29692"/>
                    <a:pt x="1709" y="29347"/>
                  </a:cubicBezTo>
                  <a:cubicBezTo>
                    <a:pt x="1674" y="28757"/>
                    <a:pt x="1358" y="28742"/>
                    <a:pt x="907" y="28770"/>
                  </a:cubicBezTo>
                  <a:cubicBezTo>
                    <a:pt x="1090" y="28616"/>
                    <a:pt x="1238" y="28510"/>
                    <a:pt x="1358" y="28468"/>
                  </a:cubicBezTo>
                  <a:cubicBezTo>
                    <a:pt x="2637" y="27990"/>
                    <a:pt x="4424" y="29474"/>
                    <a:pt x="5767" y="30592"/>
                  </a:cubicBezTo>
                  <a:cubicBezTo>
                    <a:pt x="6421" y="31134"/>
                    <a:pt x="6963" y="31591"/>
                    <a:pt x="7301" y="31689"/>
                  </a:cubicBezTo>
                  <a:cubicBezTo>
                    <a:pt x="7821" y="31844"/>
                    <a:pt x="7399" y="31084"/>
                    <a:pt x="6935" y="30262"/>
                  </a:cubicBezTo>
                  <a:cubicBezTo>
                    <a:pt x="6506" y="29495"/>
                    <a:pt x="6042" y="28672"/>
                    <a:pt x="6281" y="28468"/>
                  </a:cubicBezTo>
                  <a:cubicBezTo>
                    <a:pt x="6780" y="28053"/>
                    <a:pt x="7075" y="25866"/>
                    <a:pt x="5789" y="25669"/>
                  </a:cubicBezTo>
                  <a:cubicBezTo>
                    <a:pt x="4494" y="25465"/>
                    <a:pt x="3165" y="25149"/>
                    <a:pt x="2272" y="24656"/>
                  </a:cubicBezTo>
                  <a:cubicBezTo>
                    <a:pt x="1801" y="24396"/>
                    <a:pt x="2532" y="24129"/>
                    <a:pt x="3545" y="23763"/>
                  </a:cubicBezTo>
                  <a:cubicBezTo>
                    <a:pt x="4459" y="23433"/>
                    <a:pt x="5613" y="23017"/>
                    <a:pt x="6281" y="22448"/>
                  </a:cubicBezTo>
                  <a:cubicBezTo>
                    <a:pt x="7195" y="21674"/>
                    <a:pt x="7561" y="22195"/>
                    <a:pt x="7976" y="22792"/>
                  </a:cubicBezTo>
                  <a:cubicBezTo>
                    <a:pt x="8208" y="23116"/>
                    <a:pt x="8454" y="23468"/>
                    <a:pt x="8805" y="23636"/>
                  </a:cubicBezTo>
                  <a:cubicBezTo>
                    <a:pt x="9607" y="24030"/>
                    <a:pt x="9945" y="22560"/>
                    <a:pt x="10156" y="21674"/>
                  </a:cubicBezTo>
                  <a:cubicBezTo>
                    <a:pt x="10212" y="21435"/>
                    <a:pt x="10254" y="21238"/>
                    <a:pt x="10296" y="21133"/>
                  </a:cubicBezTo>
                  <a:cubicBezTo>
                    <a:pt x="10500" y="20640"/>
                    <a:pt x="11907" y="20317"/>
                    <a:pt x="13518" y="20021"/>
                  </a:cubicBezTo>
                  <a:cubicBezTo>
                    <a:pt x="15128" y="19726"/>
                    <a:pt x="24110" y="17377"/>
                    <a:pt x="28189" y="15851"/>
                  </a:cubicBezTo>
                  <a:cubicBezTo>
                    <a:pt x="31227" y="14704"/>
                    <a:pt x="33028" y="12166"/>
                    <a:pt x="34237" y="10450"/>
                  </a:cubicBezTo>
                  <a:cubicBezTo>
                    <a:pt x="34652" y="9859"/>
                    <a:pt x="34997" y="9373"/>
                    <a:pt x="35306" y="9071"/>
                  </a:cubicBezTo>
                  <a:cubicBezTo>
                    <a:pt x="36495" y="7875"/>
                    <a:pt x="38344" y="7045"/>
                    <a:pt x="40890" y="6708"/>
                  </a:cubicBezTo>
                  <a:cubicBezTo>
                    <a:pt x="42367" y="6511"/>
                    <a:pt x="45054" y="5393"/>
                    <a:pt x="48170" y="4092"/>
                  </a:cubicBezTo>
                  <a:cubicBezTo>
                    <a:pt x="50420" y="3156"/>
                    <a:pt x="52889" y="2129"/>
                    <a:pt x="55301" y="1278"/>
                  </a:cubicBezTo>
                  <a:cubicBezTo>
                    <a:pt x="61061" y="-747"/>
                    <a:pt x="64444" y="-72"/>
                    <a:pt x="66470" y="1278"/>
                  </a:cubicBezTo>
                  <a:cubicBezTo>
                    <a:pt x="67426" y="1918"/>
                    <a:pt x="67968" y="3951"/>
                    <a:pt x="68544" y="6096"/>
                  </a:cubicBezTo>
                  <a:cubicBezTo>
                    <a:pt x="69191" y="8508"/>
                    <a:pt x="69873" y="11061"/>
                    <a:pt x="71224" y="11955"/>
                  </a:cubicBezTo>
                  <a:cubicBezTo>
                    <a:pt x="72940" y="13094"/>
                    <a:pt x="74424" y="12693"/>
                    <a:pt x="75831" y="12313"/>
                  </a:cubicBezTo>
                  <a:cubicBezTo>
                    <a:pt x="76506" y="12130"/>
                    <a:pt x="77160" y="11955"/>
                    <a:pt x="77821" y="11955"/>
                  </a:cubicBezTo>
                  <a:cubicBezTo>
                    <a:pt x="78911" y="11955"/>
                    <a:pt x="79516" y="12538"/>
                    <a:pt x="80079" y="13080"/>
                  </a:cubicBezTo>
                  <a:cubicBezTo>
                    <a:pt x="80564" y="13544"/>
                    <a:pt x="81014" y="13980"/>
                    <a:pt x="81717" y="13980"/>
                  </a:cubicBezTo>
                  <a:cubicBezTo>
                    <a:pt x="82519" y="13980"/>
                    <a:pt x="84052" y="12932"/>
                    <a:pt x="85487" y="11947"/>
                  </a:cubicBezTo>
                  <a:cubicBezTo>
                    <a:pt x="86753" y="11075"/>
                    <a:pt x="87941" y="10260"/>
                    <a:pt x="88490" y="10260"/>
                  </a:cubicBezTo>
                  <a:cubicBezTo>
                    <a:pt x="88863" y="10260"/>
                    <a:pt x="90944" y="10435"/>
                    <a:pt x="93793" y="10667"/>
                  </a:cubicBezTo>
                  <a:cubicBezTo>
                    <a:pt x="99905" y="11167"/>
                    <a:pt x="109533" y="11955"/>
                    <a:pt x="113239" y="11955"/>
                  </a:cubicBezTo>
                  <a:cubicBezTo>
                    <a:pt x="114815" y="11955"/>
                    <a:pt x="117304" y="11983"/>
                    <a:pt x="120132" y="12011"/>
                  </a:cubicBezTo>
                  <a:lnTo>
                    <a:pt x="120132" y="12011"/>
                  </a:lnTo>
                  <a:cubicBezTo>
                    <a:pt x="127045" y="12088"/>
                    <a:pt x="135921" y="12194"/>
                    <a:pt x="137968" y="11955"/>
                  </a:cubicBezTo>
                  <a:cubicBezTo>
                    <a:pt x="140352" y="11673"/>
                    <a:pt x="142616" y="14416"/>
                    <a:pt x="144192" y="16329"/>
                  </a:cubicBezTo>
                  <a:cubicBezTo>
                    <a:pt x="144522" y="16723"/>
                    <a:pt x="144818" y="17089"/>
                    <a:pt x="145085" y="17377"/>
                  </a:cubicBezTo>
                  <a:cubicBezTo>
                    <a:pt x="146365" y="18791"/>
                    <a:pt x="146337" y="20570"/>
                    <a:pt x="146295" y="23200"/>
                  </a:cubicBezTo>
                  <a:cubicBezTo>
                    <a:pt x="146281" y="23714"/>
                    <a:pt x="146274" y="24255"/>
                    <a:pt x="146274" y="24832"/>
                  </a:cubicBezTo>
                  <a:cubicBezTo>
                    <a:pt x="146274" y="28391"/>
                    <a:pt x="148820" y="36858"/>
                    <a:pt x="150170" y="40755"/>
                  </a:cubicBezTo>
                  <a:cubicBezTo>
                    <a:pt x="151520" y="44651"/>
                    <a:pt x="152533" y="53457"/>
                    <a:pt x="152533" y="55658"/>
                  </a:cubicBezTo>
                  <a:cubicBezTo>
                    <a:pt x="152533" y="57866"/>
                    <a:pt x="148820" y="59062"/>
                    <a:pt x="145085" y="60075"/>
                  </a:cubicBezTo>
                  <a:cubicBezTo>
                    <a:pt x="141343" y="61087"/>
                    <a:pt x="140176" y="67347"/>
                    <a:pt x="142202" y="67867"/>
                  </a:cubicBezTo>
                  <a:cubicBezTo>
                    <a:pt x="144227" y="68381"/>
                    <a:pt x="148820" y="71764"/>
                    <a:pt x="148820" y="73451"/>
                  </a:cubicBezTo>
                  <a:cubicBezTo>
                    <a:pt x="148820" y="74239"/>
                    <a:pt x="148560" y="75182"/>
                    <a:pt x="148285" y="76180"/>
                  </a:cubicBezTo>
                  <a:cubicBezTo>
                    <a:pt x="147969" y="77327"/>
                    <a:pt x="147624" y="78557"/>
                    <a:pt x="147624" y="79732"/>
                  </a:cubicBezTo>
                  <a:lnTo>
                    <a:pt x="147624" y="86667"/>
                  </a:lnTo>
                  <a:cubicBezTo>
                    <a:pt x="147624" y="89149"/>
                    <a:pt x="148630" y="90647"/>
                    <a:pt x="149846" y="92441"/>
                  </a:cubicBezTo>
                  <a:lnTo>
                    <a:pt x="149846" y="92448"/>
                  </a:lnTo>
                  <a:cubicBezTo>
                    <a:pt x="149952" y="92602"/>
                    <a:pt x="150064" y="92764"/>
                    <a:pt x="150170" y="92926"/>
                  </a:cubicBezTo>
                  <a:cubicBezTo>
                    <a:pt x="150965" y="94115"/>
                    <a:pt x="152048" y="96998"/>
                    <a:pt x="153053" y="99657"/>
                  </a:cubicBezTo>
                  <a:cubicBezTo>
                    <a:pt x="153757" y="101542"/>
                    <a:pt x="154425" y="103314"/>
                    <a:pt x="154924" y="104299"/>
                  </a:cubicBezTo>
                  <a:cubicBezTo>
                    <a:pt x="155775" y="106000"/>
                    <a:pt x="155410" y="108202"/>
                    <a:pt x="155128" y="109883"/>
                  </a:cubicBezTo>
                  <a:cubicBezTo>
                    <a:pt x="155016" y="110551"/>
                    <a:pt x="154924" y="111135"/>
                    <a:pt x="154924" y="111571"/>
                  </a:cubicBezTo>
                  <a:cubicBezTo>
                    <a:pt x="154924" y="113104"/>
                    <a:pt x="150507" y="114975"/>
                    <a:pt x="148820" y="115312"/>
                  </a:cubicBezTo>
                  <a:cubicBezTo>
                    <a:pt x="147765" y="115523"/>
                    <a:pt x="142947" y="121888"/>
                    <a:pt x="139100" y="126966"/>
                  </a:cubicBezTo>
                  <a:cubicBezTo>
                    <a:pt x="136779" y="130040"/>
                    <a:pt x="134803" y="132642"/>
                    <a:pt x="134233" y="133141"/>
                  </a:cubicBezTo>
                  <a:cubicBezTo>
                    <a:pt x="133171" y="134062"/>
                    <a:pt x="133572" y="135441"/>
                    <a:pt x="133924" y="136651"/>
                  </a:cubicBezTo>
                  <a:cubicBezTo>
                    <a:pt x="134085" y="137192"/>
                    <a:pt x="134233" y="137699"/>
                    <a:pt x="134233" y="138106"/>
                  </a:cubicBezTo>
                  <a:cubicBezTo>
                    <a:pt x="134233" y="138479"/>
                    <a:pt x="134247" y="138979"/>
                    <a:pt x="134261" y="139548"/>
                  </a:cubicBezTo>
                  <a:cubicBezTo>
                    <a:pt x="134310" y="141018"/>
                    <a:pt x="134374" y="143001"/>
                    <a:pt x="134233" y="144788"/>
                  </a:cubicBezTo>
                  <a:cubicBezTo>
                    <a:pt x="134100" y="146441"/>
                    <a:pt x="132960" y="145983"/>
                    <a:pt x="131596" y="145435"/>
                  </a:cubicBezTo>
                  <a:lnTo>
                    <a:pt x="131596" y="145435"/>
                  </a:lnTo>
                  <a:cubicBezTo>
                    <a:pt x="130913" y="145154"/>
                    <a:pt x="130168" y="144851"/>
                    <a:pt x="129458" y="144788"/>
                  </a:cubicBezTo>
                  <a:cubicBezTo>
                    <a:pt x="127355" y="144591"/>
                    <a:pt x="126398" y="143831"/>
                    <a:pt x="124689" y="142305"/>
                  </a:cubicBezTo>
                  <a:cubicBezTo>
                    <a:pt x="123726" y="141440"/>
                    <a:pt x="122565" y="141060"/>
                    <a:pt x="121538" y="140730"/>
                  </a:cubicBezTo>
                  <a:cubicBezTo>
                    <a:pt x="120744" y="140469"/>
                    <a:pt x="120019" y="140230"/>
                    <a:pt x="119520" y="139815"/>
                  </a:cubicBezTo>
                  <a:cubicBezTo>
                    <a:pt x="118367" y="138866"/>
                    <a:pt x="115131" y="138106"/>
                    <a:pt x="112445" y="138106"/>
                  </a:cubicBezTo>
                  <a:cubicBezTo>
                    <a:pt x="109758" y="138106"/>
                    <a:pt x="109005" y="138106"/>
                    <a:pt x="107873" y="139815"/>
                  </a:cubicBezTo>
                  <a:cubicBezTo>
                    <a:pt x="106741" y="141524"/>
                    <a:pt x="104040" y="139815"/>
                    <a:pt x="102528" y="138106"/>
                  </a:cubicBezTo>
                  <a:cubicBezTo>
                    <a:pt x="101142" y="136545"/>
                    <a:pt x="98280" y="137846"/>
                    <a:pt x="94883" y="139386"/>
                  </a:cubicBezTo>
                  <a:cubicBezTo>
                    <a:pt x="94567" y="139527"/>
                    <a:pt x="94243" y="139675"/>
                    <a:pt x="93919" y="139815"/>
                  </a:cubicBezTo>
                  <a:cubicBezTo>
                    <a:pt x="92836" y="140301"/>
                    <a:pt x="91936" y="140744"/>
                    <a:pt x="91177" y="141117"/>
                  </a:cubicBezTo>
                  <a:lnTo>
                    <a:pt x="91177" y="141117"/>
                  </a:lnTo>
                  <a:cubicBezTo>
                    <a:pt x="89250" y="142066"/>
                    <a:pt x="88188" y="142586"/>
                    <a:pt x="87224" y="142305"/>
                  </a:cubicBezTo>
                  <a:cubicBezTo>
                    <a:pt x="86401" y="142059"/>
                    <a:pt x="86577" y="141412"/>
                    <a:pt x="86837" y="140427"/>
                  </a:cubicBezTo>
                  <a:cubicBezTo>
                    <a:pt x="87013" y="139787"/>
                    <a:pt x="87224" y="139007"/>
                    <a:pt x="87224" y="138106"/>
                  </a:cubicBezTo>
                  <a:cubicBezTo>
                    <a:pt x="87224" y="136594"/>
                    <a:pt x="85803" y="135997"/>
                    <a:pt x="84348" y="135385"/>
                  </a:cubicBezTo>
                  <a:cubicBezTo>
                    <a:pt x="83595" y="135068"/>
                    <a:pt x="82836" y="134745"/>
                    <a:pt x="82252" y="134294"/>
                  </a:cubicBezTo>
                  <a:cubicBezTo>
                    <a:pt x="80944" y="133282"/>
                    <a:pt x="79432" y="135328"/>
                    <a:pt x="78278" y="136883"/>
                  </a:cubicBezTo>
                  <a:cubicBezTo>
                    <a:pt x="77912" y="137382"/>
                    <a:pt x="77575" y="137832"/>
                    <a:pt x="77300" y="138106"/>
                  </a:cubicBezTo>
                  <a:cubicBezTo>
                    <a:pt x="76168" y="139260"/>
                    <a:pt x="74621" y="138289"/>
                    <a:pt x="73664" y="135624"/>
                  </a:cubicBezTo>
                  <a:cubicBezTo>
                    <a:pt x="73439" y="134991"/>
                    <a:pt x="72659" y="134505"/>
                    <a:pt x="71597" y="134147"/>
                  </a:cubicBezTo>
                  <a:cubicBezTo>
                    <a:pt x="72244" y="133584"/>
                    <a:pt x="72391" y="133317"/>
                    <a:pt x="71779" y="132825"/>
                  </a:cubicBezTo>
                  <a:cubicBezTo>
                    <a:pt x="70584" y="131868"/>
                    <a:pt x="69156" y="130236"/>
                    <a:pt x="68678" y="127852"/>
                  </a:cubicBezTo>
                  <a:cubicBezTo>
                    <a:pt x="68200" y="125468"/>
                    <a:pt x="65337" y="124835"/>
                    <a:pt x="63410" y="124835"/>
                  </a:cubicBezTo>
                  <a:lnTo>
                    <a:pt x="57924" y="124835"/>
                  </a:lnTo>
                  <a:cubicBezTo>
                    <a:pt x="56286" y="124835"/>
                    <a:pt x="55899" y="121825"/>
                    <a:pt x="55589" y="119469"/>
                  </a:cubicBezTo>
                  <a:cubicBezTo>
                    <a:pt x="55498" y="118744"/>
                    <a:pt x="55413" y="118076"/>
                    <a:pt x="55301" y="117577"/>
                  </a:cubicBezTo>
                  <a:cubicBezTo>
                    <a:pt x="54992" y="116205"/>
                    <a:pt x="53979" y="116613"/>
                    <a:pt x="52846" y="117071"/>
                  </a:cubicBezTo>
                  <a:cubicBezTo>
                    <a:pt x="52235" y="117317"/>
                    <a:pt x="51595" y="117577"/>
                    <a:pt x="51004" y="117577"/>
                  </a:cubicBezTo>
                  <a:cubicBezTo>
                    <a:pt x="50083" y="117577"/>
                    <a:pt x="48866" y="116620"/>
                    <a:pt x="47523" y="115566"/>
                  </a:cubicBezTo>
                  <a:cubicBezTo>
                    <a:pt x="46425" y="114707"/>
                    <a:pt x="45244" y="113779"/>
                    <a:pt x="44069" y="113245"/>
                  </a:cubicBezTo>
                  <a:cubicBezTo>
                    <a:pt x="42177" y="112380"/>
                    <a:pt x="42888" y="114257"/>
                    <a:pt x="43528" y="115917"/>
                  </a:cubicBezTo>
                  <a:cubicBezTo>
                    <a:pt x="43767" y="116557"/>
                    <a:pt x="44006" y="117169"/>
                    <a:pt x="44069" y="117577"/>
                  </a:cubicBezTo>
                  <a:cubicBezTo>
                    <a:pt x="44203" y="118421"/>
                    <a:pt x="42543" y="119068"/>
                    <a:pt x="40834" y="119729"/>
                  </a:cubicBezTo>
                  <a:cubicBezTo>
                    <a:pt x="39554" y="120228"/>
                    <a:pt x="38239" y="120742"/>
                    <a:pt x="37627" y="121354"/>
                  </a:cubicBezTo>
                  <a:cubicBezTo>
                    <a:pt x="36649" y="122331"/>
                    <a:pt x="36452" y="120214"/>
                    <a:pt x="36277" y="118301"/>
                  </a:cubicBezTo>
                  <a:cubicBezTo>
                    <a:pt x="36192" y="117415"/>
                    <a:pt x="36108" y="116571"/>
                    <a:pt x="35960" y="116107"/>
                  </a:cubicBezTo>
                  <a:cubicBezTo>
                    <a:pt x="35693" y="115277"/>
                    <a:pt x="34744" y="114855"/>
                    <a:pt x="33801" y="114426"/>
                  </a:cubicBezTo>
                  <a:cubicBezTo>
                    <a:pt x="33063" y="114096"/>
                    <a:pt x="32324" y="113765"/>
                    <a:pt x="31902" y="113245"/>
                  </a:cubicBezTo>
                  <a:cubicBezTo>
                    <a:pt x="31424" y="112647"/>
                    <a:pt x="32212" y="111803"/>
                    <a:pt x="33020" y="110938"/>
                  </a:cubicBezTo>
                  <a:cubicBezTo>
                    <a:pt x="33822" y="110080"/>
                    <a:pt x="34645" y="109194"/>
                    <a:pt x="34286" y="108490"/>
                  </a:cubicBezTo>
                  <a:cubicBezTo>
                    <a:pt x="33808" y="107541"/>
                    <a:pt x="32352" y="107871"/>
                    <a:pt x="30939" y="108188"/>
                  </a:cubicBezTo>
                  <a:cubicBezTo>
                    <a:pt x="30249" y="108343"/>
                    <a:pt x="29567" y="108490"/>
                    <a:pt x="29025" y="108490"/>
                  </a:cubicBezTo>
                  <a:cubicBezTo>
                    <a:pt x="28083" y="108490"/>
                    <a:pt x="26606" y="107703"/>
                    <a:pt x="25031" y="106851"/>
                  </a:cubicBezTo>
                  <a:cubicBezTo>
                    <a:pt x="23814" y="106204"/>
                    <a:pt x="22534" y="105515"/>
                    <a:pt x="21388" y="105135"/>
                  </a:cubicBezTo>
                  <a:cubicBezTo>
                    <a:pt x="19419" y="104474"/>
                    <a:pt x="18659" y="103159"/>
                    <a:pt x="17702" y="101492"/>
                  </a:cubicBezTo>
                  <a:cubicBezTo>
                    <a:pt x="17379" y="100944"/>
                    <a:pt x="17034" y="100346"/>
                    <a:pt x="16619" y="99727"/>
                  </a:cubicBezTo>
                  <a:cubicBezTo>
                    <a:pt x="15283" y="97737"/>
                    <a:pt x="12857" y="98897"/>
                    <a:pt x="11809" y="99727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8" name="Freihandform: Form 233">
              <a:extLst>
                <a:ext uri="{FF2B5EF4-FFF2-40B4-BE49-F238E27FC236}">
                  <a16:creationId xmlns:a16="http://schemas.microsoft.com/office/drawing/2014/main" id="{09B0A166-8ECB-4C4E-B40E-E3EC17F7BF65}"/>
                </a:ext>
              </a:extLst>
            </p:cNvPr>
            <p:cNvSpPr/>
            <p:nvPr/>
          </p:nvSpPr>
          <p:spPr>
            <a:xfrm>
              <a:off x="6305769" y="3676820"/>
              <a:ext cx="3818" cy="8924"/>
            </a:xfrm>
            <a:custGeom>
              <a:avLst/>
              <a:gdLst>
                <a:gd name="connsiteX0" fmla="*/ 155 w 3818"/>
                <a:gd name="connsiteY0" fmla="*/ 7990 h 8924"/>
                <a:gd name="connsiteX1" fmla="*/ 1906 w 3818"/>
                <a:gd name="connsiteY1" fmla="*/ 0 h 8924"/>
                <a:gd name="connsiteX2" fmla="*/ 1906 w 3818"/>
                <a:gd name="connsiteY2" fmla="*/ 8925 h 8924"/>
                <a:gd name="connsiteX3" fmla="*/ 155 w 3818"/>
                <a:gd name="connsiteY3" fmla="*/ 7990 h 8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8" h="8924">
                  <a:moveTo>
                    <a:pt x="155" y="7990"/>
                  </a:moveTo>
                  <a:cubicBezTo>
                    <a:pt x="-492" y="7434"/>
                    <a:pt x="1048" y="2433"/>
                    <a:pt x="1906" y="0"/>
                  </a:cubicBezTo>
                  <a:cubicBezTo>
                    <a:pt x="5028" y="992"/>
                    <a:pt x="3811" y="6618"/>
                    <a:pt x="1906" y="8925"/>
                  </a:cubicBezTo>
                  <a:cubicBezTo>
                    <a:pt x="1596" y="8848"/>
                    <a:pt x="808" y="8545"/>
                    <a:pt x="155" y="799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9" name="Freihandform: Form 234">
              <a:extLst>
                <a:ext uri="{FF2B5EF4-FFF2-40B4-BE49-F238E27FC236}">
                  <a16:creationId xmlns:a16="http://schemas.microsoft.com/office/drawing/2014/main" id="{47028D76-DDCF-A84D-93BE-3D46A4B558CD}"/>
                </a:ext>
              </a:extLst>
            </p:cNvPr>
            <p:cNvSpPr/>
            <p:nvPr/>
          </p:nvSpPr>
          <p:spPr>
            <a:xfrm>
              <a:off x="6366746" y="3689606"/>
              <a:ext cx="47543" cy="33811"/>
            </a:xfrm>
            <a:custGeom>
              <a:avLst/>
              <a:gdLst>
                <a:gd name="connsiteX0" fmla="*/ 3151 w 47543"/>
                <a:gd name="connsiteY0" fmla="*/ 24201 h 33811"/>
                <a:gd name="connsiteX1" fmla="*/ 5950 w 47543"/>
                <a:gd name="connsiteY1" fmla="*/ 26374 h 33811"/>
                <a:gd name="connsiteX2" fmla="*/ 5950 w 47543"/>
                <a:gd name="connsiteY2" fmla="*/ 26374 h 33811"/>
                <a:gd name="connsiteX3" fmla="*/ 7258 w 47543"/>
                <a:gd name="connsiteY3" fmla="*/ 27422 h 33811"/>
                <a:gd name="connsiteX4" fmla="*/ 7406 w 47543"/>
                <a:gd name="connsiteY4" fmla="*/ 29194 h 33811"/>
                <a:gd name="connsiteX5" fmla="*/ 7258 w 47543"/>
                <a:gd name="connsiteY5" fmla="*/ 32774 h 33811"/>
                <a:gd name="connsiteX6" fmla="*/ 11991 w 47543"/>
                <a:gd name="connsiteY6" fmla="*/ 32837 h 33811"/>
                <a:gd name="connsiteX7" fmla="*/ 11991 w 47543"/>
                <a:gd name="connsiteY7" fmla="*/ 32837 h 33811"/>
                <a:gd name="connsiteX8" fmla="*/ 14833 w 47543"/>
                <a:gd name="connsiteY8" fmla="*/ 32036 h 33811"/>
                <a:gd name="connsiteX9" fmla="*/ 17069 w 47543"/>
                <a:gd name="connsiteY9" fmla="*/ 30425 h 33811"/>
                <a:gd name="connsiteX10" fmla="*/ 18708 w 47543"/>
                <a:gd name="connsiteY10" fmla="*/ 29947 h 33811"/>
                <a:gd name="connsiteX11" fmla="*/ 30453 w 47543"/>
                <a:gd name="connsiteY11" fmla="*/ 32774 h 33811"/>
                <a:gd name="connsiteX12" fmla="*/ 30699 w 47543"/>
                <a:gd name="connsiteY12" fmla="*/ 29890 h 33811"/>
                <a:gd name="connsiteX13" fmla="*/ 30453 w 47543"/>
                <a:gd name="connsiteY13" fmla="*/ 26669 h 33811"/>
                <a:gd name="connsiteX14" fmla="*/ 33393 w 47543"/>
                <a:gd name="connsiteY14" fmla="*/ 24890 h 33811"/>
                <a:gd name="connsiteX15" fmla="*/ 33393 w 47543"/>
                <a:gd name="connsiteY15" fmla="*/ 24890 h 33811"/>
                <a:gd name="connsiteX16" fmla="*/ 36255 w 47543"/>
                <a:gd name="connsiteY16" fmla="*/ 23251 h 33811"/>
                <a:gd name="connsiteX17" fmla="*/ 35665 w 47543"/>
                <a:gd name="connsiteY17" fmla="*/ 19559 h 33811"/>
                <a:gd name="connsiteX18" fmla="*/ 34905 w 47543"/>
                <a:gd name="connsiteY18" fmla="*/ 16415 h 33811"/>
                <a:gd name="connsiteX19" fmla="*/ 43112 w 47543"/>
                <a:gd name="connsiteY19" fmla="*/ 11190 h 33811"/>
                <a:gd name="connsiteX20" fmla="*/ 46953 w 47543"/>
                <a:gd name="connsiteY20" fmla="*/ 8981 h 33811"/>
                <a:gd name="connsiteX21" fmla="*/ 46524 w 47543"/>
                <a:gd name="connsiteY21" fmla="*/ 3362 h 33811"/>
                <a:gd name="connsiteX22" fmla="*/ 46081 w 47543"/>
                <a:gd name="connsiteY22" fmla="*/ 1983 h 33811"/>
                <a:gd name="connsiteX23" fmla="*/ 43401 w 47543"/>
                <a:gd name="connsiteY23" fmla="*/ 0 h 33811"/>
                <a:gd name="connsiteX24" fmla="*/ 40370 w 47543"/>
                <a:gd name="connsiteY24" fmla="*/ 2258 h 33811"/>
                <a:gd name="connsiteX25" fmla="*/ 32563 w 47543"/>
                <a:gd name="connsiteY25" fmla="*/ 5781 h 33811"/>
                <a:gd name="connsiteX26" fmla="*/ 29004 w 47543"/>
                <a:gd name="connsiteY26" fmla="*/ 5296 h 33811"/>
                <a:gd name="connsiteX27" fmla="*/ 29004 w 47543"/>
                <a:gd name="connsiteY27" fmla="*/ 5296 h 33811"/>
                <a:gd name="connsiteX28" fmla="*/ 24967 w 47543"/>
                <a:gd name="connsiteY28" fmla="*/ 5781 h 33811"/>
                <a:gd name="connsiteX29" fmla="*/ 24137 w 47543"/>
                <a:gd name="connsiteY29" fmla="*/ 6428 h 33811"/>
                <a:gd name="connsiteX30" fmla="*/ 14432 w 47543"/>
                <a:gd name="connsiteY30" fmla="*/ 10648 h 33811"/>
                <a:gd name="connsiteX31" fmla="*/ 3896 w 47543"/>
                <a:gd name="connsiteY31" fmla="*/ 9530 h 33811"/>
                <a:gd name="connsiteX32" fmla="*/ 1730 w 47543"/>
                <a:gd name="connsiteY32" fmla="*/ 11914 h 33811"/>
                <a:gd name="connsiteX33" fmla="*/ 0 w 47543"/>
                <a:gd name="connsiteY33" fmla="*/ 13890 h 33811"/>
                <a:gd name="connsiteX34" fmla="*/ 1786 w 47543"/>
                <a:gd name="connsiteY34" fmla="*/ 15789 h 33811"/>
                <a:gd name="connsiteX35" fmla="*/ 3263 w 47543"/>
                <a:gd name="connsiteY35" fmla="*/ 17330 h 33811"/>
                <a:gd name="connsiteX36" fmla="*/ 1681 w 47543"/>
                <a:gd name="connsiteY36" fmla="*/ 19320 h 33811"/>
                <a:gd name="connsiteX37" fmla="*/ 738 w 47543"/>
                <a:gd name="connsiteY37" fmla="*/ 20410 h 33811"/>
                <a:gd name="connsiteX38" fmla="*/ 1857 w 47543"/>
                <a:gd name="connsiteY38" fmla="*/ 20797 h 33811"/>
                <a:gd name="connsiteX39" fmla="*/ 3263 w 47543"/>
                <a:gd name="connsiteY39" fmla="*/ 21282 h 33811"/>
                <a:gd name="connsiteX40" fmla="*/ 3228 w 47543"/>
                <a:gd name="connsiteY40" fmla="*/ 21978 h 33811"/>
                <a:gd name="connsiteX41" fmla="*/ 3151 w 47543"/>
                <a:gd name="connsiteY41" fmla="*/ 24201 h 33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7543" h="33811">
                  <a:moveTo>
                    <a:pt x="3151" y="24201"/>
                  </a:moveTo>
                  <a:cubicBezTo>
                    <a:pt x="4164" y="24841"/>
                    <a:pt x="5148" y="25685"/>
                    <a:pt x="5950" y="26374"/>
                  </a:cubicBezTo>
                  <a:lnTo>
                    <a:pt x="5950" y="26374"/>
                  </a:lnTo>
                  <a:cubicBezTo>
                    <a:pt x="6491" y="26831"/>
                    <a:pt x="6942" y="27225"/>
                    <a:pt x="7258" y="27422"/>
                  </a:cubicBezTo>
                  <a:cubicBezTo>
                    <a:pt x="7828" y="27781"/>
                    <a:pt x="7652" y="28371"/>
                    <a:pt x="7406" y="29194"/>
                  </a:cubicBezTo>
                  <a:cubicBezTo>
                    <a:pt x="7138" y="30094"/>
                    <a:pt x="6787" y="31290"/>
                    <a:pt x="7258" y="32774"/>
                  </a:cubicBezTo>
                  <a:cubicBezTo>
                    <a:pt x="7828" y="34568"/>
                    <a:pt x="10015" y="33660"/>
                    <a:pt x="11991" y="32837"/>
                  </a:cubicBezTo>
                  <a:lnTo>
                    <a:pt x="11991" y="32837"/>
                  </a:lnTo>
                  <a:cubicBezTo>
                    <a:pt x="13123" y="32366"/>
                    <a:pt x="14178" y="31930"/>
                    <a:pt x="14833" y="32036"/>
                  </a:cubicBezTo>
                  <a:cubicBezTo>
                    <a:pt x="15684" y="32176"/>
                    <a:pt x="16436" y="31227"/>
                    <a:pt x="17069" y="30425"/>
                  </a:cubicBezTo>
                  <a:cubicBezTo>
                    <a:pt x="17765" y="29553"/>
                    <a:pt x="18314" y="28857"/>
                    <a:pt x="18708" y="29947"/>
                  </a:cubicBezTo>
                  <a:cubicBezTo>
                    <a:pt x="19460" y="32036"/>
                    <a:pt x="28526" y="32774"/>
                    <a:pt x="30453" y="32774"/>
                  </a:cubicBezTo>
                  <a:cubicBezTo>
                    <a:pt x="31494" y="32774"/>
                    <a:pt x="31114" y="31382"/>
                    <a:pt x="30699" y="29890"/>
                  </a:cubicBezTo>
                  <a:cubicBezTo>
                    <a:pt x="30348" y="28625"/>
                    <a:pt x="29982" y="27281"/>
                    <a:pt x="30453" y="26669"/>
                  </a:cubicBezTo>
                  <a:cubicBezTo>
                    <a:pt x="30995" y="25973"/>
                    <a:pt x="32183" y="25432"/>
                    <a:pt x="33393" y="24890"/>
                  </a:cubicBezTo>
                  <a:lnTo>
                    <a:pt x="33393" y="24890"/>
                  </a:lnTo>
                  <a:cubicBezTo>
                    <a:pt x="34497" y="24391"/>
                    <a:pt x="35615" y="23884"/>
                    <a:pt x="36255" y="23251"/>
                  </a:cubicBezTo>
                  <a:cubicBezTo>
                    <a:pt x="36987" y="22527"/>
                    <a:pt x="36319" y="21022"/>
                    <a:pt x="35665" y="19559"/>
                  </a:cubicBezTo>
                  <a:cubicBezTo>
                    <a:pt x="35109" y="18314"/>
                    <a:pt x="34567" y="17097"/>
                    <a:pt x="34905" y="16415"/>
                  </a:cubicBezTo>
                  <a:cubicBezTo>
                    <a:pt x="35390" y="15431"/>
                    <a:pt x="39730" y="13046"/>
                    <a:pt x="43112" y="11190"/>
                  </a:cubicBezTo>
                  <a:cubicBezTo>
                    <a:pt x="44885" y="10219"/>
                    <a:pt x="46390" y="9389"/>
                    <a:pt x="46953" y="8981"/>
                  </a:cubicBezTo>
                  <a:cubicBezTo>
                    <a:pt x="48197" y="8067"/>
                    <a:pt x="47192" y="5240"/>
                    <a:pt x="46524" y="3362"/>
                  </a:cubicBezTo>
                  <a:cubicBezTo>
                    <a:pt x="46320" y="2785"/>
                    <a:pt x="46144" y="2293"/>
                    <a:pt x="46081" y="1983"/>
                  </a:cubicBezTo>
                  <a:cubicBezTo>
                    <a:pt x="45926" y="1252"/>
                    <a:pt x="44814" y="514"/>
                    <a:pt x="43401" y="0"/>
                  </a:cubicBezTo>
                  <a:cubicBezTo>
                    <a:pt x="41994" y="675"/>
                    <a:pt x="40742" y="1365"/>
                    <a:pt x="40370" y="2258"/>
                  </a:cubicBezTo>
                  <a:cubicBezTo>
                    <a:pt x="39399" y="4607"/>
                    <a:pt x="36255" y="5577"/>
                    <a:pt x="32563" y="5781"/>
                  </a:cubicBezTo>
                  <a:cubicBezTo>
                    <a:pt x="31072" y="5859"/>
                    <a:pt x="29961" y="5556"/>
                    <a:pt x="29004" y="5296"/>
                  </a:cubicBezTo>
                  <a:lnTo>
                    <a:pt x="29004" y="5296"/>
                  </a:lnTo>
                  <a:cubicBezTo>
                    <a:pt x="27583" y="4909"/>
                    <a:pt x="26486" y="4614"/>
                    <a:pt x="24967" y="5781"/>
                  </a:cubicBezTo>
                  <a:cubicBezTo>
                    <a:pt x="24707" y="5978"/>
                    <a:pt x="24426" y="6196"/>
                    <a:pt x="24137" y="6428"/>
                  </a:cubicBezTo>
                  <a:cubicBezTo>
                    <a:pt x="21613" y="8405"/>
                    <a:pt x="18103" y="11169"/>
                    <a:pt x="14432" y="10648"/>
                  </a:cubicBezTo>
                  <a:cubicBezTo>
                    <a:pt x="11063" y="10177"/>
                    <a:pt x="7300" y="9685"/>
                    <a:pt x="3896" y="9530"/>
                  </a:cubicBezTo>
                  <a:cubicBezTo>
                    <a:pt x="3559" y="10114"/>
                    <a:pt x="2609" y="11049"/>
                    <a:pt x="1730" y="11914"/>
                  </a:cubicBezTo>
                  <a:cubicBezTo>
                    <a:pt x="830" y="12807"/>
                    <a:pt x="0" y="13623"/>
                    <a:pt x="0" y="13890"/>
                  </a:cubicBezTo>
                  <a:cubicBezTo>
                    <a:pt x="0" y="14228"/>
                    <a:pt x="921" y="15037"/>
                    <a:pt x="1786" y="15789"/>
                  </a:cubicBezTo>
                  <a:cubicBezTo>
                    <a:pt x="2546" y="16464"/>
                    <a:pt x="3263" y="17090"/>
                    <a:pt x="3263" y="17330"/>
                  </a:cubicBezTo>
                  <a:cubicBezTo>
                    <a:pt x="3263" y="17632"/>
                    <a:pt x="2398" y="18553"/>
                    <a:pt x="1681" y="19320"/>
                  </a:cubicBezTo>
                  <a:cubicBezTo>
                    <a:pt x="1217" y="19812"/>
                    <a:pt x="816" y="20241"/>
                    <a:pt x="738" y="20410"/>
                  </a:cubicBezTo>
                  <a:cubicBezTo>
                    <a:pt x="640" y="20607"/>
                    <a:pt x="1224" y="20698"/>
                    <a:pt x="1857" y="20797"/>
                  </a:cubicBezTo>
                  <a:cubicBezTo>
                    <a:pt x="2532" y="20902"/>
                    <a:pt x="3263" y="21015"/>
                    <a:pt x="3263" y="21282"/>
                  </a:cubicBezTo>
                  <a:cubicBezTo>
                    <a:pt x="3263" y="21402"/>
                    <a:pt x="3249" y="21655"/>
                    <a:pt x="3228" y="21978"/>
                  </a:cubicBezTo>
                  <a:cubicBezTo>
                    <a:pt x="3200" y="22576"/>
                    <a:pt x="3151" y="23427"/>
                    <a:pt x="3151" y="2420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0" name="Freihandform: Form 235">
              <a:extLst>
                <a:ext uri="{FF2B5EF4-FFF2-40B4-BE49-F238E27FC236}">
                  <a16:creationId xmlns:a16="http://schemas.microsoft.com/office/drawing/2014/main" id="{B8B9F6F9-CFCC-1041-A9FC-27AA7DDC20B7}"/>
                </a:ext>
              </a:extLst>
            </p:cNvPr>
            <p:cNvSpPr/>
            <p:nvPr/>
          </p:nvSpPr>
          <p:spPr>
            <a:xfrm>
              <a:off x="6267878" y="3757772"/>
              <a:ext cx="5044" cy="3914"/>
            </a:xfrm>
            <a:custGeom>
              <a:avLst/>
              <a:gdLst>
                <a:gd name="connsiteX0" fmla="*/ 222 w 5044"/>
                <a:gd name="connsiteY0" fmla="*/ 1314 h 3914"/>
                <a:gd name="connsiteX1" fmla="*/ 1735 w 5044"/>
                <a:gd name="connsiteY1" fmla="*/ 3902 h 3914"/>
                <a:gd name="connsiteX2" fmla="*/ 5033 w 5044"/>
                <a:gd name="connsiteY2" fmla="*/ 1314 h 3914"/>
                <a:gd name="connsiteX3" fmla="*/ 222 w 5044"/>
                <a:gd name="connsiteY3" fmla="*/ 1314 h 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4" h="3914">
                  <a:moveTo>
                    <a:pt x="222" y="1314"/>
                  </a:moveTo>
                  <a:cubicBezTo>
                    <a:pt x="-558" y="1476"/>
                    <a:pt x="904" y="3107"/>
                    <a:pt x="1735" y="3902"/>
                  </a:cubicBezTo>
                  <a:cubicBezTo>
                    <a:pt x="2916" y="3994"/>
                    <a:pt x="5223" y="3607"/>
                    <a:pt x="5033" y="1314"/>
                  </a:cubicBezTo>
                  <a:cubicBezTo>
                    <a:pt x="4794" y="-1541"/>
                    <a:pt x="1200" y="1117"/>
                    <a:pt x="222" y="131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1" name="Freihandform: Form 236">
              <a:extLst>
                <a:ext uri="{FF2B5EF4-FFF2-40B4-BE49-F238E27FC236}">
                  <a16:creationId xmlns:a16="http://schemas.microsoft.com/office/drawing/2014/main" id="{68847B5C-1E42-F140-BBE7-E423F23D32E4}"/>
                </a:ext>
              </a:extLst>
            </p:cNvPr>
            <p:cNvSpPr/>
            <p:nvPr/>
          </p:nvSpPr>
          <p:spPr>
            <a:xfrm>
              <a:off x="6369629" y="3697947"/>
              <a:ext cx="90316" cy="89826"/>
            </a:xfrm>
            <a:custGeom>
              <a:avLst/>
              <a:gdLst>
                <a:gd name="connsiteX0" fmla="*/ 4529 w 90316"/>
                <a:gd name="connsiteY0" fmla="*/ 20839 h 89826"/>
                <a:gd name="connsiteX1" fmla="*/ 4522 w 90316"/>
                <a:gd name="connsiteY1" fmla="*/ 20853 h 89826"/>
                <a:gd name="connsiteX2" fmla="*/ 4374 w 90316"/>
                <a:gd name="connsiteY2" fmla="*/ 24433 h 89826"/>
                <a:gd name="connsiteX3" fmla="*/ 9108 w 90316"/>
                <a:gd name="connsiteY3" fmla="*/ 24496 h 89826"/>
                <a:gd name="connsiteX4" fmla="*/ 9108 w 90316"/>
                <a:gd name="connsiteY4" fmla="*/ 24496 h 89826"/>
                <a:gd name="connsiteX5" fmla="*/ 11949 w 90316"/>
                <a:gd name="connsiteY5" fmla="*/ 23694 h 89826"/>
                <a:gd name="connsiteX6" fmla="*/ 14186 w 90316"/>
                <a:gd name="connsiteY6" fmla="*/ 22091 h 89826"/>
                <a:gd name="connsiteX7" fmla="*/ 15824 w 90316"/>
                <a:gd name="connsiteY7" fmla="*/ 21606 h 89826"/>
                <a:gd name="connsiteX8" fmla="*/ 27569 w 90316"/>
                <a:gd name="connsiteY8" fmla="*/ 24433 h 89826"/>
                <a:gd name="connsiteX9" fmla="*/ 27816 w 90316"/>
                <a:gd name="connsiteY9" fmla="*/ 21549 h 89826"/>
                <a:gd name="connsiteX10" fmla="*/ 27569 w 90316"/>
                <a:gd name="connsiteY10" fmla="*/ 18328 h 89826"/>
                <a:gd name="connsiteX11" fmla="*/ 30509 w 90316"/>
                <a:gd name="connsiteY11" fmla="*/ 16549 h 89826"/>
                <a:gd name="connsiteX12" fmla="*/ 30509 w 90316"/>
                <a:gd name="connsiteY12" fmla="*/ 16549 h 89826"/>
                <a:gd name="connsiteX13" fmla="*/ 33372 w 90316"/>
                <a:gd name="connsiteY13" fmla="*/ 14910 h 89826"/>
                <a:gd name="connsiteX14" fmla="*/ 32781 w 90316"/>
                <a:gd name="connsiteY14" fmla="*/ 11218 h 89826"/>
                <a:gd name="connsiteX15" fmla="*/ 32021 w 90316"/>
                <a:gd name="connsiteY15" fmla="*/ 8074 h 89826"/>
                <a:gd name="connsiteX16" fmla="*/ 40229 w 90316"/>
                <a:gd name="connsiteY16" fmla="*/ 2848 h 89826"/>
                <a:gd name="connsiteX17" fmla="*/ 44069 w 90316"/>
                <a:gd name="connsiteY17" fmla="*/ 640 h 89826"/>
                <a:gd name="connsiteX18" fmla="*/ 44526 w 90316"/>
                <a:gd name="connsiteY18" fmla="*/ 0 h 89826"/>
                <a:gd name="connsiteX19" fmla="*/ 53071 w 90316"/>
                <a:gd name="connsiteY19" fmla="*/ 6604 h 89826"/>
                <a:gd name="connsiteX20" fmla="*/ 69908 w 90316"/>
                <a:gd name="connsiteY20" fmla="*/ 17055 h 89826"/>
                <a:gd name="connsiteX21" fmla="*/ 81042 w 90316"/>
                <a:gd name="connsiteY21" fmla="*/ 14847 h 89826"/>
                <a:gd name="connsiteX22" fmla="*/ 82906 w 90316"/>
                <a:gd name="connsiteY22" fmla="*/ 17611 h 89826"/>
                <a:gd name="connsiteX23" fmla="*/ 84439 w 90316"/>
                <a:gd name="connsiteY23" fmla="*/ 20691 h 89826"/>
                <a:gd name="connsiteX24" fmla="*/ 85065 w 90316"/>
                <a:gd name="connsiteY24" fmla="*/ 22288 h 89826"/>
                <a:gd name="connsiteX25" fmla="*/ 85550 w 90316"/>
                <a:gd name="connsiteY25" fmla="*/ 25108 h 89826"/>
                <a:gd name="connsiteX26" fmla="*/ 88229 w 90316"/>
                <a:gd name="connsiteY26" fmla="*/ 27802 h 89826"/>
                <a:gd name="connsiteX27" fmla="*/ 90283 w 90316"/>
                <a:gd name="connsiteY27" fmla="*/ 29616 h 89826"/>
                <a:gd name="connsiteX28" fmla="*/ 88729 w 90316"/>
                <a:gd name="connsiteY28" fmla="*/ 30186 h 89826"/>
                <a:gd name="connsiteX29" fmla="*/ 86760 w 90316"/>
                <a:gd name="connsiteY29" fmla="*/ 31149 h 89826"/>
                <a:gd name="connsiteX30" fmla="*/ 87090 w 90316"/>
                <a:gd name="connsiteY30" fmla="*/ 32324 h 89826"/>
                <a:gd name="connsiteX31" fmla="*/ 86760 w 90316"/>
                <a:gd name="connsiteY31" fmla="*/ 36656 h 89826"/>
                <a:gd name="connsiteX32" fmla="*/ 82631 w 90316"/>
                <a:gd name="connsiteY32" fmla="*/ 34715 h 89826"/>
                <a:gd name="connsiteX33" fmla="*/ 79607 w 90316"/>
                <a:gd name="connsiteY33" fmla="*/ 33133 h 89826"/>
                <a:gd name="connsiteX34" fmla="*/ 76948 w 90316"/>
                <a:gd name="connsiteY34" fmla="*/ 32514 h 89826"/>
                <a:gd name="connsiteX35" fmla="*/ 73882 w 90316"/>
                <a:gd name="connsiteY35" fmla="*/ 31923 h 89826"/>
                <a:gd name="connsiteX36" fmla="*/ 72152 w 90316"/>
                <a:gd name="connsiteY36" fmla="*/ 32275 h 89826"/>
                <a:gd name="connsiteX37" fmla="*/ 68038 w 90316"/>
                <a:gd name="connsiteY37" fmla="*/ 32577 h 89826"/>
                <a:gd name="connsiteX38" fmla="*/ 59788 w 90316"/>
                <a:gd name="connsiteY38" fmla="*/ 31149 h 89826"/>
                <a:gd name="connsiteX39" fmla="*/ 55216 w 90316"/>
                <a:gd name="connsiteY39" fmla="*/ 29764 h 89826"/>
                <a:gd name="connsiteX40" fmla="*/ 54942 w 90316"/>
                <a:gd name="connsiteY40" fmla="*/ 29616 h 89826"/>
                <a:gd name="connsiteX41" fmla="*/ 51454 w 90316"/>
                <a:gd name="connsiteY41" fmla="*/ 29883 h 89826"/>
                <a:gd name="connsiteX42" fmla="*/ 50427 w 90316"/>
                <a:gd name="connsiteY42" fmla="*/ 30277 h 89826"/>
                <a:gd name="connsiteX43" fmla="*/ 48549 w 90316"/>
                <a:gd name="connsiteY43" fmla="*/ 30130 h 89826"/>
                <a:gd name="connsiteX44" fmla="*/ 45701 w 90316"/>
                <a:gd name="connsiteY44" fmla="*/ 30277 h 89826"/>
                <a:gd name="connsiteX45" fmla="*/ 45117 w 90316"/>
                <a:gd name="connsiteY45" fmla="*/ 31353 h 89826"/>
                <a:gd name="connsiteX46" fmla="*/ 42282 w 90316"/>
                <a:gd name="connsiteY46" fmla="*/ 34012 h 89826"/>
                <a:gd name="connsiteX47" fmla="*/ 40292 w 90316"/>
                <a:gd name="connsiteY47" fmla="*/ 31909 h 89826"/>
                <a:gd name="connsiteX48" fmla="*/ 37212 w 90316"/>
                <a:gd name="connsiteY48" fmla="*/ 29616 h 89826"/>
                <a:gd name="connsiteX49" fmla="*/ 34567 w 90316"/>
                <a:gd name="connsiteY49" fmla="*/ 34012 h 89826"/>
                <a:gd name="connsiteX50" fmla="*/ 34539 w 90316"/>
                <a:gd name="connsiteY50" fmla="*/ 35679 h 89826"/>
                <a:gd name="connsiteX51" fmla="*/ 35559 w 90316"/>
                <a:gd name="connsiteY51" fmla="*/ 40609 h 89826"/>
                <a:gd name="connsiteX52" fmla="*/ 39315 w 90316"/>
                <a:gd name="connsiteY52" fmla="*/ 45145 h 89826"/>
                <a:gd name="connsiteX53" fmla="*/ 40292 w 90316"/>
                <a:gd name="connsiteY53" fmla="*/ 48113 h 89826"/>
                <a:gd name="connsiteX54" fmla="*/ 41502 w 90316"/>
                <a:gd name="connsiteY54" fmla="*/ 51524 h 89826"/>
                <a:gd name="connsiteX55" fmla="*/ 56271 w 90316"/>
                <a:gd name="connsiteY55" fmla="*/ 67700 h 89826"/>
                <a:gd name="connsiteX56" fmla="*/ 58458 w 90316"/>
                <a:gd name="connsiteY56" fmla="*/ 71118 h 89826"/>
                <a:gd name="connsiteX57" fmla="*/ 62228 w 90316"/>
                <a:gd name="connsiteY57" fmla="*/ 74902 h 89826"/>
                <a:gd name="connsiteX58" fmla="*/ 65260 w 90316"/>
                <a:gd name="connsiteY58" fmla="*/ 77842 h 89826"/>
                <a:gd name="connsiteX59" fmla="*/ 70619 w 90316"/>
                <a:gd name="connsiteY59" fmla="*/ 82737 h 89826"/>
                <a:gd name="connsiteX60" fmla="*/ 73207 w 90316"/>
                <a:gd name="connsiteY60" fmla="*/ 84875 h 89826"/>
                <a:gd name="connsiteX61" fmla="*/ 74311 w 90316"/>
                <a:gd name="connsiteY61" fmla="*/ 86014 h 89826"/>
                <a:gd name="connsiteX62" fmla="*/ 76526 w 90316"/>
                <a:gd name="connsiteY62" fmla="*/ 88828 h 89826"/>
                <a:gd name="connsiteX63" fmla="*/ 75633 w 90316"/>
                <a:gd name="connsiteY63" fmla="*/ 89826 h 89826"/>
                <a:gd name="connsiteX64" fmla="*/ 66174 w 90316"/>
                <a:gd name="connsiteY64" fmla="*/ 82350 h 89826"/>
                <a:gd name="connsiteX65" fmla="*/ 62664 w 90316"/>
                <a:gd name="connsiteY65" fmla="*/ 79466 h 89826"/>
                <a:gd name="connsiteX66" fmla="*/ 60568 w 90316"/>
                <a:gd name="connsiteY66" fmla="*/ 77842 h 89826"/>
                <a:gd name="connsiteX67" fmla="*/ 58156 w 90316"/>
                <a:gd name="connsiteY67" fmla="*/ 75711 h 89826"/>
                <a:gd name="connsiteX68" fmla="*/ 53071 w 90316"/>
                <a:gd name="connsiteY68" fmla="*/ 71118 h 89826"/>
                <a:gd name="connsiteX69" fmla="*/ 49351 w 90316"/>
                <a:gd name="connsiteY69" fmla="*/ 69254 h 89826"/>
                <a:gd name="connsiteX70" fmla="*/ 49337 w 90316"/>
                <a:gd name="connsiteY70" fmla="*/ 69254 h 89826"/>
                <a:gd name="connsiteX71" fmla="*/ 47375 w 90316"/>
                <a:gd name="connsiteY71" fmla="*/ 68059 h 89826"/>
                <a:gd name="connsiteX72" fmla="*/ 45138 w 90316"/>
                <a:gd name="connsiteY72" fmla="*/ 66709 h 89826"/>
                <a:gd name="connsiteX73" fmla="*/ 41551 w 90316"/>
                <a:gd name="connsiteY73" fmla="*/ 67130 h 89826"/>
                <a:gd name="connsiteX74" fmla="*/ 39856 w 90316"/>
                <a:gd name="connsiteY74" fmla="*/ 67482 h 89826"/>
                <a:gd name="connsiteX75" fmla="*/ 37212 w 90316"/>
                <a:gd name="connsiteY75" fmla="*/ 65175 h 89826"/>
                <a:gd name="connsiteX76" fmla="*/ 35559 w 90316"/>
                <a:gd name="connsiteY76" fmla="*/ 62095 h 89826"/>
                <a:gd name="connsiteX77" fmla="*/ 34842 w 90316"/>
                <a:gd name="connsiteY77" fmla="*/ 61961 h 89826"/>
                <a:gd name="connsiteX78" fmla="*/ 32915 w 90316"/>
                <a:gd name="connsiteY78" fmla="*/ 60984 h 89826"/>
                <a:gd name="connsiteX79" fmla="*/ 30052 w 90316"/>
                <a:gd name="connsiteY79" fmla="*/ 58677 h 89826"/>
                <a:gd name="connsiteX80" fmla="*/ 28399 w 90316"/>
                <a:gd name="connsiteY80" fmla="*/ 56757 h 89826"/>
                <a:gd name="connsiteX81" fmla="*/ 26754 w 90316"/>
                <a:gd name="connsiteY81" fmla="*/ 54387 h 89826"/>
                <a:gd name="connsiteX82" fmla="*/ 25882 w 90316"/>
                <a:gd name="connsiteY82" fmla="*/ 50743 h 89826"/>
                <a:gd name="connsiteX83" fmla="*/ 28842 w 90316"/>
                <a:gd name="connsiteY83" fmla="*/ 51812 h 89826"/>
                <a:gd name="connsiteX84" fmla="*/ 31607 w 90316"/>
                <a:gd name="connsiteY84" fmla="*/ 52516 h 89826"/>
                <a:gd name="connsiteX85" fmla="*/ 25896 w 90316"/>
                <a:gd name="connsiteY85" fmla="*/ 46974 h 89826"/>
                <a:gd name="connsiteX86" fmla="*/ 22027 w 90316"/>
                <a:gd name="connsiteY86" fmla="*/ 43492 h 89826"/>
                <a:gd name="connsiteX87" fmla="*/ 21465 w 90316"/>
                <a:gd name="connsiteY87" fmla="*/ 36656 h 89826"/>
                <a:gd name="connsiteX88" fmla="*/ 19721 w 90316"/>
                <a:gd name="connsiteY88" fmla="*/ 31923 h 89826"/>
                <a:gd name="connsiteX89" fmla="*/ 18490 w 90316"/>
                <a:gd name="connsiteY89" fmla="*/ 30861 h 89826"/>
                <a:gd name="connsiteX90" fmla="*/ 15423 w 90316"/>
                <a:gd name="connsiteY90" fmla="*/ 28505 h 89826"/>
                <a:gd name="connsiteX91" fmla="*/ 14235 w 90316"/>
                <a:gd name="connsiteY91" fmla="*/ 27865 h 89826"/>
                <a:gd name="connsiteX92" fmla="*/ 11133 w 90316"/>
                <a:gd name="connsiteY92" fmla="*/ 27190 h 89826"/>
                <a:gd name="connsiteX93" fmla="*/ 9143 w 90316"/>
                <a:gd name="connsiteY93" fmla="*/ 32577 h 89826"/>
                <a:gd name="connsiteX94" fmla="*/ 7820 w 90316"/>
                <a:gd name="connsiteY94" fmla="*/ 34645 h 89826"/>
                <a:gd name="connsiteX95" fmla="*/ 6941 w 90316"/>
                <a:gd name="connsiteY95" fmla="*/ 35777 h 89826"/>
                <a:gd name="connsiteX96" fmla="*/ 6864 w 90316"/>
                <a:gd name="connsiteY96" fmla="*/ 36909 h 89826"/>
                <a:gd name="connsiteX97" fmla="*/ 6280 w 90316"/>
                <a:gd name="connsiteY97" fmla="*/ 38640 h 89826"/>
                <a:gd name="connsiteX98" fmla="*/ 3298 w 90316"/>
                <a:gd name="connsiteY98" fmla="*/ 35777 h 89826"/>
                <a:gd name="connsiteX99" fmla="*/ 1449 w 90316"/>
                <a:gd name="connsiteY99" fmla="*/ 33316 h 89826"/>
                <a:gd name="connsiteX100" fmla="*/ 654 w 90316"/>
                <a:gd name="connsiteY100" fmla="*/ 32577 h 89826"/>
                <a:gd name="connsiteX101" fmla="*/ 0 w 90316"/>
                <a:gd name="connsiteY101" fmla="*/ 26297 h 89826"/>
                <a:gd name="connsiteX102" fmla="*/ 4529 w 90316"/>
                <a:gd name="connsiteY102" fmla="*/ 20839 h 89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90316" h="89826">
                  <a:moveTo>
                    <a:pt x="4529" y="20839"/>
                  </a:moveTo>
                  <a:cubicBezTo>
                    <a:pt x="4529" y="20846"/>
                    <a:pt x="4522" y="20846"/>
                    <a:pt x="4522" y="20853"/>
                  </a:cubicBezTo>
                  <a:cubicBezTo>
                    <a:pt x="4255" y="21760"/>
                    <a:pt x="3903" y="22949"/>
                    <a:pt x="4374" y="24433"/>
                  </a:cubicBezTo>
                  <a:cubicBezTo>
                    <a:pt x="4944" y="26226"/>
                    <a:pt x="7131" y="25319"/>
                    <a:pt x="9108" y="24496"/>
                  </a:cubicBezTo>
                  <a:lnTo>
                    <a:pt x="9108" y="24496"/>
                  </a:lnTo>
                  <a:cubicBezTo>
                    <a:pt x="10233" y="24025"/>
                    <a:pt x="11295" y="23589"/>
                    <a:pt x="11949" y="23694"/>
                  </a:cubicBezTo>
                  <a:cubicBezTo>
                    <a:pt x="12800" y="23835"/>
                    <a:pt x="13553" y="22886"/>
                    <a:pt x="14186" y="22091"/>
                  </a:cubicBezTo>
                  <a:cubicBezTo>
                    <a:pt x="14875" y="21212"/>
                    <a:pt x="15430" y="20515"/>
                    <a:pt x="15824" y="21606"/>
                  </a:cubicBezTo>
                  <a:cubicBezTo>
                    <a:pt x="16577" y="23694"/>
                    <a:pt x="25642" y="24433"/>
                    <a:pt x="27569" y="24433"/>
                  </a:cubicBezTo>
                  <a:cubicBezTo>
                    <a:pt x="28610" y="24433"/>
                    <a:pt x="28224" y="23040"/>
                    <a:pt x="27816" y="21549"/>
                  </a:cubicBezTo>
                  <a:cubicBezTo>
                    <a:pt x="27464" y="20283"/>
                    <a:pt x="27091" y="18940"/>
                    <a:pt x="27569" y="18328"/>
                  </a:cubicBezTo>
                  <a:cubicBezTo>
                    <a:pt x="28111" y="17632"/>
                    <a:pt x="29299" y="17090"/>
                    <a:pt x="30509" y="16549"/>
                  </a:cubicBezTo>
                  <a:lnTo>
                    <a:pt x="30509" y="16549"/>
                  </a:lnTo>
                  <a:cubicBezTo>
                    <a:pt x="31613" y="16049"/>
                    <a:pt x="32732" y="15543"/>
                    <a:pt x="33372" y="14910"/>
                  </a:cubicBezTo>
                  <a:cubicBezTo>
                    <a:pt x="34103" y="14186"/>
                    <a:pt x="33435" y="12681"/>
                    <a:pt x="32781" y="11218"/>
                  </a:cubicBezTo>
                  <a:cubicBezTo>
                    <a:pt x="32225" y="9973"/>
                    <a:pt x="31684" y="8756"/>
                    <a:pt x="32021" y="8074"/>
                  </a:cubicBezTo>
                  <a:cubicBezTo>
                    <a:pt x="32507" y="7089"/>
                    <a:pt x="36846" y="4705"/>
                    <a:pt x="40229" y="2848"/>
                  </a:cubicBezTo>
                  <a:cubicBezTo>
                    <a:pt x="42001" y="1878"/>
                    <a:pt x="43506" y="1048"/>
                    <a:pt x="44069" y="640"/>
                  </a:cubicBezTo>
                  <a:cubicBezTo>
                    <a:pt x="44287" y="478"/>
                    <a:pt x="44435" y="260"/>
                    <a:pt x="44526" y="0"/>
                  </a:cubicBezTo>
                  <a:cubicBezTo>
                    <a:pt x="47325" y="1371"/>
                    <a:pt x="50701" y="3552"/>
                    <a:pt x="53071" y="6604"/>
                  </a:cubicBezTo>
                  <a:cubicBezTo>
                    <a:pt x="57706" y="12547"/>
                    <a:pt x="66926" y="17055"/>
                    <a:pt x="69908" y="17055"/>
                  </a:cubicBezTo>
                  <a:cubicBezTo>
                    <a:pt x="72890" y="17055"/>
                    <a:pt x="77300" y="16380"/>
                    <a:pt x="81042" y="14847"/>
                  </a:cubicBezTo>
                  <a:cubicBezTo>
                    <a:pt x="84031" y="13623"/>
                    <a:pt x="83532" y="16183"/>
                    <a:pt x="82906" y="17611"/>
                  </a:cubicBezTo>
                  <a:cubicBezTo>
                    <a:pt x="83419" y="18307"/>
                    <a:pt x="84439" y="19897"/>
                    <a:pt x="84439" y="20691"/>
                  </a:cubicBezTo>
                  <a:cubicBezTo>
                    <a:pt x="84439" y="21057"/>
                    <a:pt x="84741" y="21648"/>
                    <a:pt x="85065" y="22288"/>
                  </a:cubicBezTo>
                  <a:cubicBezTo>
                    <a:pt x="85620" y="23385"/>
                    <a:pt x="86253" y="24630"/>
                    <a:pt x="85550" y="25108"/>
                  </a:cubicBezTo>
                  <a:cubicBezTo>
                    <a:pt x="84924" y="25530"/>
                    <a:pt x="86675" y="26733"/>
                    <a:pt x="88229" y="27802"/>
                  </a:cubicBezTo>
                  <a:cubicBezTo>
                    <a:pt x="89439" y="28639"/>
                    <a:pt x="90522" y="29384"/>
                    <a:pt x="90283" y="29616"/>
                  </a:cubicBezTo>
                  <a:cubicBezTo>
                    <a:pt x="90051" y="29841"/>
                    <a:pt x="89404" y="30010"/>
                    <a:pt x="88729" y="30186"/>
                  </a:cubicBezTo>
                  <a:cubicBezTo>
                    <a:pt x="87772" y="30432"/>
                    <a:pt x="86760" y="30692"/>
                    <a:pt x="86760" y="31149"/>
                  </a:cubicBezTo>
                  <a:cubicBezTo>
                    <a:pt x="86760" y="31339"/>
                    <a:pt x="86907" y="31782"/>
                    <a:pt x="87090" y="32324"/>
                  </a:cubicBezTo>
                  <a:cubicBezTo>
                    <a:pt x="87632" y="33984"/>
                    <a:pt x="88511" y="36656"/>
                    <a:pt x="86760" y="36656"/>
                  </a:cubicBezTo>
                  <a:cubicBezTo>
                    <a:pt x="85480" y="36656"/>
                    <a:pt x="84010" y="35651"/>
                    <a:pt x="82631" y="34715"/>
                  </a:cubicBezTo>
                  <a:cubicBezTo>
                    <a:pt x="81506" y="33956"/>
                    <a:pt x="80444" y="33231"/>
                    <a:pt x="79607" y="33133"/>
                  </a:cubicBezTo>
                  <a:cubicBezTo>
                    <a:pt x="78784" y="33041"/>
                    <a:pt x="77856" y="32774"/>
                    <a:pt x="76948" y="32514"/>
                  </a:cubicBezTo>
                  <a:cubicBezTo>
                    <a:pt x="75795" y="32183"/>
                    <a:pt x="74684" y="31867"/>
                    <a:pt x="73882" y="31923"/>
                  </a:cubicBezTo>
                  <a:cubicBezTo>
                    <a:pt x="73411" y="31958"/>
                    <a:pt x="72813" y="32106"/>
                    <a:pt x="72152" y="32275"/>
                  </a:cubicBezTo>
                  <a:cubicBezTo>
                    <a:pt x="70802" y="32619"/>
                    <a:pt x="69212" y="33020"/>
                    <a:pt x="68038" y="32577"/>
                  </a:cubicBezTo>
                  <a:cubicBezTo>
                    <a:pt x="66293" y="31923"/>
                    <a:pt x="61877" y="31149"/>
                    <a:pt x="59788" y="31149"/>
                  </a:cubicBezTo>
                  <a:cubicBezTo>
                    <a:pt x="57812" y="31149"/>
                    <a:pt x="56904" y="30664"/>
                    <a:pt x="55216" y="29764"/>
                  </a:cubicBezTo>
                  <a:cubicBezTo>
                    <a:pt x="55125" y="29715"/>
                    <a:pt x="55034" y="29665"/>
                    <a:pt x="54942" y="29616"/>
                  </a:cubicBezTo>
                  <a:cubicBezTo>
                    <a:pt x="53599" y="28906"/>
                    <a:pt x="52417" y="29440"/>
                    <a:pt x="51454" y="29883"/>
                  </a:cubicBezTo>
                  <a:cubicBezTo>
                    <a:pt x="51081" y="30052"/>
                    <a:pt x="50736" y="30214"/>
                    <a:pt x="50427" y="30277"/>
                  </a:cubicBezTo>
                  <a:cubicBezTo>
                    <a:pt x="50005" y="30362"/>
                    <a:pt x="49295" y="30249"/>
                    <a:pt x="48549" y="30130"/>
                  </a:cubicBezTo>
                  <a:cubicBezTo>
                    <a:pt x="47375" y="29940"/>
                    <a:pt x="46102" y="29736"/>
                    <a:pt x="45701" y="30277"/>
                  </a:cubicBezTo>
                  <a:cubicBezTo>
                    <a:pt x="45532" y="30495"/>
                    <a:pt x="45342" y="30896"/>
                    <a:pt x="45117" y="31353"/>
                  </a:cubicBezTo>
                  <a:cubicBezTo>
                    <a:pt x="44449" y="32732"/>
                    <a:pt x="43513" y="34666"/>
                    <a:pt x="42282" y="34012"/>
                  </a:cubicBezTo>
                  <a:cubicBezTo>
                    <a:pt x="41621" y="33660"/>
                    <a:pt x="40960" y="32788"/>
                    <a:pt x="40292" y="31909"/>
                  </a:cubicBezTo>
                  <a:cubicBezTo>
                    <a:pt x="39287" y="30573"/>
                    <a:pt x="38260" y="29222"/>
                    <a:pt x="37212" y="29616"/>
                  </a:cubicBezTo>
                  <a:cubicBezTo>
                    <a:pt x="35461" y="30277"/>
                    <a:pt x="34448" y="32240"/>
                    <a:pt x="34567" y="34012"/>
                  </a:cubicBezTo>
                  <a:cubicBezTo>
                    <a:pt x="34596" y="34469"/>
                    <a:pt x="34567" y="35046"/>
                    <a:pt x="34539" y="35679"/>
                  </a:cubicBezTo>
                  <a:cubicBezTo>
                    <a:pt x="34448" y="37486"/>
                    <a:pt x="34335" y="39709"/>
                    <a:pt x="35559" y="40609"/>
                  </a:cubicBezTo>
                  <a:cubicBezTo>
                    <a:pt x="37212" y="41826"/>
                    <a:pt x="39097" y="43710"/>
                    <a:pt x="39315" y="45145"/>
                  </a:cubicBezTo>
                  <a:cubicBezTo>
                    <a:pt x="39434" y="45905"/>
                    <a:pt x="39828" y="46925"/>
                    <a:pt x="40292" y="48113"/>
                  </a:cubicBezTo>
                  <a:cubicBezTo>
                    <a:pt x="40693" y="49140"/>
                    <a:pt x="41143" y="50293"/>
                    <a:pt x="41502" y="51524"/>
                  </a:cubicBezTo>
                  <a:cubicBezTo>
                    <a:pt x="42282" y="54169"/>
                    <a:pt x="54844" y="67264"/>
                    <a:pt x="56271" y="67700"/>
                  </a:cubicBezTo>
                  <a:cubicBezTo>
                    <a:pt x="57706" y="68136"/>
                    <a:pt x="58240" y="69473"/>
                    <a:pt x="58458" y="71118"/>
                  </a:cubicBezTo>
                  <a:cubicBezTo>
                    <a:pt x="58578" y="71997"/>
                    <a:pt x="60470" y="73502"/>
                    <a:pt x="62228" y="74902"/>
                  </a:cubicBezTo>
                  <a:cubicBezTo>
                    <a:pt x="63769" y="76133"/>
                    <a:pt x="65210" y="77272"/>
                    <a:pt x="65260" y="77842"/>
                  </a:cubicBezTo>
                  <a:cubicBezTo>
                    <a:pt x="65323" y="78615"/>
                    <a:pt x="68312" y="80943"/>
                    <a:pt x="70619" y="82737"/>
                  </a:cubicBezTo>
                  <a:cubicBezTo>
                    <a:pt x="71899" y="83736"/>
                    <a:pt x="72968" y="84565"/>
                    <a:pt x="73207" y="84875"/>
                  </a:cubicBezTo>
                  <a:cubicBezTo>
                    <a:pt x="73425" y="85156"/>
                    <a:pt x="73840" y="85557"/>
                    <a:pt x="74311" y="86014"/>
                  </a:cubicBezTo>
                  <a:cubicBezTo>
                    <a:pt x="75303" y="86978"/>
                    <a:pt x="76526" y="88152"/>
                    <a:pt x="76526" y="88828"/>
                  </a:cubicBezTo>
                  <a:cubicBezTo>
                    <a:pt x="76526" y="89622"/>
                    <a:pt x="75929" y="89826"/>
                    <a:pt x="75633" y="89826"/>
                  </a:cubicBezTo>
                  <a:cubicBezTo>
                    <a:pt x="72665" y="87632"/>
                    <a:pt x="66617" y="83067"/>
                    <a:pt x="66174" y="82350"/>
                  </a:cubicBezTo>
                  <a:cubicBezTo>
                    <a:pt x="65836" y="81809"/>
                    <a:pt x="64127" y="80550"/>
                    <a:pt x="62664" y="79466"/>
                  </a:cubicBezTo>
                  <a:cubicBezTo>
                    <a:pt x="61715" y="78770"/>
                    <a:pt x="60871" y="78144"/>
                    <a:pt x="60568" y="77842"/>
                  </a:cubicBezTo>
                  <a:cubicBezTo>
                    <a:pt x="60273" y="77546"/>
                    <a:pt x="59309" y="76710"/>
                    <a:pt x="58156" y="75711"/>
                  </a:cubicBezTo>
                  <a:cubicBezTo>
                    <a:pt x="56250" y="74051"/>
                    <a:pt x="53831" y="71948"/>
                    <a:pt x="53071" y="71118"/>
                  </a:cubicBezTo>
                  <a:cubicBezTo>
                    <a:pt x="51862" y="69796"/>
                    <a:pt x="50462" y="69494"/>
                    <a:pt x="49351" y="69254"/>
                  </a:cubicBezTo>
                  <a:lnTo>
                    <a:pt x="49337" y="69254"/>
                  </a:lnTo>
                  <a:cubicBezTo>
                    <a:pt x="48795" y="69135"/>
                    <a:pt x="48099" y="68607"/>
                    <a:pt x="47375" y="68059"/>
                  </a:cubicBezTo>
                  <a:cubicBezTo>
                    <a:pt x="46608" y="67475"/>
                    <a:pt x="45813" y="66870"/>
                    <a:pt x="45138" y="66709"/>
                  </a:cubicBezTo>
                  <a:cubicBezTo>
                    <a:pt x="44252" y="66491"/>
                    <a:pt x="42845" y="66821"/>
                    <a:pt x="41551" y="67130"/>
                  </a:cubicBezTo>
                  <a:cubicBezTo>
                    <a:pt x="40939" y="67271"/>
                    <a:pt x="40348" y="67412"/>
                    <a:pt x="39856" y="67482"/>
                  </a:cubicBezTo>
                  <a:cubicBezTo>
                    <a:pt x="38323" y="67700"/>
                    <a:pt x="37212" y="67166"/>
                    <a:pt x="37212" y="65175"/>
                  </a:cubicBezTo>
                  <a:cubicBezTo>
                    <a:pt x="37212" y="63192"/>
                    <a:pt x="36558" y="62334"/>
                    <a:pt x="35559" y="62095"/>
                  </a:cubicBezTo>
                  <a:cubicBezTo>
                    <a:pt x="35341" y="62046"/>
                    <a:pt x="35095" y="62003"/>
                    <a:pt x="34842" y="61961"/>
                  </a:cubicBezTo>
                  <a:cubicBezTo>
                    <a:pt x="33984" y="61813"/>
                    <a:pt x="33084" y="61659"/>
                    <a:pt x="32915" y="60984"/>
                  </a:cubicBezTo>
                  <a:cubicBezTo>
                    <a:pt x="32696" y="60111"/>
                    <a:pt x="31269" y="58796"/>
                    <a:pt x="30052" y="58677"/>
                  </a:cubicBezTo>
                  <a:cubicBezTo>
                    <a:pt x="29398" y="58614"/>
                    <a:pt x="28934" y="57748"/>
                    <a:pt x="28399" y="56757"/>
                  </a:cubicBezTo>
                  <a:cubicBezTo>
                    <a:pt x="27949" y="55920"/>
                    <a:pt x="27457" y="54991"/>
                    <a:pt x="26754" y="54387"/>
                  </a:cubicBezTo>
                  <a:cubicBezTo>
                    <a:pt x="25227" y="53050"/>
                    <a:pt x="24348" y="50849"/>
                    <a:pt x="25882" y="50743"/>
                  </a:cubicBezTo>
                  <a:cubicBezTo>
                    <a:pt x="26578" y="50701"/>
                    <a:pt x="27738" y="51271"/>
                    <a:pt x="28842" y="51812"/>
                  </a:cubicBezTo>
                  <a:cubicBezTo>
                    <a:pt x="30150" y="52460"/>
                    <a:pt x="31367" y="53057"/>
                    <a:pt x="31607" y="52516"/>
                  </a:cubicBezTo>
                  <a:cubicBezTo>
                    <a:pt x="31866" y="51932"/>
                    <a:pt x="28667" y="49274"/>
                    <a:pt x="25896" y="46974"/>
                  </a:cubicBezTo>
                  <a:cubicBezTo>
                    <a:pt x="23968" y="45377"/>
                    <a:pt x="22252" y="43950"/>
                    <a:pt x="22027" y="43492"/>
                  </a:cubicBezTo>
                  <a:cubicBezTo>
                    <a:pt x="21465" y="42381"/>
                    <a:pt x="20909" y="38084"/>
                    <a:pt x="21465" y="36656"/>
                  </a:cubicBezTo>
                  <a:cubicBezTo>
                    <a:pt x="22027" y="35222"/>
                    <a:pt x="20712" y="32697"/>
                    <a:pt x="19721" y="31923"/>
                  </a:cubicBezTo>
                  <a:cubicBezTo>
                    <a:pt x="19411" y="31684"/>
                    <a:pt x="18975" y="31290"/>
                    <a:pt x="18490" y="30861"/>
                  </a:cubicBezTo>
                  <a:cubicBezTo>
                    <a:pt x="17421" y="29898"/>
                    <a:pt x="16112" y="28723"/>
                    <a:pt x="15423" y="28505"/>
                  </a:cubicBezTo>
                  <a:cubicBezTo>
                    <a:pt x="15135" y="28413"/>
                    <a:pt x="14713" y="28153"/>
                    <a:pt x="14235" y="27865"/>
                  </a:cubicBezTo>
                  <a:cubicBezTo>
                    <a:pt x="13074" y="27155"/>
                    <a:pt x="11611" y="26261"/>
                    <a:pt x="11133" y="27190"/>
                  </a:cubicBezTo>
                  <a:cubicBezTo>
                    <a:pt x="10458" y="28505"/>
                    <a:pt x="9262" y="31149"/>
                    <a:pt x="9143" y="32577"/>
                  </a:cubicBezTo>
                  <a:cubicBezTo>
                    <a:pt x="9073" y="33414"/>
                    <a:pt x="8404" y="34068"/>
                    <a:pt x="7820" y="34645"/>
                  </a:cubicBezTo>
                  <a:cubicBezTo>
                    <a:pt x="7406" y="35053"/>
                    <a:pt x="7026" y="35419"/>
                    <a:pt x="6941" y="35777"/>
                  </a:cubicBezTo>
                  <a:cubicBezTo>
                    <a:pt x="6864" y="36073"/>
                    <a:pt x="6864" y="36487"/>
                    <a:pt x="6864" y="36909"/>
                  </a:cubicBezTo>
                  <a:cubicBezTo>
                    <a:pt x="6864" y="37760"/>
                    <a:pt x="6864" y="38640"/>
                    <a:pt x="6280" y="38640"/>
                  </a:cubicBezTo>
                  <a:cubicBezTo>
                    <a:pt x="5408" y="38640"/>
                    <a:pt x="3517" y="37549"/>
                    <a:pt x="3298" y="35777"/>
                  </a:cubicBezTo>
                  <a:cubicBezTo>
                    <a:pt x="3158" y="34610"/>
                    <a:pt x="2180" y="33871"/>
                    <a:pt x="1449" y="33316"/>
                  </a:cubicBezTo>
                  <a:cubicBezTo>
                    <a:pt x="1076" y="33034"/>
                    <a:pt x="766" y="32802"/>
                    <a:pt x="654" y="32577"/>
                  </a:cubicBezTo>
                  <a:cubicBezTo>
                    <a:pt x="338" y="31923"/>
                    <a:pt x="0" y="27492"/>
                    <a:pt x="0" y="26297"/>
                  </a:cubicBezTo>
                  <a:cubicBezTo>
                    <a:pt x="0" y="25235"/>
                    <a:pt x="1674" y="21620"/>
                    <a:pt x="4529" y="20839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2" name="Freihandform: Form 237">
              <a:extLst>
                <a:ext uri="{FF2B5EF4-FFF2-40B4-BE49-F238E27FC236}">
                  <a16:creationId xmlns:a16="http://schemas.microsoft.com/office/drawing/2014/main" id="{5EBB0C3C-5D7E-F04F-A109-B4DD77ACDF5E}"/>
                </a:ext>
              </a:extLst>
            </p:cNvPr>
            <p:cNvSpPr/>
            <p:nvPr/>
          </p:nvSpPr>
          <p:spPr>
            <a:xfrm>
              <a:off x="6284028" y="3430230"/>
              <a:ext cx="44419" cy="63357"/>
            </a:xfrm>
            <a:custGeom>
              <a:avLst/>
              <a:gdLst>
                <a:gd name="connsiteX0" fmla="*/ 18858 w 44419"/>
                <a:gd name="connsiteY0" fmla="*/ 63126 h 63357"/>
                <a:gd name="connsiteX1" fmla="*/ 8379 w 44419"/>
                <a:gd name="connsiteY1" fmla="*/ 60010 h 63357"/>
                <a:gd name="connsiteX2" fmla="*/ 9258 w 44419"/>
                <a:gd name="connsiteY2" fmla="*/ 52892 h 63357"/>
                <a:gd name="connsiteX3" fmla="*/ 8379 w 44419"/>
                <a:gd name="connsiteY3" fmla="*/ 47801 h 63357"/>
                <a:gd name="connsiteX4" fmla="*/ 6775 w 44419"/>
                <a:gd name="connsiteY4" fmla="*/ 45339 h 63357"/>
                <a:gd name="connsiteX5" fmla="*/ 5678 w 44419"/>
                <a:gd name="connsiteY5" fmla="*/ 47048 h 63357"/>
                <a:gd name="connsiteX6" fmla="*/ 4722 w 44419"/>
                <a:gd name="connsiteY6" fmla="*/ 44024 h 63357"/>
                <a:gd name="connsiteX7" fmla="*/ 2998 w 44419"/>
                <a:gd name="connsiteY7" fmla="*/ 41661 h 63357"/>
                <a:gd name="connsiteX8" fmla="*/ 2021 w 44419"/>
                <a:gd name="connsiteY8" fmla="*/ 44024 h 63357"/>
                <a:gd name="connsiteX9" fmla="*/ 291 w 44419"/>
                <a:gd name="connsiteY9" fmla="*/ 42856 h 63357"/>
                <a:gd name="connsiteX10" fmla="*/ 291 w 44419"/>
                <a:gd name="connsiteY10" fmla="*/ 40367 h 63357"/>
                <a:gd name="connsiteX11" fmla="*/ 945 w 44419"/>
                <a:gd name="connsiteY11" fmla="*/ 35718 h 63357"/>
                <a:gd name="connsiteX12" fmla="*/ 945 w 44419"/>
                <a:gd name="connsiteY12" fmla="*/ 32595 h 63357"/>
                <a:gd name="connsiteX13" fmla="*/ 3413 w 44419"/>
                <a:gd name="connsiteY13" fmla="*/ 33256 h 63357"/>
                <a:gd name="connsiteX14" fmla="*/ 3969 w 44419"/>
                <a:gd name="connsiteY14" fmla="*/ 31083 h 63357"/>
                <a:gd name="connsiteX15" fmla="*/ 2654 w 44419"/>
                <a:gd name="connsiteY15" fmla="*/ 28382 h 63357"/>
                <a:gd name="connsiteX16" fmla="*/ 291 w 44419"/>
                <a:gd name="connsiteY16" fmla="*/ 26870 h 63357"/>
                <a:gd name="connsiteX17" fmla="*/ 945 w 44419"/>
                <a:gd name="connsiteY17" fmla="*/ 20294 h 63357"/>
                <a:gd name="connsiteX18" fmla="*/ 1550 w 44419"/>
                <a:gd name="connsiteY18" fmla="*/ 19668 h 63357"/>
                <a:gd name="connsiteX19" fmla="*/ 945 w 44419"/>
                <a:gd name="connsiteY19" fmla="*/ 19218 h 63357"/>
                <a:gd name="connsiteX20" fmla="*/ 291 w 44419"/>
                <a:gd name="connsiteY20" fmla="*/ 16419 h 63357"/>
                <a:gd name="connsiteX21" fmla="*/ 945 w 44419"/>
                <a:gd name="connsiteY21" fmla="*/ 13057 h 63357"/>
                <a:gd name="connsiteX22" fmla="*/ 2998 w 44419"/>
                <a:gd name="connsiteY22" fmla="*/ 13057 h 63357"/>
                <a:gd name="connsiteX23" fmla="*/ 5678 w 44419"/>
                <a:gd name="connsiteY23" fmla="*/ 15125 h 63357"/>
                <a:gd name="connsiteX24" fmla="*/ 7746 w 44419"/>
                <a:gd name="connsiteY24" fmla="*/ 14253 h 63357"/>
                <a:gd name="connsiteX25" fmla="*/ 8604 w 44419"/>
                <a:gd name="connsiteY25" fmla="*/ 16419 h 63357"/>
                <a:gd name="connsiteX26" fmla="*/ 10650 w 44419"/>
                <a:gd name="connsiteY26" fmla="*/ 15877 h 63357"/>
                <a:gd name="connsiteX27" fmla="*/ 10650 w 44419"/>
                <a:gd name="connsiteY27" fmla="*/ 13057 h 63357"/>
                <a:gd name="connsiteX28" fmla="*/ 11523 w 44419"/>
                <a:gd name="connsiteY28" fmla="*/ 10258 h 63357"/>
                <a:gd name="connsiteX29" fmla="*/ 12374 w 44419"/>
                <a:gd name="connsiteY29" fmla="*/ 8331 h 63357"/>
                <a:gd name="connsiteX30" fmla="*/ 14209 w 44419"/>
                <a:gd name="connsiteY30" fmla="*/ 5722 h 63357"/>
                <a:gd name="connsiteX31" fmla="*/ 15496 w 44419"/>
                <a:gd name="connsiteY31" fmla="*/ 7768 h 63357"/>
                <a:gd name="connsiteX32" fmla="*/ 16150 w 44419"/>
                <a:gd name="connsiteY32" fmla="*/ 10258 h 63357"/>
                <a:gd name="connsiteX33" fmla="*/ 15299 w 44419"/>
                <a:gd name="connsiteY33" fmla="*/ 14253 h 63357"/>
                <a:gd name="connsiteX34" fmla="*/ 17008 w 44419"/>
                <a:gd name="connsiteY34" fmla="*/ 11883 h 63357"/>
                <a:gd name="connsiteX35" fmla="*/ 17979 w 44419"/>
                <a:gd name="connsiteY35" fmla="*/ 13057 h 63357"/>
                <a:gd name="connsiteX36" fmla="*/ 19927 w 44419"/>
                <a:gd name="connsiteY36" fmla="*/ 15125 h 63357"/>
                <a:gd name="connsiteX37" fmla="*/ 19927 w 44419"/>
                <a:gd name="connsiteY37" fmla="*/ 11883 h 63357"/>
                <a:gd name="connsiteX38" fmla="*/ 17008 w 44419"/>
                <a:gd name="connsiteY38" fmla="*/ 7234 h 63357"/>
                <a:gd name="connsiteX39" fmla="*/ 19927 w 44419"/>
                <a:gd name="connsiteY39" fmla="*/ 1312 h 63357"/>
                <a:gd name="connsiteX40" fmla="*/ 23049 w 44419"/>
                <a:gd name="connsiteY40" fmla="*/ 3577 h 63357"/>
                <a:gd name="connsiteX41" fmla="*/ 25216 w 44419"/>
                <a:gd name="connsiteY41" fmla="*/ 552 h 63357"/>
                <a:gd name="connsiteX42" fmla="*/ 33423 w 44419"/>
                <a:gd name="connsiteY42" fmla="*/ 2283 h 63357"/>
                <a:gd name="connsiteX43" fmla="*/ 33965 w 44419"/>
                <a:gd name="connsiteY43" fmla="*/ 4554 h 63357"/>
                <a:gd name="connsiteX44" fmla="*/ 34718 w 44419"/>
                <a:gd name="connsiteY44" fmla="*/ 8331 h 63357"/>
                <a:gd name="connsiteX45" fmla="*/ 32769 w 44419"/>
                <a:gd name="connsiteY45" fmla="*/ 10258 h 63357"/>
                <a:gd name="connsiteX46" fmla="*/ 36644 w 44419"/>
                <a:gd name="connsiteY46" fmla="*/ 15125 h 63357"/>
                <a:gd name="connsiteX47" fmla="*/ 43347 w 44419"/>
                <a:gd name="connsiteY47" fmla="*/ 15877 h 63357"/>
                <a:gd name="connsiteX48" fmla="*/ 44416 w 44419"/>
                <a:gd name="connsiteY48" fmla="*/ 19218 h 63357"/>
                <a:gd name="connsiteX49" fmla="*/ 41933 w 44419"/>
                <a:gd name="connsiteY49" fmla="*/ 23093 h 63357"/>
                <a:gd name="connsiteX50" fmla="*/ 37200 w 44419"/>
                <a:gd name="connsiteY50" fmla="*/ 25260 h 63357"/>
                <a:gd name="connsiteX51" fmla="*/ 36110 w 44419"/>
                <a:gd name="connsiteY51" fmla="*/ 23853 h 63357"/>
                <a:gd name="connsiteX52" fmla="*/ 37200 w 44419"/>
                <a:gd name="connsiteY52" fmla="*/ 21708 h 63357"/>
                <a:gd name="connsiteX53" fmla="*/ 33965 w 44419"/>
                <a:gd name="connsiteY53" fmla="*/ 23853 h 63357"/>
                <a:gd name="connsiteX54" fmla="*/ 33423 w 44419"/>
                <a:gd name="connsiteY54" fmla="*/ 27848 h 63357"/>
                <a:gd name="connsiteX55" fmla="*/ 33965 w 44419"/>
                <a:gd name="connsiteY55" fmla="*/ 31843 h 63357"/>
                <a:gd name="connsiteX56" fmla="*/ 31039 w 44419"/>
                <a:gd name="connsiteY56" fmla="*/ 33671 h 63357"/>
                <a:gd name="connsiteX57" fmla="*/ 28627 w 44419"/>
                <a:gd name="connsiteY57" fmla="*/ 33953 h 63357"/>
                <a:gd name="connsiteX58" fmla="*/ 30287 w 44419"/>
                <a:gd name="connsiteY58" fmla="*/ 34642 h 63357"/>
                <a:gd name="connsiteX59" fmla="*/ 30287 w 44419"/>
                <a:gd name="connsiteY59" fmla="*/ 37982 h 63357"/>
                <a:gd name="connsiteX60" fmla="*/ 26826 w 44419"/>
                <a:gd name="connsiteY60" fmla="*/ 39079 h 63357"/>
                <a:gd name="connsiteX61" fmla="*/ 23704 w 44419"/>
                <a:gd name="connsiteY61" fmla="*/ 39079 h 63357"/>
                <a:gd name="connsiteX62" fmla="*/ 26826 w 44419"/>
                <a:gd name="connsiteY62" fmla="*/ 41661 h 63357"/>
                <a:gd name="connsiteX63" fmla="*/ 23704 w 44419"/>
                <a:gd name="connsiteY63" fmla="*/ 44024 h 63357"/>
                <a:gd name="connsiteX64" fmla="*/ 24365 w 44419"/>
                <a:gd name="connsiteY64" fmla="*/ 47048 h 63357"/>
                <a:gd name="connsiteX65" fmla="*/ 25216 w 44419"/>
                <a:gd name="connsiteY65" fmla="*/ 50290 h 63357"/>
                <a:gd name="connsiteX66" fmla="*/ 24365 w 44419"/>
                <a:gd name="connsiteY66" fmla="*/ 52892 h 63357"/>
                <a:gd name="connsiteX67" fmla="*/ 22515 w 44419"/>
                <a:gd name="connsiteY67" fmla="*/ 55572 h 63357"/>
                <a:gd name="connsiteX68" fmla="*/ 26826 w 44419"/>
                <a:gd name="connsiteY68" fmla="*/ 58814 h 63357"/>
                <a:gd name="connsiteX69" fmla="*/ 26193 w 44419"/>
                <a:gd name="connsiteY69" fmla="*/ 55572 h 63357"/>
                <a:gd name="connsiteX70" fmla="*/ 31039 w 44419"/>
                <a:gd name="connsiteY70" fmla="*/ 60010 h 63357"/>
                <a:gd name="connsiteX71" fmla="*/ 29752 w 44419"/>
                <a:gd name="connsiteY71" fmla="*/ 62373 h 63357"/>
                <a:gd name="connsiteX72" fmla="*/ 22515 w 44419"/>
                <a:gd name="connsiteY72" fmla="*/ 61733 h 63357"/>
                <a:gd name="connsiteX73" fmla="*/ 18858 w 44419"/>
                <a:gd name="connsiteY73" fmla="*/ 63126 h 63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4419" h="63357">
                  <a:moveTo>
                    <a:pt x="18858" y="63126"/>
                  </a:moveTo>
                  <a:cubicBezTo>
                    <a:pt x="18781" y="62352"/>
                    <a:pt x="11839" y="60720"/>
                    <a:pt x="8379" y="60010"/>
                  </a:cubicBezTo>
                  <a:cubicBezTo>
                    <a:pt x="8674" y="57956"/>
                    <a:pt x="9258" y="53673"/>
                    <a:pt x="9258" y="52892"/>
                  </a:cubicBezTo>
                  <a:cubicBezTo>
                    <a:pt x="9258" y="51915"/>
                    <a:pt x="8379" y="48778"/>
                    <a:pt x="8379" y="47801"/>
                  </a:cubicBezTo>
                  <a:cubicBezTo>
                    <a:pt x="8379" y="46830"/>
                    <a:pt x="7746" y="45873"/>
                    <a:pt x="6775" y="45339"/>
                  </a:cubicBezTo>
                  <a:cubicBezTo>
                    <a:pt x="5798" y="44804"/>
                    <a:pt x="6234" y="47048"/>
                    <a:pt x="5678" y="47048"/>
                  </a:cubicBezTo>
                  <a:cubicBezTo>
                    <a:pt x="5122" y="47048"/>
                    <a:pt x="3969" y="45001"/>
                    <a:pt x="4722" y="44024"/>
                  </a:cubicBezTo>
                  <a:cubicBezTo>
                    <a:pt x="5481" y="43053"/>
                    <a:pt x="3413" y="42856"/>
                    <a:pt x="2998" y="41661"/>
                  </a:cubicBezTo>
                  <a:cubicBezTo>
                    <a:pt x="2661" y="40704"/>
                    <a:pt x="2204" y="42842"/>
                    <a:pt x="2021" y="44024"/>
                  </a:cubicBezTo>
                  <a:cubicBezTo>
                    <a:pt x="1662" y="43813"/>
                    <a:pt x="818" y="43285"/>
                    <a:pt x="291" y="42856"/>
                  </a:cubicBezTo>
                  <a:cubicBezTo>
                    <a:pt x="-363" y="42315"/>
                    <a:pt x="291" y="41007"/>
                    <a:pt x="291" y="40367"/>
                  </a:cubicBezTo>
                  <a:cubicBezTo>
                    <a:pt x="291" y="39734"/>
                    <a:pt x="945" y="36470"/>
                    <a:pt x="945" y="35718"/>
                  </a:cubicBezTo>
                  <a:lnTo>
                    <a:pt x="945" y="32595"/>
                  </a:lnTo>
                  <a:cubicBezTo>
                    <a:pt x="945" y="33355"/>
                    <a:pt x="2654" y="33031"/>
                    <a:pt x="3413" y="33256"/>
                  </a:cubicBezTo>
                  <a:cubicBezTo>
                    <a:pt x="4166" y="33474"/>
                    <a:pt x="3969" y="31843"/>
                    <a:pt x="3969" y="31083"/>
                  </a:cubicBezTo>
                  <a:cubicBezTo>
                    <a:pt x="3969" y="30330"/>
                    <a:pt x="3849" y="29360"/>
                    <a:pt x="2654" y="28382"/>
                  </a:cubicBezTo>
                  <a:cubicBezTo>
                    <a:pt x="1465" y="27412"/>
                    <a:pt x="945" y="27848"/>
                    <a:pt x="291" y="26870"/>
                  </a:cubicBezTo>
                  <a:cubicBezTo>
                    <a:pt x="-363" y="25900"/>
                    <a:pt x="945" y="21708"/>
                    <a:pt x="945" y="20294"/>
                  </a:cubicBezTo>
                  <a:cubicBezTo>
                    <a:pt x="945" y="19802"/>
                    <a:pt x="1205" y="19654"/>
                    <a:pt x="1550" y="19668"/>
                  </a:cubicBezTo>
                  <a:cubicBezTo>
                    <a:pt x="1346" y="19542"/>
                    <a:pt x="1142" y="19394"/>
                    <a:pt x="945" y="19218"/>
                  </a:cubicBezTo>
                  <a:cubicBezTo>
                    <a:pt x="-5" y="18367"/>
                    <a:pt x="945" y="17594"/>
                    <a:pt x="291" y="16419"/>
                  </a:cubicBezTo>
                  <a:cubicBezTo>
                    <a:pt x="-363" y="15245"/>
                    <a:pt x="509" y="14253"/>
                    <a:pt x="945" y="13057"/>
                  </a:cubicBezTo>
                  <a:cubicBezTo>
                    <a:pt x="1388" y="11869"/>
                    <a:pt x="2555" y="11883"/>
                    <a:pt x="2998" y="13057"/>
                  </a:cubicBezTo>
                  <a:cubicBezTo>
                    <a:pt x="3435" y="14232"/>
                    <a:pt x="4827" y="14253"/>
                    <a:pt x="5678" y="15125"/>
                  </a:cubicBezTo>
                  <a:cubicBezTo>
                    <a:pt x="6360" y="15828"/>
                    <a:pt x="7345" y="14837"/>
                    <a:pt x="7746" y="14253"/>
                  </a:cubicBezTo>
                  <a:cubicBezTo>
                    <a:pt x="7957" y="14794"/>
                    <a:pt x="8428" y="15990"/>
                    <a:pt x="8604" y="16419"/>
                  </a:cubicBezTo>
                  <a:cubicBezTo>
                    <a:pt x="8822" y="16953"/>
                    <a:pt x="9673" y="15877"/>
                    <a:pt x="10650" y="15877"/>
                  </a:cubicBezTo>
                  <a:cubicBezTo>
                    <a:pt x="11621" y="15877"/>
                    <a:pt x="10650" y="14253"/>
                    <a:pt x="10650" y="13057"/>
                  </a:cubicBezTo>
                  <a:cubicBezTo>
                    <a:pt x="10650" y="11869"/>
                    <a:pt x="10650" y="11229"/>
                    <a:pt x="11523" y="10258"/>
                  </a:cubicBezTo>
                  <a:cubicBezTo>
                    <a:pt x="12394" y="9280"/>
                    <a:pt x="12155" y="9499"/>
                    <a:pt x="12374" y="8331"/>
                  </a:cubicBezTo>
                  <a:cubicBezTo>
                    <a:pt x="12598" y="7156"/>
                    <a:pt x="14209" y="6601"/>
                    <a:pt x="14209" y="5722"/>
                  </a:cubicBezTo>
                  <a:cubicBezTo>
                    <a:pt x="14209" y="4850"/>
                    <a:pt x="15299" y="7234"/>
                    <a:pt x="15496" y="7768"/>
                  </a:cubicBezTo>
                  <a:cubicBezTo>
                    <a:pt x="15693" y="8310"/>
                    <a:pt x="16375" y="10258"/>
                    <a:pt x="16150" y="10258"/>
                  </a:cubicBezTo>
                  <a:cubicBezTo>
                    <a:pt x="15932" y="10258"/>
                    <a:pt x="14961" y="13057"/>
                    <a:pt x="15299" y="14253"/>
                  </a:cubicBezTo>
                  <a:cubicBezTo>
                    <a:pt x="15637" y="15441"/>
                    <a:pt x="16150" y="13057"/>
                    <a:pt x="17008" y="11883"/>
                  </a:cubicBezTo>
                  <a:cubicBezTo>
                    <a:pt x="17866" y="10715"/>
                    <a:pt x="17979" y="11883"/>
                    <a:pt x="17979" y="13057"/>
                  </a:cubicBezTo>
                  <a:cubicBezTo>
                    <a:pt x="17979" y="14232"/>
                    <a:pt x="18858" y="15125"/>
                    <a:pt x="19927" y="15125"/>
                  </a:cubicBezTo>
                  <a:cubicBezTo>
                    <a:pt x="21003" y="15125"/>
                    <a:pt x="19927" y="12741"/>
                    <a:pt x="19927" y="11883"/>
                  </a:cubicBezTo>
                  <a:cubicBezTo>
                    <a:pt x="19927" y="11032"/>
                    <a:pt x="17761" y="9618"/>
                    <a:pt x="17008" y="7234"/>
                  </a:cubicBezTo>
                  <a:cubicBezTo>
                    <a:pt x="16256" y="4850"/>
                    <a:pt x="17761" y="2283"/>
                    <a:pt x="19927" y="1312"/>
                  </a:cubicBezTo>
                  <a:cubicBezTo>
                    <a:pt x="21664" y="531"/>
                    <a:pt x="22733" y="2501"/>
                    <a:pt x="23049" y="3577"/>
                  </a:cubicBezTo>
                  <a:cubicBezTo>
                    <a:pt x="23268" y="3148"/>
                    <a:pt x="24006" y="1938"/>
                    <a:pt x="25216" y="552"/>
                  </a:cubicBezTo>
                  <a:cubicBezTo>
                    <a:pt x="26728" y="-1171"/>
                    <a:pt x="32769" y="1628"/>
                    <a:pt x="33423" y="2283"/>
                  </a:cubicBezTo>
                  <a:cubicBezTo>
                    <a:pt x="34085" y="2944"/>
                    <a:pt x="33965" y="3577"/>
                    <a:pt x="33965" y="4554"/>
                  </a:cubicBezTo>
                  <a:cubicBezTo>
                    <a:pt x="33965" y="5525"/>
                    <a:pt x="34718" y="6917"/>
                    <a:pt x="34718" y="8331"/>
                  </a:cubicBezTo>
                  <a:cubicBezTo>
                    <a:pt x="34718" y="9738"/>
                    <a:pt x="31039" y="10378"/>
                    <a:pt x="32769" y="10258"/>
                  </a:cubicBezTo>
                  <a:cubicBezTo>
                    <a:pt x="34499" y="10139"/>
                    <a:pt x="36110" y="14787"/>
                    <a:pt x="36644" y="15125"/>
                  </a:cubicBezTo>
                  <a:cubicBezTo>
                    <a:pt x="37186" y="15463"/>
                    <a:pt x="41933" y="15765"/>
                    <a:pt x="43347" y="15877"/>
                  </a:cubicBezTo>
                  <a:cubicBezTo>
                    <a:pt x="44754" y="15997"/>
                    <a:pt x="44318" y="17931"/>
                    <a:pt x="44416" y="19218"/>
                  </a:cubicBezTo>
                  <a:cubicBezTo>
                    <a:pt x="44514" y="20512"/>
                    <a:pt x="42489" y="21708"/>
                    <a:pt x="41933" y="23093"/>
                  </a:cubicBezTo>
                  <a:cubicBezTo>
                    <a:pt x="41378" y="24486"/>
                    <a:pt x="38712" y="24725"/>
                    <a:pt x="37200" y="25260"/>
                  </a:cubicBezTo>
                  <a:cubicBezTo>
                    <a:pt x="35695" y="25801"/>
                    <a:pt x="35575" y="24387"/>
                    <a:pt x="36110" y="23853"/>
                  </a:cubicBezTo>
                  <a:cubicBezTo>
                    <a:pt x="36644" y="23311"/>
                    <a:pt x="37200" y="22460"/>
                    <a:pt x="37200" y="21708"/>
                  </a:cubicBezTo>
                  <a:cubicBezTo>
                    <a:pt x="37200" y="20948"/>
                    <a:pt x="35695" y="22777"/>
                    <a:pt x="33965" y="23853"/>
                  </a:cubicBezTo>
                  <a:cubicBezTo>
                    <a:pt x="32235" y="24922"/>
                    <a:pt x="33304" y="26455"/>
                    <a:pt x="33423" y="27848"/>
                  </a:cubicBezTo>
                  <a:cubicBezTo>
                    <a:pt x="33543" y="29240"/>
                    <a:pt x="34183" y="30548"/>
                    <a:pt x="33965" y="31843"/>
                  </a:cubicBezTo>
                  <a:cubicBezTo>
                    <a:pt x="33747" y="33137"/>
                    <a:pt x="33206" y="32813"/>
                    <a:pt x="31039" y="33671"/>
                  </a:cubicBezTo>
                  <a:cubicBezTo>
                    <a:pt x="29900" y="34121"/>
                    <a:pt x="29105" y="34100"/>
                    <a:pt x="28627" y="33953"/>
                  </a:cubicBezTo>
                  <a:cubicBezTo>
                    <a:pt x="29211" y="34276"/>
                    <a:pt x="29963" y="34642"/>
                    <a:pt x="30287" y="34642"/>
                  </a:cubicBezTo>
                  <a:cubicBezTo>
                    <a:pt x="30821" y="34642"/>
                    <a:pt x="31039" y="36913"/>
                    <a:pt x="30287" y="37982"/>
                  </a:cubicBezTo>
                  <a:cubicBezTo>
                    <a:pt x="29527" y="39058"/>
                    <a:pt x="27924" y="39079"/>
                    <a:pt x="26826" y="39079"/>
                  </a:cubicBezTo>
                  <a:cubicBezTo>
                    <a:pt x="25736" y="39079"/>
                    <a:pt x="23704" y="38418"/>
                    <a:pt x="23704" y="39079"/>
                  </a:cubicBezTo>
                  <a:cubicBezTo>
                    <a:pt x="23704" y="39734"/>
                    <a:pt x="26193" y="40367"/>
                    <a:pt x="26826" y="41661"/>
                  </a:cubicBezTo>
                  <a:cubicBezTo>
                    <a:pt x="27466" y="42955"/>
                    <a:pt x="24365" y="43173"/>
                    <a:pt x="23704" y="44024"/>
                  </a:cubicBezTo>
                  <a:cubicBezTo>
                    <a:pt x="23049" y="44882"/>
                    <a:pt x="24365" y="46190"/>
                    <a:pt x="24365" y="47048"/>
                  </a:cubicBezTo>
                  <a:cubicBezTo>
                    <a:pt x="24365" y="47730"/>
                    <a:pt x="24934" y="49495"/>
                    <a:pt x="25216" y="50290"/>
                  </a:cubicBezTo>
                  <a:cubicBezTo>
                    <a:pt x="25539" y="51008"/>
                    <a:pt x="25828" y="52541"/>
                    <a:pt x="24365" y="52892"/>
                  </a:cubicBezTo>
                  <a:cubicBezTo>
                    <a:pt x="22536" y="53328"/>
                    <a:pt x="22515" y="54405"/>
                    <a:pt x="22515" y="55572"/>
                  </a:cubicBezTo>
                  <a:cubicBezTo>
                    <a:pt x="22515" y="56747"/>
                    <a:pt x="26193" y="58814"/>
                    <a:pt x="26826" y="58814"/>
                  </a:cubicBezTo>
                  <a:cubicBezTo>
                    <a:pt x="27466" y="58814"/>
                    <a:pt x="25652" y="56233"/>
                    <a:pt x="26193" y="55572"/>
                  </a:cubicBezTo>
                  <a:cubicBezTo>
                    <a:pt x="26728" y="54918"/>
                    <a:pt x="30406" y="58814"/>
                    <a:pt x="31039" y="60010"/>
                  </a:cubicBezTo>
                  <a:cubicBezTo>
                    <a:pt x="31553" y="60959"/>
                    <a:pt x="30392" y="61979"/>
                    <a:pt x="29752" y="62373"/>
                  </a:cubicBezTo>
                  <a:lnTo>
                    <a:pt x="22515" y="61733"/>
                  </a:lnTo>
                  <a:cubicBezTo>
                    <a:pt x="21327" y="62528"/>
                    <a:pt x="18935" y="63906"/>
                    <a:pt x="18858" y="63126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3" name="Freihandform: Form 238">
              <a:extLst>
                <a:ext uri="{FF2B5EF4-FFF2-40B4-BE49-F238E27FC236}">
                  <a16:creationId xmlns:a16="http://schemas.microsoft.com/office/drawing/2014/main" id="{29D35A11-DAB8-F54B-8A49-A0E0EFE75D35}"/>
                </a:ext>
              </a:extLst>
            </p:cNvPr>
            <p:cNvSpPr/>
            <p:nvPr/>
          </p:nvSpPr>
          <p:spPr>
            <a:xfrm>
              <a:off x="6286885" y="3410056"/>
              <a:ext cx="36931" cy="33370"/>
            </a:xfrm>
            <a:custGeom>
              <a:avLst/>
              <a:gdLst>
                <a:gd name="connsiteX0" fmla="*/ 31108 w 36931"/>
                <a:gd name="connsiteY0" fmla="*/ 3995 h 33370"/>
                <a:gd name="connsiteX1" fmla="*/ 36931 w 36931"/>
                <a:gd name="connsiteY1" fmla="*/ 0 h 33370"/>
                <a:gd name="connsiteX2" fmla="*/ 36171 w 36931"/>
                <a:gd name="connsiteY2" fmla="*/ 1969 h 33370"/>
                <a:gd name="connsiteX3" fmla="*/ 33787 w 36931"/>
                <a:gd name="connsiteY3" fmla="*/ 4375 h 33370"/>
                <a:gd name="connsiteX4" fmla="*/ 34343 w 36931"/>
                <a:gd name="connsiteY4" fmla="*/ 6499 h 33370"/>
                <a:gd name="connsiteX5" fmla="*/ 35496 w 36931"/>
                <a:gd name="connsiteY5" fmla="*/ 8426 h 33370"/>
                <a:gd name="connsiteX6" fmla="*/ 35496 w 36931"/>
                <a:gd name="connsiteY6" fmla="*/ 15642 h 33370"/>
                <a:gd name="connsiteX7" fmla="*/ 34343 w 36931"/>
                <a:gd name="connsiteY7" fmla="*/ 16893 h 33370"/>
                <a:gd name="connsiteX8" fmla="*/ 33091 w 36931"/>
                <a:gd name="connsiteY8" fmla="*/ 18560 h 33370"/>
                <a:gd name="connsiteX9" fmla="*/ 31108 w 36931"/>
                <a:gd name="connsiteY9" fmla="*/ 21486 h 33370"/>
                <a:gd name="connsiteX10" fmla="*/ 29096 w 36931"/>
                <a:gd name="connsiteY10" fmla="*/ 20290 h 33370"/>
                <a:gd name="connsiteX11" fmla="*/ 26037 w 36931"/>
                <a:gd name="connsiteY11" fmla="*/ 18884 h 33370"/>
                <a:gd name="connsiteX12" fmla="*/ 23829 w 36931"/>
                <a:gd name="connsiteY12" fmla="*/ 18884 h 33370"/>
                <a:gd name="connsiteX13" fmla="*/ 22696 w 36931"/>
                <a:gd name="connsiteY13" fmla="*/ 19355 h 33370"/>
                <a:gd name="connsiteX14" fmla="*/ 18483 w 36931"/>
                <a:gd name="connsiteY14" fmla="*/ 20726 h 33370"/>
                <a:gd name="connsiteX15" fmla="*/ 15121 w 36931"/>
                <a:gd name="connsiteY15" fmla="*/ 20726 h 33370"/>
                <a:gd name="connsiteX16" fmla="*/ 8665 w 36931"/>
                <a:gd name="connsiteY16" fmla="*/ 21486 h 33370"/>
                <a:gd name="connsiteX17" fmla="*/ 5747 w 36931"/>
                <a:gd name="connsiteY17" fmla="*/ 23751 h 33370"/>
                <a:gd name="connsiteX18" fmla="*/ 5747 w 36931"/>
                <a:gd name="connsiteY18" fmla="*/ 25101 h 33370"/>
                <a:gd name="connsiteX19" fmla="*/ 8088 w 36931"/>
                <a:gd name="connsiteY19" fmla="*/ 25643 h 33370"/>
                <a:gd name="connsiteX20" fmla="*/ 8665 w 36931"/>
                <a:gd name="connsiteY20" fmla="*/ 27942 h 33370"/>
                <a:gd name="connsiteX21" fmla="*/ 7793 w 36931"/>
                <a:gd name="connsiteY21" fmla="*/ 30432 h 33370"/>
                <a:gd name="connsiteX22" fmla="*/ 4888 w 36931"/>
                <a:gd name="connsiteY22" fmla="*/ 30031 h 33370"/>
                <a:gd name="connsiteX23" fmla="*/ 5747 w 36931"/>
                <a:gd name="connsiteY23" fmla="*/ 27942 h 33370"/>
                <a:gd name="connsiteX24" fmla="*/ 4888 w 36931"/>
                <a:gd name="connsiteY24" fmla="*/ 25896 h 33370"/>
                <a:gd name="connsiteX25" fmla="*/ 2821 w 36931"/>
                <a:gd name="connsiteY25" fmla="*/ 28505 h 33370"/>
                <a:gd name="connsiteX26" fmla="*/ 4488 w 36931"/>
                <a:gd name="connsiteY26" fmla="*/ 30967 h 33370"/>
                <a:gd name="connsiteX27" fmla="*/ 4488 w 36931"/>
                <a:gd name="connsiteY27" fmla="*/ 33231 h 33370"/>
                <a:gd name="connsiteX28" fmla="*/ 1548 w 36931"/>
                <a:gd name="connsiteY28" fmla="*/ 31445 h 33370"/>
                <a:gd name="connsiteX29" fmla="*/ 141 w 36931"/>
                <a:gd name="connsiteY29" fmla="*/ 28505 h 33370"/>
                <a:gd name="connsiteX30" fmla="*/ 556 w 36931"/>
                <a:gd name="connsiteY30" fmla="*/ 25101 h 33370"/>
                <a:gd name="connsiteX31" fmla="*/ 3918 w 36931"/>
                <a:gd name="connsiteY31" fmla="*/ 19854 h 33370"/>
                <a:gd name="connsiteX32" fmla="*/ 7793 w 36931"/>
                <a:gd name="connsiteY32" fmla="*/ 18884 h 33370"/>
                <a:gd name="connsiteX33" fmla="*/ 11886 w 36931"/>
                <a:gd name="connsiteY33" fmla="*/ 17808 h 33370"/>
                <a:gd name="connsiteX34" fmla="*/ 17070 w 36931"/>
                <a:gd name="connsiteY34" fmla="*/ 17709 h 33370"/>
                <a:gd name="connsiteX35" fmla="*/ 21507 w 36931"/>
                <a:gd name="connsiteY35" fmla="*/ 13497 h 33370"/>
                <a:gd name="connsiteX36" fmla="*/ 26895 w 36931"/>
                <a:gd name="connsiteY36" fmla="*/ 4867 h 33370"/>
                <a:gd name="connsiteX37" fmla="*/ 31108 w 36931"/>
                <a:gd name="connsiteY37" fmla="*/ 3995 h 3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6931" h="33370">
                  <a:moveTo>
                    <a:pt x="31108" y="3995"/>
                  </a:moveTo>
                  <a:cubicBezTo>
                    <a:pt x="31108" y="3214"/>
                    <a:pt x="34990" y="1006"/>
                    <a:pt x="36931" y="0"/>
                  </a:cubicBezTo>
                  <a:cubicBezTo>
                    <a:pt x="36783" y="492"/>
                    <a:pt x="36432" y="1582"/>
                    <a:pt x="36171" y="1969"/>
                  </a:cubicBezTo>
                  <a:cubicBezTo>
                    <a:pt x="35855" y="2440"/>
                    <a:pt x="34765" y="3559"/>
                    <a:pt x="33787" y="4375"/>
                  </a:cubicBezTo>
                  <a:cubicBezTo>
                    <a:pt x="32817" y="5183"/>
                    <a:pt x="34343" y="5964"/>
                    <a:pt x="34343" y="6499"/>
                  </a:cubicBezTo>
                  <a:cubicBezTo>
                    <a:pt x="34343" y="7033"/>
                    <a:pt x="35496" y="7891"/>
                    <a:pt x="35496" y="8426"/>
                  </a:cubicBezTo>
                  <a:lnTo>
                    <a:pt x="35496" y="15642"/>
                  </a:lnTo>
                  <a:cubicBezTo>
                    <a:pt x="35496" y="16577"/>
                    <a:pt x="35039" y="16500"/>
                    <a:pt x="34343" y="16893"/>
                  </a:cubicBezTo>
                  <a:cubicBezTo>
                    <a:pt x="33647" y="17294"/>
                    <a:pt x="33253" y="17808"/>
                    <a:pt x="33091" y="18560"/>
                  </a:cubicBezTo>
                  <a:cubicBezTo>
                    <a:pt x="32936" y="19320"/>
                    <a:pt x="31860" y="20726"/>
                    <a:pt x="31108" y="21486"/>
                  </a:cubicBezTo>
                  <a:cubicBezTo>
                    <a:pt x="30348" y="22239"/>
                    <a:pt x="29497" y="20726"/>
                    <a:pt x="29096" y="20290"/>
                  </a:cubicBezTo>
                  <a:cubicBezTo>
                    <a:pt x="28702" y="19854"/>
                    <a:pt x="27429" y="19355"/>
                    <a:pt x="26037" y="18884"/>
                  </a:cubicBezTo>
                  <a:cubicBezTo>
                    <a:pt x="24644" y="18406"/>
                    <a:pt x="24686" y="18884"/>
                    <a:pt x="23829" y="18884"/>
                  </a:cubicBezTo>
                  <a:cubicBezTo>
                    <a:pt x="22978" y="18884"/>
                    <a:pt x="23153" y="18884"/>
                    <a:pt x="22696" y="19355"/>
                  </a:cubicBezTo>
                  <a:cubicBezTo>
                    <a:pt x="22239" y="19833"/>
                    <a:pt x="19102" y="20234"/>
                    <a:pt x="18483" y="20726"/>
                  </a:cubicBezTo>
                  <a:cubicBezTo>
                    <a:pt x="17865" y="21226"/>
                    <a:pt x="16022" y="20726"/>
                    <a:pt x="15121" y="20726"/>
                  </a:cubicBezTo>
                  <a:cubicBezTo>
                    <a:pt x="14228" y="20726"/>
                    <a:pt x="10156" y="21486"/>
                    <a:pt x="8665" y="21486"/>
                  </a:cubicBezTo>
                  <a:cubicBezTo>
                    <a:pt x="7174" y="21486"/>
                    <a:pt x="6358" y="23751"/>
                    <a:pt x="5747" y="23751"/>
                  </a:cubicBezTo>
                  <a:cubicBezTo>
                    <a:pt x="5247" y="23751"/>
                    <a:pt x="5535" y="24651"/>
                    <a:pt x="5747" y="25101"/>
                  </a:cubicBezTo>
                  <a:cubicBezTo>
                    <a:pt x="6260" y="25101"/>
                    <a:pt x="7455" y="25207"/>
                    <a:pt x="8088" y="25643"/>
                  </a:cubicBezTo>
                  <a:cubicBezTo>
                    <a:pt x="8883" y="26177"/>
                    <a:pt x="8665" y="27408"/>
                    <a:pt x="8665" y="27942"/>
                  </a:cubicBezTo>
                  <a:cubicBezTo>
                    <a:pt x="8665" y="28484"/>
                    <a:pt x="7793" y="29637"/>
                    <a:pt x="7793" y="30432"/>
                  </a:cubicBezTo>
                  <a:cubicBezTo>
                    <a:pt x="7793" y="31227"/>
                    <a:pt x="5747" y="30432"/>
                    <a:pt x="4888" y="30031"/>
                  </a:cubicBezTo>
                  <a:cubicBezTo>
                    <a:pt x="4030" y="29637"/>
                    <a:pt x="4888" y="28505"/>
                    <a:pt x="5747" y="27942"/>
                  </a:cubicBezTo>
                  <a:cubicBezTo>
                    <a:pt x="6598" y="27387"/>
                    <a:pt x="5747" y="26494"/>
                    <a:pt x="4888" y="25896"/>
                  </a:cubicBezTo>
                  <a:cubicBezTo>
                    <a:pt x="4030" y="25298"/>
                    <a:pt x="3222" y="27408"/>
                    <a:pt x="2821" y="28505"/>
                  </a:cubicBezTo>
                  <a:cubicBezTo>
                    <a:pt x="2427" y="29595"/>
                    <a:pt x="3918" y="30432"/>
                    <a:pt x="4488" y="30967"/>
                  </a:cubicBezTo>
                  <a:cubicBezTo>
                    <a:pt x="5064" y="31501"/>
                    <a:pt x="4888" y="32577"/>
                    <a:pt x="4488" y="33231"/>
                  </a:cubicBezTo>
                  <a:cubicBezTo>
                    <a:pt x="4094" y="33885"/>
                    <a:pt x="2342" y="32057"/>
                    <a:pt x="1548" y="31445"/>
                  </a:cubicBezTo>
                  <a:cubicBezTo>
                    <a:pt x="753" y="30826"/>
                    <a:pt x="556" y="29912"/>
                    <a:pt x="141" y="28505"/>
                  </a:cubicBezTo>
                  <a:cubicBezTo>
                    <a:pt x="-281" y="27091"/>
                    <a:pt x="359" y="26177"/>
                    <a:pt x="556" y="25101"/>
                  </a:cubicBezTo>
                  <a:cubicBezTo>
                    <a:pt x="753" y="24032"/>
                    <a:pt x="2821" y="20726"/>
                    <a:pt x="3918" y="19854"/>
                  </a:cubicBezTo>
                  <a:cubicBezTo>
                    <a:pt x="5008" y="18982"/>
                    <a:pt x="5747" y="18884"/>
                    <a:pt x="7793" y="18884"/>
                  </a:cubicBezTo>
                  <a:cubicBezTo>
                    <a:pt x="9840" y="18884"/>
                    <a:pt x="9516" y="17709"/>
                    <a:pt x="11886" y="17808"/>
                  </a:cubicBezTo>
                  <a:cubicBezTo>
                    <a:pt x="14249" y="17906"/>
                    <a:pt x="15121" y="17808"/>
                    <a:pt x="17070" y="17709"/>
                  </a:cubicBezTo>
                  <a:cubicBezTo>
                    <a:pt x="19018" y="17611"/>
                    <a:pt x="19658" y="16296"/>
                    <a:pt x="21507" y="13497"/>
                  </a:cubicBezTo>
                  <a:cubicBezTo>
                    <a:pt x="23357" y="10690"/>
                    <a:pt x="26037" y="5289"/>
                    <a:pt x="26895" y="4867"/>
                  </a:cubicBezTo>
                  <a:cubicBezTo>
                    <a:pt x="27746" y="4452"/>
                    <a:pt x="31108" y="4965"/>
                    <a:pt x="31108" y="399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4" name="Freihandform: Form 239">
              <a:extLst>
                <a:ext uri="{FF2B5EF4-FFF2-40B4-BE49-F238E27FC236}">
                  <a16:creationId xmlns:a16="http://schemas.microsoft.com/office/drawing/2014/main" id="{935F4DA8-5C12-6D47-B36A-E38D83B1C82E}"/>
                </a:ext>
              </a:extLst>
            </p:cNvPr>
            <p:cNvSpPr/>
            <p:nvPr/>
          </p:nvSpPr>
          <p:spPr>
            <a:xfrm>
              <a:off x="6311171" y="3470899"/>
              <a:ext cx="15504" cy="18285"/>
            </a:xfrm>
            <a:custGeom>
              <a:avLst/>
              <a:gdLst>
                <a:gd name="connsiteX0" fmla="*/ 9600 w 15504"/>
                <a:gd name="connsiteY0" fmla="*/ 1744 h 18285"/>
                <a:gd name="connsiteX1" fmla="*/ 7476 w 15504"/>
                <a:gd name="connsiteY1" fmla="*/ 0 h 18285"/>
                <a:gd name="connsiteX2" fmla="*/ 6280 w 15504"/>
                <a:gd name="connsiteY2" fmla="*/ 731 h 18285"/>
                <a:gd name="connsiteX3" fmla="*/ 2947 w 15504"/>
                <a:gd name="connsiteY3" fmla="*/ 2680 h 18285"/>
                <a:gd name="connsiteX4" fmla="*/ 1336 w 15504"/>
                <a:gd name="connsiteY4" fmla="*/ 3137 h 18285"/>
                <a:gd name="connsiteX5" fmla="*/ 0 w 15504"/>
                <a:gd name="connsiteY5" fmla="*/ 6281 h 18285"/>
                <a:gd name="connsiteX6" fmla="*/ 619 w 15504"/>
                <a:gd name="connsiteY6" fmla="*/ 7469 h 18285"/>
                <a:gd name="connsiteX7" fmla="*/ 1336 w 15504"/>
                <a:gd name="connsiteY7" fmla="*/ 10275 h 18285"/>
                <a:gd name="connsiteX8" fmla="*/ 2011 w 15504"/>
                <a:gd name="connsiteY8" fmla="*/ 11408 h 18285"/>
                <a:gd name="connsiteX9" fmla="*/ 4417 w 15504"/>
                <a:gd name="connsiteY9" fmla="*/ 12005 h 18285"/>
                <a:gd name="connsiteX10" fmla="*/ 5690 w 15504"/>
                <a:gd name="connsiteY10" fmla="*/ 13075 h 18285"/>
                <a:gd name="connsiteX11" fmla="*/ 5690 w 15504"/>
                <a:gd name="connsiteY11" fmla="*/ 14544 h 18285"/>
                <a:gd name="connsiteX12" fmla="*/ 7814 w 15504"/>
                <a:gd name="connsiteY12" fmla="*/ 15620 h 18285"/>
                <a:gd name="connsiteX13" fmla="*/ 11274 w 15504"/>
                <a:gd name="connsiteY13" fmla="*/ 16021 h 18285"/>
                <a:gd name="connsiteX14" fmla="*/ 12343 w 15504"/>
                <a:gd name="connsiteY14" fmla="*/ 18286 h 18285"/>
                <a:gd name="connsiteX15" fmla="*/ 13145 w 15504"/>
                <a:gd name="connsiteY15" fmla="*/ 15620 h 18285"/>
                <a:gd name="connsiteX16" fmla="*/ 14615 w 15504"/>
                <a:gd name="connsiteY16" fmla="*/ 14544 h 18285"/>
                <a:gd name="connsiteX17" fmla="*/ 15410 w 15504"/>
                <a:gd name="connsiteY17" fmla="*/ 12540 h 18285"/>
                <a:gd name="connsiteX18" fmla="*/ 15410 w 15504"/>
                <a:gd name="connsiteY18" fmla="*/ 9537 h 18285"/>
                <a:gd name="connsiteX19" fmla="*/ 14615 w 15504"/>
                <a:gd name="connsiteY19" fmla="*/ 8805 h 18285"/>
                <a:gd name="connsiteX20" fmla="*/ 15410 w 15504"/>
                <a:gd name="connsiteY20" fmla="*/ 7947 h 18285"/>
                <a:gd name="connsiteX21" fmla="*/ 14157 w 15504"/>
                <a:gd name="connsiteY21" fmla="*/ 6281 h 18285"/>
                <a:gd name="connsiteX22" fmla="*/ 13820 w 15504"/>
                <a:gd name="connsiteY22" fmla="*/ 4811 h 18285"/>
                <a:gd name="connsiteX23" fmla="*/ 14157 w 15504"/>
                <a:gd name="connsiteY23" fmla="*/ 3474 h 18285"/>
                <a:gd name="connsiteX24" fmla="*/ 13145 w 15504"/>
                <a:gd name="connsiteY24" fmla="*/ 1744 h 18285"/>
                <a:gd name="connsiteX25" fmla="*/ 12343 w 15504"/>
                <a:gd name="connsiteY25" fmla="*/ 1744 h 18285"/>
                <a:gd name="connsiteX26" fmla="*/ 11274 w 15504"/>
                <a:gd name="connsiteY26" fmla="*/ 4072 h 18285"/>
                <a:gd name="connsiteX27" fmla="*/ 9600 w 15504"/>
                <a:gd name="connsiteY27" fmla="*/ 4811 h 18285"/>
                <a:gd name="connsiteX28" fmla="*/ 10022 w 15504"/>
                <a:gd name="connsiteY28" fmla="*/ 3474 h 18285"/>
                <a:gd name="connsiteX29" fmla="*/ 9600 w 15504"/>
                <a:gd name="connsiteY29" fmla="*/ 1744 h 1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504" h="18285">
                  <a:moveTo>
                    <a:pt x="9600" y="1744"/>
                  </a:moveTo>
                  <a:cubicBezTo>
                    <a:pt x="9452" y="1343"/>
                    <a:pt x="8812" y="429"/>
                    <a:pt x="7476" y="0"/>
                  </a:cubicBezTo>
                  <a:cubicBezTo>
                    <a:pt x="7209" y="134"/>
                    <a:pt x="6604" y="478"/>
                    <a:pt x="6280" y="731"/>
                  </a:cubicBezTo>
                  <a:cubicBezTo>
                    <a:pt x="5887" y="1048"/>
                    <a:pt x="5212" y="1350"/>
                    <a:pt x="2947" y="2680"/>
                  </a:cubicBezTo>
                  <a:cubicBezTo>
                    <a:pt x="2068" y="3214"/>
                    <a:pt x="2011" y="2996"/>
                    <a:pt x="1336" y="3137"/>
                  </a:cubicBezTo>
                  <a:cubicBezTo>
                    <a:pt x="661" y="3278"/>
                    <a:pt x="619" y="4072"/>
                    <a:pt x="0" y="6281"/>
                  </a:cubicBezTo>
                  <a:cubicBezTo>
                    <a:pt x="0" y="7750"/>
                    <a:pt x="204" y="6815"/>
                    <a:pt x="619" y="7469"/>
                  </a:cubicBezTo>
                  <a:cubicBezTo>
                    <a:pt x="1034" y="8130"/>
                    <a:pt x="1132" y="9143"/>
                    <a:pt x="1336" y="10275"/>
                  </a:cubicBezTo>
                  <a:cubicBezTo>
                    <a:pt x="1533" y="11408"/>
                    <a:pt x="1815" y="10754"/>
                    <a:pt x="2011" y="11408"/>
                  </a:cubicBezTo>
                  <a:cubicBezTo>
                    <a:pt x="2208" y="12062"/>
                    <a:pt x="3144" y="11942"/>
                    <a:pt x="4417" y="12005"/>
                  </a:cubicBezTo>
                  <a:cubicBezTo>
                    <a:pt x="5690" y="12062"/>
                    <a:pt x="5014" y="12540"/>
                    <a:pt x="5690" y="13075"/>
                  </a:cubicBezTo>
                  <a:cubicBezTo>
                    <a:pt x="6365" y="13616"/>
                    <a:pt x="5472" y="13954"/>
                    <a:pt x="5690" y="14544"/>
                  </a:cubicBezTo>
                  <a:cubicBezTo>
                    <a:pt x="5908" y="15142"/>
                    <a:pt x="7082" y="14945"/>
                    <a:pt x="7814" y="15620"/>
                  </a:cubicBezTo>
                  <a:cubicBezTo>
                    <a:pt x="8552" y="16296"/>
                    <a:pt x="10416" y="15620"/>
                    <a:pt x="11274" y="16021"/>
                  </a:cubicBezTo>
                  <a:cubicBezTo>
                    <a:pt x="12125" y="16415"/>
                    <a:pt x="11949" y="18286"/>
                    <a:pt x="12343" y="18286"/>
                  </a:cubicBezTo>
                  <a:cubicBezTo>
                    <a:pt x="12744" y="18286"/>
                    <a:pt x="12744" y="16218"/>
                    <a:pt x="13145" y="15620"/>
                  </a:cubicBezTo>
                  <a:cubicBezTo>
                    <a:pt x="13539" y="15023"/>
                    <a:pt x="13820" y="14945"/>
                    <a:pt x="14615" y="14544"/>
                  </a:cubicBezTo>
                  <a:cubicBezTo>
                    <a:pt x="15410" y="14151"/>
                    <a:pt x="15410" y="13138"/>
                    <a:pt x="15410" y="12540"/>
                  </a:cubicBezTo>
                  <a:lnTo>
                    <a:pt x="15410" y="9537"/>
                  </a:lnTo>
                  <a:cubicBezTo>
                    <a:pt x="15410" y="9270"/>
                    <a:pt x="14875" y="8932"/>
                    <a:pt x="14615" y="8805"/>
                  </a:cubicBezTo>
                  <a:cubicBezTo>
                    <a:pt x="14741" y="8651"/>
                    <a:pt x="15086" y="8264"/>
                    <a:pt x="15410" y="7947"/>
                  </a:cubicBezTo>
                  <a:cubicBezTo>
                    <a:pt x="15803" y="7553"/>
                    <a:pt x="14889" y="6738"/>
                    <a:pt x="14157" y="6281"/>
                  </a:cubicBezTo>
                  <a:cubicBezTo>
                    <a:pt x="13419" y="5823"/>
                    <a:pt x="14157" y="5542"/>
                    <a:pt x="13820" y="4811"/>
                  </a:cubicBezTo>
                  <a:cubicBezTo>
                    <a:pt x="13482" y="4072"/>
                    <a:pt x="14073" y="4072"/>
                    <a:pt x="14157" y="3474"/>
                  </a:cubicBezTo>
                  <a:cubicBezTo>
                    <a:pt x="14235" y="2877"/>
                    <a:pt x="13679" y="2145"/>
                    <a:pt x="13145" y="1744"/>
                  </a:cubicBezTo>
                  <a:cubicBezTo>
                    <a:pt x="12603" y="1350"/>
                    <a:pt x="12547" y="1744"/>
                    <a:pt x="12343" y="1744"/>
                  </a:cubicBezTo>
                  <a:cubicBezTo>
                    <a:pt x="12146" y="1744"/>
                    <a:pt x="11548" y="3474"/>
                    <a:pt x="11274" y="4072"/>
                  </a:cubicBezTo>
                  <a:cubicBezTo>
                    <a:pt x="10993" y="4670"/>
                    <a:pt x="10022" y="4670"/>
                    <a:pt x="9600" y="4811"/>
                  </a:cubicBezTo>
                  <a:cubicBezTo>
                    <a:pt x="9185" y="4944"/>
                    <a:pt x="9600" y="3875"/>
                    <a:pt x="10022" y="3474"/>
                  </a:cubicBezTo>
                  <a:cubicBezTo>
                    <a:pt x="10352" y="3158"/>
                    <a:pt x="9881" y="2187"/>
                    <a:pt x="9600" y="174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5" name="Freihandform: Form 240">
              <a:extLst>
                <a:ext uri="{FF2B5EF4-FFF2-40B4-BE49-F238E27FC236}">
                  <a16:creationId xmlns:a16="http://schemas.microsoft.com/office/drawing/2014/main" id="{B73DC402-17D5-CA43-9277-7A64DEDBD358}"/>
                </a:ext>
              </a:extLst>
            </p:cNvPr>
            <p:cNvSpPr/>
            <p:nvPr/>
          </p:nvSpPr>
          <p:spPr>
            <a:xfrm>
              <a:off x="6329857" y="3456715"/>
              <a:ext cx="25185" cy="31841"/>
            </a:xfrm>
            <a:custGeom>
              <a:avLst/>
              <a:gdLst>
                <a:gd name="connsiteX0" fmla="*/ 992 w 25185"/>
                <a:gd name="connsiteY0" fmla="*/ 14184 h 31841"/>
                <a:gd name="connsiteX1" fmla="*/ 0 w 25185"/>
                <a:gd name="connsiteY1" fmla="*/ 11181 h 31841"/>
                <a:gd name="connsiteX2" fmla="*/ 0 w 25185"/>
                <a:gd name="connsiteY2" fmla="*/ 10583 h 31841"/>
                <a:gd name="connsiteX3" fmla="*/ 3939 w 25185"/>
                <a:gd name="connsiteY3" fmla="*/ 10843 h 31841"/>
                <a:gd name="connsiteX4" fmla="*/ 5549 w 25185"/>
                <a:gd name="connsiteY4" fmla="*/ 9831 h 31841"/>
                <a:gd name="connsiteX5" fmla="*/ 5549 w 25185"/>
                <a:gd name="connsiteY5" fmla="*/ 8438 h 31841"/>
                <a:gd name="connsiteX6" fmla="*/ 6921 w 25185"/>
                <a:gd name="connsiteY6" fmla="*/ 7679 h 31841"/>
                <a:gd name="connsiteX7" fmla="*/ 8686 w 25185"/>
                <a:gd name="connsiteY7" fmla="*/ 4999 h 31841"/>
                <a:gd name="connsiteX8" fmla="*/ 9938 w 25185"/>
                <a:gd name="connsiteY8" fmla="*/ 4999 h 31841"/>
                <a:gd name="connsiteX9" fmla="*/ 10339 w 25185"/>
                <a:gd name="connsiteY9" fmla="*/ 6631 h 31841"/>
                <a:gd name="connsiteX10" fmla="*/ 9938 w 25185"/>
                <a:gd name="connsiteY10" fmla="*/ 8818 h 31841"/>
                <a:gd name="connsiteX11" fmla="*/ 10796 w 25185"/>
                <a:gd name="connsiteY11" fmla="*/ 9374 h 31841"/>
                <a:gd name="connsiteX12" fmla="*/ 11928 w 25185"/>
                <a:gd name="connsiteY12" fmla="*/ 11181 h 31841"/>
                <a:gd name="connsiteX13" fmla="*/ 12863 w 25185"/>
                <a:gd name="connsiteY13" fmla="*/ 10843 h 31841"/>
                <a:gd name="connsiteX14" fmla="*/ 13574 w 25185"/>
                <a:gd name="connsiteY14" fmla="*/ 9374 h 31841"/>
                <a:gd name="connsiteX15" fmla="*/ 14868 w 25185"/>
                <a:gd name="connsiteY15" fmla="*/ 9831 h 31841"/>
                <a:gd name="connsiteX16" fmla="*/ 14411 w 25185"/>
                <a:gd name="connsiteY16" fmla="*/ 12510 h 31841"/>
                <a:gd name="connsiteX17" fmla="*/ 16598 w 25185"/>
                <a:gd name="connsiteY17" fmla="*/ 12194 h 31841"/>
                <a:gd name="connsiteX18" fmla="*/ 16598 w 25185"/>
                <a:gd name="connsiteY18" fmla="*/ 8438 h 31841"/>
                <a:gd name="connsiteX19" fmla="*/ 16141 w 25185"/>
                <a:gd name="connsiteY19" fmla="*/ 6089 h 31841"/>
                <a:gd name="connsiteX20" fmla="*/ 15381 w 25185"/>
                <a:gd name="connsiteY20" fmla="*/ 4661 h 31841"/>
                <a:gd name="connsiteX21" fmla="*/ 13574 w 25185"/>
                <a:gd name="connsiteY21" fmla="*/ 3269 h 31841"/>
                <a:gd name="connsiteX22" fmla="*/ 15761 w 25185"/>
                <a:gd name="connsiteY22" fmla="*/ 1876 h 31841"/>
                <a:gd name="connsiteX23" fmla="*/ 17730 w 25185"/>
                <a:gd name="connsiteY23" fmla="*/ 406 h 31841"/>
                <a:gd name="connsiteX24" fmla="*/ 20136 w 25185"/>
                <a:gd name="connsiteY24" fmla="*/ 69 h 31841"/>
                <a:gd name="connsiteX25" fmla="*/ 22443 w 25185"/>
                <a:gd name="connsiteY25" fmla="*/ 1082 h 31841"/>
                <a:gd name="connsiteX26" fmla="*/ 23835 w 25185"/>
                <a:gd name="connsiteY26" fmla="*/ 4324 h 31841"/>
                <a:gd name="connsiteX27" fmla="*/ 23118 w 25185"/>
                <a:gd name="connsiteY27" fmla="*/ 6293 h 31841"/>
                <a:gd name="connsiteX28" fmla="*/ 24173 w 25185"/>
                <a:gd name="connsiteY28" fmla="*/ 7939 h 31841"/>
                <a:gd name="connsiteX29" fmla="*/ 24173 w 25185"/>
                <a:gd name="connsiteY29" fmla="*/ 10084 h 31841"/>
                <a:gd name="connsiteX30" fmla="*/ 25185 w 25185"/>
                <a:gd name="connsiteY30" fmla="*/ 15338 h 31841"/>
                <a:gd name="connsiteX31" fmla="*/ 24173 w 25185"/>
                <a:gd name="connsiteY31" fmla="*/ 15338 h 31841"/>
                <a:gd name="connsiteX32" fmla="*/ 23118 w 25185"/>
                <a:gd name="connsiteY32" fmla="*/ 14501 h 31841"/>
                <a:gd name="connsiteX33" fmla="*/ 21191 w 25185"/>
                <a:gd name="connsiteY33" fmla="*/ 14501 h 31841"/>
                <a:gd name="connsiteX34" fmla="*/ 19721 w 25185"/>
                <a:gd name="connsiteY34" fmla="*/ 15591 h 31841"/>
                <a:gd name="connsiteX35" fmla="*/ 19707 w 25185"/>
                <a:gd name="connsiteY35" fmla="*/ 15605 h 31841"/>
                <a:gd name="connsiteX36" fmla="*/ 18785 w 25185"/>
                <a:gd name="connsiteY36" fmla="*/ 17321 h 31841"/>
                <a:gd name="connsiteX37" fmla="*/ 18785 w 25185"/>
                <a:gd name="connsiteY37" fmla="*/ 19368 h 31841"/>
                <a:gd name="connsiteX38" fmla="*/ 21191 w 25185"/>
                <a:gd name="connsiteY38" fmla="*/ 20465 h 31841"/>
                <a:gd name="connsiteX39" fmla="*/ 22443 w 25185"/>
                <a:gd name="connsiteY39" fmla="*/ 22687 h 31841"/>
                <a:gd name="connsiteX40" fmla="*/ 19003 w 25185"/>
                <a:gd name="connsiteY40" fmla="*/ 24459 h 31841"/>
                <a:gd name="connsiteX41" fmla="*/ 17730 w 25185"/>
                <a:gd name="connsiteY41" fmla="*/ 25191 h 31841"/>
                <a:gd name="connsiteX42" fmla="*/ 16064 w 25185"/>
                <a:gd name="connsiteY42" fmla="*/ 25592 h 31841"/>
                <a:gd name="connsiteX43" fmla="*/ 16064 w 25185"/>
                <a:gd name="connsiteY43" fmla="*/ 27259 h 31841"/>
                <a:gd name="connsiteX44" fmla="*/ 17273 w 25185"/>
                <a:gd name="connsiteY44" fmla="*/ 28729 h 31841"/>
                <a:gd name="connsiteX45" fmla="*/ 17273 w 25185"/>
                <a:gd name="connsiteY45" fmla="*/ 30205 h 31841"/>
                <a:gd name="connsiteX46" fmla="*/ 16598 w 25185"/>
                <a:gd name="connsiteY46" fmla="*/ 31732 h 31841"/>
                <a:gd name="connsiteX47" fmla="*/ 14868 w 25185"/>
                <a:gd name="connsiteY47" fmla="*/ 31394 h 31841"/>
                <a:gd name="connsiteX48" fmla="*/ 12343 w 25185"/>
                <a:gd name="connsiteY48" fmla="*/ 29467 h 31841"/>
                <a:gd name="connsiteX49" fmla="*/ 11605 w 25185"/>
                <a:gd name="connsiteY49" fmla="*/ 27660 h 31841"/>
                <a:gd name="connsiteX50" fmla="*/ 9938 w 25185"/>
                <a:gd name="connsiteY50" fmla="*/ 25592 h 31841"/>
                <a:gd name="connsiteX51" fmla="*/ 7195 w 25185"/>
                <a:gd name="connsiteY51" fmla="*/ 25191 h 31841"/>
                <a:gd name="connsiteX52" fmla="*/ 3939 w 25185"/>
                <a:gd name="connsiteY52" fmla="*/ 25191 h 31841"/>
                <a:gd name="connsiteX53" fmla="*/ 2799 w 25185"/>
                <a:gd name="connsiteY53" fmla="*/ 23721 h 31841"/>
                <a:gd name="connsiteX54" fmla="*/ 1786 w 25185"/>
                <a:gd name="connsiteY54" fmla="*/ 21653 h 31841"/>
                <a:gd name="connsiteX55" fmla="*/ 2799 w 25185"/>
                <a:gd name="connsiteY55" fmla="*/ 19923 h 31841"/>
                <a:gd name="connsiteX56" fmla="*/ 2799 w 25185"/>
                <a:gd name="connsiteY56" fmla="*/ 17321 h 31841"/>
                <a:gd name="connsiteX57" fmla="*/ 992 w 25185"/>
                <a:gd name="connsiteY57" fmla="*/ 14184 h 3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5185" h="31841">
                  <a:moveTo>
                    <a:pt x="992" y="14184"/>
                  </a:moveTo>
                  <a:cubicBezTo>
                    <a:pt x="56" y="12770"/>
                    <a:pt x="457" y="12194"/>
                    <a:pt x="0" y="11181"/>
                  </a:cubicBezTo>
                  <a:lnTo>
                    <a:pt x="0" y="10583"/>
                  </a:lnTo>
                  <a:cubicBezTo>
                    <a:pt x="935" y="10668"/>
                    <a:pt x="3031" y="10843"/>
                    <a:pt x="3939" y="10843"/>
                  </a:cubicBezTo>
                  <a:cubicBezTo>
                    <a:pt x="5071" y="10843"/>
                    <a:pt x="4832" y="10429"/>
                    <a:pt x="5549" y="9831"/>
                  </a:cubicBezTo>
                  <a:cubicBezTo>
                    <a:pt x="6259" y="9233"/>
                    <a:pt x="5444" y="9374"/>
                    <a:pt x="5549" y="8438"/>
                  </a:cubicBezTo>
                  <a:cubicBezTo>
                    <a:pt x="5648" y="7503"/>
                    <a:pt x="6006" y="7939"/>
                    <a:pt x="6921" y="7679"/>
                  </a:cubicBezTo>
                  <a:cubicBezTo>
                    <a:pt x="7835" y="7425"/>
                    <a:pt x="7195" y="7046"/>
                    <a:pt x="8686" y="4999"/>
                  </a:cubicBezTo>
                  <a:cubicBezTo>
                    <a:pt x="10177" y="3909"/>
                    <a:pt x="9438" y="4957"/>
                    <a:pt x="9938" y="4999"/>
                  </a:cubicBezTo>
                  <a:cubicBezTo>
                    <a:pt x="10437" y="5041"/>
                    <a:pt x="10374" y="5534"/>
                    <a:pt x="10339" y="6631"/>
                  </a:cubicBezTo>
                  <a:cubicBezTo>
                    <a:pt x="10296" y="7721"/>
                    <a:pt x="9938" y="7939"/>
                    <a:pt x="9938" y="8818"/>
                  </a:cubicBezTo>
                  <a:cubicBezTo>
                    <a:pt x="9938" y="9690"/>
                    <a:pt x="10198" y="9374"/>
                    <a:pt x="10796" y="9374"/>
                  </a:cubicBezTo>
                  <a:cubicBezTo>
                    <a:pt x="11386" y="9374"/>
                    <a:pt x="11605" y="10506"/>
                    <a:pt x="11928" y="11181"/>
                  </a:cubicBezTo>
                  <a:cubicBezTo>
                    <a:pt x="12245" y="11856"/>
                    <a:pt x="12343" y="11181"/>
                    <a:pt x="12863" y="10843"/>
                  </a:cubicBezTo>
                  <a:cubicBezTo>
                    <a:pt x="13377" y="10506"/>
                    <a:pt x="13159" y="10084"/>
                    <a:pt x="13574" y="9374"/>
                  </a:cubicBezTo>
                  <a:cubicBezTo>
                    <a:pt x="13996" y="8656"/>
                    <a:pt x="14868" y="9156"/>
                    <a:pt x="14868" y="9831"/>
                  </a:cubicBezTo>
                  <a:cubicBezTo>
                    <a:pt x="14868" y="10506"/>
                    <a:pt x="14291" y="11596"/>
                    <a:pt x="14411" y="12510"/>
                  </a:cubicBezTo>
                  <a:cubicBezTo>
                    <a:pt x="14530" y="13425"/>
                    <a:pt x="15761" y="12510"/>
                    <a:pt x="16598" y="12194"/>
                  </a:cubicBezTo>
                  <a:cubicBezTo>
                    <a:pt x="17435" y="11877"/>
                    <a:pt x="16978" y="10084"/>
                    <a:pt x="16598" y="8438"/>
                  </a:cubicBezTo>
                  <a:cubicBezTo>
                    <a:pt x="16218" y="6785"/>
                    <a:pt x="16296" y="6631"/>
                    <a:pt x="16141" y="6089"/>
                  </a:cubicBezTo>
                  <a:cubicBezTo>
                    <a:pt x="15979" y="5555"/>
                    <a:pt x="15761" y="5379"/>
                    <a:pt x="15381" y="4661"/>
                  </a:cubicBezTo>
                  <a:cubicBezTo>
                    <a:pt x="15009" y="3944"/>
                    <a:pt x="13996" y="4324"/>
                    <a:pt x="13574" y="3269"/>
                  </a:cubicBezTo>
                  <a:cubicBezTo>
                    <a:pt x="13159" y="2214"/>
                    <a:pt x="14629" y="2474"/>
                    <a:pt x="15761" y="1876"/>
                  </a:cubicBezTo>
                  <a:cubicBezTo>
                    <a:pt x="16893" y="1279"/>
                    <a:pt x="16893" y="1082"/>
                    <a:pt x="17730" y="406"/>
                  </a:cubicBezTo>
                  <a:cubicBezTo>
                    <a:pt x="18567" y="-269"/>
                    <a:pt x="19003" y="111"/>
                    <a:pt x="20136" y="69"/>
                  </a:cubicBezTo>
                  <a:cubicBezTo>
                    <a:pt x="21268" y="27"/>
                    <a:pt x="21943" y="589"/>
                    <a:pt x="22443" y="1082"/>
                  </a:cubicBezTo>
                  <a:cubicBezTo>
                    <a:pt x="22935" y="1581"/>
                    <a:pt x="24173" y="4021"/>
                    <a:pt x="23835" y="4324"/>
                  </a:cubicBezTo>
                  <a:cubicBezTo>
                    <a:pt x="23498" y="4619"/>
                    <a:pt x="23118" y="4661"/>
                    <a:pt x="23118" y="6293"/>
                  </a:cubicBezTo>
                  <a:cubicBezTo>
                    <a:pt x="23118" y="7918"/>
                    <a:pt x="23652" y="7425"/>
                    <a:pt x="24173" y="7939"/>
                  </a:cubicBezTo>
                  <a:cubicBezTo>
                    <a:pt x="24686" y="8459"/>
                    <a:pt x="24173" y="9156"/>
                    <a:pt x="24173" y="10084"/>
                  </a:cubicBezTo>
                  <a:cubicBezTo>
                    <a:pt x="24173" y="11019"/>
                    <a:pt x="25185" y="14501"/>
                    <a:pt x="25185" y="15338"/>
                  </a:cubicBezTo>
                  <a:cubicBezTo>
                    <a:pt x="25185" y="16167"/>
                    <a:pt x="25045" y="15591"/>
                    <a:pt x="24173" y="15338"/>
                  </a:cubicBezTo>
                  <a:cubicBezTo>
                    <a:pt x="23294" y="15077"/>
                    <a:pt x="23533" y="14916"/>
                    <a:pt x="23118" y="14501"/>
                  </a:cubicBezTo>
                  <a:cubicBezTo>
                    <a:pt x="22703" y="14086"/>
                    <a:pt x="22443" y="14458"/>
                    <a:pt x="21191" y="14501"/>
                  </a:cubicBezTo>
                  <a:cubicBezTo>
                    <a:pt x="19939" y="14543"/>
                    <a:pt x="20297" y="14916"/>
                    <a:pt x="19721" y="15591"/>
                  </a:cubicBezTo>
                  <a:lnTo>
                    <a:pt x="19707" y="15605"/>
                  </a:lnTo>
                  <a:cubicBezTo>
                    <a:pt x="19137" y="16273"/>
                    <a:pt x="19003" y="16435"/>
                    <a:pt x="18785" y="17321"/>
                  </a:cubicBezTo>
                  <a:cubicBezTo>
                    <a:pt x="18567" y="18214"/>
                    <a:pt x="18743" y="18756"/>
                    <a:pt x="18785" y="19368"/>
                  </a:cubicBezTo>
                  <a:cubicBezTo>
                    <a:pt x="18821" y="19986"/>
                    <a:pt x="20255" y="19923"/>
                    <a:pt x="21191" y="20465"/>
                  </a:cubicBezTo>
                  <a:cubicBezTo>
                    <a:pt x="22126" y="20999"/>
                    <a:pt x="22358" y="21892"/>
                    <a:pt x="22443" y="22687"/>
                  </a:cubicBezTo>
                  <a:cubicBezTo>
                    <a:pt x="22520" y="23482"/>
                    <a:pt x="21606" y="24459"/>
                    <a:pt x="19003" y="24459"/>
                  </a:cubicBezTo>
                  <a:cubicBezTo>
                    <a:pt x="16401" y="24459"/>
                    <a:pt x="18265" y="24459"/>
                    <a:pt x="17730" y="25191"/>
                  </a:cubicBezTo>
                  <a:cubicBezTo>
                    <a:pt x="17196" y="25929"/>
                    <a:pt x="17273" y="25592"/>
                    <a:pt x="16064" y="25592"/>
                  </a:cubicBezTo>
                  <a:cubicBezTo>
                    <a:pt x="14847" y="25592"/>
                    <a:pt x="15860" y="26190"/>
                    <a:pt x="16064" y="27259"/>
                  </a:cubicBezTo>
                  <a:cubicBezTo>
                    <a:pt x="16261" y="28335"/>
                    <a:pt x="16598" y="28194"/>
                    <a:pt x="17273" y="28729"/>
                  </a:cubicBezTo>
                  <a:cubicBezTo>
                    <a:pt x="17948" y="29270"/>
                    <a:pt x="17330" y="29467"/>
                    <a:pt x="17273" y="30205"/>
                  </a:cubicBezTo>
                  <a:cubicBezTo>
                    <a:pt x="17210" y="30937"/>
                    <a:pt x="16992" y="31394"/>
                    <a:pt x="16598" y="31732"/>
                  </a:cubicBezTo>
                  <a:cubicBezTo>
                    <a:pt x="16197" y="32069"/>
                    <a:pt x="15803" y="31535"/>
                    <a:pt x="14868" y="31394"/>
                  </a:cubicBezTo>
                  <a:cubicBezTo>
                    <a:pt x="13933" y="31253"/>
                    <a:pt x="13792" y="31056"/>
                    <a:pt x="12343" y="29467"/>
                  </a:cubicBezTo>
                  <a:cubicBezTo>
                    <a:pt x="11949" y="28729"/>
                    <a:pt x="11865" y="28729"/>
                    <a:pt x="11605" y="27660"/>
                  </a:cubicBezTo>
                  <a:cubicBezTo>
                    <a:pt x="11351" y="26583"/>
                    <a:pt x="11605" y="26724"/>
                    <a:pt x="9938" y="25592"/>
                  </a:cubicBezTo>
                  <a:cubicBezTo>
                    <a:pt x="8805" y="24994"/>
                    <a:pt x="8405" y="25191"/>
                    <a:pt x="7195" y="25191"/>
                  </a:cubicBezTo>
                  <a:lnTo>
                    <a:pt x="3939" y="25191"/>
                  </a:lnTo>
                  <a:cubicBezTo>
                    <a:pt x="2743" y="25191"/>
                    <a:pt x="3657" y="24459"/>
                    <a:pt x="2799" y="23721"/>
                  </a:cubicBezTo>
                  <a:cubicBezTo>
                    <a:pt x="1948" y="22989"/>
                    <a:pt x="1730" y="22131"/>
                    <a:pt x="1786" y="21653"/>
                  </a:cubicBezTo>
                  <a:cubicBezTo>
                    <a:pt x="1850" y="21175"/>
                    <a:pt x="2799" y="20858"/>
                    <a:pt x="2799" y="19923"/>
                  </a:cubicBezTo>
                  <a:cubicBezTo>
                    <a:pt x="2799" y="18995"/>
                    <a:pt x="2863" y="18256"/>
                    <a:pt x="2799" y="17321"/>
                  </a:cubicBezTo>
                  <a:cubicBezTo>
                    <a:pt x="2743" y="16386"/>
                    <a:pt x="1927" y="15591"/>
                    <a:pt x="992" y="1418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6" name="Freihandform: Form 241">
              <a:extLst>
                <a:ext uri="{FF2B5EF4-FFF2-40B4-BE49-F238E27FC236}">
                  <a16:creationId xmlns:a16="http://schemas.microsoft.com/office/drawing/2014/main" id="{98E134A4-F112-DF4C-9BC6-98CA94693132}"/>
                </a:ext>
              </a:extLst>
            </p:cNvPr>
            <p:cNvSpPr/>
            <p:nvPr/>
          </p:nvSpPr>
          <p:spPr>
            <a:xfrm>
              <a:off x="6328555" y="3487594"/>
              <a:ext cx="24970" cy="10680"/>
            </a:xfrm>
            <a:custGeom>
              <a:avLst/>
              <a:gdLst>
                <a:gd name="connsiteX0" fmla="*/ 24857 w 24970"/>
                <a:gd name="connsiteY0" fmla="*/ 1887 h 10680"/>
                <a:gd name="connsiteX1" fmla="*/ 22493 w 24970"/>
                <a:gd name="connsiteY1" fmla="*/ 2 h 10680"/>
                <a:gd name="connsiteX2" fmla="*/ 20524 w 24970"/>
                <a:gd name="connsiteY2" fmla="*/ 1134 h 10680"/>
                <a:gd name="connsiteX3" fmla="*/ 15973 w 24970"/>
                <a:gd name="connsiteY3" fmla="*/ 3181 h 10680"/>
                <a:gd name="connsiteX4" fmla="*/ 13941 w 24970"/>
                <a:gd name="connsiteY4" fmla="*/ 3778 h 10680"/>
                <a:gd name="connsiteX5" fmla="*/ 11240 w 24970"/>
                <a:gd name="connsiteY5" fmla="*/ 4334 h 10680"/>
                <a:gd name="connsiteX6" fmla="*/ 8202 w 24970"/>
                <a:gd name="connsiteY6" fmla="*/ 3181 h 10680"/>
                <a:gd name="connsiteX7" fmla="*/ 4763 w 24970"/>
                <a:gd name="connsiteY7" fmla="*/ 2189 h 10680"/>
                <a:gd name="connsiteX8" fmla="*/ 2618 w 24970"/>
                <a:gd name="connsiteY8" fmla="*/ 2780 h 10680"/>
                <a:gd name="connsiteX9" fmla="*/ 1183 w 24970"/>
                <a:gd name="connsiteY9" fmla="*/ 4334 h 10680"/>
                <a:gd name="connsiteX10" fmla="*/ 128 w 24970"/>
                <a:gd name="connsiteY10" fmla="*/ 5762 h 10680"/>
                <a:gd name="connsiteX11" fmla="*/ 2618 w 24970"/>
                <a:gd name="connsiteY11" fmla="*/ 7351 h 10680"/>
                <a:gd name="connsiteX12" fmla="*/ 5059 w 24970"/>
                <a:gd name="connsiteY12" fmla="*/ 8842 h 10680"/>
                <a:gd name="connsiteX13" fmla="*/ 7562 w 24970"/>
                <a:gd name="connsiteY13" fmla="*/ 10214 h 10680"/>
                <a:gd name="connsiteX14" fmla="*/ 10607 w 24970"/>
                <a:gd name="connsiteY14" fmla="*/ 9721 h 10680"/>
                <a:gd name="connsiteX15" fmla="*/ 13167 w 24970"/>
                <a:gd name="connsiteY15" fmla="*/ 10214 h 10680"/>
                <a:gd name="connsiteX16" fmla="*/ 15636 w 24970"/>
                <a:gd name="connsiteY16" fmla="*/ 10214 h 10680"/>
                <a:gd name="connsiteX17" fmla="*/ 16825 w 24970"/>
                <a:gd name="connsiteY17" fmla="*/ 8146 h 10680"/>
                <a:gd name="connsiteX18" fmla="*/ 19033 w 24970"/>
                <a:gd name="connsiteY18" fmla="*/ 5466 h 10680"/>
                <a:gd name="connsiteX19" fmla="*/ 21600 w 24970"/>
                <a:gd name="connsiteY19" fmla="*/ 3181 h 10680"/>
                <a:gd name="connsiteX20" fmla="*/ 24857 w 24970"/>
                <a:gd name="connsiteY20" fmla="*/ 1887 h 10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970" h="10680">
                  <a:moveTo>
                    <a:pt x="24857" y="1887"/>
                  </a:moveTo>
                  <a:cubicBezTo>
                    <a:pt x="25454" y="1746"/>
                    <a:pt x="23562" y="-62"/>
                    <a:pt x="22493" y="2"/>
                  </a:cubicBezTo>
                  <a:cubicBezTo>
                    <a:pt x="21980" y="283"/>
                    <a:pt x="20876" y="909"/>
                    <a:pt x="20524" y="1134"/>
                  </a:cubicBezTo>
                  <a:cubicBezTo>
                    <a:pt x="20088" y="1408"/>
                    <a:pt x="18175" y="2189"/>
                    <a:pt x="15973" y="3181"/>
                  </a:cubicBezTo>
                  <a:cubicBezTo>
                    <a:pt x="13765" y="4172"/>
                    <a:pt x="14841" y="3441"/>
                    <a:pt x="13941" y="3778"/>
                  </a:cubicBezTo>
                  <a:cubicBezTo>
                    <a:pt x="13048" y="4116"/>
                    <a:pt x="12907" y="4334"/>
                    <a:pt x="11240" y="4334"/>
                  </a:cubicBezTo>
                  <a:cubicBezTo>
                    <a:pt x="9574" y="4334"/>
                    <a:pt x="9932" y="4334"/>
                    <a:pt x="8202" y="3181"/>
                  </a:cubicBezTo>
                  <a:cubicBezTo>
                    <a:pt x="6472" y="2027"/>
                    <a:pt x="6810" y="2780"/>
                    <a:pt x="4763" y="2189"/>
                  </a:cubicBezTo>
                  <a:cubicBezTo>
                    <a:pt x="2716" y="1591"/>
                    <a:pt x="3089" y="2527"/>
                    <a:pt x="2618" y="2780"/>
                  </a:cubicBezTo>
                  <a:cubicBezTo>
                    <a:pt x="2140" y="3040"/>
                    <a:pt x="2379" y="4172"/>
                    <a:pt x="1183" y="4334"/>
                  </a:cubicBezTo>
                  <a:cubicBezTo>
                    <a:pt x="-13" y="4489"/>
                    <a:pt x="670" y="5066"/>
                    <a:pt x="128" y="5762"/>
                  </a:cubicBezTo>
                  <a:cubicBezTo>
                    <a:pt x="-406" y="6458"/>
                    <a:pt x="789" y="6859"/>
                    <a:pt x="2618" y="7351"/>
                  </a:cubicBezTo>
                  <a:cubicBezTo>
                    <a:pt x="4447" y="7851"/>
                    <a:pt x="4102" y="7970"/>
                    <a:pt x="5059" y="8842"/>
                  </a:cubicBezTo>
                  <a:cubicBezTo>
                    <a:pt x="6015" y="9721"/>
                    <a:pt x="5895" y="9517"/>
                    <a:pt x="7562" y="10214"/>
                  </a:cubicBezTo>
                  <a:cubicBezTo>
                    <a:pt x="9236" y="10910"/>
                    <a:pt x="8997" y="10214"/>
                    <a:pt x="10607" y="9721"/>
                  </a:cubicBezTo>
                  <a:cubicBezTo>
                    <a:pt x="12218" y="9222"/>
                    <a:pt x="12436" y="9799"/>
                    <a:pt x="13167" y="10214"/>
                  </a:cubicBezTo>
                  <a:cubicBezTo>
                    <a:pt x="13906" y="10636"/>
                    <a:pt x="15833" y="11008"/>
                    <a:pt x="15636" y="10214"/>
                  </a:cubicBezTo>
                  <a:cubicBezTo>
                    <a:pt x="15432" y="9419"/>
                    <a:pt x="15714" y="8863"/>
                    <a:pt x="16825" y="8146"/>
                  </a:cubicBezTo>
                  <a:cubicBezTo>
                    <a:pt x="17943" y="7436"/>
                    <a:pt x="18752" y="5902"/>
                    <a:pt x="19033" y="5466"/>
                  </a:cubicBezTo>
                  <a:cubicBezTo>
                    <a:pt x="19314" y="5030"/>
                    <a:pt x="20700" y="3933"/>
                    <a:pt x="21600" y="3181"/>
                  </a:cubicBezTo>
                  <a:cubicBezTo>
                    <a:pt x="22493" y="2421"/>
                    <a:pt x="24259" y="2027"/>
                    <a:pt x="24857" y="1887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7" name="Freihandform: Form 242">
              <a:extLst>
                <a:ext uri="{FF2B5EF4-FFF2-40B4-BE49-F238E27FC236}">
                  <a16:creationId xmlns:a16="http://schemas.microsoft.com/office/drawing/2014/main" id="{23CC3D73-428F-DC42-B7EA-FD9836F4CD5F}"/>
                </a:ext>
              </a:extLst>
            </p:cNvPr>
            <p:cNvSpPr/>
            <p:nvPr/>
          </p:nvSpPr>
          <p:spPr>
            <a:xfrm>
              <a:off x="6311171" y="3470899"/>
              <a:ext cx="15504" cy="18285"/>
            </a:xfrm>
            <a:custGeom>
              <a:avLst/>
              <a:gdLst>
                <a:gd name="connsiteX0" fmla="*/ 9600 w 15504"/>
                <a:gd name="connsiteY0" fmla="*/ 1744 h 18285"/>
                <a:gd name="connsiteX1" fmla="*/ 7476 w 15504"/>
                <a:gd name="connsiteY1" fmla="*/ 0 h 18285"/>
                <a:gd name="connsiteX2" fmla="*/ 6280 w 15504"/>
                <a:gd name="connsiteY2" fmla="*/ 731 h 18285"/>
                <a:gd name="connsiteX3" fmla="*/ 2947 w 15504"/>
                <a:gd name="connsiteY3" fmla="*/ 2680 h 18285"/>
                <a:gd name="connsiteX4" fmla="*/ 1336 w 15504"/>
                <a:gd name="connsiteY4" fmla="*/ 3137 h 18285"/>
                <a:gd name="connsiteX5" fmla="*/ 0 w 15504"/>
                <a:gd name="connsiteY5" fmla="*/ 6281 h 18285"/>
                <a:gd name="connsiteX6" fmla="*/ 619 w 15504"/>
                <a:gd name="connsiteY6" fmla="*/ 7469 h 18285"/>
                <a:gd name="connsiteX7" fmla="*/ 1336 w 15504"/>
                <a:gd name="connsiteY7" fmla="*/ 10275 h 18285"/>
                <a:gd name="connsiteX8" fmla="*/ 2011 w 15504"/>
                <a:gd name="connsiteY8" fmla="*/ 11408 h 18285"/>
                <a:gd name="connsiteX9" fmla="*/ 4417 w 15504"/>
                <a:gd name="connsiteY9" fmla="*/ 12005 h 18285"/>
                <a:gd name="connsiteX10" fmla="*/ 5690 w 15504"/>
                <a:gd name="connsiteY10" fmla="*/ 13075 h 18285"/>
                <a:gd name="connsiteX11" fmla="*/ 5690 w 15504"/>
                <a:gd name="connsiteY11" fmla="*/ 14544 h 18285"/>
                <a:gd name="connsiteX12" fmla="*/ 7814 w 15504"/>
                <a:gd name="connsiteY12" fmla="*/ 15620 h 18285"/>
                <a:gd name="connsiteX13" fmla="*/ 11274 w 15504"/>
                <a:gd name="connsiteY13" fmla="*/ 16021 h 18285"/>
                <a:gd name="connsiteX14" fmla="*/ 12343 w 15504"/>
                <a:gd name="connsiteY14" fmla="*/ 18286 h 18285"/>
                <a:gd name="connsiteX15" fmla="*/ 13145 w 15504"/>
                <a:gd name="connsiteY15" fmla="*/ 15620 h 18285"/>
                <a:gd name="connsiteX16" fmla="*/ 14615 w 15504"/>
                <a:gd name="connsiteY16" fmla="*/ 14544 h 18285"/>
                <a:gd name="connsiteX17" fmla="*/ 15410 w 15504"/>
                <a:gd name="connsiteY17" fmla="*/ 12540 h 18285"/>
                <a:gd name="connsiteX18" fmla="*/ 15410 w 15504"/>
                <a:gd name="connsiteY18" fmla="*/ 9537 h 18285"/>
                <a:gd name="connsiteX19" fmla="*/ 14615 w 15504"/>
                <a:gd name="connsiteY19" fmla="*/ 8805 h 18285"/>
                <a:gd name="connsiteX20" fmla="*/ 15410 w 15504"/>
                <a:gd name="connsiteY20" fmla="*/ 7947 h 18285"/>
                <a:gd name="connsiteX21" fmla="*/ 14157 w 15504"/>
                <a:gd name="connsiteY21" fmla="*/ 6281 h 18285"/>
                <a:gd name="connsiteX22" fmla="*/ 13820 w 15504"/>
                <a:gd name="connsiteY22" fmla="*/ 4811 h 18285"/>
                <a:gd name="connsiteX23" fmla="*/ 14157 w 15504"/>
                <a:gd name="connsiteY23" fmla="*/ 3474 h 18285"/>
                <a:gd name="connsiteX24" fmla="*/ 13145 w 15504"/>
                <a:gd name="connsiteY24" fmla="*/ 1744 h 18285"/>
                <a:gd name="connsiteX25" fmla="*/ 12343 w 15504"/>
                <a:gd name="connsiteY25" fmla="*/ 1744 h 18285"/>
                <a:gd name="connsiteX26" fmla="*/ 11274 w 15504"/>
                <a:gd name="connsiteY26" fmla="*/ 4072 h 18285"/>
                <a:gd name="connsiteX27" fmla="*/ 9600 w 15504"/>
                <a:gd name="connsiteY27" fmla="*/ 4811 h 18285"/>
                <a:gd name="connsiteX28" fmla="*/ 10022 w 15504"/>
                <a:gd name="connsiteY28" fmla="*/ 3474 h 18285"/>
                <a:gd name="connsiteX29" fmla="*/ 9600 w 15504"/>
                <a:gd name="connsiteY29" fmla="*/ 1744 h 1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504" h="18285">
                  <a:moveTo>
                    <a:pt x="9600" y="1744"/>
                  </a:moveTo>
                  <a:cubicBezTo>
                    <a:pt x="9452" y="1343"/>
                    <a:pt x="8812" y="429"/>
                    <a:pt x="7476" y="0"/>
                  </a:cubicBezTo>
                  <a:cubicBezTo>
                    <a:pt x="7209" y="134"/>
                    <a:pt x="6604" y="478"/>
                    <a:pt x="6280" y="731"/>
                  </a:cubicBezTo>
                  <a:cubicBezTo>
                    <a:pt x="5887" y="1048"/>
                    <a:pt x="5212" y="1350"/>
                    <a:pt x="2947" y="2680"/>
                  </a:cubicBezTo>
                  <a:cubicBezTo>
                    <a:pt x="2068" y="3214"/>
                    <a:pt x="2011" y="2996"/>
                    <a:pt x="1336" y="3137"/>
                  </a:cubicBezTo>
                  <a:cubicBezTo>
                    <a:pt x="661" y="3278"/>
                    <a:pt x="619" y="4072"/>
                    <a:pt x="0" y="6281"/>
                  </a:cubicBezTo>
                  <a:cubicBezTo>
                    <a:pt x="0" y="7750"/>
                    <a:pt x="204" y="6815"/>
                    <a:pt x="619" y="7469"/>
                  </a:cubicBezTo>
                  <a:cubicBezTo>
                    <a:pt x="1034" y="8130"/>
                    <a:pt x="1132" y="9143"/>
                    <a:pt x="1336" y="10275"/>
                  </a:cubicBezTo>
                  <a:cubicBezTo>
                    <a:pt x="1533" y="11408"/>
                    <a:pt x="1815" y="10754"/>
                    <a:pt x="2011" y="11408"/>
                  </a:cubicBezTo>
                  <a:cubicBezTo>
                    <a:pt x="2208" y="12062"/>
                    <a:pt x="3144" y="11942"/>
                    <a:pt x="4417" y="12005"/>
                  </a:cubicBezTo>
                  <a:cubicBezTo>
                    <a:pt x="5690" y="12062"/>
                    <a:pt x="5014" y="12540"/>
                    <a:pt x="5690" y="13075"/>
                  </a:cubicBezTo>
                  <a:cubicBezTo>
                    <a:pt x="6365" y="13616"/>
                    <a:pt x="5472" y="13954"/>
                    <a:pt x="5690" y="14544"/>
                  </a:cubicBezTo>
                  <a:cubicBezTo>
                    <a:pt x="5908" y="15142"/>
                    <a:pt x="7082" y="14945"/>
                    <a:pt x="7814" y="15620"/>
                  </a:cubicBezTo>
                  <a:cubicBezTo>
                    <a:pt x="8552" y="16296"/>
                    <a:pt x="10416" y="15620"/>
                    <a:pt x="11274" y="16021"/>
                  </a:cubicBezTo>
                  <a:cubicBezTo>
                    <a:pt x="12125" y="16415"/>
                    <a:pt x="11949" y="18286"/>
                    <a:pt x="12343" y="18286"/>
                  </a:cubicBezTo>
                  <a:cubicBezTo>
                    <a:pt x="12744" y="18286"/>
                    <a:pt x="12744" y="16218"/>
                    <a:pt x="13145" y="15620"/>
                  </a:cubicBezTo>
                  <a:cubicBezTo>
                    <a:pt x="13539" y="15023"/>
                    <a:pt x="13820" y="14945"/>
                    <a:pt x="14615" y="14544"/>
                  </a:cubicBezTo>
                  <a:cubicBezTo>
                    <a:pt x="15410" y="14151"/>
                    <a:pt x="15410" y="13138"/>
                    <a:pt x="15410" y="12540"/>
                  </a:cubicBezTo>
                  <a:lnTo>
                    <a:pt x="15410" y="9537"/>
                  </a:lnTo>
                  <a:cubicBezTo>
                    <a:pt x="15410" y="9270"/>
                    <a:pt x="14875" y="8932"/>
                    <a:pt x="14615" y="8805"/>
                  </a:cubicBezTo>
                  <a:cubicBezTo>
                    <a:pt x="14741" y="8651"/>
                    <a:pt x="15086" y="8264"/>
                    <a:pt x="15410" y="7947"/>
                  </a:cubicBezTo>
                  <a:cubicBezTo>
                    <a:pt x="15803" y="7553"/>
                    <a:pt x="14889" y="6738"/>
                    <a:pt x="14157" y="6281"/>
                  </a:cubicBezTo>
                  <a:cubicBezTo>
                    <a:pt x="13419" y="5823"/>
                    <a:pt x="14157" y="5542"/>
                    <a:pt x="13820" y="4811"/>
                  </a:cubicBezTo>
                  <a:cubicBezTo>
                    <a:pt x="13482" y="4072"/>
                    <a:pt x="14073" y="4072"/>
                    <a:pt x="14157" y="3474"/>
                  </a:cubicBezTo>
                  <a:cubicBezTo>
                    <a:pt x="14235" y="2877"/>
                    <a:pt x="13679" y="2145"/>
                    <a:pt x="13145" y="1744"/>
                  </a:cubicBezTo>
                  <a:cubicBezTo>
                    <a:pt x="12603" y="1350"/>
                    <a:pt x="12547" y="1744"/>
                    <a:pt x="12343" y="1744"/>
                  </a:cubicBezTo>
                  <a:cubicBezTo>
                    <a:pt x="12146" y="1744"/>
                    <a:pt x="11548" y="3474"/>
                    <a:pt x="11274" y="4072"/>
                  </a:cubicBezTo>
                  <a:cubicBezTo>
                    <a:pt x="10993" y="4670"/>
                    <a:pt x="10022" y="4670"/>
                    <a:pt x="9600" y="4811"/>
                  </a:cubicBezTo>
                  <a:cubicBezTo>
                    <a:pt x="9185" y="4944"/>
                    <a:pt x="9600" y="3875"/>
                    <a:pt x="10022" y="3474"/>
                  </a:cubicBezTo>
                  <a:cubicBezTo>
                    <a:pt x="10352" y="3158"/>
                    <a:pt x="9881" y="2187"/>
                    <a:pt x="9600" y="174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8" name="Freihandform: Form 243">
              <a:extLst>
                <a:ext uri="{FF2B5EF4-FFF2-40B4-BE49-F238E27FC236}">
                  <a16:creationId xmlns:a16="http://schemas.microsoft.com/office/drawing/2014/main" id="{BCCAD0AC-D51E-E041-AF45-9E30921BD692}"/>
                </a:ext>
              </a:extLst>
            </p:cNvPr>
            <p:cNvSpPr/>
            <p:nvPr/>
          </p:nvSpPr>
          <p:spPr>
            <a:xfrm>
              <a:off x="6329857" y="3456715"/>
              <a:ext cx="25185" cy="31841"/>
            </a:xfrm>
            <a:custGeom>
              <a:avLst/>
              <a:gdLst>
                <a:gd name="connsiteX0" fmla="*/ 992 w 25185"/>
                <a:gd name="connsiteY0" fmla="*/ 14184 h 31841"/>
                <a:gd name="connsiteX1" fmla="*/ 0 w 25185"/>
                <a:gd name="connsiteY1" fmla="*/ 11181 h 31841"/>
                <a:gd name="connsiteX2" fmla="*/ 0 w 25185"/>
                <a:gd name="connsiteY2" fmla="*/ 10583 h 31841"/>
                <a:gd name="connsiteX3" fmla="*/ 3939 w 25185"/>
                <a:gd name="connsiteY3" fmla="*/ 10843 h 31841"/>
                <a:gd name="connsiteX4" fmla="*/ 5549 w 25185"/>
                <a:gd name="connsiteY4" fmla="*/ 9831 h 31841"/>
                <a:gd name="connsiteX5" fmla="*/ 5549 w 25185"/>
                <a:gd name="connsiteY5" fmla="*/ 8438 h 31841"/>
                <a:gd name="connsiteX6" fmla="*/ 6921 w 25185"/>
                <a:gd name="connsiteY6" fmla="*/ 7679 h 31841"/>
                <a:gd name="connsiteX7" fmla="*/ 8686 w 25185"/>
                <a:gd name="connsiteY7" fmla="*/ 4999 h 31841"/>
                <a:gd name="connsiteX8" fmla="*/ 9938 w 25185"/>
                <a:gd name="connsiteY8" fmla="*/ 4999 h 31841"/>
                <a:gd name="connsiteX9" fmla="*/ 10339 w 25185"/>
                <a:gd name="connsiteY9" fmla="*/ 6631 h 31841"/>
                <a:gd name="connsiteX10" fmla="*/ 9938 w 25185"/>
                <a:gd name="connsiteY10" fmla="*/ 8818 h 31841"/>
                <a:gd name="connsiteX11" fmla="*/ 10796 w 25185"/>
                <a:gd name="connsiteY11" fmla="*/ 9374 h 31841"/>
                <a:gd name="connsiteX12" fmla="*/ 11928 w 25185"/>
                <a:gd name="connsiteY12" fmla="*/ 11181 h 31841"/>
                <a:gd name="connsiteX13" fmla="*/ 12863 w 25185"/>
                <a:gd name="connsiteY13" fmla="*/ 10843 h 31841"/>
                <a:gd name="connsiteX14" fmla="*/ 13574 w 25185"/>
                <a:gd name="connsiteY14" fmla="*/ 9374 h 31841"/>
                <a:gd name="connsiteX15" fmla="*/ 14868 w 25185"/>
                <a:gd name="connsiteY15" fmla="*/ 9831 h 31841"/>
                <a:gd name="connsiteX16" fmla="*/ 14411 w 25185"/>
                <a:gd name="connsiteY16" fmla="*/ 12510 h 31841"/>
                <a:gd name="connsiteX17" fmla="*/ 16598 w 25185"/>
                <a:gd name="connsiteY17" fmla="*/ 12194 h 31841"/>
                <a:gd name="connsiteX18" fmla="*/ 16598 w 25185"/>
                <a:gd name="connsiteY18" fmla="*/ 8438 h 31841"/>
                <a:gd name="connsiteX19" fmla="*/ 16141 w 25185"/>
                <a:gd name="connsiteY19" fmla="*/ 6089 h 31841"/>
                <a:gd name="connsiteX20" fmla="*/ 15381 w 25185"/>
                <a:gd name="connsiteY20" fmla="*/ 4661 h 31841"/>
                <a:gd name="connsiteX21" fmla="*/ 13574 w 25185"/>
                <a:gd name="connsiteY21" fmla="*/ 3269 h 31841"/>
                <a:gd name="connsiteX22" fmla="*/ 15761 w 25185"/>
                <a:gd name="connsiteY22" fmla="*/ 1876 h 31841"/>
                <a:gd name="connsiteX23" fmla="*/ 17730 w 25185"/>
                <a:gd name="connsiteY23" fmla="*/ 406 h 31841"/>
                <a:gd name="connsiteX24" fmla="*/ 20136 w 25185"/>
                <a:gd name="connsiteY24" fmla="*/ 69 h 31841"/>
                <a:gd name="connsiteX25" fmla="*/ 22443 w 25185"/>
                <a:gd name="connsiteY25" fmla="*/ 1082 h 31841"/>
                <a:gd name="connsiteX26" fmla="*/ 23835 w 25185"/>
                <a:gd name="connsiteY26" fmla="*/ 4324 h 31841"/>
                <a:gd name="connsiteX27" fmla="*/ 23118 w 25185"/>
                <a:gd name="connsiteY27" fmla="*/ 6293 h 31841"/>
                <a:gd name="connsiteX28" fmla="*/ 24173 w 25185"/>
                <a:gd name="connsiteY28" fmla="*/ 7939 h 31841"/>
                <a:gd name="connsiteX29" fmla="*/ 24173 w 25185"/>
                <a:gd name="connsiteY29" fmla="*/ 10084 h 31841"/>
                <a:gd name="connsiteX30" fmla="*/ 25185 w 25185"/>
                <a:gd name="connsiteY30" fmla="*/ 15338 h 31841"/>
                <a:gd name="connsiteX31" fmla="*/ 24173 w 25185"/>
                <a:gd name="connsiteY31" fmla="*/ 15338 h 31841"/>
                <a:gd name="connsiteX32" fmla="*/ 23118 w 25185"/>
                <a:gd name="connsiteY32" fmla="*/ 14501 h 31841"/>
                <a:gd name="connsiteX33" fmla="*/ 21191 w 25185"/>
                <a:gd name="connsiteY33" fmla="*/ 14501 h 31841"/>
                <a:gd name="connsiteX34" fmla="*/ 19721 w 25185"/>
                <a:gd name="connsiteY34" fmla="*/ 15591 h 31841"/>
                <a:gd name="connsiteX35" fmla="*/ 19707 w 25185"/>
                <a:gd name="connsiteY35" fmla="*/ 15605 h 31841"/>
                <a:gd name="connsiteX36" fmla="*/ 18785 w 25185"/>
                <a:gd name="connsiteY36" fmla="*/ 17321 h 31841"/>
                <a:gd name="connsiteX37" fmla="*/ 18785 w 25185"/>
                <a:gd name="connsiteY37" fmla="*/ 19368 h 31841"/>
                <a:gd name="connsiteX38" fmla="*/ 21191 w 25185"/>
                <a:gd name="connsiteY38" fmla="*/ 20465 h 31841"/>
                <a:gd name="connsiteX39" fmla="*/ 22443 w 25185"/>
                <a:gd name="connsiteY39" fmla="*/ 22687 h 31841"/>
                <a:gd name="connsiteX40" fmla="*/ 19003 w 25185"/>
                <a:gd name="connsiteY40" fmla="*/ 24459 h 31841"/>
                <a:gd name="connsiteX41" fmla="*/ 17730 w 25185"/>
                <a:gd name="connsiteY41" fmla="*/ 25191 h 31841"/>
                <a:gd name="connsiteX42" fmla="*/ 16064 w 25185"/>
                <a:gd name="connsiteY42" fmla="*/ 25592 h 31841"/>
                <a:gd name="connsiteX43" fmla="*/ 16064 w 25185"/>
                <a:gd name="connsiteY43" fmla="*/ 27259 h 31841"/>
                <a:gd name="connsiteX44" fmla="*/ 17273 w 25185"/>
                <a:gd name="connsiteY44" fmla="*/ 28729 h 31841"/>
                <a:gd name="connsiteX45" fmla="*/ 17273 w 25185"/>
                <a:gd name="connsiteY45" fmla="*/ 30205 h 31841"/>
                <a:gd name="connsiteX46" fmla="*/ 16598 w 25185"/>
                <a:gd name="connsiteY46" fmla="*/ 31732 h 31841"/>
                <a:gd name="connsiteX47" fmla="*/ 14868 w 25185"/>
                <a:gd name="connsiteY47" fmla="*/ 31394 h 31841"/>
                <a:gd name="connsiteX48" fmla="*/ 12343 w 25185"/>
                <a:gd name="connsiteY48" fmla="*/ 29467 h 31841"/>
                <a:gd name="connsiteX49" fmla="*/ 11605 w 25185"/>
                <a:gd name="connsiteY49" fmla="*/ 27660 h 31841"/>
                <a:gd name="connsiteX50" fmla="*/ 9938 w 25185"/>
                <a:gd name="connsiteY50" fmla="*/ 25592 h 31841"/>
                <a:gd name="connsiteX51" fmla="*/ 7195 w 25185"/>
                <a:gd name="connsiteY51" fmla="*/ 25191 h 31841"/>
                <a:gd name="connsiteX52" fmla="*/ 3939 w 25185"/>
                <a:gd name="connsiteY52" fmla="*/ 25191 h 31841"/>
                <a:gd name="connsiteX53" fmla="*/ 2799 w 25185"/>
                <a:gd name="connsiteY53" fmla="*/ 23721 h 31841"/>
                <a:gd name="connsiteX54" fmla="*/ 1786 w 25185"/>
                <a:gd name="connsiteY54" fmla="*/ 21653 h 31841"/>
                <a:gd name="connsiteX55" fmla="*/ 2799 w 25185"/>
                <a:gd name="connsiteY55" fmla="*/ 19923 h 31841"/>
                <a:gd name="connsiteX56" fmla="*/ 2799 w 25185"/>
                <a:gd name="connsiteY56" fmla="*/ 17321 h 31841"/>
                <a:gd name="connsiteX57" fmla="*/ 992 w 25185"/>
                <a:gd name="connsiteY57" fmla="*/ 14184 h 3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5185" h="31841">
                  <a:moveTo>
                    <a:pt x="992" y="14184"/>
                  </a:moveTo>
                  <a:cubicBezTo>
                    <a:pt x="56" y="12770"/>
                    <a:pt x="457" y="12194"/>
                    <a:pt x="0" y="11181"/>
                  </a:cubicBezTo>
                  <a:lnTo>
                    <a:pt x="0" y="10583"/>
                  </a:lnTo>
                  <a:cubicBezTo>
                    <a:pt x="935" y="10668"/>
                    <a:pt x="3031" y="10843"/>
                    <a:pt x="3939" y="10843"/>
                  </a:cubicBezTo>
                  <a:cubicBezTo>
                    <a:pt x="5071" y="10843"/>
                    <a:pt x="4832" y="10429"/>
                    <a:pt x="5549" y="9831"/>
                  </a:cubicBezTo>
                  <a:cubicBezTo>
                    <a:pt x="6259" y="9233"/>
                    <a:pt x="5444" y="9374"/>
                    <a:pt x="5549" y="8438"/>
                  </a:cubicBezTo>
                  <a:cubicBezTo>
                    <a:pt x="5648" y="7503"/>
                    <a:pt x="6006" y="7939"/>
                    <a:pt x="6921" y="7679"/>
                  </a:cubicBezTo>
                  <a:cubicBezTo>
                    <a:pt x="7835" y="7425"/>
                    <a:pt x="7195" y="7046"/>
                    <a:pt x="8686" y="4999"/>
                  </a:cubicBezTo>
                  <a:cubicBezTo>
                    <a:pt x="10177" y="3909"/>
                    <a:pt x="9438" y="4957"/>
                    <a:pt x="9938" y="4999"/>
                  </a:cubicBezTo>
                  <a:cubicBezTo>
                    <a:pt x="10437" y="5041"/>
                    <a:pt x="10374" y="5534"/>
                    <a:pt x="10339" y="6631"/>
                  </a:cubicBezTo>
                  <a:cubicBezTo>
                    <a:pt x="10296" y="7721"/>
                    <a:pt x="9938" y="7939"/>
                    <a:pt x="9938" y="8818"/>
                  </a:cubicBezTo>
                  <a:cubicBezTo>
                    <a:pt x="9938" y="9690"/>
                    <a:pt x="10198" y="9374"/>
                    <a:pt x="10796" y="9374"/>
                  </a:cubicBezTo>
                  <a:cubicBezTo>
                    <a:pt x="11386" y="9374"/>
                    <a:pt x="11605" y="10506"/>
                    <a:pt x="11928" y="11181"/>
                  </a:cubicBezTo>
                  <a:cubicBezTo>
                    <a:pt x="12245" y="11856"/>
                    <a:pt x="12343" y="11181"/>
                    <a:pt x="12863" y="10843"/>
                  </a:cubicBezTo>
                  <a:cubicBezTo>
                    <a:pt x="13377" y="10506"/>
                    <a:pt x="13159" y="10084"/>
                    <a:pt x="13574" y="9374"/>
                  </a:cubicBezTo>
                  <a:cubicBezTo>
                    <a:pt x="13996" y="8656"/>
                    <a:pt x="14868" y="9156"/>
                    <a:pt x="14868" y="9831"/>
                  </a:cubicBezTo>
                  <a:cubicBezTo>
                    <a:pt x="14868" y="10506"/>
                    <a:pt x="14291" y="11596"/>
                    <a:pt x="14411" y="12510"/>
                  </a:cubicBezTo>
                  <a:cubicBezTo>
                    <a:pt x="14530" y="13425"/>
                    <a:pt x="15761" y="12510"/>
                    <a:pt x="16598" y="12194"/>
                  </a:cubicBezTo>
                  <a:cubicBezTo>
                    <a:pt x="17435" y="11877"/>
                    <a:pt x="16978" y="10084"/>
                    <a:pt x="16598" y="8438"/>
                  </a:cubicBezTo>
                  <a:cubicBezTo>
                    <a:pt x="16218" y="6785"/>
                    <a:pt x="16296" y="6631"/>
                    <a:pt x="16141" y="6089"/>
                  </a:cubicBezTo>
                  <a:cubicBezTo>
                    <a:pt x="15979" y="5555"/>
                    <a:pt x="15761" y="5379"/>
                    <a:pt x="15381" y="4661"/>
                  </a:cubicBezTo>
                  <a:cubicBezTo>
                    <a:pt x="15009" y="3944"/>
                    <a:pt x="13996" y="4324"/>
                    <a:pt x="13574" y="3269"/>
                  </a:cubicBezTo>
                  <a:cubicBezTo>
                    <a:pt x="13159" y="2214"/>
                    <a:pt x="14629" y="2474"/>
                    <a:pt x="15761" y="1876"/>
                  </a:cubicBezTo>
                  <a:cubicBezTo>
                    <a:pt x="16893" y="1279"/>
                    <a:pt x="16893" y="1082"/>
                    <a:pt x="17730" y="406"/>
                  </a:cubicBezTo>
                  <a:cubicBezTo>
                    <a:pt x="18567" y="-269"/>
                    <a:pt x="19003" y="111"/>
                    <a:pt x="20136" y="69"/>
                  </a:cubicBezTo>
                  <a:cubicBezTo>
                    <a:pt x="21268" y="27"/>
                    <a:pt x="21943" y="589"/>
                    <a:pt x="22443" y="1082"/>
                  </a:cubicBezTo>
                  <a:cubicBezTo>
                    <a:pt x="22935" y="1581"/>
                    <a:pt x="24173" y="4021"/>
                    <a:pt x="23835" y="4324"/>
                  </a:cubicBezTo>
                  <a:cubicBezTo>
                    <a:pt x="23498" y="4619"/>
                    <a:pt x="23118" y="4661"/>
                    <a:pt x="23118" y="6293"/>
                  </a:cubicBezTo>
                  <a:cubicBezTo>
                    <a:pt x="23118" y="7918"/>
                    <a:pt x="23652" y="7425"/>
                    <a:pt x="24173" y="7939"/>
                  </a:cubicBezTo>
                  <a:cubicBezTo>
                    <a:pt x="24686" y="8459"/>
                    <a:pt x="24173" y="9156"/>
                    <a:pt x="24173" y="10084"/>
                  </a:cubicBezTo>
                  <a:cubicBezTo>
                    <a:pt x="24173" y="11019"/>
                    <a:pt x="25185" y="14501"/>
                    <a:pt x="25185" y="15338"/>
                  </a:cubicBezTo>
                  <a:cubicBezTo>
                    <a:pt x="25185" y="16167"/>
                    <a:pt x="25045" y="15591"/>
                    <a:pt x="24173" y="15338"/>
                  </a:cubicBezTo>
                  <a:cubicBezTo>
                    <a:pt x="23294" y="15077"/>
                    <a:pt x="23533" y="14916"/>
                    <a:pt x="23118" y="14501"/>
                  </a:cubicBezTo>
                  <a:cubicBezTo>
                    <a:pt x="22703" y="14086"/>
                    <a:pt x="22443" y="14458"/>
                    <a:pt x="21191" y="14501"/>
                  </a:cubicBezTo>
                  <a:cubicBezTo>
                    <a:pt x="19939" y="14543"/>
                    <a:pt x="20297" y="14916"/>
                    <a:pt x="19721" y="15591"/>
                  </a:cubicBezTo>
                  <a:lnTo>
                    <a:pt x="19707" y="15605"/>
                  </a:lnTo>
                  <a:cubicBezTo>
                    <a:pt x="19137" y="16273"/>
                    <a:pt x="19003" y="16435"/>
                    <a:pt x="18785" y="17321"/>
                  </a:cubicBezTo>
                  <a:cubicBezTo>
                    <a:pt x="18567" y="18214"/>
                    <a:pt x="18743" y="18756"/>
                    <a:pt x="18785" y="19368"/>
                  </a:cubicBezTo>
                  <a:cubicBezTo>
                    <a:pt x="18821" y="19986"/>
                    <a:pt x="20255" y="19923"/>
                    <a:pt x="21191" y="20465"/>
                  </a:cubicBezTo>
                  <a:cubicBezTo>
                    <a:pt x="22126" y="20999"/>
                    <a:pt x="22358" y="21892"/>
                    <a:pt x="22443" y="22687"/>
                  </a:cubicBezTo>
                  <a:cubicBezTo>
                    <a:pt x="22520" y="23482"/>
                    <a:pt x="21606" y="24459"/>
                    <a:pt x="19003" y="24459"/>
                  </a:cubicBezTo>
                  <a:cubicBezTo>
                    <a:pt x="16401" y="24459"/>
                    <a:pt x="18265" y="24459"/>
                    <a:pt x="17730" y="25191"/>
                  </a:cubicBezTo>
                  <a:cubicBezTo>
                    <a:pt x="17196" y="25929"/>
                    <a:pt x="17273" y="25592"/>
                    <a:pt x="16064" y="25592"/>
                  </a:cubicBezTo>
                  <a:cubicBezTo>
                    <a:pt x="14847" y="25592"/>
                    <a:pt x="15860" y="26190"/>
                    <a:pt x="16064" y="27259"/>
                  </a:cubicBezTo>
                  <a:cubicBezTo>
                    <a:pt x="16261" y="28335"/>
                    <a:pt x="16598" y="28194"/>
                    <a:pt x="17273" y="28729"/>
                  </a:cubicBezTo>
                  <a:cubicBezTo>
                    <a:pt x="17948" y="29270"/>
                    <a:pt x="17330" y="29467"/>
                    <a:pt x="17273" y="30205"/>
                  </a:cubicBezTo>
                  <a:cubicBezTo>
                    <a:pt x="17210" y="30937"/>
                    <a:pt x="16992" y="31394"/>
                    <a:pt x="16598" y="31732"/>
                  </a:cubicBezTo>
                  <a:cubicBezTo>
                    <a:pt x="16197" y="32069"/>
                    <a:pt x="15803" y="31535"/>
                    <a:pt x="14868" y="31394"/>
                  </a:cubicBezTo>
                  <a:cubicBezTo>
                    <a:pt x="13933" y="31253"/>
                    <a:pt x="13792" y="31056"/>
                    <a:pt x="12343" y="29467"/>
                  </a:cubicBezTo>
                  <a:cubicBezTo>
                    <a:pt x="11949" y="28729"/>
                    <a:pt x="11865" y="28729"/>
                    <a:pt x="11605" y="27660"/>
                  </a:cubicBezTo>
                  <a:cubicBezTo>
                    <a:pt x="11351" y="26583"/>
                    <a:pt x="11605" y="26724"/>
                    <a:pt x="9938" y="25592"/>
                  </a:cubicBezTo>
                  <a:cubicBezTo>
                    <a:pt x="8805" y="24994"/>
                    <a:pt x="8405" y="25191"/>
                    <a:pt x="7195" y="25191"/>
                  </a:cubicBezTo>
                  <a:lnTo>
                    <a:pt x="3939" y="25191"/>
                  </a:lnTo>
                  <a:cubicBezTo>
                    <a:pt x="2743" y="25191"/>
                    <a:pt x="3657" y="24459"/>
                    <a:pt x="2799" y="23721"/>
                  </a:cubicBezTo>
                  <a:cubicBezTo>
                    <a:pt x="1948" y="22989"/>
                    <a:pt x="1730" y="22131"/>
                    <a:pt x="1786" y="21653"/>
                  </a:cubicBezTo>
                  <a:cubicBezTo>
                    <a:pt x="1850" y="21175"/>
                    <a:pt x="2799" y="20858"/>
                    <a:pt x="2799" y="19923"/>
                  </a:cubicBezTo>
                  <a:cubicBezTo>
                    <a:pt x="2799" y="18995"/>
                    <a:pt x="2863" y="18256"/>
                    <a:pt x="2799" y="17321"/>
                  </a:cubicBezTo>
                  <a:cubicBezTo>
                    <a:pt x="2743" y="16386"/>
                    <a:pt x="1927" y="15591"/>
                    <a:pt x="992" y="1418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9" name="Freihandform: Form 244">
              <a:extLst>
                <a:ext uri="{FF2B5EF4-FFF2-40B4-BE49-F238E27FC236}">
                  <a16:creationId xmlns:a16="http://schemas.microsoft.com/office/drawing/2014/main" id="{B23C1601-DE95-2449-9A87-B7F6DB774EDC}"/>
                </a:ext>
              </a:extLst>
            </p:cNvPr>
            <p:cNvSpPr/>
            <p:nvPr/>
          </p:nvSpPr>
          <p:spPr>
            <a:xfrm>
              <a:off x="6328555" y="3487594"/>
              <a:ext cx="24970" cy="10680"/>
            </a:xfrm>
            <a:custGeom>
              <a:avLst/>
              <a:gdLst>
                <a:gd name="connsiteX0" fmla="*/ 24857 w 24970"/>
                <a:gd name="connsiteY0" fmla="*/ 1887 h 10680"/>
                <a:gd name="connsiteX1" fmla="*/ 22493 w 24970"/>
                <a:gd name="connsiteY1" fmla="*/ 2 h 10680"/>
                <a:gd name="connsiteX2" fmla="*/ 20524 w 24970"/>
                <a:gd name="connsiteY2" fmla="*/ 1134 h 10680"/>
                <a:gd name="connsiteX3" fmla="*/ 15973 w 24970"/>
                <a:gd name="connsiteY3" fmla="*/ 3181 h 10680"/>
                <a:gd name="connsiteX4" fmla="*/ 13941 w 24970"/>
                <a:gd name="connsiteY4" fmla="*/ 3778 h 10680"/>
                <a:gd name="connsiteX5" fmla="*/ 11240 w 24970"/>
                <a:gd name="connsiteY5" fmla="*/ 4334 h 10680"/>
                <a:gd name="connsiteX6" fmla="*/ 8202 w 24970"/>
                <a:gd name="connsiteY6" fmla="*/ 3181 h 10680"/>
                <a:gd name="connsiteX7" fmla="*/ 4763 w 24970"/>
                <a:gd name="connsiteY7" fmla="*/ 2189 h 10680"/>
                <a:gd name="connsiteX8" fmla="*/ 2618 w 24970"/>
                <a:gd name="connsiteY8" fmla="*/ 2780 h 10680"/>
                <a:gd name="connsiteX9" fmla="*/ 1183 w 24970"/>
                <a:gd name="connsiteY9" fmla="*/ 4334 h 10680"/>
                <a:gd name="connsiteX10" fmla="*/ 128 w 24970"/>
                <a:gd name="connsiteY10" fmla="*/ 5762 h 10680"/>
                <a:gd name="connsiteX11" fmla="*/ 2618 w 24970"/>
                <a:gd name="connsiteY11" fmla="*/ 7351 h 10680"/>
                <a:gd name="connsiteX12" fmla="*/ 5059 w 24970"/>
                <a:gd name="connsiteY12" fmla="*/ 8842 h 10680"/>
                <a:gd name="connsiteX13" fmla="*/ 7562 w 24970"/>
                <a:gd name="connsiteY13" fmla="*/ 10214 h 10680"/>
                <a:gd name="connsiteX14" fmla="*/ 10607 w 24970"/>
                <a:gd name="connsiteY14" fmla="*/ 9721 h 10680"/>
                <a:gd name="connsiteX15" fmla="*/ 13167 w 24970"/>
                <a:gd name="connsiteY15" fmla="*/ 10214 h 10680"/>
                <a:gd name="connsiteX16" fmla="*/ 15636 w 24970"/>
                <a:gd name="connsiteY16" fmla="*/ 10214 h 10680"/>
                <a:gd name="connsiteX17" fmla="*/ 16825 w 24970"/>
                <a:gd name="connsiteY17" fmla="*/ 8146 h 10680"/>
                <a:gd name="connsiteX18" fmla="*/ 19033 w 24970"/>
                <a:gd name="connsiteY18" fmla="*/ 5466 h 10680"/>
                <a:gd name="connsiteX19" fmla="*/ 21600 w 24970"/>
                <a:gd name="connsiteY19" fmla="*/ 3181 h 10680"/>
                <a:gd name="connsiteX20" fmla="*/ 24857 w 24970"/>
                <a:gd name="connsiteY20" fmla="*/ 1887 h 10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970" h="10680">
                  <a:moveTo>
                    <a:pt x="24857" y="1887"/>
                  </a:moveTo>
                  <a:cubicBezTo>
                    <a:pt x="25454" y="1746"/>
                    <a:pt x="23562" y="-62"/>
                    <a:pt x="22493" y="2"/>
                  </a:cubicBezTo>
                  <a:cubicBezTo>
                    <a:pt x="21980" y="283"/>
                    <a:pt x="20876" y="909"/>
                    <a:pt x="20524" y="1134"/>
                  </a:cubicBezTo>
                  <a:cubicBezTo>
                    <a:pt x="20088" y="1408"/>
                    <a:pt x="18175" y="2189"/>
                    <a:pt x="15973" y="3181"/>
                  </a:cubicBezTo>
                  <a:cubicBezTo>
                    <a:pt x="13765" y="4172"/>
                    <a:pt x="14841" y="3441"/>
                    <a:pt x="13941" y="3778"/>
                  </a:cubicBezTo>
                  <a:cubicBezTo>
                    <a:pt x="13048" y="4116"/>
                    <a:pt x="12907" y="4334"/>
                    <a:pt x="11240" y="4334"/>
                  </a:cubicBezTo>
                  <a:cubicBezTo>
                    <a:pt x="9574" y="4334"/>
                    <a:pt x="9932" y="4334"/>
                    <a:pt x="8202" y="3181"/>
                  </a:cubicBezTo>
                  <a:cubicBezTo>
                    <a:pt x="6472" y="2027"/>
                    <a:pt x="6810" y="2780"/>
                    <a:pt x="4763" y="2189"/>
                  </a:cubicBezTo>
                  <a:cubicBezTo>
                    <a:pt x="2716" y="1591"/>
                    <a:pt x="3089" y="2527"/>
                    <a:pt x="2618" y="2780"/>
                  </a:cubicBezTo>
                  <a:cubicBezTo>
                    <a:pt x="2140" y="3040"/>
                    <a:pt x="2379" y="4172"/>
                    <a:pt x="1183" y="4334"/>
                  </a:cubicBezTo>
                  <a:cubicBezTo>
                    <a:pt x="-13" y="4489"/>
                    <a:pt x="670" y="5066"/>
                    <a:pt x="128" y="5762"/>
                  </a:cubicBezTo>
                  <a:cubicBezTo>
                    <a:pt x="-406" y="6458"/>
                    <a:pt x="789" y="6859"/>
                    <a:pt x="2618" y="7351"/>
                  </a:cubicBezTo>
                  <a:cubicBezTo>
                    <a:pt x="4447" y="7851"/>
                    <a:pt x="4102" y="7970"/>
                    <a:pt x="5059" y="8842"/>
                  </a:cubicBezTo>
                  <a:cubicBezTo>
                    <a:pt x="6015" y="9721"/>
                    <a:pt x="5895" y="9517"/>
                    <a:pt x="7562" y="10214"/>
                  </a:cubicBezTo>
                  <a:cubicBezTo>
                    <a:pt x="9236" y="10910"/>
                    <a:pt x="8997" y="10214"/>
                    <a:pt x="10607" y="9721"/>
                  </a:cubicBezTo>
                  <a:cubicBezTo>
                    <a:pt x="12218" y="9222"/>
                    <a:pt x="12436" y="9799"/>
                    <a:pt x="13167" y="10214"/>
                  </a:cubicBezTo>
                  <a:cubicBezTo>
                    <a:pt x="13906" y="10636"/>
                    <a:pt x="15833" y="11008"/>
                    <a:pt x="15636" y="10214"/>
                  </a:cubicBezTo>
                  <a:cubicBezTo>
                    <a:pt x="15432" y="9419"/>
                    <a:pt x="15714" y="8863"/>
                    <a:pt x="16825" y="8146"/>
                  </a:cubicBezTo>
                  <a:cubicBezTo>
                    <a:pt x="17943" y="7436"/>
                    <a:pt x="18752" y="5902"/>
                    <a:pt x="19033" y="5466"/>
                  </a:cubicBezTo>
                  <a:cubicBezTo>
                    <a:pt x="19314" y="5030"/>
                    <a:pt x="20700" y="3933"/>
                    <a:pt x="21600" y="3181"/>
                  </a:cubicBezTo>
                  <a:cubicBezTo>
                    <a:pt x="22493" y="2421"/>
                    <a:pt x="24259" y="2027"/>
                    <a:pt x="24857" y="1887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0" name="Freihandform: Form 245">
              <a:extLst>
                <a:ext uri="{FF2B5EF4-FFF2-40B4-BE49-F238E27FC236}">
                  <a16:creationId xmlns:a16="http://schemas.microsoft.com/office/drawing/2014/main" id="{40D38B2B-4D2E-7745-99EA-96E12B8ACC1C}"/>
                </a:ext>
              </a:extLst>
            </p:cNvPr>
            <p:cNvSpPr/>
            <p:nvPr/>
          </p:nvSpPr>
          <p:spPr>
            <a:xfrm>
              <a:off x="6052675" y="3382349"/>
              <a:ext cx="132560" cy="234307"/>
            </a:xfrm>
            <a:custGeom>
              <a:avLst/>
              <a:gdLst>
                <a:gd name="connsiteX0" fmla="*/ 58138 w 132560"/>
                <a:gd name="connsiteY0" fmla="*/ 201129 h 234307"/>
                <a:gd name="connsiteX1" fmla="*/ 64461 w 132560"/>
                <a:gd name="connsiteY1" fmla="*/ 193280 h 234307"/>
                <a:gd name="connsiteX2" fmla="*/ 58138 w 132560"/>
                <a:gd name="connsiteY2" fmla="*/ 195587 h 234307"/>
                <a:gd name="connsiteX3" fmla="*/ 52160 w 132560"/>
                <a:gd name="connsiteY3" fmla="*/ 199800 h 234307"/>
                <a:gd name="connsiteX4" fmla="*/ 46871 w 132560"/>
                <a:gd name="connsiteY4" fmla="*/ 197992 h 234307"/>
                <a:gd name="connsiteX5" fmla="*/ 42061 w 132560"/>
                <a:gd name="connsiteY5" fmla="*/ 195587 h 234307"/>
                <a:gd name="connsiteX6" fmla="*/ 39599 w 132560"/>
                <a:gd name="connsiteY6" fmla="*/ 193280 h 234307"/>
                <a:gd name="connsiteX7" fmla="*/ 37074 w 132560"/>
                <a:gd name="connsiteY7" fmla="*/ 191374 h 234307"/>
                <a:gd name="connsiteX8" fmla="*/ 29675 w 132560"/>
                <a:gd name="connsiteY8" fmla="*/ 193280 h 234307"/>
                <a:gd name="connsiteX9" fmla="*/ 24175 w 132560"/>
                <a:gd name="connsiteY9" fmla="*/ 193280 h 234307"/>
                <a:gd name="connsiteX10" fmla="*/ 24175 w 132560"/>
                <a:gd name="connsiteY10" fmla="*/ 187851 h 234307"/>
                <a:gd name="connsiteX11" fmla="*/ 26356 w 132560"/>
                <a:gd name="connsiteY11" fmla="*/ 184475 h 234307"/>
                <a:gd name="connsiteX12" fmla="*/ 37074 w 132560"/>
                <a:gd name="connsiteY12" fmla="*/ 178370 h 234307"/>
                <a:gd name="connsiteX13" fmla="*/ 40253 w 132560"/>
                <a:gd name="connsiteY13" fmla="*/ 168671 h 234307"/>
                <a:gd name="connsiteX14" fmla="*/ 39599 w 132560"/>
                <a:gd name="connsiteY14" fmla="*/ 161399 h 234307"/>
                <a:gd name="connsiteX15" fmla="*/ 29675 w 132560"/>
                <a:gd name="connsiteY15" fmla="*/ 163819 h 234307"/>
                <a:gd name="connsiteX16" fmla="*/ 35400 w 132560"/>
                <a:gd name="connsiteY16" fmla="*/ 154338 h 234307"/>
                <a:gd name="connsiteX17" fmla="*/ 31884 w 132560"/>
                <a:gd name="connsiteY17" fmla="*/ 149710 h 234307"/>
                <a:gd name="connsiteX18" fmla="*/ 37074 w 132560"/>
                <a:gd name="connsiteY18" fmla="*/ 148177 h 234307"/>
                <a:gd name="connsiteX19" fmla="*/ 42679 w 132560"/>
                <a:gd name="connsiteY19" fmla="*/ 152355 h 234307"/>
                <a:gd name="connsiteX20" fmla="*/ 45760 w 132560"/>
                <a:gd name="connsiteY20" fmla="*/ 149710 h 234307"/>
                <a:gd name="connsiteX21" fmla="*/ 51049 w 132560"/>
                <a:gd name="connsiteY21" fmla="*/ 151258 h 234307"/>
                <a:gd name="connsiteX22" fmla="*/ 55022 w 132560"/>
                <a:gd name="connsiteY22" fmla="*/ 149710 h 234307"/>
                <a:gd name="connsiteX23" fmla="*/ 61401 w 132560"/>
                <a:gd name="connsiteY23" fmla="*/ 151258 h 234307"/>
                <a:gd name="connsiteX24" fmla="*/ 56570 w 132560"/>
                <a:gd name="connsiteY24" fmla="*/ 146412 h 234307"/>
                <a:gd name="connsiteX25" fmla="*/ 56570 w 132560"/>
                <a:gd name="connsiteY25" fmla="*/ 139133 h 234307"/>
                <a:gd name="connsiteX26" fmla="*/ 58975 w 132560"/>
                <a:gd name="connsiteY26" fmla="*/ 133633 h 234307"/>
                <a:gd name="connsiteX27" fmla="*/ 58975 w 132560"/>
                <a:gd name="connsiteY27" fmla="*/ 127226 h 234307"/>
                <a:gd name="connsiteX28" fmla="*/ 55022 w 132560"/>
                <a:gd name="connsiteY28" fmla="*/ 127226 h 234307"/>
                <a:gd name="connsiteX29" fmla="*/ 52160 w 132560"/>
                <a:gd name="connsiteY29" fmla="*/ 125242 h 234307"/>
                <a:gd name="connsiteX30" fmla="*/ 49080 w 132560"/>
                <a:gd name="connsiteY30" fmla="*/ 117527 h 234307"/>
                <a:gd name="connsiteX31" fmla="*/ 46871 w 132560"/>
                <a:gd name="connsiteY31" fmla="*/ 113574 h 234307"/>
                <a:gd name="connsiteX32" fmla="*/ 49080 w 132560"/>
                <a:gd name="connsiteY32" fmla="*/ 111148 h 234307"/>
                <a:gd name="connsiteX33" fmla="*/ 51049 w 132560"/>
                <a:gd name="connsiteY33" fmla="*/ 108286 h 234307"/>
                <a:gd name="connsiteX34" fmla="*/ 51049 w 132560"/>
                <a:gd name="connsiteY34" fmla="*/ 106956 h 234307"/>
                <a:gd name="connsiteX35" fmla="*/ 55022 w 132560"/>
                <a:gd name="connsiteY35" fmla="*/ 102983 h 234307"/>
                <a:gd name="connsiteX36" fmla="*/ 49080 w 132560"/>
                <a:gd name="connsiteY36" fmla="*/ 102983 h 234307"/>
                <a:gd name="connsiteX37" fmla="*/ 45760 w 132560"/>
                <a:gd name="connsiteY37" fmla="*/ 105402 h 234307"/>
                <a:gd name="connsiteX38" fmla="*/ 39599 w 132560"/>
                <a:gd name="connsiteY38" fmla="*/ 108286 h 234307"/>
                <a:gd name="connsiteX39" fmla="*/ 37074 w 132560"/>
                <a:gd name="connsiteY39" fmla="*/ 105402 h 234307"/>
                <a:gd name="connsiteX40" fmla="*/ 37074 w 132560"/>
                <a:gd name="connsiteY40" fmla="*/ 110037 h 234307"/>
                <a:gd name="connsiteX41" fmla="*/ 29675 w 132560"/>
                <a:gd name="connsiteY41" fmla="*/ 105402 h 234307"/>
                <a:gd name="connsiteX42" fmla="*/ 28128 w 132560"/>
                <a:gd name="connsiteY42" fmla="*/ 110037 h 234307"/>
                <a:gd name="connsiteX43" fmla="*/ 24175 w 132560"/>
                <a:gd name="connsiteY43" fmla="*/ 105402 h 234307"/>
                <a:gd name="connsiteX44" fmla="*/ 29675 w 132560"/>
                <a:gd name="connsiteY44" fmla="*/ 93059 h 234307"/>
                <a:gd name="connsiteX45" fmla="*/ 31884 w 132560"/>
                <a:gd name="connsiteY45" fmla="*/ 86898 h 234307"/>
                <a:gd name="connsiteX46" fmla="*/ 28128 w 132560"/>
                <a:gd name="connsiteY46" fmla="*/ 81609 h 234307"/>
                <a:gd name="connsiteX47" fmla="*/ 28128 w 132560"/>
                <a:gd name="connsiteY47" fmla="*/ 75427 h 234307"/>
                <a:gd name="connsiteX48" fmla="*/ 21967 w 132560"/>
                <a:gd name="connsiteY48" fmla="*/ 75427 h 234307"/>
                <a:gd name="connsiteX49" fmla="*/ 22621 w 132560"/>
                <a:gd name="connsiteY49" fmla="*/ 80498 h 234307"/>
                <a:gd name="connsiteX50" fmla="*/ 19323 w 132560"/>
                <a:gd name="connsiteY50" fmla="*/ 84254 h 234307"/>
                <a:gd name="connsiteX51" fmla="*/ 17775 w 132560"/>
                <a:gd name="connsiteY51" fmla="*/ 93059 h 234307"/>
                <a:gd name="connsiteX52" fmla="*/ 14470 w 132560"/>
                <a:gd name="connsiteY52" fmla="*/ 94395 h 234307"/>
                <a:gd name="connsiteX53" fmla="*/ 16003 w 132560"/>
                <a:gd name="connsiteY53" fmla="*/ 86898 h 234307"/>
                <a:gd name="connsiteX54" fmla="*/ 17332 w 132560"/>
                <a:gd name="connsiteY54" fmla="*/ 80498 h 234307"/>
                <a:gd name="connsiteX55" fmla="*/ 17775 w 132560"/>
                <a:gd name="connsiteY55" fmla="*/ 72565 h 234307"/>
                <a:gd name="connsiteX56" fmla="*/ 17775 w 132560"/>
                <a:gd name="connsiteY56" fmla="*/ 65510 h 234307"/>
                <a:gd name="connsiteX57" fmla="*/ 24175 w 132560"/>
                <a:gd name="connsiteY57" fmla="*/ 54940 h 234307"/>
                <a:gd name="connsiteX58" fmla="*/ 17775 w 132560"/>
                <a:gd name="connsiteY58" fmla="*/ 61776 h 234307"/>
                <a:gd name="connsiteX59" fmla="*/ 11825 w 132560"/>
                <a:gd name="connsiteY59" fmla="*/ 67719 h 234307"/>
                <a:gd name="connsiteX60" fmla="*/ 4989 w 132560"/>
                <a:gd name="connsiteY60" fmla="*/ 66186 h 234307"/>
                <a:gd name="connsiteX61" fmla="*/ 8035 w 132560"/>
                <a:gd name="connsiteY61" fmla="*/ 62972 h 234307"/>
                <a:gd name="connsiteX62" fmla="*/ 6086 w 132560"/>
                <a:gd name="connsiteY62" fmla="*/ 59786 h 234307"/>
                <a:gd name="connsiteX63" fmla="*/ 9167 w 132560"/>
                <a:gd name="connsiteY63" fmla="*/ 54940 h 234307"/>
                <a:gd name="connsiteX64" fmla="*/ 13141 w 132560"/>
                <a:gd name="connsiteY64" fmla="*/ 52513 h 234307"/>
                <a:gd name="connsiteX65" fmla="*/ 14470 w 132560"/>
                <a:gd name="connsiteY65" fmla="*/ 47661 h 234307"/>
                <a:gd name="connsiteX66" fmla="*/ 14470 w 132560"/>
                <a:gd name="connsiteY66" fmla="*/ 42597 h 234307"/>
                <a:gd name="connsiteX67" fmla="*/ 9167 w 132560"/>
                <a:gd name="connsiteY67" fmla="*/ 42597 h 234307"/>
                <a:gd name="connsiteX68" fmla="*/ 3878 w 132560"/>
                <a:gd name="connsiteY68" fmla="*/ 38398 h 234307"/>
                <a:gd name="connsiteX69" fmla="*/ 143 w 132560"/>
                <a:gd name="connsiteY69" fmla="*/ 33792 h 234307"/>
                <a:gd name="connsiteX70" fmla="*/ 6086 w 132560"/>
                <a:gd name="connsiteY70" fmla="*/ 28721 h 234307"/>
                <a:gd name="connsiteX71" fmla="*/ 9167 w 132560"/>
                <a:gd name="connsiteY71" fmla="*/ 33792 h 234307"/>
                <a:gd name="connsiteX72" fmla="*/ 14470 w 132560"/>
                <a:gd name="connsiteY72" fmla="*/ 38398 h 234307"/>
                <a:gd name="connsiteX73" fmla="*/ 16003 w 132560"/>
                <a:gd name="connsiteY73" fmla="*/ 36654 h 234307"/>
                <a:gd name="connsiteX74" fmla="*/ 14470 w 132560"/>
                <a:gd name="connsiteY74" fmla="*/ 30029 h 234307"/>
                <a:gd name="connsiteX75" fmla="*/ 16003 w 132560"/>
                <a:gd name="connsiteY75" fmla="*/ 23193 h 234307"/>
                <a:gd name="connsiteX76" fmla="*/ 24175 w 132560"/>
                <a:gd name="connsiteY76" fmla="*/ 19894 h 234307"/>
                <a:gd name="connsiteX77" fmla="*/ 22621 w 132560"/>
                <a:gd name="connsiteY77" fmla="*/ 15702 h 234307"/>
                <a:gd name="connsiteX78" fmla="*/ 24175 w 132560"/>
                <a:gd name="connsiteY78" fmla="*/ 11089 h 234307"/>
                <a:gd name="connsiteX79" fmla="*/ 24175 w 132560"/>
                <a:gd name="connsiteY79" fmla="*/ 5786 h 234307"/>
                <a:gd name="connsiteX80" fmla="*/ 28128 w 132560"/>
                <a:gd name="connsiteY80" fmla="*/ 497 h 234307"/>
                <a:gd name="connsiteX81" fmla="*/ 35182 w 132560"/>
                <a:gd name="connsiteY81" fmla="*/ 2262 h 234307"/>
                <a:gd name="connsiteX82" fmla="*/ 44445 w 132560"/>
                <a:gd name="connsiteY82" fmla="*/ 2262 h 234307"/>
                <a:gd name="connsiteX83" fmla="*/ 55022 w 132560"/>
                <a:gd name="connsiteY83" fmla="*/ 497 h 234307"/>
                <a:gd name="connsiteX84" fmla="*/ 56570 w 132560"/>
                <a:gd name="connsiteY84" fmla="*/ 5786 h 234307"/>
                <a:gd name="connsiteX85" fmla="*/ 52160 w 132560"/>
                <a:gd name="connsiteY85" fmla="*/ 12186 h 234307"/>
                <a:gd name="connsiteX86" fmla="*/ 41125 w 132560"/>
                <a:gd name="connsiteY86" fmla="*/ 23193 h 234307"/>
                <a:gd name="connsiteX87" fmla="*/ 44445 w 132560"/>
                <a:gd name="connsiteY87" fmla="*/ 25401 h 234307"/>
                <a:gd name="connsiteX88" fmla="*/ 39599 w 132560"/>
                <a:gd name="connsiteY88" fmla="*/ 33792 h 234307"/>
                <a:gd name="connsiteX89" fmla="*/ 46871 w 132560"/>
                <a:gd name="connsiteY89" fmla="*/ 30029 h 234307"/>
                <a:gd name="connsiteX90" fmla="*/ 52160 w 132560"/>
                <a:gd name="connsiteY90" fmla="*/ 27391 h 234307"/>
                <a:gd name="connsiteX91" fmla="*/ 56570 w 132560"/>
                <a:gd name="connsiteY91" fmla="*/ 28721 h 234307"/>
                <a:gd name="connsiteX92" fmla="*/ 62077 w 132560"/>
                <a:gd name="connsiteY92" fmla="*/ 27391 h 234307"/>
                <a:gd name="connsiteX93" fmla="*/ 71993 w 132560"/>
                <a:gd name="connsiteY93" fmla="*/ 27391 h 234307"/>
                <a:gd name="connsiteX94" fmla="*/ 76846 w 132560"/>
                <a:gd name="connsiteY94" fmla="*/ 33792 h 234307"/>
                <a:gd name="connsiteX95" fmla="*/ 71993 w 132560"/>
                <a:gd name="connsiteY95" fmla="*/ 38398 h 234307"/>
                <a:gd name="connsiteX96" fmla="*/ 70882 w 132560"/>
                <a:gd name="connsiteY96" fmla="*/ 45917 h 234307"/>
                <a:gd name="connsiteX97" fmla="*/ 68238 w 132560"/>
                <a:gd name="connsiteY97" fmla="*/ 52513 h 234307"/>
                <a:gd name="connsiteX98" fmla="*/ 65593 w 132560"/>
                <a:gd name="connsiteY98" fmla="*/ 56705 h 234307"/>
                <a:gd name="connsiteX99" fmla="*/ 62077 w 132560"/>
                <a:gd name="connsiteY99" fmla="*/ 61776 h 234307"/>
                <a:gd name="connsiteX100" fmla="*/ 62077 w 132560"/>
                <a:gd name="connsiteY100" fmla="*/ 65510 h 234307"/>
                <a:gd name="connsiteX101" fmla="*/ 62077 w 132560"/>
                <a:gd name="connsiteY101" fmla="*/ 69266 h 234307"/>
                <a:gd name="connsiteX102" fmla="*/ 58975 w 132560"/>
                <a:gd name="connsiteY102" fmla="*/ 69266 h 234307"/>
                <a:gd name="connsiteX103" fmla="*/ 55022 w 132560"/>
                <a:gd name="connsiteY103" fmla="*/ 72565 h 234307"/>
                <a:gd name="connsiteX104" fmla="*/ 49080 w 132560"/>
                <a:gd name="connsiteY104" fmla="*/ 74337 h 234307"/>
                <a:gd name="connsiteX105" fmla="*/ 56570 w 132560"/>
                <a:gd name="connsiteY105" fmla="*/ 76545 h 234307"/>
                <a:gd name="connsiteX106" fmla="*/ 62077 w 132560"/>
                <a:gd name="connsiteY106" fmla="*/ 74337 h 234307"/>
                <a:gd name="connsiteX107" fmla="*/ 65593 w 132560"/>
                <a:gd name="connsiteY107" fmla="*/ 76545 h 234307"/>
                <a:gd name="connsiteX108" fmla="*/ 71993 w 132560"/>
                <a:gd name="connsiteY108" fmla="*/ 79408 h 234307"/>
                <a:gd name="connsiteX109" fmla="*/ 75074 w 132560"/>
                <a:gd name="connsiteY109" fmla="*/ 84254 h 234307"/>
                <a:gd name="connsiteX110" fmla="*/ 79709 w 132560"/>
                <a:gd name="connsiteY110" fmla="*/ 89979 h 234307"/>
                <a:gd name="connsiteX111" fmla="*/ 84554 w 132560"/>
                <a:gd name="connsiteY111" fmla="*/ 110037 h 234307"/>
                <a:gd name="connsiteX112" fmla="*/ 93803 w 132560"/>
                <a:gd name="connsiteY112" fmla="*/ 125242 h 234307"/>
                <a:gd name="connsiteX113" fmla="*/ 104113 w 132560"/>
                <a:gd name="connsiteY113" fmla="*/ 137803 h 234307"/>
                <a:gd name="connsiteX114" fmla="*/ 101532 w 132560"/>
                <a:gd name="connsiteY114" fmla="*/ 140448 h 234307"/>
                <a:gd name="connsiteX115" fmla="*/ 98663 w 132560"/>
                <a:gd name="connsiteY115" fmla="*/ 140405 h 234307"/>
                <a:gd name="connsiteX116" fmla="*/ 98648 w 132560"/>
                <a:gd name="connsiteY116" fmla="*/ 140448 h 234307"/>
                <a:gd name="connsiteX117" fmla="*/ 108572 w 132560"/>
                <a:gd name="connsiteY117" fmla="*/ 149710 h 234307"/>
                <a:gd name="connsiteX118" fmla="*/ 111209 w 132560"/>
                <a:gd name="connsiteY118" fmla="*/ 156546 h 234307"/>
                <a:gd name="connsiteX119" fmla="*/ 105485 w 132560"/>
                <a:gd name="connsiteY119" fmla="*/ 161399 h 234307"/>
                <a:gd name="connsiteX120" fmla="*/ 108572 w 132560"/>
                <a:gd name="connsiteY120" fmla="*/ 163819 h 234307"/>
                <a:gd name="connsiteX121" fmla="*/ 113699 w 132560"/>
                <a:gd name="connsiteY121" fmla="*/ 159409 h 234307"/>
                <a:gd name="connsiteX122" fmla="*/ 119438 w 132560"/>
                <a:gd name="connsiteY122" fmla="*/ 159409 h 234307"/>
                <a:gd name="connsiteX123" fmla="*/ 126914 w 132560"/>
                <a:gd name="connsiteY123" fmla="*/ 161399 h 234307"/>
                <a:gd name="connsiteX124" fmla="*/ 132379 w 132560"/>
                <a:gd name="connsiteY124" fmla="*/ 167778 h 234307"/>
                <a:gd name="connsiteX125" fmla="*/ 129397 w 132560"/>
                <a:gd name="connsiteY125" fmla="*/ 176802 h 234307"/>
                <a:gd name="connsiteX126" fmla="*/ 129397 w 132560"/>
                <a:gd name="connsiteY126" fmla="*/ 181014 h 234307"/>
                <a:gd name="connsiteX127" fmla="*/ 126914 w 132560"/>
                <a:gd name="connsiteY127" fmla="*/ 184475 h 234307"/>
                <a:gd name="connsiteX128" fmla="*/ 119438 w 132560"/>
                <a:gd name="connsiteY128" fmla="*/ 190017 h 234307"/>
                <a:gd name="connsiteX129" fmla="*/ 117335 w 132560"/>
                <a:gd name="connsiteY129" fmla="*/ 195587 h 234307"/>
                <a:gd name="connsiteX130" fmla="*/ 113699 w 132560"/>
                <a:gd name="connsiteY130" fmla="*/ 195587 h 234307"/>
                <a:gd name="connsiteX131" fmla="*/ 113699 w 132560"/>
                <a:gd name="connsiteY131" fmla="*/ 199223 h 234307"/>
                <a:gd name="connsiteX132" fmla="*/ 117335 w 132560"/>
                <a:gd name="connsiteY132" fmla="*/ 199800 h 234307"/>
                <a:gd name="connsiteX133" fmla="*/ 122301 w 132560"/>
                <a:gd name="connsiteY133" fmla="*/ 201129 h 234307"/>
                <a:gd name="connsiteX134" fmla="*/ 126914 w 132560"/>
                <a:gd name="connsiteY134" fmla="*/ 202282 h 234307"/>
                <a:gd name="connsiteX135" fmla="*/ 125944 w 132560"/>
                <a:gd name="connsiteY135" fmla="*/ 206122 h 234307"/>
                <a:gd name="connsiteX136" fmla="*/ 122301 w 132560"/>
                <a:gd name="connsiteY136" fmla="*/ 209358 h 234307"/>
                <a:gd name="connsiteX137" fmla="*/ 114649 w 132560"/>
                <a:gd name="connsiteY137" fmla="*/ 213198 h 234307"/>
                <a:gd name="connsiteX138" fmla="*/ 110056 w 132560"/>
                <a:gd name="connsiteY138" fmla="*/ 214548 h 234307"/>
                <a:gd name="connsiteX139" fmla="*/ 104113 w 132560"/>
                <a:gd name="connsiteY139" fmla="*/ 216454 h 234307"/>
                <a:gd name="connsiteX140" fmla="*/ 96447 w 132560"/>
                <a:gd name="connsiteY140" fmla="*/ 214548 h 234307"/>
                <a:gd name="connsiteX141" fmla="*/ 90701 w 132560"/>
                <a:gd name="connsiteY141" fmla="*/ 214548 h 234307"/>
                <a:gd name="connsiteX142" fmla="*/ 81896 w 132560"/>
                <a:gd name="connsiteY142" fmla="*/ 214548 h 234307"/>
                <a:gd name="connsiteX143" fmla="*/ 76150 w 132560"/>
                <a:gd name="connsiteY143" fmla="*/ 216454 h 234307"/>
                <a:gd name="connsiteX144" fmla="*/ 66191 w 132560"/>
                <a:gd name="connsiteY144" fmla="*/ 220470 h 234307"/>
                <a:gd name="connsiteX145" fmla="*/ 61401 w 132560"/>
                <a:gd name="connsiteY145" fmla="*/ 218184 h 234307"/>
                <a:gd name="connsiteX146" fmla="*/ 53173 w 132560"/>
                <a:gd name="connsiteY146" fmla="*/ 218184 h 234307"/>
                <a:gd name="connsiteX147" fmla="*/ 50289 w 132560"/>
                <a:gd name="connsiteY147" fmla="*/ 223353 h 234307"/>
                <a:gd name="connsiteX148" fmla="*/ 46456 w 132560"/>
                <a:gd name="connsiteY148" fmla="*/ 228523 h 234307"/>
                <a:gd name="connsiteX149" fmla="*/ 41090 w 132560"/>
                <a:gd name="connsiteY149" fmla="*/ 225836 h 234307"/>
                <a:gd name="connsiteX150" fmla="*/ 33234 w 132560"/>
                <a:gd name="connsiteY150" fmla="*/ 225836 h 234307"/>
                <a:gd name="connsiteX151" fmla="*/ 27692 w 132560"/>
                <a:gd name="connsiteY151" fmla="*/ 229676 h 234307"/>
                <a:gd name="connsiteX152" fmla="*/ 22122 w 132560"/>
                <a:gd name="connsiteY152" fmla="*/ 234086 h 234307"/>
                <a:gd name="connsiteX153" fmla="*/ 17909 w 132560"/>
                <a:gd name="connsiteY153" fmla="*/ 231779 h 234307"/>
                <a:gd name="connsiteX154" fmla="*/ 20019 w 132560"/>
                <a:gd name="connsiteY154" fmla="*/ 228523 h 234307"/>
                <a:gd name="connsiteX155" fmla="*/ 27692 w 132560"/>
                <a:gd name="connsiteY155" fmla="*/ 220470 h 234307"/>
                <a:gd name="connsiteX156" fmla="*/ 33234 w 132560"/>
                <a:gd name="connsiteY156" fmla="*/ 216454 h 234307"/>
                <a:gd name="connsiteX157" fmla="*/ 33234 w 132560"/>
                <a:gd name="connsiteY157" fmla="*/ 210912 h 234307"/>
                <a:gd name="connsiteX158" fmla="*/ 37074 w 132560"/>
                <a:gd name="connsiteY158" fmla="*/ 209358 h 234307"/>
                <a:gd name="connsiteX159" fmla="*/ 42061 w 132560"/>
                <a:gd name="connsiteY159" fmla="*/ 205145 h 234307"/>
                <a:gd name="connsiteX160" fmla="*/ 53173 w 132560"/>
                <a:gd name="connsiteY160" fmla="*/ 205145 h 234307"/>
                <a:gd name="connsiteX161" fmla="*/ 58138 w 132560"/>
                <a:gd name="connsiteY161" fmla="*/ 201129 h 23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132560" h="234307">
                  <a:moveTo>
                    <a:pt x="58138" y="201129"/>
                  </a:moveTo>
                  <a:cubicBezTo>
                    <a:pt x="58300" y="199905"/>
                    <a:pt x="62421" y="195383"/>
                    <a:pt x="64461" y="193280"/>
                  </a:cubicBezTo>
                  <a:cubicBezTo>
                    <a:pt x="63441" y="194047"/>
                    <a:pt x="60747" y="195587"/>
                    <a:pt x="58138" y="195587"/>
                  </a:cubicBezTo>
                  <a:cubicBezTo>
                    <a:pt x="54882" y="195587"/>
                    <a:pt x="55022" y="199223"/>
                    <a:pt x="52160" y="199800"/>
                  </a:cubicBezTo>
                  <a:cubicBezTo>
                    <a:pt x="49867" y="200257"/>
                    <a:pt x="47680" y="198787"/>
                    <a:pt x="46871" y="197992"/>
                  </a:cubicBezTo>
                  <a:cubicBezTo>
                    <a:pt x="46871" y="196417"/>
                    <a:pt x="45908" y="193737"/>
                    <a:pt x="42061" y="195587"/>
                  </a:cubicBezTo>
                  <a:cubicBezTo>
                    <a:pt x="38213" y="197430"/>
                    <a:pt x="38818" y="194813"/>
                    <a:pt x="39599" y="193280"/>
                  </a:cubicBezTo>
                  <a:cubicBezTo>
                    <a:pt x="38755" y="192865"/>
                    <a:pt x="37074" y="191895"/>
                    <a:pt x="37074" y="191374"/>
                  </a:cubicBezTo>
                  <a:cubicBezTo>
                    <a:pt x="37074" y="190713"/>
                    <a:pt x="31884" y="191810"/>
                    <a:pt x="29675" y="193280"/>
                  </a:cubicBezTo>
                  <a:cubicBezTo>
                    <a:pt x="27910" y="194455"/>
                    <a:pt x="25273" y="193772"/>
                    <a:pt x="24175" y="193280"/>
                  </a:cubicBezTo>
                  <a:lnTo>
                    <a:pt x="24175" y="187851"/>
                  </a:lnTo>
                  <a:cubicBezTo>
                    <a:pt x="24175" y="185684"/>
                    <a:pt x="25484" y="185649"/>
                    <a:pt x="26356" y="184475"/>
                  </a:cubicBezTo>
                  <a:cubicBezTo>
                    <a:pt x="27235" y="183300"/>
                    <a:pt x="35400" y="179024"/>
                    <a:pt x="37074" y="178370"/>
                  </a:cubicBezTo>
                  <a:cubicBezTo>
                    <a:pt x="38741" y="177716"/>
                    <a:pt x="41090" y="171316"/>
                    <a:pt x="40253" y="168671"/>
                  </a:cubicBezTo>
                  <a:cubicBezTo>
                    <a:pt x="39416" y="166027"/>
                    <a:pt x="41090" y="162707"/>
                    <a:pt x="39599" y="161399"/>
                  </a:cubicBezTo>
                  <a:cubicBezTo>
                    <a:pt x="38108" y="160084"/>
                    <a:pt x="31884" y="165134"/>
                    <a:pt x="29675" y="163819"/>
                  </a:cubicBezTo>
                  <a:cubicBezTo>
                    <a:pt x="27474" y="162510"/>
                    <a:pt x="37074" y="155435"/>
                    <a:pt x="35400" y="154338"/>
                  </a:cubicBezTo>
                  <a:cubicBezTo>
                    <a:pt x="33733" y="153248"/>
                    <a:pt x="33234" y="152355"/>
                    <a:pt x="31884" y="149710"/>
                  </a:cubicBezTo>
                  <a:cubicBezTo>
                    <a:pt x="30533" y="147066"/>
                    <a:pt x="34528" y="148177"/>
                    <a:pt x="37074" y="148177"/>
                  </a:cubicBezTo>
                  <a:cubicBezTo>
                    <a:pt x="39613" y="148177"/>
                    <a:pt x="39599" y="152791"/>
                    <a:pt x="42679" y="152355"/>
                  </a:cubicBezTo>
                  <a:cubicBezTo>
                    <a:pt x="45141" y="152003"/>
                    <a:pt x="45760" y="150442"/>
                    <a:pt x="45760" y="149710"/>
                  </a:cubicBezTo>
                  <a:lnTo>
                    <a:pt x="51049" y="151258"/>
                  </a:lnTo>
                  <a:cubicBezTo>
                    <a:pt x="52371" y="151258"/>
                    <a:pt x="55022" y="150948"/>
                    <a:pt x="55022" y="149710"/>
                  </a:cubicBezTo>
                  <a:cubicBezTo>
                    <a:pt x="55022" y="148156"/>
                    <a:pt x="58138" y="151258"/>
                    <a:pt x="61401" y="151258"/>
                  </a:cubicBezTo>
                  <a:cubicBezTo>
                    <a:pt x="64658" y="151258"/>
                    <a:pt x="58138" y="147938"/>
                    <a:pt x="56570" y="146412"/>
                  </a:cubicBezTo>
                  <a:cubicBezTo>
                    <a:pt x="55001" y="144879"/>
                    <a:pt x="58975" y="140448"/>
                    <a:pt x="56570" y="139133"/>
                  </a:cubicBezTo>
                  <a:cubicBezTo>
                    <a:pt x="54164" y="137824"/>
                    <a:pt x="58138" y="135616"/>
                    <a:pt x="58975" y="133633"/>
                  </a:cubicBezTo>
                  <a:cubicBezTo>
                    <a:pt x="59643" y="132036"/>
                    <a:pt x="59256" y="128703"/>
                    <a:pt x="58975" y="127226"/>
                  </a:cubicBezTo>
                  <a:lnTo>
                    <a:pt x="55022" y="127226"/>
                  </a:lnTo>
                  <a:lnTo>
                    <a:pt x="52160" y="125242"/>
                  </a:lnTo>
                  <a:lnTo>
                    <a:pt x="49080" y="117527"/>
                  </a:lnTo>
                  <a:lnTo>
                    <a:pt x="46871" y="113574"/>
                  </a:lnTo>
                  <a:lnTo>
                    <a:pt x="49080" y="111148"/>
                  </a:lnTo>
                  <a:lnTo>
                    <a:pt x="51049" y="108286"/>
                  </a:lnTo>
                  <a:lnTo>
                    <a:pt x="51049" y="106956"/>
                  </a:lnTo>
                  <a:lnTo>
                    <a:pt x="55022" y="102983"/>
                  </a:lnTo>
                  <a:lnTo>
                    <a:pt x="49080" y="102983"/>
                  </a:lnTo>
                  <a:lnTo>
                    <a:pt x="45760" y="105402"/>
                  </a:lnTo>
                  <a:cubicBezTo>
                    <a:pt x="44529" y="106288"/>
                    <a:pt x="41568" y="108096"/>
                    <a:pt x="39599" y="108286"/>
                  </a:cubicBezTo>
                  <a:cubicBezTo>
                    <a:pt x="37130" y="108525"/>
                    <a:pt x="38263" y="105402"/>
                    <a:pt x="37074" y="105402"/>
                  </a:cubicBezTo>
                  <a:cubicBezTo>
                    <a:pt x="36117" y="105402"/>
                    <a:pt x="36673" y="108490"/>
                    <a:pt x="37074" y="110037"/>
                  </a:cubicBezTo>
                  <a:cubicBezTo>
                    <a:pt x="34605" y="108933"/>
                    <a:pt x="29675" y="106471"/>
                    <a:pt x="29675" y="105402"/>
                  </a:cubicBezTo>
                  <a:cubicBezTo>
                    <a:pt x="29675" y="104340"/>
                    <a:pt x="28641" y="108046"/>
                    <a:pt x="28128" y="110037"/>
                  </a:cubicBezTo>
                  <a:cubicBezTo>
                    <a:pt x="26806" y="109010"/>
                    <a:pt x="24175" y="106647"/>
                    <a:pt x="24175" y="105402"/>
                  </a:cubicBezTo>
                  <a:cubicBezTo>
                    <a:pt x="24175" y="103855"/>
                    <a:pt x="28128" y="94395"/>
                    <a:pt x="29675" y="93059"/>
                  </a:cubicBezTo>
                  <a:cubicBezTo>
                    <a:pt x="31230" y="91730"/>
                    <a:pt x="31666" y="89979"/>
                    <a:pt x="31884" y="86898"/>
                  </a:cubicBezTo>
                  <a:cubicBezTo>
                    <a:pt x="32102" y="83818"/>
                    <a:pt x="28128" y="82924"/>
                    <a:pt x="28128" y="81609"/>
                  </a:cubicBezTo>
                  <a:lnTo>
                    <a:pt x="28128" y="75427"/>
                  </a:lnTo>
                  <a:cubicBezTo>
                    <a:pt x="28128" y="74316"/>
                    <a:pt x="22621" y="76545"/>
                    <a:pt x="21967" y="75427"/>
                  </a:cubicBezTo>
                  <a:cubicBezTo>
                    <a:pt x="21440" y="74541"/>
                    <a:pt x="22185" y="78437"/>
                    <a:pt x="22621" y="80498"/>
                  </a:cubicBezTo>
                  <a:cubicBezTo>
                    <a:pt x="22178" y="81750"/>
                    <a:pt x="20898" y="84254"/>
                    <a:pt x="19323" y="84254"/>
                  </a:cubicBezTo>
                  <a:cubicBezTo>
                    <a:pt x="17353" y="84254"/>
                    <a:pt x="17775" y="91969"/>
                    <a:pt x="17775" y="93059"/>
                  </a:cubicBezTo>
                  <a:cubicBezTo>
                    <a:pt x="17775" y="93938"/>
                    <a:pt x="15574" y="94311"/>
                    <a:pt x="14470" y="94395"/>
                  </a:cubicBezTo>
                  <a:cubicBezTo>
                    <a:pt x="14983" y="92918"/>
                    <a:pt x="16003" y="89367"/>
                    <a:pt x="16003" y="86898"/>
                  </a:cubicBezTo>
                  <a:cubicBezTo>
                    <a:pt x="16003" y="83818"/>
                    <a:pt x="17775" y="82052"/>
                    <a:pt x="17332" y="80498"/>
                  </a:cubicBezTo>
                  <a:cubicBezTo>
                    <a:pt x="16988" y="79260"/>
                    <a:pt x="17480" y="74696"/>
                    <a:pt x="17775" y="72565"/>
                  </a:cubicBezTo>
                  <a:lnTo>
                    <a:pt x="17775" y="65510"/>
                  </a:lnTo>
                  <a:lnTo>
                    <a:pt x="24175" y="54940"/>
                  </a:lnTo>
                  <a:cubicBezTo>
                    <a:pt x="22628" y="56557"/>
                    <a:pt x="19189" y="60187"/>
                    <a:pt x="17775" y="61776"/>
                  </a:cubicBezTo>
                  <a:cubicBezTo>
                    <a:pt x="16003" y="63759"/>
                    <a:pt x="13141" y="66186"/>
                    <a:pt x="11825" y="67719"/>
                  </a:cubicBezTo>
                  <a:cubicBezTo>
                    <a:pt x="10778" y="68943"/>
                    <a:pt x="6832" y="67206"/>
                    <a:pt x="4989" y="66186"/>
                  </a:cubicBezTo>
                  <a:lnTo>
                    <a:pt x="8035" y="62972"/>
                  </a:lnTo>
                  <a:cubicBezTo>
                    <a:pt x="7451" y="63007"/>
                    <a:pt x="6754" y="62268"/>
                    <a:pt x="6086" y="59786"/>
                  </a:cubicBezTo>
                  <a:cubicBezTo>
                    <a:pt x="6086" y="57802"/>
                    <a:pt x="6086" y="56705"/>
                    <a:pt x="9167" y="54940"/>
                  </a:cubicBezTo>
                  <a:cubicBezTo>
                    <a:pt x="12247" y="53168"/>
                    <a:pt x="10932" y="53625"/>
                    <a:pt x="13141" y="52513"/>
                  </a:cubicBezTo>
                  <a:cubicBezTo>
                    <a:pt x="15349" y="51402"/>
                    <a:pt x="13359" y="48779"/>
                    <a:pt x="14470" y="47661"/>
                  </a:cubicBezTo>
                  <a:cubicBezTo>
                    <a:pt x="15588" y="46549"/>
                    <a:pt x="16003" y="43926"/>
                    <a:pt x="14470" y="42597"/>
                  </a:cubicBezTo>
                  <a:cubicBezTo>
                    <a:pt x="12944" y="41261"/>
                    <a:pt x="11825" y="41500"/>
                    <a:pt x="9167" y="42597"/>
                  </a:cubicBezTo>
                  <a:cubicBezTo>
                    <a:pt x="6501" y="43687"/>
                    <a:pt x="6086" y="40825"/>
                    <a:pt x="3878" y="38398"/>
                  </a:cubicBezTo>
                  <a:cubicBezTo>
                    <a:pt x="1670" y="35972"/>
                    <a:pt x="1234" y="35318"/>
                    <a:pt x="143" y="33792"/>
                  </a:cubicBezTo>
                  <a:cubicBezTo>
                    <a:pt x="-954" y="32258"/>
                    <a:pt x="4553" y="30029"/>
                    <a:pt x="6086" y="28721"/>
                  </a:cubicBezTo>
                  <a:cubicBezTo>
                    <a:pt x="7613" y="27405"/>
                    <a:pt x="8731" y="30029"/>
                    <a:pt x="9167" y="33792"/>
                  </a:cubicBezTo>
                  <a:cubicBezTo>
                    <a:pt x="9603" y="37547"/>
                    <a:pt x="11825" y="36654"/>
                    <a:pt x="14470" y="38398"/>
                  </a:cubicBezTo>
                  <a:cubicBezTo>
                    <a:pt x="17114" y="40149"/>
                    <a:pt x="16003" y="38398"/>
                    <a:pt x="16003" y="36654"/>
                  </a:cubicBezTo>
                  <a:cubicBezTo>
                    <a:pt x="16003" y="34903"/>
                    <a:pt x="14252" y="32455"/>
                    <a:pt x="14470" y="30029"/>
                  </a:cubicBezTo>
                  <a:cubicBezTo>
                    <a:pt x="14688" y="27609"/>
                    <a:pt x="15785" y="25401"/>
                    <a:pt x="16003" y="23193"/>
                  </a:cubicBezTo>
                  <a:cubicBezTo>
                    <a:pt x="16221" y="20991"/>
                    <a:pt x="22621" y="21223"/>
                    <a:pt x="24175" y="19894"/>
                  </a:cubicBezTo>
                  <a:cubicBezTo>
                    <a:pt x="25723" y="18565"/>
                    <a:pt x="22839" y="17468"/>
                    <a:pt x="22621" y="15702"/>
                  </a:cubicBezTo>
                  <a:cubicBezTo>
                    <a:pt x="22403" y="13930"/>
                    <a:pt x="23057" y="12186"/>
                    <a:pt x="24175" y="11089"/>
                  </a:cubicBezTo>
                  <a:cubicBezTo>
                    <a:pt x="25287" y="9999"/>
                    <a:pt x="24175" y="7551"/>
                    <a:pt x="24175" y="5786"/>
                  </a:cubicBezTo>
                  <a:cubicBezTo>
                    <a:pt x="24175" y="4014"/>
                    <a:pt x="26356" y="2262"/>
                    <a:pt x="28128" y="497"/>
                  </a:cubicBezTo>
                  <a:cubicBezTo>
                    <a:pt x="29893" y="-1275"/>
                    <a:pt x="33853" y="2262"/>
                    <a:pt x="35182" y="2262"/>
                  </a:cubicBezTo>
                  <a:cubicBezTo>
                    <a:pt x="36518" y="2262"/>
                    <a:pt x="41125" y="1826"/>
                    <a:pt x="44445" y="2262"/>
                  </a:cubicBezTo>
                  <a:cubicBezTo>
                    <a:pt x="47764" y="2698"/>
                    <a:pt x="52160" y="279"/>
                    <a:pt x="55022" y="497"/>
                  </a:cubicBezTo>
                  <a:cubicBezTo>
                    <a:pt x="57885" y="715"/>
                    <a:pt x="56570" y="3817"/>
                    <a:pt x="56570" y="5786"/>
                  </a:cubicBezTo>
                  <a:cubicBezTo>
                    <a:pt x="56570" y="7748"/>
                    <a:pt x="52160" y="10414"/>
                    <a:pt x="52160" y="12186"/>
                  </a:cubicBezTo>
                  <a:cubicBezTo>
                    <a:pt x="52160" y="13951"/>
                    <a:pt x="41800" y="21667"/>
                    <a:pt x="41125" y="23193"/>
                  </a:cubicBezTo>
                  <a:cubicBezTo>
                    <a:pt x="40450" y="24726"/>
                    <a:pt x="44445" y="23868"/>
                    <a:pt x="44445" y="25401"/>
                  </a:cubicBezTo>
                  <a:cubicBezTo>
                    <a:pt x="44445" y="26934"/>
                    <a:pt x="38481" y="33792"/>
                    <a:pt x="39599" y="33792"/>
                  </a:cubicBezTo>
                  <a:cubicBezTo>
                    <a:pt x="40710" y="33792"/>
                    <a:pt x="44881" y="30029"/>
                    <a:pt x="46871" y="30029"/>
                  </a:cubicBezTo>
                  <a:cubicBezTo>
                    <a:pt x="48861" y="30029"/>
                    <a:pt x="50388" y="27391"/>
                    <a:pt x="52160" y="27391"/>
                  </a:cubicBezTo>
                  <a:cubicBezTo>
                    <a:pt x="53925" y="27391"/>
                    <a:pt x="55022" y="27391"/>
                    <a:pt x="56570" y="28721"/>
                  </a:cubicBezTo>
                  <a:cubicBezTo>
                    <a:pt x="58124" y="30050"/>
                    <a:pt x="58975" y="28503"/>
                    <a:pt x="62077" y="27391"/>
                  </a:cubicBezTo>
                  <a:cubicBezTo>
                    <a:pt x="65178" y="26273"/>
                    <a:pt x="68238" y="28045"/>
                    <a:pt x="71993" y="27391"/>
                  </a:cubicBezTo>
                  <a:cubicBezTo>
                    <a:pt x="75749" y="26730"/>
                    <a:pt x="76628" y="32019"/>
                    <a:pt x="76846" y="33792"/>
                  </a:cubicBezTo>
                  <a:cubicBezTo>
                    <a:pt x="77064" y="35557"/>
                    <a:pt x="73526" y="37526"/>
                    <a:pt x="71993" y="38398"/>
                  </a:cubicBezTo>
                  <a:cubicBezTo>
                    <a:pt x="70467" y="39277"/>
                    <a:pt x="71993" y="43033"/>
                    <a:pt x="70882" y="45917"/>
                  </a:cubicBezTo>
                  <a:cubicBezTo>
                    <a:pt x="69771" y="48793"/>
                    <a:pt x="69349" y="51198"/>
                    <a:pt x="68238" y="52513"/>
                  </a:cubicBezTo>
                  <a:cubicBezTo>
                    <a:pt x="67126" y="53822"/>
                    <a:pt x="65593" y="55158"/>
                    <a:pt x="65593" y="56705"/>
                  </a:cubicBezTo>
                  <a:cubicBezTo>
                    <a:pt x="65593" y="58260"/>
                    <a:pt x="64461" y="60222"/>
                    <a:pt x="62077" y="61776"/>
                  </a:cubicBezTo>
                  <a:cubicBezTo>
                    <a:pt x="59692" y="63323"/>
                    <a:pt x="62077" y="64421"/>
                    <a:pt x="62077" y="65510"/>
                  </a:cubicBezTo>
                  <a:lnTo>
                    <a:pt x="62077" y="69266"/>
                  </a:lnTo>
                  <a:cubicBezTo>
                    <a:pt x="62077" y="71039"/>
                    <a:pt x="60311" y="69709"/>
                    <a:pt x="58975" y="69266"/>
                  </a:cubicBezTo>
                  <a:cubicBezTo>
                    <a:pt x="57646" y="68830"/>
                    <a:pt x="56570" y="71039"/>
                    <a:pt x="55022" y="72565"/>
                  </a:cubicBezTo>
                  <a:cubicBezTo>
                    <a:pt x="53468" y="74098"/>
                    <a:pt x="50606" y="74337"/>
                    <a:pt x="49080" y="74337"/>
                  </a:cubicBezTo>
                  <a:cubicBezTo>
                    <a:pt x="47546" y="74337"/>
                    <a:pt x="53468" y="76545"/>
                    <a:pt x="56570" y="76545"/>
                  </a:cubicBezTo>
                  <a:cubicBezTo>
                    <a:pt x="59671" y="76545"/>
                    <a:pt x="60086" y="75209"/>
                    <a:pt x="62077" y="74337"/>
                  </a:cubicBezTo>
                  <a:cubicBezTo>
                    <a:pt x="64067" y="73465"/>
                    <a:pt x="64461" y="74555"/>
                    <a:pt x="65593" y="76545"/>
                  </a:cubicBezTo>
                  <a:cubicBezTo>
                    <a:pt x="66725" y="78529"/>
                    <a:pt x="70228" y="78072"/>
                    <a:pt x="71993" y="79408"/>
                  </a:cubicBezTo>
                  <a:cubicBezTo>
                    <a:pt x="73765" y="80737"/>
                    <a:pt x="74856" y="82052"/>
                    <a:pt x="75074" y="84254"/>
                  </a:cubicBezTo>
                  <a:cubicBezTo>
                    <a:pt x="75292" y="86462"/>
                    <a:pt x="79054" y="87116"/>
                    <a:pt x="79709" y="89979"/>
                  </a:cubicBezTo>
                  <a:cubicBezTo>
                    <a:pt x="80363" y="92841"/>
                    <a:pt x="83661" y="106302"/>
                    <a:pt x="84554" y="110037"/>
                  </a:cubicBezTo>
                  <a:cubicBezTo>
                    <a:pt x="85454" y="113771"/>
                    <a:pt x="90701" y="123034"/>
                    <a:pt x="93803" y="125242"/>
                  </a:cubicBezTo>
                  <a:cubicBezTo>
                    <a:pt x="96904" y="127451"/>
                    <a:pt x="98648" y="132514"/>
                    <a:pt x="104113" y="137803"/>
                  </a:cubicBezTo>
                  <a:cubicBezTo>
                    <a:pt x="109585" y="143092"/>
                    <a:pt x="104113" y="141995"/>
                    <a:pt x="101532" y="140448"/>
                  </a:cubicBezTo>
                  <a:cubicBezTo>
                    <a:pt x="98986" y="138915"/>
                    <a:pt x="98887" y="139343"/>
                    <a:pt x="98663" y="140405"/>
                  </a:cubicBezTo>
                  <a:lnTo>
                    <a:pt x="98648" y="140448"/>
                  </a:lnTo>
                  <a:cubicBezTo>
                    <a:pt x="98409" y="141538"/>
                    <a:pt x="105485" y="145533"/>
                    <a:pt x="108572" y="149710"/>
                  </a:cubicBezTo>
                  <a:cubicBezTo>
                    <a:pt x="111653" y="153881"/>
                    <a:pt x="110056" y="155217"/>
                    <a:pt x="111209" y="156546"/>
                  </a:cubicBezTo>
                  <a:cubicBezTo>
                    <a:pt x="112363" y="157876"/>
                    <a:pt x="105928" y="159409"/>
                    <a:pt x="105485" y="161399"/>
                  </a:cubicBezTo>
                  <a:cubicBezTo>
                    <a:pt x="105048" y="163383"/>
                    <a:pt x="107257" y="162946"/>
                    <a:pt x="108572" y="163819"/>
                  </a:cubicBezTo>
                  <a:cubicBezTo>
                    <a:pt x="109880" y="164698"/>
                    <a:pt x="112110" y="161399"/>
                    <a:pt x="113699" y="159409"/>
                  </a:cubicBezTo>
                  <a:cubicBezTo>
                    <a:pt x="115289" y="157419"/>
                    <a:pt x="117335" y="159409"/>
                    <a:pt x="119438" y="159409"/>
                  </a:cubicBezTo>
                  <a:cubicBezTo>
                    <a:pt x="121548" y="159409"/>
                    <a:pt x="124010" y="160063"/>
                    <a:pt x="126914" y="161399"/>
                  </a:cubicBezTo>
                  <a:cubicBezTo>
                    <a:pt x="129819" y="162728"/>
                    <a:pt x="131507" y="165134"/>
                    <a:pt x="132379" y="167778"/>
                  </a:cubicBezTo>
                  <a:cubicBezTo>
                    <a:pt x="133258" y="170423"/>
                    <a:pt x="130733" y="175268"/>
                    <a:pt x="129397" y="176802"/>
                  </a:cubicBezTo>
                  <a:cubicBezTo>
                    <a:pt x="128068" y="178335"/>
                    <a:pt x="129397" y="179488"/>
                    <a:pt x="129397" y="181014"/>
                  </a:cubicBezTo>
                  <a:cubicBezTo>
                    <a:pt x="129397" y="182548"/>
                    <a:pt x="126914" y="183321"/>
                    <a:pt x="126914" y="184475"/>
                  </a:cubicBezTo>
                  <a:cubicBezTo>
                    <a:pt x="126914" y="185628"/>
                    <a:pt x="125944" y="187534"/>
                    <a:pt x="119438" y="190017"/>
                  </a:cubicBezTo>
                  <a:cubicBezTo>
                    <a:pt x="116576" y="191550"/>
                    <a:pt x="118489" y="193280"/>
                    <a:pt x="117335" y="195587"/>
                  </a:cubicBezTo>
                  <a:cubicBezTo>
                    <a:pt x="116182" y="197894"/>
                    <a:pt x="115802" y="195010"/>
                    <a:pt x="113699" y="195587"/>
                  </a:cubicBezTo>
                  <a:cubicBezTo>
                    <a:pt x="111589" y="196164"/>
                    <a:pt x="112919" y="197873"/>
                    <a:pt x="113699" y="199223"/>
                  </a:cubicBezTo>
                  <a:cubicBezTo>
                    <a:pt x="114473" y="200573"/>
                    <a:pt x="116182" y="198646"/>
                    <a:pt x="117335" y="199800"/>
                  </a:cubicBezTo>
                  <a:cubicBezTo>
                    <a:pt x="118489" y="200953"/>
                    <a:pt x="120198" y="201129"/>
                    <a:pt x="122301" y="201129"/>
                  </a:cubicBezTo>
                  <a:cubicBezTo>
                    <a:pt x="124410" y="201129"/>
                    <a:pt x="125944" y="201129"/>
                    <a:pt x="126914" y="202282"/>
                  </a:cubicBezTo>
                  <a:cubicBezTo>
                    <a:pt x="127892" y="203436"/>
                    <a:pt x="126914" y="204013"/>
                    <a:pt x="125944" y="206122"/>
                  </a:cubicBezTo>
                  <a:cubicBezTo>
                    <a:pt x="124966" y="208225"/>
                    <a:pt x="123658" y="209358"/>
                    <a:pt x="122301" y="209358"/>
                  </a:cubicBezTo>
                  <a:cubicBezTo>
                    <a:pt x="120950" y="209358"/>
                    <a:pt x="117335" y="210912"/>
                    <a:pt x="114649" y="213198"/>
                  </a:cubicBezTo>
                  <a:cubicBezTo>
                    <a:pt x="111969" y="215483"/>
                    <a:pt x="112166" y="214548"/>
                    <a:pt x="110056" y="214548"/>
                  </a:cubicBezTo>
                  <a:cubicBezTo>
                    <a:pt x="107953" y="214548"/>
                    <a:pt x="107376" y="216454"/>
                    <a:pt x="104113" y="216454"/>
                  </a:cubicBezTo>
                  <a:cubicBezTo>
                    <a:pt x="100857" y="216454"/>
                    <a:pt x="101630" y="214548"/>
                    <a:pt x="96447" y="214548"/>
                  </a:cubicBezTo>
                  <a:lnTo>
                    <a:pt x="90701" y="214548"/>
                  </a:lnTo>
                  <a:cubicBezTo>
                    <a:pt x="87241" y="214548"/>
                    <a:pt x="88218" y="213395"/>
                    <a:pt x="81896" y="214548"/>
                  </a:cubicBezTo>
                  <a:cubicBezTo>
                    <a:pt x="75573" y="215701"/>
                    <a:pt x="79413" y="215504"/>
                    <a:pt x="76150" y="216454"/>
                  </a:cubicBezTo>
                  <a:cubicBezTo>
                    <a:pt x="72893" y="217410"/>
                    <a:pt x="74040" y="220470"/>
                    <a:pt x="66191" y="220470"/>
                  </a:cubicBezTo>
                  <a:cubicBezTo>
                    <a:pt x="61226" y="220470"/>
                    <a:pt x="63307" y="220470"/>
                    <a:pt x="61401" y="218184"/>
                  </a:cubicBezTo>
                  <a:cubicBezTo>
                    <a:pt x="59495" y="215898"/>
                    <a:pt x="58138" y="217607"/>
                    <a:pt x="53173" y="218184"/>
                  </a:cubicBezTo>
                  <a:cubicBezTo>
                    <a:pt x="48200" y="218761"/>
                    <a:pt x="50486" y="220470"/>
                    <a:pt x="50289" y="223353"/>
                  </a:cubicBezTo>
                  <a:cubicBezTo>
                    <a:pt x="50092" y="226237"/>
                    <a:pt x="47230" y="227186"/>
                    <a:pt x="46456" y="228523"/>
                  </a:cubicBezTo>
                  <a:cubicBezTo>
                    <a:pt x="45675" y="229852"/>
                    <a:pt x="43390" y="228523"/>
                    <a:pt x="41090" y="225836"/>
                  </a:cubicBezTo>
                  <a:cubicBezTo>
                    <a:pt x="38783" y="223156"/>
                    <a:pt x="38227" y="225836"/>
                    <a:pt x="33234" y="225836"/>
                  </a:cubicBezTo>
                  <a:cubicBezTo>
                    <a:pt x="28248" y="225836"/>
                    <a:pt x="28641" y="228895"/>
                    <a:pt x="27692" y="229676"/>
                  </a:cubicBezTo>
                  <a:cubicBezTo>
                    <a:pt x="26735" y="230450"/>
                    <a:pt x="22903" y="233115"/>
                    <a:pt x="22122" y="234086"/>
                  </a:cubicBezTo>
                  <a:cubicBezTo>
                    <a:pt x="21348" y="235063"/>
                    <a:pt x="20019" y="232538"/>
                    <a:pt x="17909" y="231779"/>
                  </a:cubicBezTo>
                  <a:cubicBezTo>
                    <a:pt x="15806" y="231026"/>
                    <a:pt x="17536" y="229099"/>
                    <a:pt x="20019" y="228523"/>
                  </a:cubicBezTo>
                  <a:cubicBezTo>
                    <a:pt x="22502" y="227946"/>
                    <a:pt x="25779" y="222397"/>
                    <a:pt x="27692" y="220470"/>
                  </a:cubicBezTo>
                  <a:cubicBezTo>
                    <a:pt x="29598" y="218543"/>
                    <a:pt x="30554" y="217790"/>
                    <a:pt x="33234" y="216454"/>
                  </a:cubicBezTo>
                  <a:cubicBezTo>
                    <a:pt x="35921" y="215125"/>
                    <a:pt x="33234" y="213015"/>
                    <a:pt x="33234" y="210912"/>
                  </a:cubicBezTo>
                  <a:cubicBezTo>
                    <a:pt x="33234" y="208802"/>
                    <a:pt x="35738" y="209358"/>
                    <a:pt x="37074" y="209358"/>
                  </a:cubicBezTo>
                  <a:cubicBezTo>
                    <a:pt x="38403" y="209358"/>
                    <a:pt x="38600" y="205145"/>
                    <a:pt x="42061" y="205145"/>
                  </a:cubicBezTo>
                  <a:lnTo>
                    <a:pt x="53173" y="205145"/>
                  </a:lnTo>
                  <a:cubicBezTo>
                    <a:pt x="55676" y="205145"/>
                    <a:pt x="57941" y="202662"/>
                    <a:pt x="58138" y="201129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1" name="Freihandform: Form 246">
              <a:extLst>
                <a:ext uri="{FF2B5EF4-FFF2-40B4-BE49-F238E27FC236}">
                  <a16:creationId xmlns:a16="http://schemas.microsoft.com/office/drawing/2014/main" id="{85FDDE58-33A6-7849-9136-3073E0105543}"/>
                </a:ext>
              </a:extLst>
            </p:cNvPr>
            <p:cNvSpPr/>
            <p:nvPr/>
          </p:nvSpPr>
          <p:spPr>
            <a:xfrm>
              <a:off x="6030995" y="3478346"/>
              <a:ext cx="48772" cy="40386"/>
            </a:xfrm>
            <a:custGeom>
              <a:avLst/>
              <a:gdLst>
                <a:gd name="connsiteX0" fmla="*/ 9262 w 48772"/>
                <a:gd name="connsiteY0" fmla="*/ 12288 h 40386"/>
                <a:gd name="connsiteX1" fmla="*/ 12779 w 48772"/>
                <a:gd name="connsiteY1" fmla="*/ 5234 h 40386"/>
                <a:gd name="connsiteX2" fmla="*/ 15423 w 48772"/>
                <a:gd name="connsiteY2" fmla="*/ 5234 h 40386"/>
                <a:gd name="connsiteX3" fmla="*/ 20487 w 48772"/>
                <a:gd name="connsiteY3" fmla="*/ 1696 h 40386"/>
                <a:gd name="connsiteX4" fmla="*/ 30847 w 48772"/>
                <a:gd name="connsiteY4" fmla="*/ 163 h 40386"/>
                <a:gd name="connsiteX5" fmla="*/ 33506 w 48772"/>
                <a:gd name="connsiteY5" fmla="*/ 5234 h 40386"/>
                <a:gd name="connsiteX6" fmla="*/ 37683 w 48772"/>
                <a:gd name="connsiteY6" fmla="*/ 10959 h 40386"/>
                <a:gd name="connsiteX7" fmla="*/ 37683 w 48772"/>
                <a:gd name="connsiteY7" fmla="*/ 15150 h 40386"/>
                <a:gd name="connsiteX8" fmla="*/ 45855 w 48772"/>
                <a:gd name="connsiteY8" fmla="*/ 17577 h 40386"/>
                <a:gd name="connsiteX9" fmla="*/ 48036 w 48772"/>
                <a:gd name="connsiteY9" fmla="*/ 24174 h 40386"/>
                <a:gd name="connsiteX10" fmla="*/ 45855 w 48772"/>
                <a:gd name="connsiteY10" fmla="*/ 31228 h 40386"/>
                <a:gd name="connsiteX11" fmla="*/ 36150 w 48772"/>
                <a:gd name="connsiteY11" fmla="*/ 37635 h 40386"/>
                <a:gd name="connsiteX12" fmla="*/ 27766 w 48772"/>
                <a:gd name="connsiteY12" fmla="*/ 40273 h 40386"/>
                <a:gd name="connsiteX13" fmla="*/ 17407 w 48772"/>
                <a:gd name="connsiteY13" fmla="*/ 34773 h 40386"/>
                <a:gd name="connsiteX14" fmla="*/ 17407 w 48772"/>
                <a:gd name="connsiteY14" fmla="*/ 25728 h 40386"/>
                <a:gd name="connsiteX15" fmla="*/ 14108 w 48772"/>
                <a:gd name="connsiteY15" fmla="*/ 24174 h 40386"/>
                <a:gd name="connsiteX16" fmla="*/ 6618 w 48772"/>
                <a:gd name="connsiteY16" fmla="*/ 29245 h 40386"/>
                <a:gd name="connsiteX17" fmla="*/ 1765 w 48772"/>
                <a:gd name="connsiteY17" fmla="*/ 21529 h 40386"/>
                <a:gd name="connsiteX18" fmla="*/ 0 w 48772"/>
                <a:gd name="connsiteY18" fmla="*/ 14039 h 40386"/>
                <a:gd name="connsiteX19" fmla="*/ 9262 w 48772"/>
                <a:gd name="connsiteY19" fmla="*/ 12288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8772" h="40386">
                  <a:moveTo>
                    <a:pt x="9262" y="12288"/>
                  </a:moveTo>
                  <a:cubicBezTo>
                    <a:pt x="11464" y="10537"/>
                    <a:pt x="12125" y="6985"/>
                    <a:pt x="12779" y="5234"/>
                  </a:cubicBezTo>
                  <a:lnTo>
                    <a:pt x="15423" y="5234"/>
                  </a:lnTo>
                  <a:cubicBezTo>
                    <a:pt x="16085" y="4573"/>
                    <a:pt x="18026" y="2934"/>
                    <a:pt x="20487" y="1696"/>
                  </a:cubicBezTo>
                  <a:cubicBezTo>
                    <a:pt x="23568" y="142"/>
                    <a:pt x="26669" y="-273"/>
                    <a:pt x="30847" y="163"/>
                  </a:cubicBezTo>
                  <a:cubicBezTo>
                    <a:pt x="35018" y="599"/>
                    <a:pt x="32394" y="3461"/>
                    <a:pt x="33506" y="5234"/>
                  </a:cubicBezTo>
                  <a:cubicBezTo>
                    <a:pt x="34624" y="6999"/>
                    <a:pt x="34821" y="9404"/>
                    <a:pt x="37683" y="10959"/>
                  </a:cubicBezTo>
                  <a:cubicBezTo>
                    <a:pt x="39976" y="12197"/>
                    <a:pt x="38640" y="14271"/>
                    <a:pt x="37683" y="15150"/>
                  </a:cubicBezTo>
                  <a:cubicBezTo>
                    <a:pt x="39891" y="15150"/>
                    <a:pt x="44611" y="15636"/>
                    <a:pt x="45855" y="17577"/>
                  </a:cubicBezTo>
                  <a:cubicBezTo>
                    <a:pt x="47403" y="20003"/>
                    <a:pt x="45855" y="21529"/>
                    <a:pt x="48036" y="24174"/>
                  </a:cubicBezTo>
                  <a:cubicBezTo>
                    <a:pt x="50223" y="26818"/>
                    <a:pt x="46946" y="30138"/>
                    <a:pt x="45855" y="31228"/>
                  </a:cubicBezTo>
                  <a:cubicBezTo>
                    <a:pt x="44758" y="32325"/>
                    <a:pt x="39012" y="36517"/>
                    <a:pt x="36150" y="37635"/>
                  </a:cubicBezTo>
                  <a:cubicBezTo>
                    <a:pt x="33288" y="38746"/>
                    <a:pt x="30847" y="39379"/>
                    <a:pt x="27766" y="40273"/>
                  </a:cubicBezTo>
                  <a:cubicBezTo>
                    <a:pt x="24686" y="41173"/>
                    <a:pt x="18525" y="36517"/>
                    <a:pt x="17407" y="34773"/>
                  </a:cubicBezTo>
                  <a:cubicBezTo>
                    <a:pt x="16296" y="33021"/>
                    <a:pt x="17407" y="27929"/>
                    <a:pt x="17407" y="25728"/>
                  </a:cubicBezTo>
                  <a:cubicBezTo>
                    <a:pt x="17407" y="23520"/>
                    <a:pt x="12779" y="22648"/>
                    <a:pt x="14108" y="24174"/>
                  </a:cubicBezTo>
                  <a:cubicBezTo>
                    <a:pt x="15438" y="25707"/>
                    <a:pt x="7926" y="27711"/>
                    <a:pt x="6618" y="29245"/>
                  </a:cubicBezTo>
                  <a:cubicBezTo>
                    <a:pt x="5303" y="30771"/>
                    <a:pt x="2637" y="22648"/>
                    <a:pt x="1765" y="21529"/>
                  </a:cubicBezTo>
                  <a:cubicBezTo>
                    <a:pt x="1069" y="20643"/>
                    <a:pt x="295" y="16163"/>
                    <a:pt x="0" y="14039"/>
                  </a:cubicBezTo>
                  <a:cubicBezTo>
                    <a:pt x="2349" y="14039"/>
                    <a:pt x="7497" y="13688"/>
                    <a:pt x="9262" y="12288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2" name="Freihandform: Form 247">
              <a:extLst>
                <a:ext uri="{FF2B5EF4-FFF2-40B4-BE49-F238E27FC236}">
                  <a16:creationId xmlns:a16="http://schemas.microsoft.com/office/drawing/2014/main" id="{8740D71B-0493-3F46-BF25-862AF3972F57}"/>
                </a:ext>
              </a:extLst>
            </p:cNvPr>
            <p:cNvSpPr/>
            <p:nvPr/>
          </p:nvSpPr>
          <p:spPr>
            <a:xfrm>
              <a:off x="5993051" y="3475467"/>
              <a:ext cx="73769" cy="104613"/>
            </a:xfrm>
            <a:custGeom>
              <a:avLst/>
              <a:gdLst>
                <a:gd name="connsiteX0" fmla="*/ 50294 w 73769"/>
                <a:gd name="connsiteY0" fmla="*/ 9414 h 104613"/>
                <a:gd name="connsiteX1" fmla="*/ 47206 w 73769"/>
                <a:gd name="connsiteY1" fmla="*/ 15167 h 104613"/>
                <a:gd name="connsiteX2" fmla="*/ 37944 w 73769"/>
                <a:gd name="connsiteY2" fmla="*/ 16918 h 104613"/>
                <a:gd name="connsiteX3" fmla="*/ 39709 w 73769"/>
                <a:gd name="connsiteY3" fmla="*/ 24408 h 104613"/>
                <a:gd name="connsiteX4" fmla="*/ 40933 w 73769"/>
                <a:gd name="connsiteY4" fmla="*/ 26940 h 104613"/>
                <a:gd name="connsiteX5" fmla="*/ 44562 w 73769"/>
                <a:gd name="connsiteY5" fmla="*/ 32124 h 104613"/>
                <a:gd name="connsiteX6" fmla="*/ 48121 w 73769"/>
                <a:gd name="connsiteY6" fmla="*/ 30126 h 104613"/>
                <a:gd name="connsiteX7" fmla="*/ 52052 w 73769"/>
                <a:gd name="connsiteY7" fmla="*/ 27053 h 104613"/>
                <a:gd name="connsiteX8" fmla="*/ 55351 w 73769"/>
                <a:gd name="connsiteY8" fmla="*/ 28607 h 104613"/>
                <a:gd name="connsiteX9" fmla="*/ 55140 w 73769"/>
                <a:gd name="connsiteY9" fmla="*/ 31202 h 104613"/>
                <a:gd name="connsiteX10" fmla="*/ 55351 w 73769"/>
                <a:gd name="connsiteY10" fmla="*/ 37645 h 104613"/>
                <a:gd name="connsiteX11" fmla="*/ 65710 w 73769"/>
                <a:gd name="connsiteY11" fmla="*/ 43151 h 104613"/>
                <a:gd name="connsiteX12" fmla="*/ 66723 w 73769"/>
                <a:gd name="connsiteY12" fmla="*/ 42863 h 104613"/>
                <a:gd name="connsiteX13" fmla="*/ 67454 w 73769"/>
                <a:gd name="connsiteY13" fmla="*/ 49974 h 104613"/>
                <a:gd name="connsiteX14" fmla="*/ 72167 w 73769"/>
                <a:gd name="connsiteY14" fmla="*/ 54700 h 104613"/>
                <a:gd name="connsiteX15" fmla="*/ 72940 w 73769"/>
                <a:gd name="connsiteY15" fmla="*/ 61198 h 104613"/>
                <a:gd name="connsiteX16" fmla="*/ 72167 w 73769"/>
                <a:gd name="connsiteY16" fmla="*/ 64820 h 104613"/>
                <a:gd name="connsiteX17" fmla="*/ 70844 w 73769"/>
                <a:gd name="connsiteY17" fmla="*/ 66642 h 104613"/>
                <a:gd name="connsiteX18" fmla="*/ 68812 w 73769"/>
                <a:gd name="connsiteY18" fmla="*/ 67957 h 104613"/>
                <a:gd name="connsiteX19" fmla="*/ 67539 w 73769"/>
                <a:gd name="connsiteY19" fmla="*/ 76193 h 104613"/>
                <a:gd name="connsiteX20" fmla="*/ 67454 w 73769"/>
                <a:gd name="connsiteY20" fmla="*/ 78296 h 104613"/>
                <a:gd name="connsiteX21" fmla="*/ 64086 w 73769"/>
                <a:gd name="connsiteY21" fmla="*/ 81538 h 104613"/>
                <a:gd name="connsiteX22" fmla="*/ 63403 w 73769"/>
                <a:gd name="connsiteY22" fmla="*/ 82129 h 104613"/>
                <a:gd name="connsiteX23" fmla="*/ 64536 w 73769"/>
                <a:gd name="connsiteY23" fmla="*/ 87080 h 104613"/>
                <a:gd name="connsiteX24" fmla="*/ 60935 w 73769"/>
                <a:gd name="connsiteY24" fmla="*/ 87080 h 104613"/>
                <a:gd name="connsiteX25" fmla="*/ 52150 w 73769"/>
                <a:gd name="connsiteY25" fmla="*/ 88873 h 104613"/>
                <a:gd name="connsiteX26" fmla="*/ 47220 w 73769"/>
                <a:gd name="connsiteY26" fmla="*/ 88873 h 104613"/>
                <a:gd name="connsiteX27" fmla="*/ 42712 w 73769"/>
                <a:gd name="connsiteY27" fmla="*/ 92249 h 104613"/>
                <a:gd name="connsiteX28" fmla="*/ 36192 w 73769"/>
                <a:gd name="connsiteY28" fmla="*/ 95850 h 104613"/>
                <a:gd name="connsiteX29" fmla="*/ 33724 w 73769"/>
                <a:gd name="connsiteY29" fmla="*/ 94275 h 104613"/>
                <a:gd name="connsiteX30" fmla="*/ 36192 w 73769"/>
                <a:gd name="connsiteY30" fmla="*/ 98551 h 104613"/>
                <a:gd name="connsiteX31" fmla="*/ 32156 w 73769"/>
                <a:gd name="connsiteY31" fmla="*/ 100794 h 104613"/>
                <a:gd name="connsiteX32" fmla="*/ 23828 w 73769"/>
                <a:gd name="connsiteY32" fmla="*/ 104613 h 104613"/>
                <a:gd name="connsiteX33" fmla="*/ 12575 w 73769"/>
                <a:gd name="connsiteY33" fmla="*/ 104613 h 104613"/>
                <a:gd name="connsiteX34" fmla="*/ 15283 w 73769"/>
                <a:gd name="connsiteY34" fmla="*/ 98551 h 104613"/>
                <a:gd name="connsiteX35" fmla="*/ 5838 w 73769"/>
                <a:gd name="connsiteY35" fmla="*/ 100794 h 104613"/>
                <a:gd name="connsiteX36" fmla="*/ 9868 w 73769"/>
                <a:gd name="connsiteY36" fmla="*/ 96511 h 104613"/>
                <a:gd name="connsiteX37" fmla="*/ 10571 w 73769"/>
                <a:gd name="connsiteY37" fmla="*/ 95850 h 104613"/>
                <a:gd name="connsiteX38" fmla="*/ 5317 w 73769"/>
                <a:gd name="connsiteY38" fmla="*/ 96061 h 104613"/>
                <a:gd name="connsiteX39" fmla="*/ 4030 w 73769"/>
                <a:gd name="connsiteY39" fmla="*/ 95850 h 104613"/>
                <a:gd name="connsiteX40" fmla="*/ 4030 w 73769"/>
                <a:gd name="connsiteY40" fmla="*/ 92249 h 104613"/>
                <a:gd name="connsiteX41" fmla="*/ 10571 w 73769"/>
                <a:gd name="connsiteY41" fmla="*/ 87080 h 104613"/>
                <a:gd name="connsiteX42" fmla="*/ 436 w 73769"/>
                <a:gd name="connsiteY42" fmla="*/ 88873 h 104613"/>
                <a:gd name="connsiteX43" fmla="*/ 5838 w 73769"/>
                <a:gd name="connsiteY43" fmla="*/ 84597 h 104613"/>
                <a:gd name="connsiteX44" fmla="*/ 7723 w 73769"/>
                <a:gd name="connsiteY44" fmla="*/ 84358 h 104613"/>
                <a:gd name="connsiteX45" fmla="*/ 10571 w 73769"/>
                <a:gd name="connsiteY45" fmla="*/ 82129 h 104613"/>
                <a:gd name="connsiteX46" fmla="*/ 15895 w 73769"/>
                <a:gd name="connsiteY46" fmla="*/ 78598 h 104613"/>
                <a:gd name="connsiteX47" fmla="*/ 16852 w 73769"/>
                <a:gd name="connsiteY47" fmla="*/ 78296 h 104613"/>
                <a:gd name="connsiteX48" fmla="*/ 22042 w 73769"/>
                <a:gd name="connsiteY48" fmla="*/ 76291 h 104613"/>
                <a:gd name="connsiteX49" fmla="*/ 28104 w 73769"/>
                <a:gd name="connsiteY49" fmla="*/ 75377 h 104613"/>
                <a:gd name="connsiteX50" fmla="*/ 23828 w 73769"/>
                <a:gd name="connsiteY50" fmla="*/ 72233 h 104613"/>
                <a:gd name="connsiteX51" fmla="*/ 16852 w 73769"/>
                <a:gd name="connsiteY51" fmla="*/ 75377 h 104613"/>
                <a:gd name="connsiteX52" fmla="*/ 15227 w 73769"/>
                <a:gd name="connsiteY52" fmla="*/ 75588 h 104613"/>
                <a:gd name="connsiteX53" fmla="*/ 10571 w 73769"/>
                <a:gd name="connsiteY53" fmla="*/ 75377 h 104613"/>
                <a:gd name="connsiteX54" fmla="*/ 12969 w 73769"/>
                <a:gd name="connsiteY54" fmla="*/ 72346 h 104613"/>
                <a:gd name="connsiteX55" fmla="*/ 15283 w 73769"/>
                <a:gd name="connsiteY55" fmla="*/ 69990 h 104613"/>
                <a:gd name="connsiteX56" fmla="*/ 15283 w 73769"/>
                <a:gd name="connsiteY56" fmla="*/ 64820 h 104613"/>
                <a:gd name="connsiteX57" fmla="*/ 13082 w 73769"/>
                <a:gd name="connsiteY57" fmla="*/ 60164 h 104613"/>
                <a:gd name="connsiteX58" fmla="*/ 10571 w 73769"/>
                <a:gd name="connsiteY58" fmla="*/ 54700 h 104613"/>
                <a:gd name="connsiteX59" fmla="*/ 10571 w 73769"/>
                <a:gd name="connsiteY59" fmla="*/ 46830 h 104613"/>
                <a:gd name="connsiteX60" fmla="*/ 12878 w 73769"/>
                <a:gd name="connsiteY60" fmla="*/ 45318 h 104613"/>
                <a:gd name="connsiteX61" fmla="*/ 15283 w 73769"/>
                <a:gd name="connsiteY61" fmla="*/ 44347 h 104613"/>
                <a:gd name="connsiteX62" fmla="*/ 14685 w 73769"/>
                <a:gd name="connsiteY62" fmla="*/ 42258 h 104613"/>
                <a:gd name="connsiteX63" fmla="*/ 12575 w 73769"/>
                <a:gd name="connsiteY63" fmla="*/ 40985 h 104613"/>
                <a:gd name="connsiteX64" fmla="*/ 10571 w 73769"/>
                <a:gd name="connsiteY64" fmla="*/ 30415 h 104613"/>
                <a:gd name="connsiteX65" fmla="*/ 16852 w 73769"/>
                <a:gd name="connsiteY65" fmla="*/ 31983 h 104613"/>
                <a:gd name="connsiteX66" fmla="*/ 21360 w 73769"/>
                <a:gd name="connsiteY66" fmla="*/ 33769 h 104613"/>
                <a:gd name="connsiteX67" fmla="*/ 23828 w 73769"/>
                <a:gd name="connsiteY67" fmla="*/ 31983 h 104613"/>
                <a:gd name="connsiteX68" fmla="*/ 28104 w 73769"/>
                <a:gd name="connsiteY68" fmla="*/ 31983 h 104613"/>
                <a:gd name="connsiteX69" fmla="*/ 32156 w 73769"/>
                <a:gd name="connsiteY69" fmla="*/ 27925 h 104613"/>
                <a:gd name="connsiteX70" fmla="*/ 33850 w 73769"/>
                <a:gd name="connsiteY70" fmla="*/ 23895 h 104613"/>
                <a:gd name="connsiteX71" fmla="*/ 33724 w 73769"/>
                <a:gd name="connsiteY71" fmla="*/ 22545 h 104613"/>
                <a:gd name="connsiteX72" fmla="*/ 29455 w 73769"/>
                <a:gd name="connsiteY72" fmla="*/ 19162 h 104613"/>
                <a:gd name="connsiteX73" fmla="*/ 29715 w 73769"/>
                <a:gd name="connsiteY73" fmla="*/ 15821 h 104613"/>
                <a:gd name="connsiteX74" fmla="*/ 33724 w 73769"/>
                <a:gd name="connsiteY74" fmla="*/ 11292 h 104613"/>
                <a:gd name="connsiteX75" fmla="*/ 35883 w 73769"/>
                <a:gd name="connsiteY75" fmla="*/ 8577 h 104613"/>
                <a:gd name="connsiteX76" fmla="*/ 38218 w 73769"/>
                <a:gd name="connsiteY76" fmla="*/ 5665 h 104613"/>
                <a:gd name="connsiteX77" fmla="*/ 41580 w 73769"/>
                <a:gd name="connsiteY77" fmla="*/ 4006 h 104613"/>
                <a:gd name="connsiteX78" fmla="*/ 42712 w 73769"/>
                <a:gd name="connsiteY78" fmla="*/ 4097 h 104613"/>
                <a:gd name="connsiteX79" fmla="*/ 47220 w 73769"/>
                <a:gd name="connsiteY79" fmla="*/ 2310 h 104613"/>
                <a:gd name="connsiteX80" fmla="*/ 50554 w 73769"/>
                <a:gd name="connsiteY80" fmla="*/ 510 h 104613"/>
                <a:gd name="connsiteX81" fmla="*/ 52150 w 73769"/>
                <a:gd name="connsiteY81" fmla="*/ 60 h 104613"/>
                <a:gd name="connsiteX82" fmla="*/ 57559 w 73769"/>
                <a:gd name="connsiteY82" fmla="*/ 4097 h 104613"/>
                <a:gd name="connsiteX83" fmla="*/ 57763 w 73769"/>
                <a:gd name="connsiteY83" fmla="*/ 4927 h 104613"/>
                <a:gd name="connsiteX84" fmla="*/ 53367 w 73769"/>
                <a:gd name="connsiteY84" fmla="*/ 8113 h 104613"/>
                <a:gd name="connsiteX85" fmla="*/ 50723 w 73769"/>
                <a:gd name="connsiteY85" fmla="*/ 8113 h 104613"/>
                <a:gd name="connsiteX86" fmla="*/ 50294 w 73769"/>
                <a:gd name="connsiteY86" fmla="*/ 9414 h 10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73769" h="104613">
                  <a:moveTo>
                    <a:pt x="50294" y="9414"/>
                  </a:moveTo>
                  <a:cubicBezTo>
                    <a:pt x="49724" y="11271"/>
                    <a:pt x="48951" y="13781"/>
                    <a:pt x="47206" y="15167"/>
                  </a:cubicBezTo>
                  <a:cubicBezTo>
                    <a:pt x="45441" y="16567"/>
                    <a:pt x="40293" y="16918"/>
                    <a:pt x="37944" y="16918"/>
                  </a:cubicBezTo>
                  <a:cubicBezTo>
                    <a:pt x="38239" y="19042"/>
                    <a:pt x="39013" y="23522"/>
                    <a:pt x="39709" y="24408"/>
                  </a:cubicBezTo>
                  <a:cubicBezTo>
                    <a:pt x="39976" y="24753"/>
                    <a:pt x="40419" y="25759"/>
                    <a:pt x="40933" y="26940"/>
                  </a:cubicBezTo>
                  <a:cubicBezTo>
                    <a:pt x="42093" y="29606"/>
                    <a:pt x="43648" y="33186"/>
                    <a:pt x="44562" y="32124"/>
                  </a:cubicBezTo>
                  <a:cubicBezTo>
                    <a:pt x="45082" y="31512"/>
                    <a:pt x="46587" y="30830"/>
                    <a:pt x="48121" y="30126"/>
                  </a:cubicBezTo>
                  <a:cubicBezTo>
                    <a:pt x="50449" y="29071"/>
                    <a:pt x="52854" y="27974"/>
                    <a:pt x="52052" y="27053"/>
                  </a:cubicBezTo>
                  <a:cubicBezTo>
                    <a:pt x="50723" y="25527"/>
                    <a:pt x="55351" y="26399"/>
                    <a:pt x="55351" y="28607"/>
                  </a:cubicBezTo>
                  <a:cubicBezTo>
                    <a:pt x="55351" y="29268"/>
                    <a:pt x="55252" y="30190"/>
                    <a:pt x="55140" y="31202"/>
                  </a:cubicBezTo>
                  <a:cubicBezTo>
                    <a:pt x="54886" y="33565"/>
                    <a:pt x="54577" y="36421"/>
                    <a:pt x="55351" y="37645"/>
                  </a:cubicBezTo>
                  <a:cubicBezTo>
                    <a:pt x="56469" y="39396"/>
                    <a:pt x="62630" y="44052"/>
                    <a:pt x="65710" y="43151"/>
                  </a:cubicBezTo>
                  <a:cubicBezTo>
                    <a:pt x="66055" y="43053"/>
                    <a:pt x="66392" y="42955"/>
                    <a:pt x="66723" y="42863"/>
                  </a:cubicBezTo>
                  <a:cubicBezTo>
                    <a:pt x="67096" y="45465"/>
                    <a:pt x="67454" y="48384"/>
                    <a:pt x="67454" y="49974"/>
                  </a:cubicBezTo>
                  <a:cubicBezTo>
                    <a:pt x="67454" y="53110"/>
                    <a:pt x="68812" y="54700"/>
                    <a:pt x="72167" y="54700"/>
                  </a:cubicBezTo>
                  <a:cubicBezTo>
                    <a:pt x="74586" y="54700"/>
                    <a:pt x="73763" y="57949"/>
                    <a:pt x="72940" y="61198"/>
                  </a:cubicBezTo>
                  <a:cubicBezTo>
                    <a:pt x="72617" y="62471"/>
                    <a:pt x="72293" y="63744"/>
                    <a:pt x="72167" y="64820"/>
                  </a:cubicBezTo>
                  <a:cubicBezTo>
                    <a:pt x="71935" y="66804"/>
                    <a:pt x="71456" y="66733"/>
                    <a:pt x="70844" y="66642"/>
                  </a:cubicBezTo>
                  <a:cubicBezTo>
                    <a:pt x="70268" y="66550"/>
                    <a:pt x="69564" y="66445"/>
                    <a:pt x="68812" y="67957"/>
                  </a:cubicBezTo>
                  <a:cubicBezTo>
                    <a:pt x="67644" y="70292"/>
                    <a:pt x="67581" y="73745"/>
                    <a:pt x="67539" y="76193"/>
                  </a:cubicBezTo>
                  <a:cubicBezTo>
                    <a:pt x="67525" y="77044"/>
                    <a:pt x="67511" y="77775"/>
                    <a:pt x="67454" y="78296"/>
                  </a:cubicBezTo>
                  <a:cubicBezTo>
                    <a:pt x="67314" y="79604"/>
                    <a:pt x="65253" y="80835"/>
                    <a:pt x="64086" y="81538"/>
                  </a:cubicBezTo>
                  <a:cubicBezTo>
                    <a:pt x="63460" y="81911"/>
                    <a:pt x="63094" y="82129"/>
                    <a:pt x="63403" y="82129"/>
                  </a:cubicBezTo>
                  <a:cubicBezTo>
                    <a:pt x="64121" y="82129"/>
                    <a:pt x="64458" y="85434"/>
                    <a:pt x="64536" y="87080"/>
                  </a:cubicBezTo>
                  <a:lnTo>
                    <a:pt x="60935" y="87080"/>
                  </a:lnTo>
                  <a:cubicBezTo>
                    <a:pt x="59064" y="87080"/>
                    <a:pt x="54682" y="87439"/>
                    <a:pt x="52150" y="88873"/>
                  </a:cubicBezTo>
                  <a:cubicBezTo>
                    <a:pt x="49626" y="90301"/>
                    <a:pt x="47811" y="89464"/>
                    <a:pt x="47220" y="88873"/>
                  </a:cubicBezTo>
                  <a:cubicBezTo>
                    <a:pt x="46250" y="89999"/>
                    <a:pt x="43985" y="92249"/>
                    <a:pt x="42712" y="92249"/>
                  </a:cubicBezTo>
                  <a:cubicBezTo>
                    <a:pt x="41439" y="92249"/>
                    <a:pt x="37831" y="94647"/>
                    <a:pt x="36192" y="95850"/>
                  </a:cubicBezTo>
                  <a:lnTo>
                    <a:pt x="33724" y="94275"/>
                  </a:lnTo>
                  <a:lnTo>
                    <a:pt x="36192" y="98551"/>
                  </a:lnTo>
                  <a:lnTo>
                    <a:pt x="32156" y="100794"/>
                  </a:lnTo>
                  <a:lnTo>
                    <a:pt x="23828" y="104613"/>
                  </a:lnTo>
                  <a:lnTo>
                    <a:pt x="12575" y="104613"/>
                  </a:lnTo>
                  <a:cubicBezTo>
                    <a:pt x="10416" y="104613"/>
                    <a:pt x="13476" y="100569"/>
                    <a:pt x="15283" y="98551"/>
                  </a:cubicBezTo>
                  <a:cubicBezTo>
                    <a:pt x="12808" y="99374"/>
                    <a:pt x="7463" y="100970"/>
                    <a:pt x="5838" y="100794"/>
                  </a:cubicBezTo>
                  <a:cubicBezTo>
                    <a:pt x="4466" y="100647"/>
                    <a:pt x="8039" y="97911"/>
                    <a:pt x="9868" y="96511"/>
                  </a:cubicBezTo>
                  <a:cubicBezTo>
                    <a:pt x="10740" y="95843"/>
                    <a:pt x="11218" y="95477"/>
                    <a:pt x="10571" y="95850"/>
                  </a:cubicBezTo>
                  <a:cubicBezTo>
                    <a:pt x="8996" y="96736"/>
                    <a:pt x="6984" y="96364"/>
                    <a:pt x="5317" y="96061"/>
                  </a:cubicBezTo>
                  <a:cubicBezTo>
                    <a:pt x="4853" y="95977"/>
                    <a:pt x="4424" y="95892"/>
                    <a:pt x="4030" y="95850"/>
                  </a:cubicBezTo>
                  <a:cubicBezTo>
                    <a:pt x="2223" y="95625"/>
                    <a:pt x="2919" y="92467"/>
                    <a:pt x="4030" y="92249"/>
                  </a:cubicBezTo>
                  <a:cubicBezTo>
                    <a:pt x="4924" y="92073"/>
                    <a:pt x="8764" y="88733"/>
                    <a:pt x="10571" y="87080"/>
                  </a:cubicBezTo>
                  <a:cubicBezTo>
                    <a:pt x="7870" y="87903"/>
                    <a:pt x="2054" y="89408"/>
                    <a:pt x="436" y="88873"/>
                  </a:cubicBezTo>
                  <a:cubicBezTo>
                    <a:pt x="-1596" y="88191"/>
                    <a:pt x="4030" y="85272"/>
                    <a:pt x="5838" y="84597"/>
                  </a:cubicBezTo>
                  <a:cubicBezTo>
                    <a:pt x="6401" y="84386"/>
                    <a:pt x="7069" y="84372"/>
                    <a:pt x="7723" y="84358"/>
                  </a:cubicBezTo>
                  <a:cubicBezTo>
                    <a:pt x="9179" y="84330"/>
                    <a:pt x="10571" y="84295"/>
                    <a:pt x="10571" y="82129"/>
                  </a:cubicBezTo>
                  <a:cubicBezTo>
                    <a:pt x="10571" y="80265"/>
                    <a:pt x="12280" y="79730"/>
                    <a:pt x="15895" y="78598"/>
                  </a:cubicBezTo>
                  <a:cubicBezTo>
                    <a:pt x="16198" y="78500"/>
                    <a:pt x="16521" y="78401"/>
                    <a:pt x="16852" y="78296"/>
                  </a:cubicBezTo>
                  <a:cubicBezTo>
                    <a:pt x="20270" y="77213"/>
                    <a:pt x="21732" y="76509"/>
                    <a:pt x="22042" y="76291"/>
                  </a:cubicBezTo>
                  <a:lnTo>
                    <a:pt x="28104" y="75377"/>
                  </a:lnTo>
                  <a:lnTo>
                    <a:pt x="23828" y="72233"/>
                  </a:lnTo>
                  <a:cubicBezTo>
                    <a:pt x="21880" y="73281"/>
                    <a:pt x="17759" y="75377"/>
                    <a:pt x="16852" y="75377"/>
                  </a:cubicBezTo>
                  <a:cubicBezTo>
                    <a:pt x="16542" y="75377"/>
                    <a:pt x="15944" y="75475"/>
                    <a:pt x="15227" y="75588"/>
                  </a:cubicBezTo>
                  <a:cubicBezTo>
                    <a:pt x="13307" y="75904"/>
                    <a:pt x="10571" y="76362"/>
                    <a:pt x="10571" y="75377"/>
                  </a:cubicBezTo>
                  <a:cubicBezTo>
                    <a:pt x="10571" y="74554"/>
                    <a:pt x="11717" y="73499"/>
                    <a:pt x="12969" y="72346"/>
                  </a:cubicBezTo>
                  <a:cubicBezTo>
                    <a:pt x="13792" y="71586"/>
                    <a:pt x="14657" y="70791"/>
                    <a:pt x="15283" y="69990"/>
                  </a:cubicBezTo>
                  <a:cubicBezTo>
                    <a:pt x="16852" y="67957"/>
                    <a:pt x="16852" y="67064"/>
                    <a:pt x="15283" y="64820"/>
                  </a:cubicBezTo>
                  <a:cubicBezTo>
                    <a:pt x="14496" y="63695"/>
                    <a:pt x="13813" y="62000"/>
                    <a:pt x="13082" y="60164"/>
                  </a:cubicBezTo>
                  <a:cubicBezTo>
                    <a:pt x="12358" y="58336"/>
                    <a:pt x="11570" y="56374"/>
                    <a:pt x="10571" y="54700"/>
                  </a:cubicBezTo>
                  <a:cubicBezTo>
                    <a:pt x="8560" y="51345"/>
                    <a:pt x="9439" y="48398"/>
                    <a:pt x="10571" y="46830"/>
                  </a:cubicBezTo>
                  <a:cubicBezTo>
                    <a:pt x="11274" y="45859"/>
                    <a:pt x="11879" y="45655"/>
                    <a:pt x="12878" y="45318"/>
                  </a:cubicBezTo>
                  <a:cubicBezTo>
                    <a:pt x="13490" y="45114"/>
                    <a:pt x="14256" y="44860"/>
                    <a:pt x="15283" y="44347"/>
                  </a:cubicBezTo>
                  <a:cubicBezTo>
                    <a:pt x="17084" y="43447"/>
                    <a:pt x="16085" y="42947"/>
                    <a:pt x="14685" y="42258"/>
                  </a:cubicBezTo>
                  <a:cubicBezTo>
                    <a:pt x="13982" y="41907"/>
                    <a:pt x="13180" y="41513"/>
                    <a:pt x="12575" y="40985"/>
                  </a:cubicBezTo>
                  <a:cubicBezTo>
                    <a:pt x="10768" y="39417"/>
                    <a:pt x="8764" y="36934"/>
                    <a:pt x="10571" y="30415"/>
                  </a:cubicBezTo>
                  <a:cubicBezTo>
                    <a:pt x="12189" y="29156"/>
                    <a:pt x="15431" y="30935"/>
                    <a:pt x="16852" y="31983"/>
                  </a:cubicBezTo>
                  <a:lnTo>
                    <a:pt x="21360" y="33769"/>
                  </a:lnTo>
                  <a:lnTo>
                    <a:pt x="23828" y="31983"/>
                  </a:lnTo>
                  <a:cubicBezTo>
                    <a:pt x="25024" y="32433"/>
                    <a:pt x="27563" y="33066"/>
                    <a:pt x="28104" y="31983"/>
                  </a:cubicBezTo>
                  <a:cubicBezTo>
                    <a:pt x="28780" y="30633"/>
                    <a:pt x="29455" y="29957"/>
                    <a:pt x="32156" y="27925"/>
                  </a:cubicBezTo>
                  <a:cubicBezTo>
                    <a:pt x="34216" y="26385"/>
                    <a:pt x="34047" y="25245"/>
                    <a:pt x="33850" y="23895"/>
                  </a:cubicBezTo>
                  <a:cubicBezTo>
                    <a:pt x="33794" y="23473"/>
                    <a:pt x="33724" y="23023"/>
                    <a:pt x="33724" y="22545"/>
                  </a:cubicBezTo>
                  <a:cubicBezTo>
                    <a:pt x="33724" y="20512"/>
                    <a:pt x="33724" y="20512"/>
                    <a:pt x="29455" y="19162"/>
                  </a:cubicBezTo>
                  <a:cubicBezTo>
                    <a:pt x="26895" y="18353"/>
                    <a:pt x="27886" y="17467"/>
                    <a:pt x="29715" y="15821"/>
                  </a:cubicBezTo>
                  <a:cubicBezTo>
                    <a:pt x="30946" y="14717"/>
                    <a:pt x="32556" y="13275"/>
                    <a:pt x="33724" y="11292"/>
                  </a:cubicBezTo>
                  <a:cubicBezTo>
                    <a:pt x="34294" y="10173"/>
                    <a:pt x="35074" y="9393"/>
                    <a:pt x="35883" y="8577"/>
                  </a:cubicBezTo>
                  <a:cubicBezTo>
                    <a:pt x="36699" y="7761"/>
                    <a:pt x="37543" y="6917"/>
                    <a:pt x="38218" y="5665"/>
                  </a:cubicBezTo>
                  <a:cubicBezTo>
                    <a:pt x="39273" y="3731"/>
                    <a:pt x="40321" y="3858"/>
                    <a:pt x="41580" y="4006"/>
                  </a:cubicBezTo>
                  <a:cubicBezTo>
                    <a:pt x="41938" y="4055"/>
                    <a:pt x="42311" y="4097"/>
                    <a:pt x="42712" y="4097"/>
                  </a:cubicBezTo>
                  <a:cubicBezTo>
                    <a:pt x="44499" y="4097"/>
                    <a:pt x="46088" y="4097"/>
                    <a:pt x="47220" y="2310"/>
                  </a:cubicBezTo>
                  <a:cubicBezTo>
                    <a:pt x="48008" y="1073"/>
                    <a:pt x="49309" y="784"/>
                    <a:pt x="50554" y="510"/>
                  </a:cubicBezTo>
                  <a:cubicBezTo>
                    <a:pt x="51117" y="383"/>
                    <a:pt x="51665" y="264"/>
                    <a:pt x="52150" y="60"/>
                  </a:cubicBezTo>
                  <a:cubicBezTo>
                    <a:pt x="53409" y="-460"/>
                    <a:pt x="56279" y="2536"/>
                    <a:pt x="57559" y="4097"/>
                  </a:cubicBezTo>
                  <a:lnTo>
                    <a:pt x="57763" y="4927"/>
                  </a:lnTo>
                  <a:cubicBezTo>
                    <a:pt x="55618" y="6108"/>
                    <a:pt x="53965" y="7508"/>
                    <a:pt x="53367" y="8113"/>
                  </a:cubicBezTo>
                  <a:lnTo>
                    <a:pt x="50723" y="8113"/>
                  </a:lnTo>
                  <a:cubicBezTo>
                    <a:pt x="50582" y="8478"/>
                    <a:pt x="50449" y="8922"/>
                    <a:pt x="50294" y="9414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3" name="Freihandform: Form 248">
              <a:extLst>
                <a:ext uri="{FF2B5EF4-FFF2-40B4-BE49-F238E27FC236}">
                  <a16:creationId xmlns:a16="http://schemas.microsoft.com/office/drawing/2014/main" id="{7FBE4630-598C-984D-9C7D-BAEA8109ABDF}"/>
                </a:ext>
              </a:extLst>
            </p:cNvPr>
            <p:cNvSpPr/>
            <p:nvPr/>
          </p:nvSpPr>
          <p:spPr>
            <a:xfrm>
              <a:off x="5779591" y="3115605"/>
              <a:ext cx="168837" cy="115400"/>
            </a:xfrm>
            <a:custGeom>
              <a:avLst/>
              <a:gdLst>
                <a:gd name="connsiteX0" fmla="*/ 32000 w 168837"/>
                <a:gd name="connsiteY0" fmla="*/ 94312 h 115400"/>
                <a:gd name="connsiteX1" fmla="*/ 41600 w 168837"/>
                <a:gd name="connsiteY1" fmla="*/ 88229 h 115400"/>
                <a:gd name="connsiteX2" fmla="*/ 43253 w 168837"/>
                <a:gd name="connsiteY2" fmla="*/ 84712 h 115400"/>
                <a:gd name="connsiteX3" fmla="*/ 46074 w 168837"/>
                <a:gd name="connsiteY3" fmla="*/ 83081 h 115400"/>
                <a:gd name="connsiteX4" fmla="*/ 46074 w 168837"/>
                <a:gd name="connsiteY4" fmla="*/ 80000 h 115400"/>
                <a:gd name="connsiteX5" fmla="*/ 42339 w 168837"/>
                <a:gd name="connsiteY5" fmla="*/ 80739 h 115400"/>
                <a:gd name="connsiteX6" fmla="*/ 37943 w 168837"/>
                <a:gd name="connsiteY6" fmla="*/ 83081 h 115400"/>
                <a:gd name="connsiteX7" fmla="*/ 37943 w 168837"/>
                <a:gd name="connsiteY7" fmla="*/ 79325 h 115400"/>
                <a:gd name="connsiteX8" fmla="*/ 40194 w 168837"/>
                <a:gd name="connsiteY8" fmla="*/ 75787 h 115400"/>
                <a:gd name="connsiteX9" fmla="*/ 40194 w 168837"/>
                <a:gd name="connsiteY9" fmla="*/ 73818 h 115400"/>
                <a:gd name="connsiteX10" fmla="*/ 34427 w 168837"/>
                <a:gd name="connsiteY10" fmla="*/ 75787 h 115400"/>
                <a:gd name="connsiteX11" fmla="*/ 32282 w 168837"/>
                <a:gd name="connsiteY11" fmla="*/ 69507 h 115400"/>
                <a:gd name="connsiteX12" fmla="*/ 27450 w 168837"/>
                <a:gd name="connsiteY12" fmla="*/ 65392 h 115400"/>
                <a:gd name="connsiteX13" fmla="*/ 21528 w 168837"/>
                <a:gd name="connsiteY13" fmla="*/ 64633 h 115400"/>
                <a:gd name="connsiteX14" fmla="*/ 15501 w 168837"/>
                <a:gd name="connsiteY14" fmla="*/ 66687 h 115400"/>
                <a:gd name="connsiteX15" fmla="*/ 9642 w 168837"/>
                <a:gd name="connsiteY15" fmla="*/ 66687 h 115400"/>
                <a:gd name="connsiteX16" fmla="*/ 6618 w 168837"/>
                <a:gd name="connsiteY16" fmla="*/ 62706 h 115400"/>
                <a:gd name="connsiteX17" fmla="*/ 11450 w 168837"/>
                <a:gd name="connsiteY17" fmla="*/ 59829 h 115400"/>
                <a:gd name="connsiteX18" fmla="*/ 17175 w 168837"/>
                <a:gd name="connsiteY18" fmla="*/ 59829 h 115400"/>
                <a:gd name="connsiteX19" fmla="*/ 23272 w 168837"/>
                <a:gd name="connsiteY19" fmla="*/ 59829 h 115400"/>
                <a:gd name="connsiteX20" fmla="*/ 27450 w 168837"/>
                <a:gd name="connsiteY20" fmla="*/ 56643 h 115400"/>
                <a:gd name="connsiteX21" fmla="*/ 35840 w 168837"/>
                <a:gd name="connsiteY21" fmla="*/ 55694 h 115400"/>
                <a:gd name="connsiteX22" fmla="*/ 40651 w 168837"/>
                <a:gd name="connsiteY22" fmla="*/ 55694 h 115400"/>
                <a:gd name="connsiteX23" fmla="*/ 42339 w 168837"/>
                <a:gd name="connsiteY23" fmla="*/ 50764 h 115400"/>
                <a:gd name="connsiteX24" fmla="*/ 39019 w 168837"/>
                <a:gd name="connsiteY24" fmla="*/ 52290 h 115400"/>
                <a:gd name="connsiteX25" fmla="*/ 34427 w 168837"/>
                <a:gd name="connsiteY25" fmla="*/ 54519 h 115400"/>
                <a:gd name="connsiteX26" fmla="*/ 32000 w 168837"/>
                <a:gd name="connsiteY26" fmla="*/ 50764 h 115400"/>
                <a:gd name="connsiteX27" fmla="*/ 32000 w 168837"/>
                <a:gd name="connsiteY27" fmla="*/ 49132 h 115400"/>
                <a:gd name="connsiteX28" fmla="*/ 34427 w 168837"/>
                <a:gd name="connsiteY28" fmla="*/ 45651 h 115400"/>
                <a:gd name="connsiteX29" fmla="*/ 40651 w 168837"/>
                <a:gd name="connsiteY29" fmla="*/ 44223 h 115400"/>
                <a:gd name="connsiteX30" fmla="*/ 40651 w 168837"/>
                <a:gd name="connsiteY30" fmla="*/ 42057 h 115400"/>
                <a:gd name="connsiteX31" fmla="*/ 37050 w 168837"/>
                <a:gd name="connsiteY31" fmla="*/ 39314 h 115400"/>
                <a:gd name="connsiteX32" fmla="*/ 34427 w 168837"/>
                <a:gd name="connsiteY32" fmla="*/ 37985 h 115400"/>
                <a:gd name="connsiteX33" fmla="*/ 31107 w 168837"/>
                <a:gd name="connsiteY33" fmla="*/ 37985 h 115400"/>
                <a:gd name="connsiteX34" fmla="*/ 28723 w 168837"/>
                <a:gd name="connsiteY34" fmla="*/ 35375 h 115400"/>
                <a:gd name="connsiteX35" fmla="*/ 24250 w 168837"/>
                <a:gd name="connsiteY35" fmla="*/ 37190 h 115400"/>
                <a:gd name="connsiteX36" fmla="*/ 20614 w 168837"/>
                <a:gd name="connsiteY36" fmla="*/ 37985 h 115400"/>
                <a:gd name="connsiteX37" fmla="*/ 14453 w 168837"/>
                <a:gd name="connsiteY37" fmla="*/ 41185 h 115400"/>
                <a:gd name="connsiteX38" fmla="*/ 8728 w 168837"/>
                <a:gd name="connsiteY38" fmla="*/ 42795 h 115400"/>
                <a:gd name="connsiteX39" fmla="*/ 5563 w 168837"/>
                <a:gd name="connsiteY39" fmla="*/ 40249 h 115400"/>
                <a:gd name="connsiteX40" fmla="*/ 0 w 168837"/>
                <a:gd name="connsiteY40" fmla="*/ 39314 h 115400"/>
                <a:gd name="connsiteX41" fmla="*/ 1210 w 168837"/>
                <a:gd name="connsiteY41" fmla="*/ 37985 h 115400"/>
                <a:gd name="connsiteX42" fmla="*/ 3460 w 168837"/>
                <a:gd name="connsiteY42" fmla="*/ 36072 h 115400"/>
                <a:gd name="connsiteX43" fmla="*/ 2405 w 168837"/>
                <a:gd name="connsiteY43" fmla="*/ 35375 h 115400"/>
                <a:gd name="connsiteX44" fmla="*/ 3460 w 168837"/>
                <a:gd name="connsiteY44" fmla="*/ 33413 h 115400"/>
                <a:gd name="connsiteX45" fmla="*/ 6618 w 168837"/>
                <a:gd name="connsiteY45" fmla="*/ 37190 h 115400"/>
                <a:gd name="connsiteX46" fmla="*/ 9642 w 168837"/>
                <a:gd name="connsiteY46" fmla="*/ 37190 h 115400"/>
                <a:gd name="connsiteX47" fmla="*/ 8728 w 168837"/>
                <a:gd name="connsiteY47" fmla="*/ 35375 h 115400"/>
                <a:gd name="connsiteX48" fmla="*/ 6618 w 168837"/>
                <a:gd name="connsiteY48" fmla="*/ 32274 h 115400"/>
                <a:gd name="connsiteX49" fmla="*/ 7835 w 168837"/>
                <a:gd name="connsiteY49" fmla="*/ 28799 h 115400"/>
                <a:gd name="connsiteX50" fmla="*/ 13257 w 168837"/>
                <a:gd name="connsiteY50" fmla="*/ 32274 h 115400"/>
                <a:gd name="connsiteX51" fmla="*/ 16718 w 168837"/>
                <a:gd name="connsiteY51" fmla="*/ 35375 h 115400"/>
                <a:gd name="connsiteX52" fmla="*/ 18525 w 168837"/>
                <a:gd name="connsiteY52" fmla="*/ 32970 h 115400"/>
                <a:gd name="connsiteX53" fmla="*/ 19580 w 168837"/>
                <a:gd name="connsiteY53" fmla="*/ 28799 h 115400"/>
                <a:gd name="connsiteX54" fmla="*/ 15501 w 168837"/>
                <a:gd name="connsiteY54" fmla="*/ 28799 h 115400"/>
                <a:gd name="connsiteX55" fmla="*/ 11450 w 168837"/>
                <a:gd name="connsiteY55" fmla="*/ 28040 h 115400"/>
                <a:gd name="connsiteX56" fmla="*/ 10395 w 168837"/>
                <a:gd name="connsiteY56" fmla="*/ 24087 h 115400"/>
                <a:gd name="connsiteX57" fmla="*/ 13257 w 168837"/>
                <a:gd name="connsiteY57" fmla="*/ 24087 h 115400"/>
                <a:gd name="connsiteX58" fmla="*/ 19580 w 168837"/>
                <a:gd name="connsiteY58" fmla="*/ 27210 h 115400"/>
                <a:gd name="connsiteX59" fmla="*/ 20614 w 168837"/>
                <a:gd name="connsiteY59" fmla="*/ 25719 h 115400"/>
                <a:gd name="connsiteX60" fmla="*/ 18525 w 168837"/>
                <a:gd name="connsiteY60" fmla="*/ 25719 h 115400"/>
                <a:gd name="connsiteX61" fmla="*/ 16718 w 168837"/>
                <a:gd name="connsiteY61" fmla="*/ 25044 h 115400"/>
                <a:gd name="connsiteX62" fmla="*/ 11450 w 168837"/>
                <a:gd name="connsiteY62" fmla="*/ 21288 h 115400"/>
                <a:gd name="connsiteX63" fmla="*/ 11450 w 168837"/>
                <a:gd name="connsiteY63" fmla="*/ 18004 h 115400"/>
                <a:gd name="connsiteX64" fmla="*/ 15501 w 168837"/>
                <a:gd name="connsiteY64" fmla="*/ 19635 h 115400"/>
                <a:gd name="connsiteX65" fmla="*/ 18525 w 168837"/>
                <a:gd name="connsiteY65" fmla="*/ 20508 h 115400"/>
                <a:gd name="connsiteX66" fmla="*/ 14453 w 168837"/>
                <a:gd name="connsiteY66" fmla="*/ 18004 h 115400"/>
                <a:gd name="connsiteX67" fmla="*/ 17175 w 168837"/>
                <a:gd name="connsiteY67" fmla="*/ 12223 h 115400"/>
                <a:gd name="connsiteX68" fmla="*/ 26493 w 168837"/>
                <a:gd name="connsiteY68" fmla="*/ 24087 h 115400"/>
                <a:gd name="connsiteX69" fmla="*/ 26493 w 168837"/>
                <a:gd name="connsiteY69" fmla="*/ 19635 h 115400"/>
                <a:gd name="connsiteX70" fmla="*/ 27985 w 168837"/>
                <a:gd name="connsiteY70" fmla="*/ 19635 h 115400"/>
                <a:gd name="connsiteX71" fmla="*/ 31107 w 168837"/>
                <a:gd name="connsiteY71" fmla="*/ 24087 h 115400"/>
                <a:gd name="connsiteX72" fmla="*/ 32282 w 168837"/>
                <a:gd name="connsiteY72" fmla="*/ 27210 h 115400"/>
                <a:gd name="connsiteX73" fmla="*/ 32282 w 168837"/>
                <a:gd name="connsiteY73" fmla="*/ 21963 h 115400"/>
                <a:gd name="connsiteX74" fmla="*/ 31107 w 168837"/>
                <a:gd name="connsiteY74" fmla="*/ 18004 h 115400"/>
                <a:gd name="connsiteX75" fmla="*/ 26493 w 168837"/>
                <a:gd name="connsiteY75" fmla="*/ 16815 h 115400"/>
                <a:gd name="connsiteX76" fmla="*/ 23272 w 168837"/>
                <a:gd name="connsiteY76" fmla="*/ 12223 h 115400"/>
                <a:gd name="connsiteX77" fmla="*/ 27450 w 168837"/>
                <a:gd name="connsiteY77" fmla="*/ 11568 h 115400"/>
                <a:gd name="connsiteX78" fmla="*/ 31107 w 168837"/>
                <a:gd name="connsiteY78" fmla="*/ 10753 h 115400"/>
                <a:gd name="connsiteX79" fmla="*/ 27450 w 168837"/>
                <a:gd name="connsiteY79" fmla="*/ 7468 h 115400"/>
                <a:gd name="connsiteX80" fmla="*/ 20614 w 168837"/>
                <a:gd name="connsiteY80" fmla="*/ 8031 h 115400"/>
                <a:gd name="connsiteX81" fmla="*/ 23272 w 168837"/>
                <a:gd name="connsiteY81" fmla="*/ 3853 h 115400"/>
                <a:gd name="connsiteX82" fmla="*/ 30130 w 168837"/>
                <a:gd name="connsiteY82" fmla="*/ 3853 h 115400"/>
                <a:gd name="connsiteX83" fmla="*/ 34427 w 168837"/>
                <a:gd name="connsiteY83" fmla="*/ 9100 h 115400"/>
                <a:gd name="connsiteX84" fmla="*/ 40194 w 168837"/>
                <a:gd name="connsiteY84" fmla="*/ 13552 h 115400"/>
                <a:gd name="connsiteX85" fmla="*/ 42339 w 168837"/>
                <a:gd name="connsiteY85" fmla="*/ 16815 h 115400"/>
                <a:gd name="connsiteX86" fmla="*/ 45342 w 168837"/>
                <a:gd name="connsiteY86" fmla="*/ 19635 h 115400"/>
                <a:gd name="connsiteX87" fmla="*/ 49295 w 168837"/>
                <a:gd name="connsiteY87" fmla="*/ 23356 h 115400"/>
                <a:gd name="connsiteX88" fmla="*/ 48240 w 168837"/>
                <a:gd name="connsiteY88" fmla="*/ 29714 h 115400"/>
                <a:gd name="connsiteX89" fmla="*/ 45342 w 168837"/>
                <a:gd name="connsiteY89" fmla="*/ 31423 h 115400"/>
                <a:gd name="connsiteX90" fmla="*/ 43253 w 168837"/>
                <a:gd name="connsiteY90" fmla="*/ 29714 h 115400"/>
                <a:gd name="connsiteX91" fmla="*/ 43253 w 168837"/>
                <a:gd name="connsiteY91" fmla="*/ 33413 h 115400"/>
                <a:gd name="connsiteX92" fmla="*/ 47206 w 168837"/>
                <a:gd name="connsiteY92" fmla="*/ 35375 h 115400"/>
                <a:gd name="connsiteX93" fmla="*/ 49871 w 168837"/>
                <a:gd name="connsiteY93" fmla="*/ 37190 h 115400"/>
                <a:gd name="connsiteX94" fmla="*/ 48240 w 168837"/>
                <a:gd name="connsiteY94" fmla="*/ 39314 h 115400"/>
                <a:gd name="connsiteX95" fmla="*/ 50483 w 168837"/>
                <a:gd name="connsiteY95" fmla="*/ 41185 h 115400"/>
                <a:gd name="connsiteX96" fmla="*/ 50483 w 168837"/>
                <a:gd name="connsiteY96" fmla="*/ 47718 h 115400"/>
                <a:gd name="connsiteX97" fmla="*/ 52776 w 168837"/>
                <a:gd name="connsiteY97" fmla="*/ 47718 h 115400"/>
                <a:gd name="connsiteX98" fmla="*/ 55315 w 168837"/>
                <a:gd name="connsiteY98" fmla="*/ 44223 h 115400"/>
                <a:gd name="connsiteX99" fmla="*/ 54162 w 168837"/>
                <a:gd name="connsiteY99" fmla="*/ 40249 h 115400"/>
                <a:gd name="connsiteX100" fmla="*/ 55315 w 168837"/>
                <a:gd name="connsiteY100" fmla="*/ 35375 h 115400"/>
                <a:gd name="connsiteX101" fmla="*/ 59275 w 168837"/>
                <a:gd name="connsiteY101" fmla="*/ 32274 h 115400"/>
                <a:gd name="connsiteX102" fmla="*/ 61258 w 168837"/>
                <a:gd name="connsiteY102" fmla="*/ 36072 h 115400"/>
                <a:gd name="connsiteX103" fmla="*/ 64957 w 168837"/>
                <a:gd name="connsiteY103" fmla="*/ 33413 h 115400"/>
                <a:gd name="connsiteX104" fmla="*/ 64542 w 168837"/>
                <a:gd name="connsiteY104" fmla="*/ 25719 h 115400"/>
                <a:gd name="connsiteX105" fmla="*/ 61258 w 168837"/>
                <a:gd name="connsiteY105" fmla="*/ 19635 h 115400"/>
                <a:gd name="connsiteX106" fmla="*/ 66167 w 168837"/>
                <a:gd name="connsiteY106" fmla="*/ 16140 h 115400"/>
                <a:gd name="connsiteX107" fmla="*/ 69930 w 168837"/>
                <a:gd name="connsiteY107" fmla="*/ 21288 h 115400"/>
                <a:gd name="connsiteX108" fmla="*/ 72251 w 168837"/>
                <a:gd name="connsiteY108" fmla="*/ 24087 h 115400"/>
                <a:gd name="connsiteX109" fmla="*/ 74142 w 168837"/>
                <a:gd name="connsiteY109" fmla="*/ 29714 h 115400"/>
                <a:gd name="connsiteX110" fmla="*/ 79291 w 168837"/>
                <a:gd name="connsiteY110" fmla="*/ 30649 h 115400"/>
                <a:gd name="connsiteX111" fmla="*/ 79291 w 168837"/>
                <a:gd name="connsiteY111" fmla="*/ 25719 h 115400"/>
                <a:gd name="connsiteX112" fmla="*/ 76942 w 168837"/>
                <a:gd name="connsiteY112" fmla="*/ 19635 h 115400"/>
                <a:gd name="connsiteX113" fmla="*/ 79291 w 168837"/>
                <a:gd name="connsiteY113" fmla="*/ 18004 h 115400"/>
                <a:gd name="connsiteX114" fmla="*/ 83503 w 168837"/>
                <a:gd name="connsiteY114" fmla="*/ 16140 h 115400"/>
                <a:gd name="connsiteX115" fmla="*/ 88173 w 168837"/>
                <a:gd name="connsiteY115" fmla="*/ 13552 h 115400"/>
                <a:gd name="connsiteX116" fmla="*/ 91451 w 168837"/>
                <a:gd name="connsiteY116" fmla="*/ 18004 h 115400"/>
                <a:gd name="connsiteX117" fmla="*/ 92864 w 168837"/>
                <a:gd name="connsiteY117" fmla="*/ 24087 h 115400"/>
                <a:gd name="connsiteX118" fmla="*/ 97077 w 168837"/>
                <a:gd name="connsiteY118" fmla="*/ 29714 h 115400"/>
                <a:gd name="connsiteX119" fmla="*/ 100573 w 168837"/>
                <a:gd name="connsiteY119" fmla="*/ 32970 h 115400"/>
                <a:gd name="connsiteX120" fmla="*/ 98013 w 168837"/>
                <a:gd name="connsiteY120" fmla="*/ 24087 h 115400"/>
                <a:gd name="connsiteX121" fmla="*/ 95424 w 168837"/>
                <a:gd name="connsiteY121" fmla="*/ 18004 h 115400"/>
                <a:gd name="connsiteX122" fmla="*/ 99644 w 168837"/>
                <a:gd name="connsiteY122" fmla="*/ 13552 h 115400"/>
                <a:gd name="connsiteX123" fmla="*/ 104096 w 168837"/>
                <a:gd name="connsiteY123" fmla="*/ 19635 h 115400"/>
                <a:gd name="connsiteX124" fmla="*/ 110412 w 168837"/>
                <a:gd name="connsiteY124" fmla="*/ 16140 h 115400"/>
                <a:gd name="connsiteX125" fmla="*/ 117909 w 168837"/>
                <a:gd name="connsiteY125" fmla="*/ 16140 h 115400"/>
                <a:gd name="connsiteX126" fmla="*/ 123993 w 168837"/>
                <a:gd name="connsiteY126" fmla="*/ 13552 h 115400"/>
                <a:gd name="connsiteX127" fmla="*/ 123993 w 168837"/>
                <a:gd name="connsiteY127" fmla="*/ 7468 h 115400"/>
                <a:gd name="connsiteX128" fmla="*/ 122579 w 168837"/>
                <a:gd name="connsiteY128" fmla="*/ 456 h 115400"/>
                <a:gd name="connsiteX129" fmla="*/ 129141 w 168837"/>
                <a:gd name="connsiteY129" fmla="*/ 456 h 115400"/>
                <a:gd name="connsiteX130" fmla="*/ 132418 w 168837"/>
                <a:gd name="connsiteY130" fmla="*/ 4669 h 115400"/>
                <a:gd name="connsiteX131" fmla="*/ 134767 w 168837"/>
                <a:gd name="connsiteY131" fmla="*/ 10753 h 115400"/>
                <a:gd name="connsiteX132" fmla="*/ 139437 w 168837"/>
                <a:gd name="connsiteY132" fmla="*/ 13552 h 115400"/>
                <a:gd name="connsiteX133" fmla="*/ 143889 w 168837"/>
                <a:gd name="connsiteY133" fmla="*/ 9100 h 115400"/>
                <a:gd name="connsiteX134" fmla="*/ 149037 w 168837"/>
                <a:gd name="connsiteY134" fmla="*/ 7468 h 115400"/>
                <a:gd name="connsiteX135" fmla="*/ 145992 w 168837"/>
                <a:gd name="connsiteY135" fmla="*/ 9100 h 115400"/>
                <a:gd name="connsiteX136" fmla="*/ 145992 w 168837"/>
                <a:gd name="connsiteY136" fmla="*/ 13552 h 115400"/>
                <a:gd name="connsiteX137" fmla="*/ 143889 w 168837"/>
                <a:gd name="connsiteY137" fmla="*/ 18004 h 115400"/>
                <a:gd name="connsiteX138" fmla="*/ 151837 w 168837"/>
                <a:gd name="connsiteY138" fmla="*/ 19635 h 115400"/>
                <a:gd name="connsiteX139" fmla="*/ 151837 w 168837"/>
                <a:gd name="connsiteY139" fmla="*/ 25719 h 115400"/>
                <a:gd name="connsiteX140" fmla="*/ 149037 w 168837"/>
                <a:gd name="connsiteY140" fmla="*/ 30649 h 115400"/>
                <a:gd name="connsiteX141" fmla="*/ 158398 w 168837"/>
                <a:gd name="connsiteY141" fmla="*/ 32274 h 115400"/>
                <a:gd name="connsiteX142" fmla="*/ 162372 w 168837"/>
                <a:gd name="connsiteY142" fmla="*/ 37190 h 115400"/>
                <a:gd name="connsiteX143" fmla="*/ 167063 w 168837"/>
                <a:gd name="connsiteY143" fmla="*/ 44223 h 115400"/>
                <a:gd name="connsiteX144" fmla="*/ 163547 w 168837"/>
                <a:gd name="connsiteY144" fmla="*/ 47718 h 115400"/>
                <a:gd name="connsiteX145" fmla="*/ 167063 w 168837"/>
                <a:gd name="connsiteY145" fmla="*/ 49132 h 115400"/>
                <a:gd name="connsiteX146" fmla="*/ 164953 w 168837"/>
                <a:gd name="connsiteY146" fmla="*/ 50764 h 115400"/>
                <a:gd name="connsiteX147" fmla="*/ 168456 w 168837"/>
                <a:gd name="connsiteY147" fmla="*/ 54519 h 115400"/>
                <a:gd name="connsiteX148" fmla="*/ 167063 w 168837"/>
                <a:gd name="connsiteY148" fmla="*/ 57558 h 115400"/>
                <a:gd name="connsiteX149" fmla="*/ 163547 w 168837"/>
                <a:gd name="connsiteY149" fmla="*/ 55694 h 115400"/>
                <a:gd name="connsiteX150" fmla="*/ 158398 w 168837"/>
                <a:gd name="connsiteY150" fmla="*/ 57558 h 115400"/>
                <a:gd name="connsiteX151" fmla="*/ 163547 w 168837"/>
                <a:gd name="connsiteY151" fmla="*/ 62706 h 115400"/>
                <a:gd name="connsiteX152" fmla="*/ 163547 w 168837"/>
                <a:gd name="connsiteY152" fmla="*/ 66687 h 115400"/>
                <a:gd name="connsiteX153" fmla="*/ 160959 w 168837"/>
                <a:gd name="connsiteY153" fmla="*/ 66687 h 115400"/>
                <a:gd name="connsiteX154" fmla="*/ 158398 w 168837"/>
                <a:gd name="connsiteY154" fmla="*/ 69507 h 115400"/>
                <a:gd name="connsiteX155" fmla="*/ 153946 w 168837"/>
                <a:gd name="connsiteY155" fmla="*/ 66687 h 115400"/>
                <a:gd name="connsiteX156" fmla="*/ 155810 w 168837"/>
                <a:gd name="connsiteY156" fmla="*/ 69507 h 115400"/>
                <a:gd name="connsiteX157" fmla="*/ 153946 w 168837"/>
                <a:gd name="connsiteY157" fmla="*/ 74655 h 115400"/>
                <a:gd name="connsiteX158" fmla="*/ 153946 w 168837"/>
                <a:gd name="connsiteY158" fmla="*/ 79325 h 115400"/>
                <a:gd name="connsiteX159" fmla="*/ 149037 w 168837"/>
                <a:gd name="connsiteY159" fmla="*/ 80739 h 115400"/>
                <a:gd name="connsiteX160" fmla="*/ 145992 w 168837"/>
                <a:gd name="connsiteY160" fmla="*/ 84712 h 115400"/>
                <a:gd name="connsiteX161" fmla="*/ 142018 w 168837"/>
                <a:gd name="connsiteY161" fmla="*/ 83081 h 115400"/>
                <a:gd name="connsiteX162" fmla="*/ 134767 w 168837"/>
                <a:gd name="connsiteY162" fmla="*/ 88229 h 115400"/>
                <a:gd name="connsiteX163" fmla="*/ 123993 w 168837"/>
                <a:gd name="connsiteY163" fmla="*/ 98047 h 115400"/>
                <a:gd name="connsiteX164" fmla="*/ 114393 w 168837"/>
                <a:gd name="connsiteY164" fmla="*/ 101331 h 115400"/>
                <a:gd name="connsiteX165" fmla="*/ 106438 w 168837"/>
                <a:gd name="connsiteY165" fmla="*/ 102738 h 115400"/>
                <a:gd name="connsiteX166" fmla="*/ 99644 w 168837"/>
                <a:gd name="connsiteY166" fmla="*/ 111171 h 115400"/>
                <a:gd name="connsiteX167" fmla="*/ 86303 w 168837"/>
                <a:gd name="connsiteY167" fmla="*/ 115383 h 115400"/>
                <a:gd name="connsiteX168" fmla="*/ 75528 w 168837"/>
                <a:gd name="connsiteY168" fmla="*/ 111171 h 115400"/>
                <a:gd name="connsiteX169" fmla="*/ 69930 w 168837"/>
                <a:gd name="connsiteY169" fmla="*/ 109757 h 115400"/>
                <a:gd name="connsiteX170" fmla="*/ 64542 w 168837"/>
                <a:gd name="connsiteY170" fmla="*/ 108582 h 115400"/>
                <a:gd name="connsiteX171" fmla="*/ 58677 w 168837"/>
                <a:gd name="connsiteY171" fmla="*/ 102738 h 115400"/>
                <a:gd name="connsiteX172" fmla="*/ 50483 w 168837"/>
                <a:gd name="connsiteY172" fmla="*/ 98047 h 115400"/>
                <a:gd name="connsiteX173" fmla="*/ 44168 w 168837"/>
                <a:gd name="connsiteY173" fmla="*/ 99700 h 115400"/>
                <a:gd name="connsiteX174" fmla="*/ 39019 w 168837"/>
                <a:gd name="connsiteY174" fmla="*/ 99700 h 115400"/>
                <a:gd name="connsiteX175" fmla="*/ 28723 w 168837"/>
                <a:gd name="connsiteY175" fmla="*/ 99700 h 115400"/>
                <a:gd name="connsiteX176" fmla="*/ 27309 w 168837"/>
                <a:gd name="connsiteY176" fmla="*/ 91492 h 115400"/>
                <a:gd name="connsiteX177" fmla="*/ 32000 w 168837"/>
                <a:gd name="connsiteY177" fmla="*/ 94312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</a:cxnLst>
              <a:rect l="l" t="t" r="r" b="b"/>
              <a:pathLst>
                <a:path w="168837" h="115400">
                  <a:moveTo>
                    <a:pt x="32000" y="94312"/>
                  </a:moveTo>
                  <a:cubicBezTo>
                    <a:pt x="33133" y="95810"/>
                    <a:pt x="38872" y="90880"/>
                    <a:pt x="41600" y="88229"/>
                  </a:cubicBezTo>
                  <a:lnTo>
                    <a:pt x="43253" y="84712"/>
                  </a:lnTo>
                  <a:cubicBezTo>
                    <a:pt x="43950" y="84171"/>
                    <a:pt x="45483" y="83081"/>
                    <a:pt x="46074" y="83081"/>
                  </a:cubicBezTo>
                  <a:cubicBezTo>
                    <a:pt x="46812" y="83081"/>
                    <a:pt x="47206" y="80739"/>
                    <a:pt x="46074" y="80000"/>
                  </a:cubicBezTo>
                  <a:cubicBezTo>
                    <a:pt x="44941" y="79269"/>
                    <a:pt x="43253" y="79325"/>
                    <a:pt x="42339" y="80739"/>
                  </a:cubicBezTo>
                  <a:cubicBezTo>
                    <a:pt x="41425" y="82145"/>
                    <a:pt x="39019" y="83081"/>
                    <a:pt x="37943" y="83081"/>
                  </a:cubicBezTo>
                  <a:cubicBezTo>
                    <a:pt x="37085" y="83081"/>
                    <a:pt x="37585" y="80577"/>
                    <a:pt x="37943" y="79325"/>
                  </a:cubicBezTo>
                  <a:cubicBezTo>
                    <a:pt x="38302" y="78446"/>
                    <a:pt x="39252" y="76505"/>
                    <a:pt x="40194" y="75787"/>
                  </a:cubicBezTo>
                  <a:cubicBezTo>
                    <a:pt x="41361" y="74894"/>
                    <a:pt x="40651" y="74655"/>
                    <a:pt x="40194" y="73818"/>
                  </a:cubicBezTo>
                  <a:cubicBezTo>
                    <a:pt x="39737" y="72981"/>
                    <a:pt x="37050" y="74655"/>
                    <a:pt x="34427" y="75787"/>
                  </a:cubicBezTo>
                  <a:cubicBezTo>
                    <a:pt x="33013" y="75492"/>
                    <a:pt x="32282" y="71870"/>
                    <a:pt x="32282" y="69507"/>
                  </a:cubicBezTo>
                  <a:cubicBezTo>
                    <a:pt x="32282" y="67144"/>
                    <a:pt x="32282" y="66687"/>
                    <a:pt x="27450" y="65392"/>
                  </a:cubicBezTo>
                  <a:cubicBezTo>
                    <a:pt x="23793" y="65392"/>
                    <a:pt x="24250" y="65392"/>
                    <a:pt x="21528" y="64633"/>
                  </a:cubicBezTo>
                  <a:cubicBezTo>
                    <a:pt x="18806" y="63880"/>
                    <a:pt x="18525" y="64795"/>
                    <a:pt x="15501" y="66687"/>
                  </a:cubicBezTo>
                  <a:cubicBezTo>
                    <a:pt x="12484" y="68571"/>
                    <a:pt x="11450" y="67495"/>
                    <a:pt x="9642" y="66687"/>
                  </a:cubicBezTo>
                  <a:cubicBezTo>
                    <a:pt x="7835" y="65871"/>
                    <a:pt x="7835" y="64478"/>
                    <a:pt x="6618" y="62706"/>
                  </a:cubicBezTo>
                  <a:cubicBezTo>
                    <a:pt x="5408" y="60941"/>
                    <a:pt x="9642" y="61018"/>
                    <a:pt x="11450" y="59829"/>
                  </a:cubicBezTo>
                  <a:cubicBezTo>
                    <a:pt x="13257" y="58634"/>
                    <a:pt x="15501" y="59829"/>
                    <a:pt x="17175" y="59829"/>
                  </a:cubicBezTo>
                  <a:lnTo>
                    <a:pt x="23272" y="59829"/>
                  </a:lnTo>
                  <a:cubicBezTo>
                    <a:pt x="25938" y="59829"/>
                    <a:pt x="26493" y="57558"/>
                    <a:pt x="27450" y="56643"/>
                  </a:cubicBezTo>
                  <a:cubicBezTo>
                    <a:pt x="28210" y="55912"/>
                    <a:pt x="33358" y="55708"/>
                    <a:pt x="35840" y="55694"/>
                  </a:cubicBezTo>
                  <a:lnTo>
                    <a:pt x="40651" y="55694"/>
                  </a:lnTo>
                  <a:cubicBezTo>
                    <a:pt x="41108" y="55694"/>
                    <a:pt x="42339" y="52290"/>
                    <a:pt x="42339" y="50764"/>
                  </a:cubicBezTo>
                  <a:cubicBezTo>
                    <a:pt x="42339" y="49231"/>
                    <a:pt x="40651" y="50764"/>
                    <a:pt x="39019" y="52290"/>
                  </a:cubicBezTo>
                  <a:cubicBezTo>
                    <a:pt x="37388" y="53823"/>
                    <a:pt x="37050" y="54519"/>
                    <a:pt x="34427" y="54519"/>
                  </a:cubicBezTo>
                  <a:cubicBezTo>
                    <a:pt x="31803" y="54519"/>
                    <a:pt x="32000" y="51833"/>
                    <a:pt x="32000" y="50764"/>
                  </a:cubicBezTo>
                  <a:lnTo>
                    <a:pt x="32000" y="49132"/>
                  </a:lnTo>
                  <a:cubicBezTo>
                    <a:pt x="32809" y="48225"/>
                    <a:pt x="34427" y="46256"/>
                    <a:pt x="34427" y="45651"/>
                  </a:cubicBezTo>
                  <a:cubicBezTo>
                    <a:pt x="34427" y="44898"/>
                    <a:pt x="39019" y="44223"/>
                    <a:pt x="40651" y="44223"/>
                  </a:cubicBezTo>
                  <a:cubicBezTo>
                    <a:pt x="42276" y="44223"/>
                    <a:pt x="41600" y="42795"/>
                    <a:pt x="40651" y="42057"/>
                  </a:cubicBezTo>
                  <a:cubicBezTo>
                    <a:pt x="39695" y="41318"/>
                    <a:pt x="37648" y="40249"/>
                    <a:pt x="37050" y="39314"/>
                  </a:cubicBezTo>
                  <a:cubicBezTo>
                    <a:pt x="36452" y="38379"/>
                    <a:pt x="35679" y="37985"/>
                    <a:pt x="34427" y="37985"/>
                  </a:cubicBezTo>
                  <a:lnTo>
                    <a:pt x="31107" y="37985"/>
                  </a:lnTo>
                  <a:cubicBezTo>
                    <a:pt x="28941" y="37985"/>
                    <a:pt x="30130" y="37190"/>
                    <a:pt x="28723" y="35375"/>
                  </a:cubicBezTo>
                  <a:cubicBezTo>
                    <a:pt x="27309" y="33568"/>
                    <a:pt x="27309" y="35375"/>
                    <a:pt x="24250" y="37190"/>
                  </a:cubicBezTo>
                  <a:cubicBezTo>
                    <a:pt x="21802" y="38632"/>
                    <a:pt x="20804" y="38322"/>
                    <a:pt x="20614" y="37985"/>
                  </a:cubicBezTo>
                  <a:cubicBezTo>
                    <a:pt x="18912" y="38737"/>
                    <a:pt x="15290" y="40432"/>
                    <a:pt x="14453" y="41185"/>
                  </a:cubicBezTo>
                  <a:cubicBezTo>
                    <a:pt x="13609" y="41930"/>
                    <a:pt x="10282" y="42563"/>
                    <a:pt x="8728" y="42795"/>
                  </a:cubicBezTo>
                  <a:lnTo>
                    <a:pt x="5563" y="40249"/>
                  </a:lnTo>
                  <a:lnTo>
                    <a:pt x="0" y="39314"/>
                  </a:lnTo>
                  <a:lnTo>
                    <a:pt x="1210" y="37985"/>
                  </a:lnTo>
                  <a:lnTo>
                    <a:pt x="3460" y="36072"/>
                  </a:lnTo>
                  <a:lnTo>
                    <a:pt x="2405" y="35375"/>
                  </a:lnTo>
                  <a:lnTo>
                    <a:pt x="3460" y="33413"/>
                  </a:lnTo>
                  <a:cubicBezTo>
                    <a:pt x="3861" y="34067"/>
                    <a:pt x="5064" y="35741"/>
                    <a:pt x="6618" y="37190"/>
                  </a:cubicBezTo>
                  <a:cubicBezTo>
                    <a:pt x="8566" y="38997"/>
                    <a:pt x="8728" y="37190"/>
                    <a:pt x="9642" y="37190"/>
                  </a:cubicBezTo>
                  <a:cubicBezTo>
                    <a:pt x="10374" y="37190"/>
                    <a:pt x="9333" y="35980"/>
                    <a:pt x="8728" y="35375"/>
                  </a:cubicBezTo>
                  <a:cubicBezTo>
                    <a:pt x="8426" y="34574"/>
                    <a:pt x="7589" y="32837"/>
                    <a:pt x="6618" y="32274"/>
                  </a:cubicBezTo>
                  <a:cubicBezTo>
                    <a:pt x="5408" y="31585"/>
                    <a:pt x="5563" y="29714"/>
                    <a:pt x="7835" y="28799"/>
                  </a:cubicBezTo>
                  <a:cubicBezTo>
                    <a:pt x="8587" y="28799"/>
                    <a:pt x="11450" y="31423"/>
                    <a:pt x="13257" y="32274"/>
                  </a:cubicBezTo>
                  <a:cubicBezTo>
                    <a:pt x="15065" y="33132"/>
                    <a:pt x="14453" y="34363"/>
                    <a:pt x="16718" y="35375"/>
                  </a:cubicBezTo>
                  <a:cubicBezTo>
                    <a:pt x="18532" y="36191"/>
                    <a:pt x="18680" y="34109"/>
                    <a:pt x="18525" y="32970"/>
                  </a:cubicBezTo>
                  <a:cubicBezTo>
                    <a:pt x="18075" y="32457"/>
                    <a:pt x="17653" y="30895"/>
                    <a:pt x="19580" y="28799"/>
                  </a:cubicBezTo>
                  <a:cubicBezTo>
                    <a:pt x="19580" y="27885"/>
                    <a:pt x="17175" y="28799"/>
                    <a:pt x="15501" y="28799"/>
                  </a:cubicBezTo>
                  <a:cubicBezTo>
                    <a:pt x="13834" y="28799"/>
                    <a:pt x="13257" y="28497"/>
                    <a:pt x="11450" y="28040"/>
                  </a:cubicBezTo>
                  <a:cubicBezTo>
                    <a:pt x="9642" y="27583"/>
                    <a:pt x="10078" y="25719"/>
                    <a:pt x="10395" y="24087"/>
                  </a:cubicBezTo>
                  <a:cubicBezTo>
                    <a:pt x="10711" y="22456"/>
                    <a:pt x="11450" y="23356"/>
                    <a:pt x="13257" y="24087"/>
                  </a:cubicBezTo>
                  <a:cubicBezTo>
                    <a:pt x="14706" y="24678"/>
                    <a:pt x="18075" y="26415"/>
                    <a:pt x="19580" y="27210"/>
                  </a:cubicBezTo>
                  <a:lnTo>
                    <a:pt x="20614" y="25719"/>
                  </a:lnTo>
                  <a:lnTo>
                    <a:pt x="18525" y="25719"/>
                  </a:lnTo>
                  <a:lnTo>
                    <a:pt x="16718" y="25044"/>
                  </a:lnTo>
                  <a:cubicBezTo>
                    <a:pt x="15958" y="24017"/>
                    <a:pt x="13848" y="21823"/>
                    <a:pt x="11450" y="21288"/>
                  </a:cubicBezTo>
                  <a:cubicBezTo>
                    <a:pt x="8447" y="20613"/>
                    <a:pt x="10993" y="19635"/>
                    <a:pt x="11450" y="18004"/>
                  </a:cubicBezTo>
                  <a:cubicBezTo>
                    <a:pt x="11907" y="16379"/>
                    <a:pt x="14453" y="19635"/>
                    <a:pt x="15501" y="19635"/>
                  </a:cubicBezTo>
                  <a:cubicBezTo>
                    <a:pt x="16345" y="19635"/>
                    <a:pt x="17871" y="20219"/>
                    <a:pt x="18525" y="20508"/>
                  </a:cubicBezTo>
                  <a:cubicBezTo>
                    <a:pt x="18075" y="20219"/>
                    <a:pt x="16626" y="19312"/>
                    <a:pt x="14453" y="18004"/>
                  </a:cubicBezTo>
                  <a:cubicBezTo>
                    <a:pt x="11724" y="16379"/>
                    <a:pt x="15367" y="12223"/>
                    <a:pt x="17175" y="12223"/>
                  </a:cubicBezTo>
                  <a:cubicBezTo>
                    <a:pt x="18982" y="12223"/>
                    <a:pt x="25741" y="21963"/>
                    <a:pt x="26493" y="24087"/>
                  </a:cubicBezTo>
                  <a:cubicBezTo>
                    <a:pt x="27253" y="26211"/>
                    <a:pt x="26493" y="21963"/>
                    <a:pt x="26493" y="19635"/>
                  </a:cubicBezTo>
                  <a:cubicBezTo>
                    <a:pt x="26493" y="17307"/>
                    <a:pt x="26493" y="19059"/>
                    <a:pt x="27985" y="19635"/>
                  </a:cubicBezTo>
                  <a:cubicBezTo>
                    <a:pt x="29475" y="20212"/>
                    <a:pt x="30130" y="21963"/>
                    <a:pt x="31107" y="24087"/>
                  </a:cubicBezTo>
                  <a:cubicBezTo>
                    <a:pt x="32078" y="26211"/>
                    <a:pt x="31107" y="26774"/>
                    <a:pt x="32282" y="27210"/>
                  </a:cubicBezTo>
                  <a:cubicBezTo>
                    <a:pt x="33449" y="27646"/>
                    <a:pt x="32380" y="22814"/>
                    <a:pt x="32282" y="21963"/>
                  </a:cubicBezTo>
                  <a:cubicBezTo>
                    <a:pt x="32183" y="21105"/>
                    <a:pt x="31621" y="19375"/>
                    <a:pt x="31107" y="18004"/>
                  </a:cubicBezTo>
                  <a:cubicBezTo>
                    <a:pt x="30587" y="16632"/>
                    <a:pt x="28843" y="16815"/>
                    <a:pt x="26493" y="16815"/>
                  </a:cubicBezTo>
                  <a:cubicBezTo>
                    <a:pt x="24152" y="16815"/>
                    <a:pt x="23272" y="13552"/>
                    <a:pt x="23272" y="12223"/>
                  </a:cubicBezTo>
                  <a:cubicBezTo>
                    <a:pt x="23272" y="10893"/>
                    <a:pt x="25424" y="11350"/>
                    <a:pt x="27450" y="11568"/>
                  </a:cubicBezTo>
                  <a:cubicBezTo>
                    <a:pt x="29475" y="11787"/>
                    <a:pt x="30988" y="11463"/>
                    <a:pt x="31107" y="10753"/>
                  </a:cubicBezTo>
                  <a:cubicBezTo>
                    <a:pt x="31227" y="10035"/>
                    <a:pt x="28962" y="8031"/>
                    <a:pt x="27450" y="7468"/>
                  </a:cubicBezTo>
                  <a:cubicBezTo>
                    <a:pt x="25938" y="6913"/>
                    <a:pt x="22738" y="9100"/>
                    <a:pt x="20614" y="8031"/>
                  </a:cubicBezTo>
                  <a:cubicBezTo>
                    <a:pt x="18483" y="6955"/>
                    <a:pt x="22541" y="4669"/>
                    <a:pt x="23272" y="3853"/>
                  </a:cubicBezTo>
                  <a:cubicBezTo>
                    <a:pt x="24011" y="3037"/>
                    <a:pt x="27253" y="3755"/>
                    <a:pt x="30130" y="3853"/>
                  </a:cubicBezTo>
                  <a:cubicBezTo>
                    <a:pt x="33013" y="3952"/>
                    <a:pt x="33892" y="7468"/>
                    <a:pt x="34427" y="9100"/>
                  </a:cubicBezTo>
                  <a:cubicBezTo>
                    <a:pt x="34961" y="10732"/>
                    <a:pt x="38597" y="12321"/>
                    <a:pt x="40194" y="13552"/>
                  </a:cubicBezTo>
                  <a:cubicBezTo>
                    <a:pt x="41783" y="14783"/>
                    <a:pt x="42023" y="15106"/>
                    <a:pt x="42339" y="16815"/>
                  </a:cubicBezTo>
                  <a:cubicBezTo>
                    <a:pt x="42655" y="18524"/>
                    <a:pt x="43253" y="18742"/>
                    <a:pt x="45342" y="19635"/>
                  </a:cubicBezTo>
                  <a:cubicBezTo>
                    <a:pt x="47424" y="20529"/>
                    <a:pt x="49196" y="22498"/>
                    <a:pt x="49295" y="23356"/>
                  </a:cubicBezTo>
                  <a:cubicBezTo>
                    <a:pt x="49393" y="24207"/>
                    <a:pt x="48240" y="27843"/>
                    <a:pt x="48240" y="29714"/>
                  </a:cubicBezTo>
                  <a:cubicBezTo>
                    <a:pt x="48240" y="31585"/>
                    <a:pt x="47206" y="31423"/>
                    <a:pt x="45342" y="31423"/>
                  </a:cubicBezTo>
                  <a:cubicBezTo>
                    <a:pt x="43844" y="31423"/>
                    <a:pt x="43324" y="30284"/>
                    <a:pt x="43253" y="29714"/>
                  </a:cubicBezTo>
                  <a:cubicBezTo>
                    <a:pt x="43211" y="30565"/>
                    <a:pt x="43155" y="32506"/>
                    <a:pt x="43253" y="33413"/>
                  </a:cubicBezTo>
                  <a:cubicBezTo>
                    <a:pt x="43373" y="34545"/>
                    <a:pt x="46151" y="34679"/>
                    <a:pt x="47206" y="35375"/>
                  </a:cubicBezTo>
                  <a:cubicBezTo>
                    <a:pt x="48050" y="35931"/>
                    <a:pt x="49337" y="36817"/>
                    <a:pt x="49871" y="37190"/>
                  </a:cubicBezTo>
                  <a:cubicBezTo>
                    <a:pt x="49562" y="37781"/>
                    <a:pt x="48795" y="39047"/>
                    <a:pt x="48240" y="39314"/>
                  </a:cubicBezTo>
                  <a:cubicBezTo>
                    <a:pt x="47544" y="39651"/>
                    <a:pt x="48718" y="40946"/>
                    <a:pt x="50483" y="41185"/>
                  </a:cubicBezTo>
                  <a:cubicBezTo>
                    <a:pt x="52256" y="41424"/>
                    <a:pt x="50483" y="46410"/>
                    <a:pt x="50483" y="47718"/>
                  </a:cubicBezTo>
                  <a:cubicBezTo>
                    <a:pt x="50483" y="49034"/>
                    <a:pt x="51841" y="47718"/>
                    <a:pt x="52776" y="47718"/>
                  </a:cubicBezTo>
                  <a:cubicBezTo>
                    <a:pt x="53704" y="47718"/>
                    <a:pt x="54162" y="45594"/>
                    <a:pt x="55315" y="44223"/>
                  </a:cubicBezTo>
                  <a:cubicBezTo>
                    <a:pt x="56468" y="42852"/>
                    <a:pt x="55315" y="42113"/>
                    <a:pt x="54162" y="40249"/>
                  </a:cubicBezTo>
                  <a:cubicBezTo>
                    <a:pt x="53008" y="38379"/>
                    <a:pt x="54858" y="37190"/>
                    <a:pt x="55315" y="35375"/>
                  </a:cubicBezTo>
                  <a:cubicBezTo>
                    <a:pt x="55681" y="33934"/>
                    <a:pt x="58107" y="32710"/>
                    <a:pt x="59275" y="32274"/>
                  </a:cubicBezTo>
                  <a:cubicBezTo>
                    <a:pt x="59507" y="33230"/>
                    <a:pt x="60224" y="35326"/>
                    <a:pt x="61258" y="36072"/>
                  </a:cubicBezTo>
                  <a:cubicBezTo>
                    <a:pt x="62552" y="37007"/>
                    <a:pt x="64542" y="34222"/>
                    <a:pt x="64957" y="33413"/>
                  </a:cubicBezTo>
                  <a:cubicBezTo>
                    <a:pt x="65372" y="32597"/>
                    <a:pt x="64542" y="28300"/>
                    <a:pt x="64542" y="25719"/>
                  </a:cubicBezTo>
                  <a:cubicBezTo>
                    <a:pt x="64542" y="23131"/>
                    <a:pt x="62672" y="21288"/>
                    <a:pt x="61258" y="19635"/>
                  </a:cubicBezTo>
                  <a:cubicBezTo>
                    <a:pt x="59851" y="17983"/>
                    <a:pt x="64542" y="16140"/>
                    <a:pt x="66167" y="16140"/>
                  </a:cubicBezTo>
                  <a:cubicBezTo>
                    <a:pt x="67799" y="16140"/>
                    <a:pt x="69930" y="19635"/>
                    <a:pt x="69930" y="21288"/>
                  </a:cubicBezTo>
                  <a:cubicBezTo>
                    <a:pt x="69930" y="22934"/>
                    <a:pt x="69930" y="24087"/>
                    <a:pt x="72251" y="24087"/>
                  </a:cubicBezTo>
                  <a:cubicBezTo>
                    <a:pt x="74579" y="24087"/>
                    <a:pt x="74142" y="27365"/>
                    <a:pt x="74142" y="29714"/>
                  </a:cubicBezTo>
                  <a:cubicBezTo>
                    <a:pt x="74142" y="32056"/>
                    <a:pt x="75528" y="30649"/>
                    <a:pt x="79291" y="30649"/>
                  </a:cubicBezTo>
                  <a:cubicBezTo>
                    <a:pt x="82294" y="30649"/>
                    <a:pt x="80543" y="27358"/>
                    <a:pt x="79291" y="25719"/>
                  </a:cubicBezTo>
                  <a:cubicBezTo>
                    <a:pt x="78587" y="24474"/>
                    <a:pt x="77131" y="21513"/>
                    <a:pt x="76942" y="19635"/>
                  </a:cubicBezTo>
                  <a:cubicBezTo>
                    <a:pt x="76703" y="17293"/>
                    <a:pt x="77638" y="18004"/>
                    <a:pt x="79291" y="18004"/>
                  </a:cubicBezTo>
                  <a:cubicBezTo>
                    <a:pt x="80936" y="18004"/>
                    <a:pt x="83503" y="18004"/>
                    <a:pt x="83503" y="16140"/>
                  </a:cubicBezTo>
                  <a:cubicBezTo>
                    <a:pt x="83503" y="14269"/>
                    <a:pt x="86303" y="13552"/>
                    <a:pt x="88173" y="13552"/>
                  </a:cubicBezTo>
                  <a:cubicBezTo>
                    <a:pt x="90044" y="13552"/>
                    <a:pt x="90755" y="16140"/>
                    <a:pt x="91451" y="18004"/>
                  </a:cubicBezTo>
                  <a:cubicBezTo>
                    <a:pt x="92147" y="19875"/>
                    <a:pt x="91690" y="22217"/>
                    <a:pt x="92864" y="24087"/>
                  </a:cubicBezTo>
                  <a:cubicBezTo>
                    <a:pt x="94039" y="25958"/>
                    <a:pt x="96599" y="27126"/>
                    <a:pt x="97077" y="29714"/>
                  </a:cubicBezTo>
                  <a:cubicBezTo>
                    <a:pt x="97457" y="31782"/>
                    <a:pt x="99567" y="32745"/>
                    <a:pt x="100573" y="32970"/>
                  </a:cubicBezTo>
                  <a:cubicBezTo>
                    <a:pt x="100263" y="30558"/>
                    <a:pt x="99314" y="25388"/>
                    <a:pt x="98013" y="24087"/>
                  </a:cubicBezTo>
                  <a:cubicBezTo>
                    <a:pt x="96381" y="22456"/>
                    <a:pt x="95903" y="19635"/>
                    <a:pt x="95424" y="18004"/>
                  </a:cubicBezTo>
                  <a:cubicBezTo>
                    <a:pt x="94953" y="16379"/>
                    <a:pt x="97077" y="13552"/>
                    <a:pt x="99644" y="13552"/>
                  </a:cubicBezTo>
                  <a:cubicBezTo>
                    <a:pt x="102204" y="13552"/>
                    <a:pt x="101986" y="16140"/>
                    <a:pt x="104096" y="19635"/>
                  </a:cubicBezTo>
                  <a:cubicBezTo>
                    <a:pt x="106199" y="23131"/>
                    <a:pt x="108070" y="21506"/>
                    <a:pt x="110412" y="16140"/>
                  </a:cubicBezTo>
                  <a:cubicBezTo>
                    <a:pt x="112761" y="10774"/>
                    <a:pt x="115560" y="15205"/>
                    <a:pt x="117909" y="16140"/>
                  </a:cubicBezTo>
                  <a:cubicBezTo>
                    <a:pt x="120251" y="17068"/>
                    <a:pt x="122579" y="14726"/>
                    <a:pt x="123993" y="13552"/>
                  </a:cubicBezTo>
                  <a:cubicBezTo>
                    <a:pt x="125399" y="12377"/>
                    <a:pt x="126096" y="9100"/>
                    <a:pt x="123993" y="7468"/>
                  </a:cubicBezTo>
                  <a:cubicBezTo>
                    <a:pt x="121883" y="5844"/>
                    <a:pt x="122122" y="1849"/>
                    <a:pt x="122579" y="456"/>
                  </a:cubicBezTo>
                  <a:cubicBezTo>
                    <a:pt x="123036" y="-936"/>
                    <a:pt x="127031" y="1392"/>
                    <a:pt x="129141" y="456"/>
                  </a:cubicBezTo>
                  <a:cubicBezTo>
                    <a:pt x="130822" y="-296"/>
                    <a:pt x="132024" y="2953"/>
                    <a:pt x="132418" y="4669"/>
                  </a:cubicBezTo>
                  <a:cubicBezTo>
                    <a:pt x="133586" y="5604"/>
                    <a:pt x="135696" y="8129"/>
                    <a:pt x="134767" y="10753"/>
                  </a:cubicBezTo>
                  <a:cubicBezTo>
                    <a:pt x="133832" y="13376"/>
                    <a:pt x="137489" y="13714"/>
                    <a:pt x="139437" y="13552"/>
                  </a:cubicBezTo>
                  <a:cubicBezTo>
                    <a:pt x="140295" y="13552"/>
                    <a:pt x="142391" y="12666"/>
                    <a:pt x="143889" y="9100"/>
                  </a:cubicBezTo>
                  <a:cubicBezTo>
                    <a:pt x="145380" y="5541"/>
                    <a:pt x="147940" y="6533"/>
                    <a:pt x="149037" y="7468"/>
                  </a:cubicBezTo>
                  <a:lnTo>
                    <a:pt x="145992" y="9100"/>
                  </a:lnTo>
                  <a:lnTo>
                    <a:pt x="145992" y="13552"/>
                  </a:lnTo>
                  <a:cubicBezTo>
                    <a:pt x="145992" y="15423"/>
                    <a:pt x="144586" y="15662"/>
                    <a:pt x="143889" y="18004"/>
                  </a:cubicBezTo>
                  <a:cubicBezTo>
                    <a:pt x="143193" y="20353"/>
                    <a:pt x="149037" y="19178"/>
                    <a:pt x="151837" y="19635"/>
                  </a:cubicBezTo>
                  <a:cubicBezTo>
                    <a:pt x="154643" y="20093"/>
                    <a:pt x="152533" y="23609"/>
                    <a:pt x="151837" y="25719"/>
                  </a:cubicBezTo>
                  <a:cubicBezTo>
                    <a:pt x="151140" y="27822"/>
                    <a:pt x="149037" y="29714"/>
                    <a:pt x="149037" y="30649"/>
                  </a:cubicBezTo>
                  <a:cubicBezTo>
                    <a:pt x="149037" y="31585"/>
                    <a:pt x="153946" y="30410"/>
                    <a:pt x="158398" y="32274"/>
                  </a:cubicBezTo>
                  <a:cubicBezTo>
                    <a:pt x="160980" y="34841"/>
                    <a:pt x="160959" y="35797"/>
                    <a:pt x="162372" y="37190"/>
                  </a:cubicBezTo>
                  <a:cubicBezTo>
                    <a:pt x="163786" y="38575"/>
                    <a:pt x="167063" y="41881"/>
                    <a:pt x="167063" y="44223"/>
                  </a:cubicBezTo>
                  <a:cubicBezTo>
                    <a:pt x="167063" y="46101"/>
                    <a:pt x="164721" y="47339"/>
                    <a:pt x="163547" y="47718"/>
                  </a:cubicBezTo>
                  <a:cubicBezTo>
                    <a:pt x="164721" y="47571"/>
                    <a:pt x="167063" y="47641"/>
                    <a:pt x="167063" y="49132"/>
                  </a:cubicBezTo>
                  <a:cubicBezTo>
                    <a:pt x="167063" y="50630"/>
                    <a:pt x="165657" y="50841"/>
                    <a:pt x="164953" y="50764"/>
                  </a:cubicBezTo>
                  <a:cubicBezTo>
                    <a:pt x="165657" y="51544"/>
                    <a:pt x="167344" y="53387"/>
                    <a:pt x="168456" y="54519"/>
                  </a:cubicBezTo>
                  <a:cubicBezTo>
                    <a:pt x="169567" y="55645"/>
                    <a:pt x="167992" y="57016"/>
                    <a:pt x="167063" y="57558"/>
                  </a:cubicBezTo>
                  <a:cubicBezTo>
                    <a:pt x="165889" y="57558"/>
                    <a:pt x="163547" y="57185"/>
                    <a:pt x="163547" y="55694"/>
                  </a:cubicBezTo>
                  <a:cubicBezTo>
                    <a:pt x="163547" y="54196"/>
                    <a:pt x="160114" y="56313"/>
                    <a:pt x="158398" y="57558"/>
                  </a:cubicBezTo>
                  <a:cubicBezTo>
                    <a:pt x="160114" y="58577"/>
                    <a:pt x="163547" y="61025"/>
                    <a:pt x="163547" y="62706"/>
                  </a:cubicBezTo>
                  <a:lnTo>
                    <a:pt x="163547" y="66687"/>
                  </a:lnTo>
                  <a:cubicBezTo>
                    <a:pt x="162682" y="66138"/>
                    <a:pt x="160959" y="65378"/>
                    <a:pt x="160959" y="66687"/>
                  </a:cubicBezTo>
                  <a:cubicBezTo>
                    <a:pt x="160959" y="67988"/>
                    <a:pt x="159249" y="69106"/>
                    <a:pt x="158398" y="69507"/>
                  </a:cubicBezTo>
                  <a:lnTo>
                    <a:pt x="153946" y="66687"/>
                  </a:lnTo>
                  <a:lnTo>
                    <a:pt x="155810" y="69507"/>
                  </a:lnTo>
                  <a:cubicBezTo>
                    <a:pt x="155191" y="70590"/>
                    <a:pt x="153946" y="73143"/>
                    <a:pt x="153946" y="74655"/>
                  </a:cubicBezTo>
                  <a:lnTo>
                    <a:pt x="153946" y="79325"/>
                  </a:lnTo>
                  <a:cubicBezTo>
                    <a:pt x="153088" y="79487"/>
                    <a:pt x="150908" y="79986"/>
                    <a:pt x="149037" y="80739"/>
                  </a:cubicBezTo>
                  <a:cubicBezTo>
                    <a:pt x="146688" y="81674"/>
                    <a:pt x="147385" y="83081"/>
                    <a:pt x="145992" y="84712"/>
                  </a:cubicBezTo>
                  <a:cubicBezTo>
                    <a:pt x="144600" y="86344"/>
                    <a:pt x="143172" y="84016"/>
                    <a:pt x="142018" y="83081"/>
                  </a:cubicBezTo>
                  <a:cubicBezTo>
                    <a:pt x="140865" y="82145"/>
                    <a:pt x="136870" y="86822"/>
                    <a:pt x="134767" y="88229"/>
                  </a:cubicBezTo>
                  <a:cubicBezTo>
                    <a:pt x="132658" y="89642"/>
                    <a:pt x="125856" y="94312"/>
                    <a:pt x="123993" y="98047"/>
                  </a:cubicBezTo>
                  <a:cubicBezTo>
                    <a:pt x="122122" y="101789"/>
                    <a:pt x="118127" y="101571"/>
                    <a:pt x="114393" y="101331"/>
                  </a:cubicBezTo>
                  <a:cubicBezTo>
                    <a:pt x="110651" y="101092"/>
                    <a:pt x="109244" y="102738"/>
                    <a:pt x="106438" y="102738"/>
                  </a:cubicBezTo>
                  <a:cubicBezTo>
                    <a:pt x="103639" y="102738"/>
                    <a:pt x="101508" y="108582"/>
                    <a:pt x="99644" y="111171"/>
                  </a:cubicBezTo>
                  <a:cubicBezTo>
                    <a:pt x="97774" y="113752"/>
                    <a:pt x="90044" y="115601"/>
                    <a:pt x="86303" y="115383"/>
                  </a:cubicBezTo>
                  <a:cubicBezTo>
                    <a:pt x="82568" y="115165"/>
                    <a:pt x="77877" y="112556"/>
                    <a:pt x="75528" y="111171"/>
                  </a:cubicBezTo>
                  <a:cubicBezTo>
                    <a:pt x="73186" y="109778"/>
                    <a:pt x="72032" y="109757"/>
                    <a:pt x="69930" y="109757"/>
                  </a:cubicBezTo>
                  <a:cubicBezTo>
                    <a:pt x="67820" y="109757"/>
                    <a:pt x="66863" y="109757"/>
                    <a:pt x="64542" y="108582"/>
                  </a:cubicBezTo>
                  <a:cubicBezTo>
                    <a:pt x="62214" y="107408"/>
                    <a:pt x="59851" y="104370"/>
                    <a:pt x="58677" y="102738"/>
                  </a:cubicBezTo>
                  <a:cubicBezTo>
                    <a:pt x="57502" y="101113"/>
                    <a:pt x="52136" y="98525"/>
                    <a:pt x="50483" y="98047"/>
                  </a:cubicBezTo>
                  <a:cubicBezTo>
                    <a:pt x="48837" y="97569"/>
                    <a:pt x="45813" y="99700"/>
                    <a:pt x="44168" y="99700"/>
                  </a:cubicBezTo>
                  <a:lnTo>
                    <a:pt x="39019" y="99700"/>
                  </a:lnTo>
                  <a:lnTo>
                    <a:pt x="28723" y="99700"/>
                  </a:lnTo>
                  <a:cubicBezTo>
                    <a:pt x="26100" y="99700"/>
                    <a:pt x="26690" y="94228"/>
                    <a:pt x="27309" y="91492"/>
                  </a:cubicBezTo>
                  <a:cubicBezTo>
                    <a:pt x="28406" y="91809"/>
                    <a:pt x="30875" y="92814"/>
                    <a:pt x="32000" y="9431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4" name="Freihandform: Form 249">
              <a:extLst>
                <a:ext uri="{FF2B5EF4-FFF2-40B4-BE49-F238E27FC236}">
                  <a16:creationId xmlns:a16="http://schemas.microsoft.com/office/drawing/2014/main" id="{29995F62-A813-7F43-9CE8-B805402CCA65}"/>
                </a:ext>
              </a:extLst>
            </p:cNvPr>
            <p:cNvSpPr/>
            <p:nvPr/>
          </p:nvSpPr>
          <p:spPr>
            <a:xfrm>
              <a:off x="6462832" y="3477117"/>
              <a:ext cx="53606" cy="27580"/>
            </a:xfrm>
            <a:custGeom>
              <a:avLst/>
              <a:gdLst>
                <a:gd name="connsiteX0" fmla="*/ 8032 w 53606"/>
                <a:gd name="connsiteY0" fmla="*/ 22540 h 27580"/>
                <a:gd name="connsiteX1" fmla="*/ 6857 w 53606"/>
                <a:gd name="connsiteY1" fmla="*/ 25818 h 27580"/>
                <a:gd name="connsiteX2" fmla="*/ 53592 w 53606"/>
                <a:gd name="connsiteY2" fmla="*/ 27252 h 27580"/>
                <a:gd name="connsiteX3" fmla="*/ 48739 w 53606"/>
                <a:gd name="connsiteY3" fmla="*/ 24109 h 27580"/>
                <a:gd name="connsiteX4" fmla="*/ 48739 w 53606"/>
                <a:gd name="connsiteY4" fmla="*/ 20318 h 27580"/>
                <a:gd name="connsiteX5" fmla="*/ 43513 w 53606"/>
                <a:gd name="connsiteY5" fmla="*/ 18742 h 27580"/>
                <a:gd name="connsiteX6" fmla="*/ 44941 w 53606"/>
                <a:gd name="connsiteY6" fmla="*/ 15085 h 27580"/>
                <a:gd name="connsiteX7" fmla="*/ 44941 w 53606"/>
                <a:gd name="connsiteY7" fmla="*/ 10239 h 27580"/>
                <a:gd name="connsiteX8" fmla="*/ 43513 w 53606"/>
                <a:gd name="connsiteY8" fmla="*/ 8664 h 27580"/>
                <a:gd name="connsiteX9" fmla="*/ 38801 w 53606"/>
                <a:gd name="connsiteY9" fmla="*/ 5007 h 27580"/>
                <a:gd name="connsiteX10" fmla="*/ 34609 w 53606"/>
                <a:gd name="connsiteY10" fmla="*/ 5668 h 27580"/>
                <a:gd name="connsiteX11" fmla="*/ 30017 w 53606"/>
                <a:gd name="connsiteY11" fmla="*/ 4093 h 27580"/>
                <a:gd name="connsiteX12" fmla="*/ 25579 w 53606"/>
                <a:gd name="connsiteY12" fmla="*/ 1096 h 27580"/>
                <a:gd name="connsiteX13" fmla="*/ 20733 w 53606"/>
                <a:gd name="connsiteY13" fmla="*/ 161 h 27580"/>
                <a:gd name="connsiteX14" fmla="*/ 20733 w 53606"/>
                <a:gd name="connsiteY14" fmla="*/ 8664 h 27580"/>
                <a:gd name="connsiteX15" fmla="*/ 16675 w 53606"/>
                <a:gd name="connsiteY15" fmla="*/ 10239 h 27580"/>
                <a:gd name="connsiteX16" fmla="*/ 10134 w 53606"/>
                <a:gd name="connsiteY16" fmla="*/ 8664 h 27580"/>
                <a:gd name="connsiteX17" fmla="*/ 837 w 53606"/>
                <a:gd name="connsiteY17" fmla="*/ 8664 h 27580"/>
                <a:gd name="connsiteX18" fmla="*/ 2025 w 53606"/>
                <a:gd name="connsiteY18" fmla="*/ 15085 h 27580"/>
                <a:gd name="connsiteX19" fmla="*/ 6857 w 53606"/>
                <a:gd name="connsiteY19" fmla="*/ 16520 h 27580"/>
                <a:gd name="connsiteX20" fmla="*/ 3600 w 53606"/>
                <a:gd name="connsiteY20" fmla="*/ 18742 h 27580"/>
                <a:gd name="connsiteX21" fmla="*/ 837 w 53606"/>
                <a:gd name="connsiteY21" fmla="*/ 21112 h 27580"/>
                <a:gd name="connsiteX22" fmla="*/ 11049 w 53606"/>
                <a:gd name="connsiteY22" fmla="*/ 21112 h 27580"/>
                <a:gd name="connsiteX23" fmla="*/ 8032 w 53606"/>
                <a:gd name="connsiteY23" fmla="*/ 22540 h 27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606" h="27580">
                  <a:moveTo>
                    <a:pt x="8032" y="22540"/>
                  </a:moveTo>
                  <a:cubicBezTo>
                    <a:pt x="6140" y="22540"/>
                    <a:pt x="6463" y="24727"/>
                    <a:pt x="6857" y="25818"/>
                  </a:cubicBezTo>
                  <a:cubicBezTo>
                    <a:pt x="12877" y="28307"/>
                    <a:pt x="54506" y="27512"/>
                    <a:pt x="53592" y="27252"/>
                  </a:cubicBezTo>
                  <a:cubicBezTo>
                    <a:pt x="52853" y="27048"/>
                    <a:pt x="50047" y="25072"/>
                    <a:pt x="48739" y="24109"/>
                  </a:cubicBezTo>
                  <a:cubicBezTo>
                    <a:pt x="49308" y="23110"/>
                    <a:pt x="50103" y="20951"/>
                    <a:pt x="48739" y="20318"/>
                  </a:cubicBezTo>
                  <a:cubicBezTo>
                    <a:pt x="47367" y="19678"/>
                    <a:pt x="44681" y="19003"/>
                    <a:pt x="43513" y="18742"/>
                  </a:cubicBezTo>
                  <a:lnTo>
                    <a:pt x="44941" y="15085"/>
                  </a:lnTo>
                  <a:cubicBezTo>
                    <a:pt x="45025" y="14171"/>
                    <a:pt x="45152" y="11920"/>
                    <a:pt x="44941" y="10239"/>
                  </a:cubicBezTo>
                  <a:cubicBezTo>
                    <a:pt x="44681" y="8129"/>
                    <a:pt x="43767" y="8664"/>
                    <a:pt x="43513" y="8664"/>
                  </a:cubicBezTo>
                  <a:cubicBezTo>
                    <a:pt x="43253" y="8664"/>
                    <a:pt x="41009" y="5007"/>
                    <a:pt x="38801" y="5007"/>
                  </a:cubicBezTo>
                  <a:cubicBezTo>
                    <a:pt x="36593" y="5007"/>
                    <a:pt x="36951" y="5408"/>
                    <a:pt x="34609" y="5668"/>
                  </a:cubicBezTo>
                  <a:cubicBezTo>
                    <a:pt x="32260" y="5921"/>
                    <a:pt x="32120" y="4873"/>
                    <a:pt x="30017" y="4093"/>
                  </a:cubicBezTo>
                  <a:cubicBezTo>
                    <a:pt x="27907" y="3319"/>
                    <a:pt x="27014" y="2383"/>
                    <a:pt x="25579" y="1096"/>
                  </a:cubicBezTo>
                  <a:cubicBezTo>
                    <a:pt x="24151" y="-198"/>
                    <a:pt x="21908" y="-99"/>
                    <a:pt x="20733" y="161"/>
                  </a:cubicBezTo>
                  <a:cubicBezTo>
                    <a:pt x="19558" y="421"/>
                    <a:pt x="20874" y="6976"/>
                    <a:pt x="20733" y="8664"/>
                  </a:cubicBezTo>
                  <a:cubicBezTo>
                    <a:pt x="20592" y="10359"/>
                    <a:pt x="18764" y="10239"/>
                    <a:pt x="16675" y="10239"/>
                  </a:cubicBezTo>
                  <a:cubicBezTo>
                    <a:pt x="14593" y="10239"/>
                    <a:pt x="11049" y="9466"/>
                    <a:pt x="10134" y="8664"/>
                  </a:cubicBezTo>
                  <a:cubicBezTo>
                    <a:pt x="9220" y="7869"/>
                    <a:pt x="2806" y="8411"/>
                    <a:pt x="837" y="8664"/>
                  </a:cubicBezTo>
                  <a:cubicBezTo>
                    <a:pt x="-1133" y="8924"/>
                    <a:pt x="837" y="13517"/>
                    <a:pt x="2025" y="15085"/>
                  </a:cubicBezTo>
                  <a:cubicBezTo>
                    <a:pt x="2982" y="16344"/>
                    <a:pt x="5647" y="16562"/>
                    <a:pt x="6857" y="16520"/>
                  </a:cubicBezTo>
                  <a:cubicBezTo>
                    <a:pt x="6857" y="17174"/>
                    <a:pt x="6203" y="18538"/>
                    <a:pt x="3600" y="18742"/>
                  </a:cubicBezTo>
                  <a:cubicBezTo>
                    <a:pt x="991" y="18953"/>
                    <a:pt x="668" y="20409"/>
                    <a:pt x="837" y="21112"/>
                  </a:cubicBezTo>
                  <a:lnTo>
                    <a:pt x="11049" y="21112"/>
                  </a:lnTo>
                  <a:cubicBezTo>
                    <a:pt x="10831" y="21591"/>
                    <a:pt x="9923" y="22540"/>
                    <a:pt x="8032" y="2254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5" name="Freihandform: Form 250">
              <a:extLst>
                <a:ext uri="{FF2B5EF4-FFF2-40B4-BE49-F238E27FC236}">
                  <a16:creationId xmlns:a16="http://schemas.microsoft.com/office/drawing/2014/main" id="{B41AA577-4A94-394B-851A-D4BF367157AE}"/>
                </a:ext>
              </a:extLst>
            </p:cNvPr>
            <p:cNvSpPr/>
            <p:nvPr/>
          </p:nvSpPr>
          <p:spPr>
            <a:xfrm>
              <a:off x="6480707" y="3445629"/>
              <a:ext cx="87493" cy="72610"/>
            </a:xfrm>
            <a:custGeom>
              <a:avLst/>
              <a:gdLst>
                <a:gd name="connsiteX0" fmla="*/ 2830 w 87493"/>
                <a:gd name="connsiteY0" fmla="*/ 8370 h 72610"/>
                <a:gd name="connsiteX1" fmla="*/ 15362 w 87493"/>
                <a:gd name="connsiteY1" fmla="*/ 465 h 72610"/>
                <a:gd name="connsiteX2" fmla="*/ 29112 w 87493"/>
                <a:gd name="connsiteY2" fmla="*/ 1773 h 72610"/>
                <a:gd name="connsiteX3" fmla="*/ 32432 w 87493"/>
                <a:gd name="connsiteY3" fmla="*/ 2174 h 72610"/>
                <a:gd name="connsiteX4" fmla="*/ 33972 w 87493"/>
                <a:gd name="connsiteY4" fmla="*/ 1963 h 72610"/>
                <a:gd name="connsiteX5" fmla="*/ 42911 w 87493"/>
                <a:gd name="connsiteY5" fmla="*/ 2174 h 72610"/>
                <a:gd name="connsiteX6" fmla="*/ 43143 w 87493"/>
                <a:gd name="connsiteY6" fmla="*/ 2300 h 72610"/>
                <a:gd name="connsiteX7" fmla="*/ 51913 w 87493"/>
                <a:gd name="connsiteY7" fmla="*/ 4122 h 72610"/>
                <a:gd name="connsiteX8" fmla="*/ 52926 w 87493"/>
                <a:gd name="connsiteY8" fmla="*/ 3067 h 72610"/>
                <a:gd name="connsiteX9" fmla="*/ 57758 w 87493"/>
                <a:gd name="connsiteY9" fmla="*/ 465 h 72610"/>
                <a:gd name="connsiteX10" fmla="*/ 64594 w 87493"/>
                <a:gd name="connsiteY10" fmla="*/ 7041 h 72610"/>
                <a:gd name="connsiteX11" fmla="*/ 72147 w 87493"/>
                <a:gd name="connsiteY11" fmla="*/ 10199 h 72610"/>
                <a:gd name="connsiteX12" fmla="*/ 74109 w 87493"/>
                <a:gd name="connsiteY12" fmla="*/ 12252 h 72610"/>
                <a:gd name="connsiteX13" fmla="*/ 83337 w 87493"/>
                <a:gd name="connsiteY13" fmla="*/ 20938 h 72610"/>
                <a:gd name="connsiteX14" fmla="*/ 83337 w 87493"/>
                <a:gd name="connsiteY14" fmla="*/ 29202 h 72610"/>
                <a:gd name="connsiteX15" fmla="*/ 87493 w 87493"/>
                <a:gd name="connsiteY15" fmla="*/ 30911 h 72610"/>
                <a:gd name="connsiteX16" fmla="*/ 83337 w 87493"/>
                <a:gd name="connsiteY16" fmla="*/ 35546 h 72610"/>
                <a:gd name="connsiteX17" fmla="*/ 80081 w 87493"/>
                <a:gd name="connsiteY17" fmla="*/ 36973 h 72610"/>
                <a:gd name="connsiteX18" fmla="*/ 78962 w 87493"/>
                <a:gd name="connsiteY18" fmla="*/ 38225 h 72610"/>
                <a:gd name="connsiteX19" fmla="*/ 75819 w 87493"/>
                <a:gd name="connsiteY19" fmla="*/ 39526 h 72610"/>
                <a:gd name="connsiteX20" fmla="*/ 72147 w 87493"/>
                <a:gd name="connsiteY20" fmla="*/ 41882 h 72610"/>
                <a:gd name="connsiteX21" fmla="*/ 76043 w 87493"/>
                <a:gd name="connsiteY21" fmla="*/ 55520 h 72610"/>
                <a:gd name="connsiteX22" fmla="*/ 74813 w 87493"/>
                <a:gd name="connsiteY22" fmla="*/ 61125 h 72610"/>
                <a:gd name="connsiteX23" fmla="*/ 71993 w 87493"/>
                <a:gd name="connsiteY23" fmla="*/ 62088 h 72610"/>
                <a:gd name="connsiteX24" fmla="*/ 67259 w 87493"/>
                <a:gd name="connsiteY24" fmla="*/ 64304 h 72610"/>
                <a:gd name="connsiteX25" fmla="*/ 64594 w 87493"/>
                <a:gd name="connsiteY25" fmla="*/ 69417 h 72610"/>
                <a:gd name="connsiteX26" fmla="*/ 57758 w 87493"/>
                <a:gd name="connsiteY26" fmla="*/ 72336 h 72610"/>
                <a:gd name="connsiteX27" fmla="*/ 52413 w 87493"/>
                <a:gd name="connsiteY27" fmla="*/ 70626 h 72610"/>
                <a:gd name="connsiteX28" fmla="*/ 41434 w 87493"/>
                <a:gd name="connsiteY28" fmla="*/ 72336 h 72610"/>
                <a:gd name="connsiteX29" fmla="*/ 28120 w 87493"/>
                <a:gd name="connsiteY29" fmla="*/ 59001 h 72610"/>
                <a:gd name="connsiteX30" fmla="*/ 35709 w 87493"/>
                <a:gd name="connsiteY30" fmla="*/ 58741 h 72610"/>
                <a:gd name="connsiteX31" fmla="*/ 30863 w 87493"/>
                <a:gd name="connsiteY31" fmla="*/ 55597 h 72610"/>
                <a:gd name="connsiteX32" fmla="*/ 30863 w 87493"/>
                <a:gd name="connsiteY32" fmla="*/ 51806 h 72610"/>
                <a:gd name="connsiteX33" fmla="*/ 25638 w 87493"/>
                <a:gd name="connsiteY33" fmla="*/ 50231 h 72610"/>
                <a:gd name="connsiteX34" fmla="*/ 27066 w 87493"/>
                <a:gd name="connsiteY34" fmla="*/ 46573 h 72610"/>
                <a:gd name="connsiteX35" fmla="*/ 27066 w 87493"/>
                <a:gd name="connsiteY35" fmla="*/ 41728 h 72610"/>
                <a:gd name="connsiteX36" fmla="*/ 25778 w 87493"/>
                <a:gd name="connsiteY36" fmla="*/ 40131 h 72610"/>
                <a:gd name="connsiteX37" fmla="*/ 25638 w 87493"/>
                <a:gd name="connsiteY37" fmla="*/ 40152 h 72610"/>
                <a:gd name="connsiteX38" fmla="*/ 25082 w 87493"/>
                <a:gd name="connsiteY38" fmla="*/ 39562 h 72610"/>
                <a:gd name="connsiteX39" fmla="*/ 20926 w 87493"/>
                <a:gd name="connsiteY39" fmla="*/ 36495 h 72610"/>
                <a:gd name="connsiteX40" fmla="*/ 18724 w 87493"/>
                <a:gd name="connsiteY40" fmla="*/ 36776 h 72610"/>
                <a:gd name="connsiteX41" fmla="*/ 16727 w 87493"/>
                <a:gd name="connsiteY41" fmla="*/ 37156 h 72610"/>
                <a:gd name="connsiteX42" fmla="*/ 13843 w 87493"/>
                <a:gd name="connsiteY42" fmla="*/ 36453 h 72610"/>
                <a:gd name="connsiteX43" fmla="*/ 12141 w 87493"/>
                <a:gd name="connsiteY43" fmla="*/ 35581 h 72610"/>
                <a:gd name="connsiteX44" fmla="*/ 8097 w 87493"/>
                <a:gd name="connsiteY44" fmla="*/ 32936 h 72610"/>
                <a:gd name="connsiteX45" fmla="*/ 7703 w 87493"/>
                <a:gd name="connsiteY45" fmla="*/ 32585 h 72610"/>
                <a:gd name="connsiteX46" fmla="*/ 3821 w 87493"/>
                <a:gd name="connsiteY46" fmla="*/ 31509 h 72610"/>
                <a:gd name="connsiteX47" fmla="*/ 3673 w 87493"/>
                <a:gd name="connsiteY47" fmla="*/ 30911 h 72610"/>
                <a:gd name="connsiteX48" fmla="*/ 1838 w 87493"/>
                <a:gd name="connsiteY48" fmla="*/ 25636 h 72610"/>
                <a:gd name="connsiteX49" fmla="*/ 748 w 87493"/>
                <a:gd name="connsiteY49" fmla="*/ 23118 h 72610"/>
                <a:gd name="connsiteX50" fmla="*/ 488 w 87493"/>
                <a:gd name="connsiteY50" fmla="*/ 20164 h 72610"/>
                <a:gd name="connsiteX51" fmla="*/ 748 w 87493"/>
                <a:gd name="connsiteY51" fmla="*/ 10199 h 72610"/>
                <a:gd name="connsiteX52" fmla="*/ 2830 w 87493"/>
                <a:gd name="connsiteY52" fmla="*/ 8370 h 7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87493" h="72610">
                  <a:moveTo>
                    <a:pt x="2830" y="8370"/>
                  </a:moveTo>
                  <a:cubicBezTo>
                    <a:pt x="5755" y="5543"/>
                    <a:pt x="11016" y="465"/>
                    <a:pt x="15362" y="465"/>
                  </a:cubicBezTo>
                  <a:cubicBezTo>
                    <a:pt x="19392" y="465"/>
                    <a:pt x="25378" y="1267"/>
                    <a:pt x="29112" y="1773"/>
                  </a:cubicBezTo>
                  <a:cubicBezTo>
                    <a:pt x="30814" y="2005"/>
                    <a:pt x="32052" y="2174"/>
                    <a:pt x="32432" y="2174"/>
                  </a:cubicBezTo>
                  <a:cubicBezTo>
                    <a:pt x="32713" y="2174"/>
                    <a:pt x="33262" y="2082"/>
                    <a:pt x="33972" y="1963"/>
                  </a:cubicBezTo>
                  <a:cubicBezTo>
                    <a:pt x="36321" y="1562"/>
                    <a:pt x="40485" y="859"/>
                    <a:pt x="42911" y="2174"/>
                  </a:cubicBezTo>
                  <a:cubicBezTo>
                    <a:pt x="42988" y="2216"/>
                    <a:pt x="43066" y="2258"/>
                    <a:pt x="43143" y="2300"/>
                  </a:cubicBezTo>
                  <a:cubicBezTo>
                    <a:pt x="46259" y="3988"/>
                    <a:pt x="50014" y="6021"/>
                    <a:pt x="51913" y="4122"/>
                  </a:cubicBezTo>
                  <a:cubicBezTo>
                    <a:pt x="52230" y="3798"/>
                    <a:pt x="52574" y="3440"/>
                    <a:pt x="52926" y="3067"/>
                  </a:cubicBezTo>
                  <a:cubicBezTo>
                    <a:pt x="54698" y="1182"/>
                    <a:pt x="56724" y="-963"/>
                    <a:pt x="57758" y="465"/>
                  </a:cubicBezTo>
                  <a:cubicBezTo>
                    <a:pt x="58988" y="2174"/>
                    <a:pt x="63384" y="7280"/>
                    <a:pt x="64594" y="7041"/>
                  </a:cubicBezTo>
                  <a:cubicBezTo>
                    <a:pt x="65804" y="6802"/>
                    <a:pt x="70199" y="8257"/>
                    <a:pt x="72147" y="10199"/>
                  </a:cubicBezTo>
                  <a:cubicBezTo>
                    <a:pt x="72576" y="10628"/>
                    <a:pt x="73266" y="11359"/>
                    <a:pt x="74109" y="12252"/>
                  </a:cubicBezTo>
                  <a:cubicBezTo>
                    <a:pt x="77120" y="15417"/>
                    <a:pt x="82001" y="20565"/>
                    <a:pt x="83337" y="20938"/>
                  </a:cubicBezTo>
                  <a:cubicBezTo>
                    <a:pt x="84701" y="21318"/>
                    <a:pt x="83907" y="26607"/>
                    <a:pt x="83337" y="29202"/>
                  </a:cubicBezTo>
                  <a:lnTo>
                    <a:pt x="87493" y="30911"/>
                  </a:lnTo>
                  <a:cubicBezTo>
                    <a:pt x="87163" y="32458"/>
                    <a:pt x="85869" y="35546"/>
                    <a:pt x="83337" y="35546"/>
                  </a:cubicBezTo>
                  <a:cubicBezTo>
                    <a:pt x="81142" y="35546"/>
                    <a:pt x="80714" y="36129"/>
                    <a:pt x="80081" y="36973"/>
                  </a:cubicBezTo>
                  <a:cubicBezTo>
                    <a:pt x="79806" y="37353"/>
                    <a:pt x="79490" y="37775"/>
                    <a:pt x="78962" y="38225"/>
                  </a:cubicBezTo>
                  <a:cubicBezTo>
                    <a:pt x="78280" y="38816"/>
                    <a:pt x="77049" y="39175"/>
                    <a:pt x="75819" y="39526"/>
                  </a:cubicBezTo>
                  <a:cubicBezTo>
                    <a:pt x="73976" y="40054"/>
                    <a:pt x="72147" y="40574"/>
                    <a:pt x="72147" y="41882"/>
                  </a:cubicBezTo>
                  <a:cubicBezTo>
                    <a:pt x="72147" y="44070"/>
                    <a:pt x="74595" y="53079"/>
                    <a:pt x="76043" y="55520"/>
                  </a:cubicBezTo>
                  <a:cubicBezTo>
                    <a:pt x="77492" y="57967"/>
                    <a:pt x="77471" y="59894"/>
                    <a:pt x="74813" y="61125"/>
                  </a:cubicBezTo>
                  <a:cubicBezTo>
                    <a:pt x="73828" y="61582"/>
                    <a:pt x="72900" y="61835"/>
                    <a:pt x="71993" y="62088"/>
                  </a:cubicBezTo>
                  <a:cubicBezTo>
                    <a:pt x="70445" y="62510"/>
                    <a:pt x="68933" y="62925"/>
                    <a:pt x="67259" y="64304"/>
                  </a:cubicBezTo>
                  <a:cubicBezTo>
                    <a:pt x="64594" y="66491"/>
                    <a:pt x="64594" y="68439"/>
                    <a:pt x="64594" y="69417"/>
                  </a:cubicBezTo>
                  <a:cubicBezTo>
                    <a:pt x="64594" y="70387"/>
                    <a:pt x="57758" y="73552"/>
                    <a:pt x="57758" y="72336"/>
                  </a:cubicBezTo>
                  <a:cubicBezTo>
                    <a:pt x="57758" y="71126"/>
                    <a:pt x="54122" y="69888"/>
                    <a:pt x="52413" y="70626"/>
                  </a:cubicBezTo>
                  <a:cubicBezTo>
                    <a:pt x="51041" y="71217"/>
                    <a:pt x="44521" y="72012"/>
                    <a:pt x="41434" y="72336"/>
                  </a:cubicBezTo>
                  <a:cubicBezTo>
                    <a:pt x="37756" y="68728"/>
                    <a:pt x="33001" y="63987"/>
                    <a:pt x="28120" y="59001"/>
                  </a:cubicBezTo>
                  <a:cubicBezTo>
                    <a:pt x="32861" y="58931"/>
                    <a:pt x="35969" y="58811"/>
                    <a:pt x="35709" y="58741"/>
                  </a:cubicBezTo>
                  <a:cubicBezTo>
                    <a:pt x="34978" y="58537"/>
                    <a:pt x="32171" y="56560"/>
                    <a:pt x="30863" y="55597"/>
                  </a:cubicBezTo>
                  <a:cubicBezTo>
                    <a:pt x="31433" y="54598"/>
                    <a:pt x="32228" y="52439"/>
                    <a:pt x="30863" y="51806"/>
                  </a:cubicBezTo>
                  <a:cubicBezTo>
                    <a:pt x="29492" y="51166"/>
                    <a:pt x="26805" y="50491"/>
                    <a:pt x="25638" y="50231"/>
                  </a:cubicBezTo>
                  <a:lnTo>
                    <a:pt x="27066" y="46573"/>
                  </a:lnTo>
                  <a:cubicBezTo>
                    <a:pt x="27150" y="45659"/>
                    <a:pt x="27276" y="43409"/>
                    <a:pt x="27066" y="41728"/>
                  </a:cubicBezTo>
                  <a:cubicBezTo>
                    <a:pt x="26840" y="39906"/>
                    <a:pt x="26130" y="40061"/>
                    <a:pt x="25778" y="40131"/>
                  </a:cubicBezTo>
                  <a:cubicBezTo>
                    <a:pt x="25715" y="40145"/>
                    <a:pt x="25673" y="40152"/>
                    <a:pt x="25638" y="40152"/>
                  </a:cubicBezTo>
                  <a:cubicBezTo>
                    <a:pt x="25568" y="40152"/>
                    <a:pt x="25378" y="39920"/>
                    <a:pt x="25082" y="39562"/>
                  </a:cubicBezTo>
                  <a:cubicBezTo>
                    <a:pt x="24231" y="38528"/>
                    <a:pt x="22571" y="36495"/>
                    <a:pt x="20926" y="36495"/>
                  </a:cubicBezTo>
                  <a:cubicBezTo>
                    <a:pt x="19702" y="36495"/>
                    <a:pt x="19266" y="36622"/>
                    <a:pt x="18724" y="36776"/>
                  </a:cubicBezTo>
                  <a:cubicBezTo>
                    <a:pt x="18281" y="36896"/>
                    <a:pt x="17775" y="37037"/>
                    <a:pt x="16727" y="37156"/>
                  </a:cubicBezTo>
                  <a:cubicBezTo>
                    <a:pt x="15229" y="37318"/>
                    <a:pt x="14631" y="36945"/>
                    <a:pt x="13843" y="36453"/>
                  </a:cubicBezTo>
                  <a:cubicBezTo>
                    <a:pt x="13400" y="36179"/>
                    <a:pt x="12894" y="35862"/>
                    <a:pt x="12141" y="35581"/>
                  </a:cubicBezTo>
                  <a:cubicBezTo>
                    <a:pt x="10228" y="34885"/>
                    <a:pt x="9314" y="34048"/>
                    <a:pt x="8097" y="32936"/>
                  </a:cubicBezTo>
                  <a:cubicBezTo>
                    <a:pt x="7971" y="32824"/>
                    <a:pt x="7844" y="32704"/>
                    <a:pt x="7703" y="32585"/>
                  </a:cubicBezTo>
                  <a:cubicBezTo>
                    <a:pt x="6606" y="31586"/>
                    <a:pt x="5024" y="31417"/>
                    <a:pt x="3821" y="31509"/>
                  </a:cubicBezTo>
                  <a:cubicBezTo>
                    <a:pt x="3723" y="31270"/>
                    <a:pt x="3673" y="31073"/>
                    <a:pt x="3673" y="30911"/>
                  </a:cubicBezTo>
                  <a:cubicBezTo>
                    <a:pt x="3673" y="28351"/>
                    <a:pt x="2668" y="26867"/>
                    <a:pt x="1838" y="25636"/>
                  </a:cubicBezTo>
                  <a:cubicBezTo>
                    <a:pt x="1254" y="24771"/>
                    <a:pt x="748" y="24025"/>
                    <a:pt x="748" y="23118"/>
                  </a:cubicBezTo>
                  <a:cubicBezTo>
                    <a:pt x="748" y="22542"/>
                    <a:pt x="628" y="21466"/>
                    <a:pt x="488" y="20164"/>
                  </a:cubicBezTo>
                  <a:cubicBezTo>
                    <a:pt x="94" y="16563"/>
                    <a:pt x="-490" y="11268"/>
                    <a:pt x="748" y="10199"/>
                  </a:cubicBezTo>
                  <a:cubicBezTo>
                    <a:pt x="1064" y="10079"/>
                    <a:pt x="1803" y="9362"/>
                    <a:pt x="2830" y="837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6" name="Freihandform: Form 251">
              <a:extLst>
                <a:ext uri="{FF2B5EF4-FFF2-40B4-BE49-F238E27FC236}">
                  <a16:creationId xmlns:a16="http://schemas.microsoft.com/office/drawing/2014/main" id="{D8ABFCC2-5723-654C-ACD0-2408EB37EBE9}"/>
                </a:ext>
              </a:extLst>
            </p:cNvPr>
            <p:cNvSpPr/>
            <p:nvPr/>
          </p:nvSpPr>
          <p:spPr>
            <a:xfrm>
              <a:off x="6326982" y="3014007"/>
              <a:ext cx="201173" cy="461519"/>
            </a:xfrm>
            <a:custGeom>
              <a:avLst/>
              <a:gdLst>
                <a:gd name="connsiteX0" fmla="*/ 27660 w 201173"/>
                <a:gd name="connsiteY0" fmla="*/ 435603 h 461519"/>
                <a:gd name="connsiteX1" fmla="*/ 25234 w 201173"/>
                <a:gd name="connsiteY1" fmla="*/ 433001 h 461519"/>
                <a:gd name="connsiteX2" fmla="*/ 25234 w 201173"/>
                <a:gd name="connsiteY2" fmla="*/ 430631 h 461519"/>
                <a:gd name="connsiteX3" fmla="*/ 28638 w 201173"/>
                <a:gd name="connsiteY3" fmla="*/ 432065 h 461519"/>
                <a:gd name="connsiteX4" fmla="*/ 27660 w 201173"/>
                <a:gd name="connsiteY4" fmla="*/ 424948 h 461519"/>
                <a:gd name="connsiteX5" fmla="*/ 24460 w 201173"/>
                <a:gd name="connsiteY5" fmla="*/ 423696 h 461519"/>
                <a:gd name="connsiteX6" fmla="*/ 23349 w 201173"/>
                <a:gd name="connsiteY6" fmla="*/ 419068 h 461519"/>
                <a:gd name="connsiteX7" fmla="*/ 19888 w 201173"/>
                <a:gd name="connsiteY7" fmla="*/ 417015 h 461519"/>
                <a:gd name="connsiteX8" fmla="*/ 18637 w 201173"/>
                <a:gd name="connsiteY8" fmla="*/ 414314 h 461519"/>
                <a:gd name="connsiteX9" fmla="*/ 17525 w 201173"/>
                <a:gd name="connsiteY9" fmla="*/ 410361 h 461519"/>
                <a:gd name="connsiteX10" fmla="*/ 16414 w 201173"/>
                <a:gd name="connsiteY10" fmla="*/ 403821 h 461519"/>
                <a:gd name="connsiteX11" fmla="*/ 14185 w 201173"/>
                <a:gd name="connsiteY11" fmla="*/ 405051 h 461519"/>
                <a:gd name="connsiteX12" fmla="*/ 14185 w 201173"/>
                <a:gd name="connsiteY12" fmla="*/ 397835 h 461519"/>
                <a:gd name="connsiteX13" fmla="*/ 12518 w 201173"/>
                <a:gd name="connsiteY13" fmla="*/ 397835 h 461519"/>
                <a:gd name="connsiteX14" fmla="*/ 10725 w 201173"/>
                <a:gd name="connsiteY14" fmla="*/ 393798 h 461519"/>
                <a:gd name="connsiteX15" fmla="*/ 10725 w 201173"/>
                <a:gd name="connsiteY15" fmla="*/ 389607 h 461519"/>
                <a:gd name="connsiteX16" fmla="*/ 12518 w 201173"/>
                <a:gd name="connsiteY16" fmla="*/ 384775 h 461519"/>
                <a:gd name="connsiteX17" fmla="*/ 13271 w 201173"/>
                <a:gd name="connsiteY17" fmla="*/ 380464 h 461519"/>
                <a:gd name="connsiteX18" fmla="*/ 10725 w 201173"/>
                <a:gd name="connsiteY18" fmla="*/ 376427 h 461519"/>
                <a:gd name="connsiteX19" fmla="*/ 8382 w 201173"/>
                <a:gd name="connsiteY19" fmla="*/ 374085 h 461519"/>
                <a:gd name="connsiteX20" fmla="*/ 4746 w 201173"/>
                <a:gd name="connsiteY20" fmla="*/ 377622 h 461519"/>
                <a:gd name="connsiteX21" fmla="*/ 3354 w 201173"/>
                <a:gd name="connsiteY21" fmla="*/ 376427 h 461519"/>
                <a:gd name="connsiteX22" fmla="*/ 2376 w 201173"/>
                <a:gd name="connsiteY22" fmla="*/ 365420 h 461519"/>
                <a:gd name="connsiteX23" fmla="*/ 372 w 201173"/>
                <a:gd name="connsiteY23" fmla="*/ 359435 h 461519"/>
                <a:gd name="connsiteX24" fmla="*/ 1546 w 201173"/>
                <a:gd name="connsiteY24" fmla="*/ 355103 h 461519"/>
                <a:gd name="connsiteX25" fmla="*/ 5640 w 201173"/>
                <a:gd name="connsiteY25" fmla="*/ 356973 h 461519"/>
                <a:gd name="connsiteX26" fmla="*/ 8382 w 201173"/>
                <a:gd name="connsiteY26" fmla="*/ 359259 h 461519"/>
                <a:gd name="connsiteX27" fmla="*/ 10725 w 201173"/>
                <a:gd name="connsiteY27" fmla="*/ 355679 h 461519"/>
                <a:gd name="connsiteX28" fmla="*/ 10725 w 201173"/>
                <a:gd name="connsiteY28" fmla="*/ 349673 h 461519"/>
                <a:gd name="connsiteX29" fmla="*/ 9353 w 201173"/>
                <a:gd name="connsiteY29" fmla="*/ 340375 h 461519"/>
                <a:gd name="connsiteX30" fmla="*/ 10725 w 201173"/>
                <a:gd name="connsiteY30" fmla="*/ 337991 h 461519"/>
                <a:gd name="connsiteX31" fmla="*/ 13271 w 201173"/>
                <a:gd name="connsiteY31" fmla="*/ 333652 h 461519"/>
                <a:gd name="connsiteX32" fmla="*/ 13271 w 201173"/>
                <a:gd name="connsiteY32" fmla="*/ 329741 h 461519"/>
                <a:gd name="connsiteX33" fmla="*/ 18939 w 201173"/>
                <a:gd name="connsiteY33" fmla="*/ 328567 h 461519"/>
                <a:gd name="connsiteX34" fmla="*/ 22055 w 201173"/>
                <a:gd name="connsiteY34" fmla="*/ 317933 h 461519"/>
                <a:gd name="connsiteX35" fmla="*/ 23806 w 201173"/>
                <a:gd name="connsiteY35" fmla="*/ 312686 h 461519"/>
                <a:gd name="connsiteX36" fmla="*/ 21084 w 201173"/>
                <a:gd name="connsiteY36" fmla="*/ 306082 h 461519"/>
                <a:gd name="connsiteX37" fmla="*/ 18939 w 201173"/>
                <a:gd name="connsiteY37" fmla="*/ 295730 h 461519"/>
                <a:gd name="connsiteX38" fmla="*/ 23806 w 201173"/>
                <a:gd name="connsiteY38" fmla="*/ 293781 h 461519"/>
                <a:gd name="connsiteX39" fmla="*/ 26746 w 201173"/>
                <a:gd name="connsiteY39" fmla="*/ 286706 h 461519"/>
                <a:gd name="connsiteX40" fmla="*/ 25775 w 201173"/>
                <a:gd name="connsiteY40" fmla="*/ 280883 h 461519"/>
                <a:gd name="connsiteX41" fmla="*/ 18939 w 201173"/>
                <a:gd name="connsiteY41" fmla="*/ 275038 h 461519"/>
                <a:gd name="connsiteX42" fmla="*/ 17568 w 201173"/>
                <a:gd name="connsiteY42" fmla="*/ 267408 h 461519"/>
                <a:gd name="connsiteX43" fmla="*/ 18939 w 201173"/>
                <a:gd name="connsiteY43" fmla="*/ 257428 h 461519"/>
                <a:gd name="connsiteX44" fmla="*/ 17568 w 201173"/>
                <a:gd name="connsiteY44" fmla="*/ 244311 h 461519"/>
                <a:gd name="connsiteX45" fmla="*/ 15992 w 201173"/>
                <a:gd name="connsiteY45" fmla="*/ 238860 h 461519"/>
                <a:gd name="connsiteX46" fmla="*/ 15992 w 201173"/>
                <a:gd name="connsiteY46" fmla="*/ 232939 h 461519"/>
                <a:gd name="connsiteX47" fmla="*/ 17568 w 201173"/>
                <a:gd name="connsiteY47" fmla="*/ 229380 h 461519"/>
                <a:gd name="connsiteX48" fmla="*/ 14248 w 201173"/>
                <a:gd name="connsiteY48" fmla="*/ 222262 h 461519"/>
                <a:gd name="connsiteX49" fmla="*/ 15992 w 201173"/>
                <a:gd name="connsiteY49" fmla="*/ 218605 h 461519"/>
                <a:gd name="connsiteX50" fmla="*/ 17568 w 201173"/>
                <a:gd name="connsiteY50" fmla="*/ 212564 h 461519"/>
                <a:gd name="connsiteX51" fmla="*/ 18939 w 201173"/>
                <a:gd name="connsiteY51" fmla="*/ 208653 h 461519"/>
                <a:gd name="connsiteX52" fmla="*/ 22055 w 201173"/>
                <a:gd name="connsiteY52" fmla="*/ 202113 h 461519"/>
                <a:gd name="connsiteX53" fmla="*/ 26746 w 201173"/>
                <a:gd name="connsiteY53" fmla="*/ 195073 h 461519"/>
                <a:gd name="connsiteX54" fmla="*/ 30262 w 201173"/>
                <a:gd name="connsiteY54" fmla="*/ 192688 h 461519"/>
                <a:gd name="connsiteX55" fmla="*/ 35671 w 201173"/>
                <a:gd name="connsiteY55" fmla="*/ 192688 h 461519"/>
                <a:gd name="connsiteX56" fmla="*/ 42472 w 201173"/>
                <a:gd name="connsiteY56" fmla="*/ 194320 h 461519"/>
                <a:gd name="connsiteX57" fmla="*/ 45468 w 201173"/>
                <a:gd name="connsiteY57" fmla="*/ 193560 h 461519"/>
                <a:gd name="connsiteX58" fmla="*/ 46980 w 201173"/>
                <a:gd name="connsiteY58" fmla="*/ 190684 h 461519"/>
                <a:gd name="connsiteX59" fmla="*/ 48112 w 201173"/>
                <a:gd name="connsiteY59" fmla="*/ 187800 h 461519"/>
                <a:gd name="connsiteX60" fmla="*/ 47620 w 201173"/>
                <a:gd name="connsiteY60" fmla="*/ 182554 h 461519"/>
                <a:gd name="connsiteX61" fmla="*/ 46980 w 201173"/>
                <a:gd name="connsiteY61" fmla="*/ 179628 h 461519"/>
                <a:gd name="connsiteX62" fmla="*/ 42472 w 201173"/>
                <a:gd name="connsiteY62" fmla="*/ 176984 h 461519"/>
                <a:gd name="connsiteX63" fmla="*/ 41339 w 201173"/>
                <a:gd name="connsiteY63" fmla="*/ 172651 h 461519"/>
                <a:gd name="connsiteX64" fmla="*/ 44476 w 201173"/>
                <a:gd name="connsiteY64" fmla="*/ 166793 h 461519"/>
                <a:gd name="connsiteX65" fmla="*/ 49245 w 201173"/>
                <a:gd name="connsiteY65" fmla="*/ 159120 h 461519"/>
                <a:gd name="connsiteX66" fmla="*/ 50124 w 201173"/>
                <a:gd name="connsiteY66" fmla="*/ 152839 h 461519"/>
                <a:gd name="connsiteX67" fmla="*/ 51769 w 201173"/>
                <a:gd name="connsiteY67" fmla="*/ 150075 h 461519"/>
                <a:gd name="connsiteX68" fmla="*/ 53521 w 201173"/>
                <a:gd name="connsiteY68" fmla="*/ 144034 h 461519"/>
                <a:gd name="connsiteX69" fmla="*/ 53978 w 201173"/>
                <a:gd name="connsiteY69" fmla="*/ 134553 h 461519"/>
                <a:gd name="connsiteX70" fmla="*/ 54752 w 201173"/>
                <a:gd name="connsiteY70" fmla="*/ 130994 h 461519"/>
                <a:gd name="connsiteX71" fmla="*/ 55567 w 201173"/>
                <a:gd name="connsiteY71" fmla="*/ 128448 h 461519"/>
                <a:gd name="connsiteX72" fmla="*/ 54752 w 201173"/>
                <a:gd name="connsiteY72" fmla="*/ 126662 h 461519"/>
                <a:gd name="connsiteX73" fmla="*/ 54336 w 201173"/>
                <a:gd name="connsiteY73" fmla="*/ 122407 h 461519"/>
                <a:gd name="connsiteX74" fmla="*/ 54336 w 201173"/>
                <a:gd name="connsiteY74" fmla="*/ 117934 h 461519"/>
                <a:gd name="connsiteX75" fmla="*/ 55567 w 201173"/>
                <a:gd name="connsiteY75" fmla="*/ 117498 h 461519"/>
                <a:gd name="connsiteX76" fmla="*/ 61848 w 201173"/>
                <a:gd name="connsiteY76" fmla="*/ 116345 h 461519"/>
                <a:gd name="connsiteX77" fmla="*/ 65786 w 201173"/>
                <a:gd name="connsiteY77" fmla="*/ 113679 h 461519"/>
                <a:gd name="connsiteX78" fmla="*/ 67432 w 201173"/>
                <a:gd name="connsiteY78" fmla="*/ 112448 h 461519"/>
                <a:gd name="connsiteX79" fmla="*/ 67953 w 201173"/>
                <a:gd name="connsiteY79" fmla="*/ 109860 h 461519"/>
                <a:gd name="connsiteX80" fmla="*/ 67953 w 201173"/>
                <a:gd name="connsiteY80" fmla="*/ 105471 h 461519"/>
                <a:gd name="connsiteX81" fmla="*/ 67953 w 201173"/>
                <a:gd name="connsiteY81" fmla="*/ 103165 h 461519"/>
                <a:gd name="connsiteX82" fmla="*/ 69521 w 201173"/>
                <a:gd name="connsiteY82" fmla="*/ 101020 h 461519"/>
                <a:gd name="connsiteX83" fmla="*/ 70358 w 201173"/>
                <a:gd name="connsiteY83" fmla="*/ 100717 h 461519"/>
                <a:gd name="connsiteX84" fmla="*/ 71251 w 201173"/>
                <a:gd name="connsiteY84" fmla="*/ 99050 h 461519"/>
                <a:gd name="connsiteX85" fmla="*/ 72404 w 201173"/>
                <a:gd name="connsiteY85" fmla="*/ 97179 h 461519"/>
                <a:gd name="connsiteX86" fmla="*/ 74212 w 201173"/>
                <a:gd name="connsiteY86" fmla="*/ 93761 h 461519"/>
                <a:gd name="connsiteX87" fmla="*/ 75365 w 201173"/>
                <a:gd name="connsiteY87" fmla="*/ 91040 h 461519"/>
                <a:gd name="connsiteX88" fmla="*/ 78847 w 201173"/>
                <a:gd name="connsiteY88" fmla="*/ 85631 h 461519"/>
                <a:gd name="connsiteX89" fmla="*/ 82581 w 201173"/>
                <a:gd name="connsiteY89" fmla="*/ 81601 h 461519"/>
                <a:gd name="connsiteX90" fmla="*/ 83137 w 201173"/>
                <a:gd name="connsiteY90" fmla="*/ 77944 h 461519"/>
                <a:gd name="connsiteX91" fmla="*/ 82581 w 201173"/>
                <a:gd name="connsiteY91" fmla="*/ 75201 h 461519"/>
                <a:gd name="connsiteX92" fmla="*/ 81568 w 201173"/>
                <a:gd name="connsiteY92" fmla="*/ 73133 h 461519"/>
                <a:gd name="connsiteX93" fmla="*/ 80134 w 201173"/>
                <a:gd name="connsiteY93" fmla="*/ 70566 h 461519"/>
                <a:gd name="connsiteX94" fmla="*/ 78727 w 201173"/>
                <a:gd name="connsiteY94" fmla="*/ 68119 h 461519"/>
                <a:gd name="connsiteX95" fmla="*/ 78509 w 201173"/>
                <a:gd name="connsiteY95" fmla="*/ 64722 h 461519"/>
                <a:gd name="connsiteX96" fmla="*/ 80134 w 201173"/>
                <a:gd name="connsiteY96" fmla="*/ 63533 h 461519"/>
                <a:gd name="connsiteX97" fmla="*/ 83137 w 201173"/>
                <a:gd name="connsiteY97" fmla="*/ 62317 h 461519"/>
                <a:gd name="connsiteX98" fmla="*/ 84487 w 201173"/>
                <a:gd name="connsiteY98" fmla="*/ 60551 h 461519"/>
                <a:gd name="connsiteX99" fmla="*/ 86119 w 201173"/>
                <a:gd name="connsiteY99" fmla="*/ 56775 h 461519"/>
                <a:gd name="connsiteX100" fmla="*/ 86892 w 201173"/>
                <a:gd name="connsiteY100" fmla="*/ 53870 h 461519"/>
                <a:gd name="connsiteX101" fmla="*/ 87434 w 201173"/>
                <a:gd name="connsiteY101" fmla="*/ 51366 h 461519"/>
                <a:gd name="connsiteX102" fmla="*/ 88123 w 201173"/>
                <a:gd name="connsiteY102" fmla="*/ 49221 h 461519"/>
                <a:gd name="connsiteX103" fmla="*/ 90015 w 201173"/>
                <a:gd name="connsiteY103" fmla="*/ 46295 h 461519"/>
                <a:gd name="connsiteX104" fmla="*/ 94903 w 201173"/>
                <a:gd name="connsiteY104" fmla="*/ 42005 h 461519"/>
                <a:gd name="connsiteX105" fmla="*/ 97667 w 201173"/>
                <a:gd name="connsiteY105" fmla="*/ 40233 h 461519"/>
                <a:gd name="connsiteX106" fmla="*/ 100410 w 201173"/>
                <a:gd name="connsiteY106" fmla="*/ 41745 h 461519"/>
                <a:gd name="connsiteX107" fmla="*/ 102520 w 201173"/>
                <a:gd name="connsiteY107" fmla="*/ 42898 h 461519"/>
                <a:gd name="connsiteX108" fmla="*/ 105045 w 201173"/>
                <a:gd name="connsiteY108" fmla="*/ 43714 h 461519"/>
                <a:gd name="connsiteX109" fmla="*/ 106550 w 201173"/>
                <a:gd name="connsiteY109" fmla="*/ 42898 h 461519"/>
                <a:gd name="connsiteX110" fmla="*/ 107330 w 201173"/>
                <a:gd name="connsiteY110" fmla="*/ 41112 h 461519"/>
                <a:gd name="connsiteX111" fmla="*/ 108920 w 201173"/>
                <a:gd name="connsiteY111" fmla="*/ 37335 h 461519"/>
                <a:gd name="connsiteX112" fmla="*/ 109652 w 201173"/>
                <a:gd name="connsiteY112" fmla="*/ 35528 h 461519"/>
                <a:gd name="connsiteX113" fmla="*/ 109391 w 201173"/>
                <a:gd name="connsiteY113" fmla="*/ 31667 h 461519"/>
                <a:gd name="connsiteX114" fmla="*/ 109391 w 201173"/>
                <a:gd name="connsiteY114" fmla="*/ 22685 h 461519"/>
                <a:gd name="connsiteX115" fmla="*/ 109954 w 201173"/>
                <a:gd name="connsiteY115" fmla="*/ 21434 h 461519"/>
                <a:gd name="connsiteX116" fmla="*/ 111698 w 201173"/>
                <a:gd name="connsiteY116" fmla="*/ 20758 h 461519"/>
                <a:gd name="connsiteX117" fmla="*/ 114188 w 201173"/>
                <a:gd name="connsiteY117" fmla="*/ 20758 h 461519"/>
                <a:gd name="connsiteX118" fmla="*/ 116551 w 201173"/>
                <a:gd name="connsiteY118" fmla="*/ 22031 h 461519"/>
                <a:gd name="connsiteX119" fmla="*/ 118499 w 201173"/>
                <a:gd name="connsiteY119" fmla="*/ 22903 h 461519"/>
                <a:gd name="connsiteX120" fmla="*/ 123865 w 201173"/>
                <a:gd name="connsiteY120" fmla="*/ 23164 h 461519"/>
                <a:gd name="connsiteX121" fmla="*/ 126053 w 201173"/>
                <a:gd name="connsiteY121" fmla="*/ 23719 h 461519"/>
                <a:gd name="connsiteX122" fmla="*/ 129091 w 201173"/>
                <a:gd name="connsiteY122" fmla="*/ 25428 h 461519"/>
                <a:gd name="connsiteX123" fmla="*/ 136525 w 201173"/>
                <a:gd name="connsiteY123" fmla="*/ 28748 h 461519"/>
                <a:gd name="connsiteX124" fmla="*/ 138811 w 201173"/>
                <a:gd name="connsiteY124" fmla="*/ 27278 h 461519"/>
                <a:gd name="connsiteX125" fmla="*/ 141715 w 201173"/>
                <a:gd name="connsiteY125" fmla="*/ 23164 h 461519"/>
                <a:gd name="connsiteX126" fmla="*/ 139922 w 201173"/>
                <a:gd name="connsiteY126" fmla="*/ 22425 h 461519"/>
                <a:gd name="connsiteX127" fmla="*/ 137777 w 201173"/>
                <a:gd name="connsiteY127" fmla="*/ 21131 h 461519"/>
                <a:gd name="connsiteX128" fmla="*/ 138811 w 201173"/>
                <a:gd name="connsiteY128" fmla="*/ 19879 h 461519"/>
                <a:gd name="connsiteX129" fmla="*/ 140639 w 201173"/>
                <a:gd name="connsiteY129" fmla="*/ 18290 h 461519"/>
                <a:gd name="connsiteX130" fmla="*/ 142489 w 201173"/>
                <a:gd name="connsiteY130" fmla="*/ 13240 h 461519"/>
                <a:gd name="connsiteX131" fmla="*/ 143262 w 201173"/>
                <a:gd name="connsiteY131" fmla="*/ 10996 h 461519"/>
                <a:gd name="connsiteX132" fmla="*/ 143480 w 201173"/>
                <a:gd name="connsiteY132" fmla="*/ 6784 h 461519"/>
                <a:gd name="connsiteX133" fmla="*/ 142327 w 201173"/>
                <a:gd name="connsiteY133" fmla="*/ 3626 h 461519"/>
                <a:gd name="connsiteX134" fmla="*/ 140857 w 201173"/>
                <a:gd name="connsiteY134" fmla="*/ 2268 h 461519"/>
                <a:gd name="connsiteX135" fmla="*/ 141117 w 201173"/>
                <a:gd name="connsiteY135" fmla="*/ 341 h 461519"/>
                <a:gd name="connsiteX136" fmla="*/ 147159 w 201173"/>
                <a:gd name="connsiteY136" fmla="*/ 46 h 461519"/>
                <a:gd name="connsiteX137" fmla="*/ 152229 w 201173"/>
                <a:gd name="connsiteY137" fmla="*/ 2486 h 461519"/>
                <a:gd name="connsiteX138" fmla="*/ 152229 w 201173"/>
                <a:gd name="connsiteY138" fmla="*/ 6587 h 461519"/>
                <a:gd name="connsiteX139" fmla="*/ 154790 w 201173"/>
                <a:gd name="connsiteY139" fmla="*/ 7501 h 461519"/>
                <a:gd name="connsiteX140" fmla="*/ 159804 w 201173"/>
                <a:gd name="connsiteY140" fmla="*/ 13360 h 461519"/>
                <a:gd name="connsiteX141" fmla="*/ 170733 w 201173"/>
                <a:gd name="connsiteY141" fmla="*/ 24113 h 461519"/>
                <a:gd name="connsiteX142" fmla="*/ 173554 w 201173"/>
                <a:gd name="connsiteY142" fmla="*/ 24472 h 461519"/>
                <a:gd name="connsiteX143" fmla="*/ 178364 w 201173"/>
                <a:gd name="connsiteY143" fmla="*/ 26005 h 461519"/>
                <a:gd name="connsiteX144" fmla="*/ 185819 w 201173"/>
                <a:gd name="connsiteY144" fmla="*/ 32841 h 461519"/>
                <a:gd name="connsiteX145" fmla="*/ 186136 w 201173"/>
                <a:gd name="connsiteY145" fmla="*/ 35289 h 461519"/>
                <a:gd name="connsiteX146" fmla="*/ 187409 w 201173"/>
                <a:gd name="connsiteY146" fmla="*/ 37434 h 461519"/>
                <a:gd name="connsiteX147" fmla="*/ 192979 w 201173"/>
                <a:gd name="connsiteY147" fmla="*/ 45065 h 461519"/>
                <a:gd name="connsiteX148" fmla="*/ 193591 w 201173"/>
                <a:gd name="connsiteY148" fmla="*/ 46956 h 461519"/>
                <a:gd name="connsiteX149" fmla="*/ 191804 w 201173"/>
                <a:gd name="connsiteY149" fmla="*/ 49024 h 461519"/>
                <a:gd name="connsiteX150" fmla="*/ 191383 w 201173"/>
                <a:gd name="connsiteY150" fmla="*/ 51408 h 461519"/>
                <a:gd name="connsiteX151" fmla="*/ 191383 w 201173"/>
                <a:gd name="connsiteY151" fmla="*/ 56536 h 461519"/>
                <a:gd name="connsiteX152" fmla="*/ 192979 w 201173"/>
                <a:gd name="connsiteY152" fmla="*/ 58561 h 461519"/>
                <a:gd name="connsiteX153" fmla="*/ 192416 w 201173"/>
                <a:gd name="connsiteY153" fmla="*/ 60629 h 461519"/>
                <a:gd name="connsiteX154" fmla="*/ 191383 w 201173"/>
                <a:gd name="connsiteY154" fmla="*/ 62401 h 461519"/>
                <a:gd name="connsiteX155" fmla="*/ 191804 w 201173"/>
                <a:gd name="connsiteY155" fmla="*/ 65397 h 461519"/>
                <a:gd name="connsiteX156" fmla="*/ 194864 w 201173"/>
                <a:gd name="connsiteY156" fmla="*/ 66375 h 461519"/>
                <a:gd name="connsiteX157" fmla="*/ 196158 w 201173"/>
                <a:gd name="connsiteY157" fmla="*/ 70109 h 461519"/>
                <a:gd name="connsiteX158" fmla="*/ 194864 w 201173"/>
                <a:gd name="connsiteY158" fmla="*/ 72297 h 461519"/>
                <a:gd name="connsiteX159" fmla="*/ 194779 w 201173"/>
                <a:gd name="connsiteY159" fmla="*/ 72402 h 461519"/>
                <a:gd name="connsiteX160" fmla="*/ 192416 w 201173"/>
                <a:gd name="connsiteY160" fmla="*/ 75595 h 461519"/>
                <a:gd name="connsiteX161" fmla="*/ 194245 w 201173"/>
                <a:gd name="connsiteY161" fmla="*/ 80863 h 461519"/>
                <a:gd name="connsiteX162" fmla="*/ 196889 w 201173"/>
                <a:gd name="connsiteY162" fmla="*/ 85554 h 461519"/>
                <a:gd name="connsiteX163" fmla="*/ 199196 w 201173"/>
                <a:gd name="connsiteY163" fmla="*/ 90266 h 461519"/>
                <a:gd name="connsiteX164" fmla="*/ 198542 w 201173"/>
                <a:gd name="connsiteY164" fmla="*/ 91736 h 461519"/>
                <a:gd name="connsiteX165" fmla="*/ 197670 w 201173"/>
                <a:gd name="connsiteY165" fmla="*/ 94423 h 461519"/>
                <a:gd name="connsiteX166" fmla="*/ 197670 w 201173"/>
                <a:gd name="connsiteY166" fmla="*/ 99908 h 461519"/>
                <a:gd name="connsiteX167" fmla="*/ 196889 w 201173"/>
                <a:gd name="connsiteY167" fmla="*/ 101674 h 461519"/>
                <a:gd name="connsiteX168" fmla="*/ 194864 w 201173"/>
                <a:gd name="connsiteY168" fmla="*/ 104058 h 461519"/>
                <a:gd name="connsiteX169" fmla="*/ 194245 w 201173"/>
                <a:gd name="connsiteY169" fmla="*/ 107617 h 461519"/>
                <a:gd name="connsiteX170" fmla="*/ 194245 w 201173"/>
                <a:gd name="connsiteY170" fmla="*/ 111393 h 461519"/>
                <a:gd name="connsiteX171" fmla="*/ 195539 w 201173"/>
                <a:gd name="connsiteY171" fmla="*/ 114755 h 461519"/>
                <a:gd name="connsiteX172" fmla="*/ 199196 w 201173"/>
                <a:gd name="connsiteY172" fmla="*/ 119144 h 461519"/>
                <a:gd name="connsiteX173" fmla="*/ 200969 w 201173"/>
                <a:gd name="connsiteY173" fmla="*/ 130572 h 461519"/>
                <a:gd name="connsiteX174" fmla="*/ 197670 w 201173"/>
                <a:gd name="connsiteY174" fmla="*/ 130572 h 461519"/>
                <a:gd name="connsiteX175" fmla="*/ 195539 w 201173"/>
                <a:gd name="connsiteY175" fmla="*/ 130094 h 461519"/>
                <a:gd name="connsiteX176" fmla="*/ 194864 w 201173"/>
                <a:gd name="connsiteY176" fmla="*/ 128448 h 461519"/>
                <a:gd name="connsiteX177" fmla="*/ 193035 w 201173"/>
                <a:gd name="connsiteY177" fmla="*/ 129721 h 461519"/>
                <a:gd name="connsiteX178" fmla="*/ 190771 w 201173"/>
                <a:gd name="connsiteY178" fmla="*/ 130094 h 461519"/>
                <a:gd name="connsiteX179" fmla="*/ 187908 w 201173"/>
                <a:gd name="connsiteY179" fmla="*/ 130094 h 461519"/>
                <a:gd name="connsiteX180" fmla="*/ 187233 w 201173"/>
                <a:gd name="connsiteY180" fmla="*/ 131550 h 461519"/>
                <a:gd name="connsiteX181" fmla="*/ 183140 w 201173"/>
                <a:gd name="connsiteY181" fmla="*/ 130572 h 461519"/>
                <a:gd name="connsiteX182" fmla="*/ 181606 w 201173"/>
                <a:gd name="connsiteY182" fmla="*/ 129721 h 461519"/>
                <a:gd name="connsiteX183" fmla="*/ 180573 w 201173"/>
                <a:gd name="connsiteY183" fmla="*/ 127893 h 461519"/>
                <a:gd name="connsiteX184" fmla="*/ 179223 w 201173"/>
                <a:gd name="connsiteY184" fmla="*/ 127098 h 461519"/>
                <a:gd name="connsiteX185" fmla="*/ 179223 w 201173"/>
                <a:gd name="connsiteY185" fmla="*/ 128448 h 461519"/>
                <a:gd name="connsiteX186" fmla="*/ 178864 w 201173"/>
                <a:gd name="connsiteY186" fmla="*/ 130572 h 461519"/>
                <a:gd name="connsiteX187" fmla="*/ 176599 w 201173"/>
                <a:gd name="connsiteY187" fmla="*/ 130094 h 461519"/>
                <a:gd name="connsiteX188" fmla="*/ 176058 w 201173"/>
                <a:gd name="connsiteY188" fmla="*/ 128448 h 461519"/>
                <a:gd name="connsiteX189" fmla="*/ 175741 w 201173"/>
                <a:gd name="connsiteY189" fmla="*/ 127098 h 461519"/>
                <a:gd name="connsiteX190" fmla="*/ 173856 w 201173"/>
                <a:gd name="connsiteY190" fmla="*/ 127893 h 461519"/>
                <a:gd name="connsiteX191" fmla="*/ 173554 w 201173"/>
                <a:gd name="connsiteY191" fmla="*/ 131550 h 461519"/>
                <a:gd name="connsiteX192" fmla="*/ 172759 w 201173"/>
                <a:gd name="connsiteY192" fmla="*/ 132957 h 461519"/>
                <a:gd name="connsiteX193" fmla="*/ 172028 w 201173"/>
                <a:gd name="connsiteY193" fmla="*/ 135109 h 461519"/>
                <a:gd name="connsiteX194" fmla="*/ 173856 w 201173"/>
                <a:gd name="connsiteY194" fmla="*/ 137113 h 461519"/>
                <a:gd name="connsiteX195" fmla="*/ 174215 w 201173"/>
                <a:gd name="connsiteY195" fmla="*/ 139617 h 461519"/>
                <a:gd name="connsiteX196" fmla="*/ 174532 w 201173"/>
                <a:gd name="connsiteY196" fmla="*/ 141685 h 461519"/>
                <a:gd name="connsiteX197" fmla="*/ 173856 w 201173"/>
                <a:gd name="connsiteY197" fmla="*/ 143218 h 461519"/>
                <a:gd name="connsiteX198" fmla="*/ 172759 w 201173"/>
                <a:gd name="connsiteY198" fmla="*/ 142676 h 461519"/>
                <a:gd name="connsiteX199" fmla="*/ 172028 w 201173"/>
                <a:gd name="connsiteY199" fmla="*/ 140412 h 461519"/>
                <a:gd name="connsiteX200" fmla="*/ 169819 w 201173"/>
                <a:gd name="connsiteY200" fmla="*/ 140412 h 461519"/>
                <a:gd name="connsiteX201" fmla="*/ 167991 w 201173"/>
                <a:gd name="connsiteY201" fmla="*/ 139125 h 461519"/>
                <a:gd name="connsiteX202" fmla="*/ 167076 w 201173"/>
                <a:gd name="connsiteY202" fmla="*/ 140412 h 461519"/>
                <a:gd name="connsiteX203" fmla="*/ 168405 w 201173"/>
                <a:gd name="connsiteY203" fmla="*/ 142304 h 461519"/>
                <a:gd name="connsiteX204" fmla="*/ 167076 w 201173"/>
                <a:gd name="connsiteY204" fmla="*/ 144505 h 461519"/>
                <a:gd name="connsiteX205" fmla="*/ 164812 w 201173"/>
                <a:gd name="connsiteY205" fmla="*/ 146038 h 461519"/>
                <a:gd name="connsiteX206" fmla="*/ 163539 w 201173"/>
                <a:gd name="connsiteY206" fmla="*/ 144505 h 461519"/>
                <a:gd name="connsiteX207" fmla="*/ 161035 w 201173"/>
                <a:gd name="connsiteY207" fmla="*/ 144505 h 461519"/>
                <a:gd name="connsiteX208" fmla="*/ 159860 w 201173"/>
                <a:gd name="connsiteY208" fmla="*/ 146038 h 461519"/>
                <a:gd name="connsiteX209" fmla="*/ 161450 w 201173"/>
                <a:gd name="connsiteY209" fmla="*/ 147607 h 461519"/>
                <a:gd name="connsiteX210" fmla="*/ 162681 w 201173"/>
                <a:gd name="connsiteY210" fmla="*/ 149196 h 461519"/>
                <a:gd name="connsiteX211" fmla="*/ 161450 w 201173"/>
                <a:gd name="connsiteY211" fmla="*/ 151046 h 461519"/>
                <a:gd name="connsiteX212" fmla="*/ 161035 w 201173"/>
                <a:gd name="connsiteY212" fmla="*/ 155920 h 461519"/>
                <a:gd name="connsiteX213" fmla="*/ 157301 w 201173"/>
                <a:gd name="connsiteY213" fmla="*/ 162038 h 461519"/>
                <a:gd name="connsiteX214" fmla="*/ 155472 w 201173"/>
                <a:gd name="connsiteY214" fmla="*/ 164781 h 461519"/>
                <a:gd name="connsiteX215" fmla="*/ 153200 w 201173"/>
                <a:gd name="connsiteY215" fmla="*/ 165520 h 461519"/>
                <a:gd name="connsiteX216" fmla="*/ 155472 w 201173"/>
                <a:gd name="connsiteY216" fmla="*/ 167721 h 461519"/>
                <a:gd name="connsiteX217" fmla="*/ 157617 w 201173"/>
                <a:gd name="connsiteY217" fmla="*/ 170351 h 461519"/>
                <a:gd name="connsiteX218" fmla="*/ 156028 w 201173"/>
                <a:gd name="connsiteY218" fmla="*/ 170886 h 461519"/>
                <a:gd name="connsiteX219" fmla="*/ 156323 w 201173"/>
                <a:gd name="connsiteY219" fmla="*/ 172651 h 461519"/>
                <a:gd name="connsiteX220" fmla="*/ 159066 w 201173"/>
                <a:gd name="connsiteY220" fmla="*/ 174445 h 461519"/>
                <a:gd name="connsiteX221" fmla="*/ 160360 w 201173"/>
                <a:gd name="connsiteY221" fmla="*/ 179072 h 461519"/>
                <a:gd name="connsiteX222" fmla="*/ 162188 w 201173"/>
                <a:gd name="connsiteY222" fmla="*/ 179628 h 461519"/>
                <a:gd name="connsiteX223" fmla="*/ 161035 w 201173"/>
                <a:gd name="connsiteY223" fmla="*/ 182554 h 461519"/>
                <a:gd name="connsiteX224" fmla="*/ 157617 w 201173"/>
                <a:gd name="connsiteY224" fmla="*/ 185114 h 461519"/>
                <a:gd name="connsiteX225" fmla="*/ 155472 w 201173"/>
                <a:gd name="connsiteY225" fmla="*/ 186647 h 461519"/>
                <a:gd name="connsiteX226" fmla="*/ 153643 w 201173"/>
                <a:gd name="connsiteY226" fmla="*/ 188419 h 461519"/>
                <a:gd name="connsiteX227" fmla="*/ 152609 w 201173"/>
                <a:gd name="connsiteY227" fmla="*/ 192034 h 461519"/>
                <a:gd name="connsiteX228" fmla="*/ 148256 w 201173"/>
                <a:gd name="connsiteY228" fmla="*/ 200143 h 461519"/>
                <a:gd name="connsiteX229" fmla="*/ 146666 w 201173"/>
                <a:gd name="connsiteY229" fmla="*/ 202113 h 461519"/>
                <a:gd name="connsiteX230" fmla="*/ 145330 w 201173"/>
                <a:gd name="connsiteY230" fmla="*/ 203758 h 461519"/>
                <a:gd name="connsiteX231" fmla="*/ 142327 w 201173"/>
                <a:gd name="connsiteY231" fmla="*/ 204300 h 461519"/>
                <a:gd name="connsiteX232" fmla="*/ 141532 w 201173"/>
                <a:gd name="connsiteY232" fmla="*/ 206783 h 461519"/>
                <a:gd name="connsiteX233" fmla="*/ 139887 w 201173"/>
                <a:gd name="connsiteY233" fmla="*/ 206783 h 461519"/>
                <a:gd name="connsiteX234" fmla="*/ 137636 w 201173"/>
                <a:gd name="connsiteY234" fmla="*/ 208653 h 461519"/>
                <a:gd name="connsiteX235" fmla="*/ 134619 w 201173"/>
                <a:gd name="connsiteY235" fmla="*/ 211551 h 461519"/>
                <a:gd name="connsiteX236" fmla="*/ 133866 w 201173"/>
                <a:gd name="connsiteY236" fmla="*/ 215068 h 461519"/>
                <a:gd name="connsiteX237" fmla="*/ 131974 w 201173"/>
                <a:gd name="connsiteY237" fmla="*/ 215068 h 461519"/>
                <a:gd name="connsiteX238" fmla="*/ 130962 w 201173"/>
                <a:gd name="connsiteY238" fmla="*/ 212564 h 461519"/>
                <a:gd name="connsiteX239" fmla="*/ 129450 w 201173"/>
                <a:gd name="connsiteY239" fmla="*/ 210039 h 461519"/>
                <a:gd name="connsiteX240" fmla="*/ 129450 w 201173"/>
                <a:gd name="connsiteY240" fmla="*/ 215068 h 461519"/>
                <a:gd name="connsiteX241" fmla="*/ 126826 w 201173"/>
                <a:gd name="connsiteY241" fmla="*/ 214435 h 461519"/>
                <a:gd name="connsiteX242" fmla="*/ 125216 w 201173"/>
                <a:gd name="connsiteY242" fmla="*/ 218605 h 461519"/>
                <a:gd name="connsiteX243" fmla="*/ 123331 w 201173"/>
                <a:gd name="connsiteY243" fmla="*/ 222262 h 461519"/>
                <a:gd name="connsiteX244" fmla="*/ 122255 w 201173"/>
                <a:gd name="connsiteY244" fmla="*/ 222762 h 461519"/>
                <a:gd name="connsiteX245" fmla="*/ 119969 w 201173"/>
                <a:gd name="connsiteY245" fmla="*/ 220181 h 461519"/>
                <a:gd name="connsiteX246" fmla="*/ 118773 w 201173"/>
                <a:gd name="connsiteY246" fmla="*/ 222762 h 461519"/>
                <a:gd name="connsiteX247" fmla="*/ 113850 w 201173"/>
                <a:gd name="connsiteY247" fmla="*/ 227987 h 461519"/>
                <a:gd name="connsiteX248" fmla="*/ 112155 w 201173"/>
                <a:gd name="connsiteY248" fmla="*/ 229380 h 461519"/>
                <a:gd name="connsiteX249" fmla="*/ 114539 w 201173"/>
                <a:gd name="connsiteY249" fmla="*/ 231349 h 461519"/>
                <a:gd name="connsiteX250" fmla="*/ 112950 w 201173"/>
                <a:gd name="connsiteY250" fmla="*/ 233712 h 461519"/>
                <a:gd name="connsiteX251" fmla="*/ 109989 w 201173"/>
                <a:gd name="connsiteY251" fmla="*/ 235506 h 461519"/>
                <a:gd name="connsiteX252" fmla="*/ 108006 w 201173"/>
                <a:gd name="connsiteY252" fmla="*/ 235506 h 461519"/>
                <a:gd name="connsiteX253" fmla="*/ 105839 w 201173"/>
                <a:gd name="connsiteY253" fmla="*/ 231947 h 461519"/>
                <a:gd name="connsiteX254" fmla="*/ 103568 w 201173"/>
                <a:gd name="connsiteY254" fmla="*/ 230076 h 461519"/>
                <a:gd name="connsiteX255" fmla="*/ 103568 w 201173"/>
                <a:gd name="connsiteY255" fmla="*/ 232939 h 461519"/>
                <a:gd name="connsiteX256" fmla="*/ 106332 w 201173"/>
                <a:gd name="connsiteY256" fmla="*/ 236300 h 461519"/>
                <a:gd name="connsiteX257" fmla="*/ 106332 w 201173"/>
                <a:gd name="connsiteY257" fmla="*/ 240654 h 461519"/>
                <a:gd name="connsiteX258" fmla="*/ 106332 w 201173"/>
                <a:gd name="connsiteY258" fmla="*/ 244311 h 461519"/>
                <a:gd name="connsiteX259" fmla="*/ 103568 w 201173"/>
                <a:gd name="connsiteY259" fmla="*/ 246280 h 461519"/>
                <a:gd name="connsiteX260" fmla="*/ 101880 w 201173"/>
                <a:gd name="connsiteY260" fmla="*/ 247370 h 461519"/>
                <a:gd name="connsiteX261" fmla="*/ 99214 w 201173"/>
                <a:gd name="connsiteY261" fmla="*/ 247370 h 461519"/>
                <a:gd name="connsiteX262" fmla="*/ 97526 w 201173"/>
                <a:gd name="connsiteY262" fmla="*/ 247370 h 461519"/>
                <a:gd name="connsiteX263" fmla="*/ 98525 w 201173"/>
                <a:gd name="connsiteY263" fmla="*/ 250732 h 461519"/>
                <a:gd name="connsiteX264" fmla="*/ 96655 w 201173"/>
                <a:gd name="connsiteY264" fmla="*/ 268519 h 461519"/>
                <a:gd name="connsiteX265" fmla="*/ 99214 w 201173"/>
                <a:gd name="connsiteY265" fmla="*/ 272471 h 461519"/>
                <a:gd name="connsiteX266" fmla="*/ 98525 w 201173"/>
                <a:gd name="connsiteY266" fmla="*/ 275038 h 461519"/>
                <a:gd name="connsiteX267" fmla="*/ 94172 w 201173"/>
                <a:gd name="connsiteY267" fmla="*/ 272471 h 461519"/>
                <a:gd name="connsiteX268" fmla="*/ 94172 w 201173"/>
                <a:gd name="connsiteY268" fmla="*/ 275735 h 461519"/>
                <a:gd name="connsiteX269" fmla="*/ 93497 w 201173"/>
                <a:gd name="connsiteY269" fmla="*/ 284125 h 461519"/>
                <a:gd name="connsiteX270" fmla="*/ 94664 w 201173"/>
                <a:gd name="connsiteY270" fmla="*/ 286706 h 461519"/>
                <a:gd name="connsiteX271" fmla="*/ 94172 w 201173"/>
                <a:gd name="connsiteY271" fmla="*/ 288774 h 461519"/>
                <a:gd name="connsiteX272" fmla="*/ 94172 w 201173"/>
                <a:gd name="connsiteY272" fmla="*/ 297776 h 461519"/>
                <a:gd name="connsiteX273" fmla="*/ 95817 w 201173"/>
                <a:gd name="connsiteY273" fmla="*/ 300442 h 461519"/>
                <a:gd name="connsiteX274" fmla="*/ 95817 w 201173"/>
                <a:gd name="connsiteY274" fmla="*/ 306068 h 461519"/>
                <a:gd name="connsiteX275" fmla="*/ 100311 w 201173"/>
                <a:gd name="connsiteY275" fmla="*/ 307658 h 461519"/>
                <a:gd name="connsiteX276" fmla="*/ 102281 w 201173"/>
                <a:gd name="connsiteY276" fmla="*/ 310422 h 461519"/>
                <a:gd name="connsiteX277" fmla="*/ 103969 w 201173"/>
                <a:gd name="connsiteY277" fmla="*/ 310422 h 461519"/>
                <a:gd name="connsiteX278" fmla="*/ 106332 w 201173"/>
                <a:gd name="connsiteY278" fmla="*/ 309029 h 461519"/>
                <a:gd name="connsiteX279" fmla="*/ 108597 w 201173"/>
                <a:gd name="connsiteY279" fmla="*/ 312686 h 461519"/>
                <a:gd name="connsiteX280" fmla="*/ 110685 w 201173"/>
                <a:gd name="connsiteY280" fmla="*/ 315865 h 461519"/>
                <a:gd name="connsiteX281" fmla="*/ 115116 w 201173"/>
                <a:gd name="connsiteY281" fmla="*/ 317933 h 461519"/>
                <a:gd name="connsiteX282" fmla="*/ 117106 w 201173"/>
                <a:gd name="connsiteY282" fmla="*/ 323081 h 461519"/>
                <a:gd name="connsiteX283" fmla="*/ 120370 w 201173"/>
                <a:gd name="connsiteY283" fmla="*/ 325845 h 461519"/>
                <a:gd name="connsiteX284" fmla="*/ 121657 w 201173"/>
                <a:gd name="connsiteY284" fmla="*/ 336022 h 461519"/>
                <a:gd name="connsiteX285" fmla="*/ 118977 w 201173"/>
                <a:gd name="connsiteY285" fmla="*/ 336022 h 461519"/>
                <a:gd name="connsiteX286" fmla="*/ 117106 w 201173"/>
                <a:gd name="connsiteY286" fmla="*/ 337991 h 461519"/>
                <a:gd name="connsiteX287" fmla="*/ 115116 w 201173"/>
                <a:gd name="connsiteY287" fmla="*/ 340375 h 461519"/>
                <a:gd name="connsiteX288" fmla="*/ 112254 w 201173"/>
                <a:gd name="connsiteY288" fmla="*/ 342935 h 461519"/>
                <a:gd name="connsiteX289" fmla="*/ 109693 w 201173"/>
                <a:gd name="connsiteY289" fmla="*/ 344033 h 461519"/>
                <a:gd name="connsiteX290" fmla="*/ 108597 w 201173"/>
                <a:gd name="connsiteY290" fmla="*/ 346494 h 461519"/>
                <a:gd name="connsiteX291" fmla="*/ 111283 w 201173"/>
                <a:gd name="connsiteY291" fmla="*/ 348182 h 461519"/>
                <a:gd name="connsiteX292" fmla="*/ 112254 w 201173"/>
                <a:gd name="connsiteY292" fmla="*/ 350749 h 461519"/>
                <a:gd name="connsiteX293" fmla="*/ 112950 w 201173"/>
                <a:gd name="connsiteY293" fmla="*/ 353309 h 461519"/>
                <a:gd name="connsiteX294" fmla="*/ 108597 w 201173"/>
                <a:gd name="connsiteY294" fmla="*/ 355103 h 461519"/>
                <a:gd name="connsiteX295" fmla="*/ 107028 w 201173"/>
                <a:gd name="connsiteY295" fmla="*/ 355679 h 461519"/>
                <a:gd name="connsiteX296" fmla="*/ 106332 w 201173"/>
                <a:gd name="connsiteY296" fmla="*/ 358858 h 461519"/>
                <a:gd name="connsiteX297" fmla="*/ 105270 w 201173"/>
                <a:gd name="connsiteY297" fmla="*/ 360230 h 461519"/>
                <a:gd name="connsiteX298" fmla="*/ 105242 w 201173"/>
                <a:gd name="connsiteY298" fmla="*/ 360230 h 461519"/>
                <a:gd name="connsiteX299" fmla="*/ 103076 w 201173"/>
                <a:gd name="connsiteY299" fmla="*/ 359435 h 461519"/>
                <a:gd name="connsiteX300" fmla="*/ 103076 w 201173"/>
                <a:gd name="connsiteY300" fmla="*/ 356973 h 461519"/>
                <a:gd name="connsiteX301" fmla="*/ 102281 w 201173"/>
                <a:gd name="connsiteY301" fmla="*/ 355103 h 461519"/>
                <a:gd name="connsiteX302" fmla="*/ 101282 w 201173"/>
                <a:gd name="connsiteY302" fmla="*/ 356973 h 461519"/>
                <a:gd name="connsiteX303" fmla="*/ 99320 w 201173"/>
                <a:gd name="connsiteY303" fmla="*/ 361320 h 461519"/>
                <a:gd name="connsiteX304" fmla="*/ 95817 w 201173"/>
                <a:gd name="connsiteY304" fmla="*/ 365420 h 461519"/>
                <a:gd name="connsiteX305" fmla="*/ 93215 w 201173"/>
                <a:gd name="connsiteY305" fmla="*/ 366433 h 461519"/>
                <a:gd name="connsiteX306" fmla="*/ 90690 w 201173"/>
                <a:gd name="connsiteY306" fmla="*/ 367840 h 461519"/>
                <a:gd name="connsiteX307" fmla="*/ 87553 w 201173"/>
                <a:gd name="connsiteY307" fmla="*/ 367840 h 461519"/>
                <a:gd name="connsiteX308" fmla="*/ 83116 w 201173"/>
                <a:gd name="connsiteY308" fmla="*/ 366433 h 461519"/>
                <a:gd name="connsiteX309" fmla="*/ 79796 w 201173"/>
                <a:gd name="connsiteY309" fmla="*/ 367425 h 461519"/>
                <a:gd name="connsiteX310" fmla="*/ 81210 w 201173"/>
                <a:gd name="connsiteY310" fmla="*/ 369549 h 461519"/>
                <a:gd name="connsiteX311" fmla="*/ 85247 w 201173"/>
                <a:gd name="connsiteY311" fmla="*/ 368838 h 461519"/>
                <a:gd name="connsiteX312" fmla="*/ 89277 w 201173"/>
                <a:gd name="connsiteY312" fmla="*/ 370962 h 461519"/>
                <a:gd name="connsiteX313" fmla="*/ 89277 w 201173"/>
                <a:gd name="connsiteY313" fmla="*/ 372868 h 461519"/>
                <a:gd name="connsiteX314" fmla="*/ 86041 w 201173"/>
                <a:gd name="connsiteY314" fmla="*/ 372868 h 461519"/>
                <a:gd name="connsiteX315" fmla="*/ 83116 w 201173"/>
                <a:gd name="connsiteY315" fmla="*/ 372868 h 461519"/>
                <a:gd name="connsiteX316" fmla="*/ 84726 w 201173"/>
                <a:gd name="connsiteY316" fmla="*/ 374085 h 461519"/>
                <a:gd name="connsiteX317" fmla="*/ 87969 w 201173"/>
                <a:gd name="connsiteY317" fmla="*/ 377622 h 461519"/>
                <a:gd name="connsiteX318" fmla="*/ 88665 w 201173"/>
                <a:gd name="connsiteY318" fmla="*/ 381554 h 461519"/>
                <a:gd name="connsiteX319" fmla="*/ 87969 w 201173"/>
                <a:gd name="connsiteY319" fmla="*/ 384065 h 461519"/>
                <a:gd name="connsiteX320" fmla="*/ 87969 w 201173"/>
                <a:gd name="connsiteY320" fmla="*/ 387898 h 461519"/>
                <a:gd name="connsiteX321" fmla="*/ 86555 w 201173"/>
                <a:gd name="connsiteY321" fmla="*/ 389607 h 461519"/>
                <a:gd name="connsiteX322" fmla="*/ 84234 w 201173"/>
                <a:gd name="connsiteY322" fmla="*/ 387898 h 461519"/>
                <a:gd name="connsiteX323" fmla="*/ 84234 w 201173"/>
                <a:gd name="connsiteY323" fmla="*/ 391935 h 461519"/>
                <a:gd name="connsiteX324" fmla="*/ 87153 w 201173"/>
                <a:gd name="connsiteY324" fmla="*/ 396070 h 461519"/>
                <a:gd name="connsiteX325" fmla="*/ 84234 w 201173"/>
                <a:gd name="connsiteY325" fmla="*/ 399284 h 461519"/>
                <a:gd name="connsiteX326" fmla="*/ 87153 w 201173"/>
                <a:gd name="connsiteY326" fmla="*/ 402112 h 461519"/>
                <a:gd name="connsiteX327" fmla="*/ 85247 w 201173"/>
                <a:gd name="connsiteY327" fmla="*/ 405051 h 461519"/>
                <a:gd name="connsiteX328" fmla="*/ 83116 w 201173"/>
                <a:gd name="connsiteY328" fmla="*/ 408568 h 461519"/>
                <a:gd name="connsiteX329" fmla="*/ 85247 w 201173"/>
                <a:gd name="connsiteY329" fmla="*/ 414314 h 461519"/>
                <a:gd name="connsiteX330" fmla="*/ 83116 w 201173"/>
                <a:gd name="connsiteY330" fmla="*/ 415130 h 461519"/>
                <a:gd name="connsiteX331" fmla="*/ 83116 w 201173"/>
                <a:gd name="connsiteY331" fmla="*/ 419068 h 461519"/>
                <a:gd name="connsiteX332" fmla="*/ 78087 w 201173"/>
                <a:gd name="connsiteY332" fmla="*/ 432065 h 461519"/>
                <a:gd name="connsiteX333" fmla="*/ 72327 w 201173"/>
                <a:gd name="connsiteY333" fmla="*/ 441145 h 461519"/>
                <a:gd name="connsiteX334" fmla="*/ 71012 w 201173"/>
                <a:gd name="connsiteY334" fmla="*/ 438923 h 461519"/>
                <a:gd name="connsiteX335" fmla="*/ 68192 w 201173"/>
                <a:gd name="connsiteY335" fmla="*/ 438923 h 461519"/>
                <a:gd name="connsiteX336" fmla="*/ 66180 w 201173"/>
                <a:gd name="connsiteY336" fmla="*/ 439640 h 461519"/>
                <a:gd name="connsiteX337" fmla="*/ 63859 w 201173"/>
                <a:gd name="connsiteY337" fmla="*/ 438923 h 461519"/>
                <a:gd name="connsiteX338" fmla="*/ 57614 w 201173"/>
                <a:gd name="connsiteY338" fmla="*/ 438923 h 461519"/>
                <a:gd name="connsiteX339" fmla="*/ 56207 w 201173"/>
                <a:gd name="connsiteY339" fmla="*/ 441145 h 461519"/>
                <a:gd name="connsiteX340" fmla="*/ 56207 w 201173"/>
                <a:gd name="connsiteY340" fmla="*/ 443452 h 461519"/>
                <a:gd name="connsiteX341" fmla="*/ 52768 w 201173"/>
                <a:gd name="connsiteY341" fmla="*/ 442460 h 461519"/>
                <a:gd name="connsiteX342" fmla="*/ 50961 w 201173"/>
                <a:gd name="connsiteY342" fmla="*/ 444563 h 461519"/>
                <a:gd name="connsiteX343" fmla="*/ 48133 w 201173"/>
                <a:gd name="connsiteY343" fmla="*/ 450928 h 461519"/>
                <a:gd name="connsiteX344" fmla="*/ 50961 w 201173"/>
                <a:gd name="connsiteY344" fmla="*/ 455858 h 461519"/>
                <a:gd name="connsiteX345" fmla="*/ 49744 w 201173"/>
                <a:gd name="connsiteY345" fmla="*/ 458995 h 461519"/>
                <a:gd name="connsiteX346" fmla="*/ 46009 w 201173"/>
                <a:gd name="connsiteY346" fmla="*/ 460704 h 461519"/>
                <a:gd name="connsiteX347" fmla="*/ 42493 w 201173"/>
                <a:gd name="connsiteY347" fmla="*/ 458995 h 461519"/>
                <a:gd name="connsiteX348" fmla="*/ 37837 w 201173"/>
                <a:gd name="connsiteY348" fmla="*/ 460704 h 461519"/>
                <a:gd name="connsiteX349" fmla="*/ 34517 w 201173"/>
                <a:gd name="connsiteY349" fmla="*/ 461520 h 461519"/>
                <a:gd name="connsiteX350" fmla="*/ 30487 w 201173"/>
                <a:gd name="connsiteY350" fmla="*/ 458995 h 461519"/>
                <a:gd name="connsiteX351" fmla="*/ 29890 w 201173"/>
                <a:gd name="connsiteY351" fmla="*/ 453354 h 461519"/>
                <a:gd name="connsiteX352" fmla="*/ 29890 w 201173"/>
                <a:gd name="connsiteY352" fmla="*/ 448108 h 461519"/>
                <a:gd name="connsiteX353" fmla="*/ 23349 w 201173"/>
                <a:gd name="connsiteY353" fmla="*/ 435603 h 461519"/>
                <a:gd name="connsiteX354" fmla="*/ 27660 w 201173"/>
                <a:gd name="connsiteY354" fmla="*/ 435603 h 461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201173" h="461519">
                  <a:moveTo>
                    <a:pt x="27660" y="435603"/>
                  </a:moveTo>
                  <a:cubicBezTo>
                    <a:pt x="27379" y="434843"/>
                    <a:pt x="26493" y="433268"/>
                    <a:pt x="25234" y="433001"/>
                  </a:cubicBezTo>
                  <a:cubicBezTo>
                    <a:pt x="23672" y="431665"/>
                    <a:pt x="24587" y="430863"/>
                    <a:pt x="25234" y="430631"/>
                  </a:cubicBezTo>
                  <a:lnTo>
                    <a:pt x="28638" y="432065"/>
                  </a:lnTo>
                  <a:cubicBezTo>
                    <a:pt x="28638" y="429695"/>
                    <a:pt x="28441" y="424948"/>
                    <a:pt x="27660" y="424948"/>
                  </a:cubicBezTo>
                  <a:cubicBezTo>
                    <a:pt x="26689" y="424948"/>
                    <a:pt x="25234" y="424807"/>
                    <a:pt x="24460" y="423696"/>
                  </a:cubicBezTo>
                  <a:cubicBezTo>
                    <a:pt x="23841" y="422803"/>
                    <a:pt x="23461" y="420236"/>
                    <a:pt x="23349" y="419068"/>
                  </a:cubicBezTo>
                  <a:cubicBezTo>
                    <a:pt x="22428" y="418660"/>
                    <a:pt x="20444" y="417683"/>
                    <a:pt x="19888" y="417015"/>
                  </a:cubicBezTo>
                  <a:cubicBezTo>
                    <a:pt x="19192" y="416185"/>
                    <a:pt x="18777" y="415130"/>
                    <a:pt x="18637" y="414314"/>
                  </a:cubicBezTo>
                  <a:cubicBezTo>
                    <a:pt x="18496" y="413498"/>
                    <a:pt x="18637" y="411452"/>
                    <a:pt x="17525" y="410361"/>
                  </a:cubicBezTo>
                  <a:cubicBezTo>
                    <a:pt x="16632" y="409482"/>
                    <a:pt x="16414" y="405635"/>
                    <a:pt x="16414" y="403821"/>
                  </a:cubicBezTo>
                  <a:cubicBezTo>
                    <a:pt x="15950" y="404229"/>
                    <a:pt x="14853" y="405051"/>
                    <a:pt x="14185" y="405051"/>
                  </a:cubicBezTo>
                  <a:cubicBezTo>
                    <a:pt x="13516" y="405051"/>
                    <a:pt x="13910" y="400241"/>
                    <a:pt x="14185" y="397835"/>
                  </a:cubicBezTo>
                  <a:lnTo>
                    <a:pt x="12518" y="397835"/>
                  </a:lnTo>
                  <a:cubicBezTo>
                    <a:pt x="12286" y="397245"/>
                    <a:pt x="11604" y="395613"/>
                    <a:pt x="10725" y="393798"/>
                  </a:cubicBezTo>
                  <a:cubicBezTo>
                    <a:pt x="9852" y="391991"/>
                    <a:pt x="10366" y="390247"/>
                    <a:pt x="10725" y="389607"/>
                  </a:cubicBezTo>
                  <a:cubicBezTo>
                    <a:pt x="11182" y="388320"/>
                    <a:pt x="12180" y="385556"/>
                    <a:pt x="12518" y="384775"/>
                  </a:cubicBezTo>
                  <a:cubicBezTo>
                    <a:pt x="12933" y="383805"/>
                    <a:pt x="13271" y="381554"/>
                    <a:pt x="13271" y="380464"/>
                  </a:cubicBezTo>
                  <a:cubicBezTo>
                    <a:pt x="13271" y="379592"/>
                    <a:pt x="11575" y="377412"/>
                    <a:pt x="10725" y="376427"/>
                  </a:cubicBezTo>
                  <a:cubicBezTo>
                    <a:pt x="10267" y="375878"/>
                    <a:pt x="9163" y="374640"/>
                    <a:pt x="8382" y="374085"/>
                  </a:cubicBezTo>
                  <a:cubicBezTo>
                    <a:pt x="7405" y="373389"/>
                    <a:pt x="5640" y="378375"/>
                    <a:pt x="4746" y="377622"/>
                  </a:cubicBezTo>
                  <a:cubicBezTo>
                    <a:pt x="4029" y="377018"/>
                    <a:pt x="3516" y="376575"/>
                    <a:pt x="3354" y="376427"/>
                  </a:cubicBezTo>
                  <a:cubicBezTo>
                    <a:pt x="3073" y="373895"/>
                    <a:pt x="2489" y="368156"/>
                    <a:pt x="2376" y="365420"/>
                  </a:cubicBezTo>
                  <a:cubicBezTo>
                    <a:pt x="2243" y="362002"/>
                    <a:pt x="1546" y="361320"/>
                    <a:pt x="372" y="359435"/>
                  </a:cubicBezTo>
                  <a:cubicBezTo>
                    <a:pt x="-803" y="357543"/>
                    <a:pt x="1145" y="356973"/>
                    <a:pt x="1546" y="355103"/>
                  </a:cubicBezTo>
                  <a:cubicBezTo>
                    <a:pt x="1940" y="353232"/>
                    <a:pt x="4866" y="355679"/>
                    <a:pt x="5640" y="356973"/>
                  </a:cubicBezTo>
                  <a:cubicBezTo>
                    <a:pt x="6413" y="358261"/>
                    <a:pt x="7011" y="359435"/>
                    <a:pt x="8382" y="359259"/>
                  </a:cubicBezTo>
                  <a:cubicBezTo>
                    <a:pt x="9754" y="359076"/>
                    <a:pt x="10725" y="356973"/>
                    <a:pt x="10725" y="355679"/>
                  </a:cubicBezTo>
                  <a:lnTo>
                    <a:pt x="10725" y="349673"/>
                  </a:lnTo>
                  <a:cubicBezTo>
                    <a:pt x="10725" y="346037"/>
                    <a:pt x="9353" y="341866"/>
                    <a:pt x="9353" y="340375"/>
                  </a:cubicBezTo>
                  <a:cubicBezTo>
                    <a:pt x="9353" y="339180"/>
                    <a:pt x="10267" y="338287"/>
                    <a:pt x="10725" y="337991"/>
                  </a:cubicBezTo>
                  <a:cubicBezTo>
                    <a:pt x="11575" y="337330"/>
                    <a:pt x="13271" y="335544"/>
                    <a:pt x="13271" y="333652"/>
                  </a:cubicBezTo>
                  <a:cubicBezTo>
                    <a:pt x="13271" y="331289"/>
                    <a:pt x="12673" y="330909"/>
                    <a:pt x="13271" y="329741"/>
                  </a:cubicBezTo>
                  <a:cubicBezTo>
                    <a:pt x="13868" y="328567"/>
                    <a:pt x="17568" y="329341"/>
                    <a:pt x="18939" y="328567"/>
                  </a:cubicBezTo>
                  <a:cubicBezTo>
                    <a:pt x="20310" y="327793"/>
                    <a:pt x="21084" y="320155"/>
                    <a:pt x="22055" y="317933"/>
                  </a:cubicBezTo>
                  <a:cubicBezTo>
                    <a:pt x="23032" y="315704"/>
                    <a:pt x="22055" y="313917"/>
                    <a:pt x="23806" y="312686"/>
                  </a:cubicBezTo>
                  <a:cubicBezTo>
                    <a:pt x="25557" y="311456"/>
                    <a:pt x="22055" y="307658"/>
                    <a:pt x="21084" y="306082"/>
                  </a:cubicBezTo>
                  <a:cubicBezTo>
                    <a:pt x="20107" y="304514"/>
                    <a:pt x="18939" y="297776"/>
                    <a:pt x="18939" y="295730"/>
                  </a:cubicBezTo>
                  <a:cubicBezTo>
                    <a:pt x="18939" y="293683"/>
                    <a:pt x="22055" y="293978"/>
                    <a:pt x="23806" y="293781"/>
                  </a:cubicBezTo>
                  <a:cubicBezTo>
                    <a:pt x="25557" y="293585"/>
                    <a:pt x="26746" y="288774"/>
                    <a:pt x="26746" y="286706"/>
                  </a:cubicBezTo>
                  <a:cubicBezTo>
                    <a:pt x="26746" y="284639"/>
                    <a:pt x="26746" y="282451"/>
                    <a:pt x="25775" y="280883"/>
                  </a:cubicBezTo>
                  <a:cubicBezTo>
                    <a:pt x="24798" y="279315"/>
                    <a:pt x="22055" y="277366"/>
                    <a:pt x="18939" y="275038"/>
                  </a:cubicBezTo>
                  <a:cubicBezTo>
                    <a:pt x="15816" y="272710"/>
                    <a:pt x="17568" y="268519"/>
                    <a:pt x="17568" y="267408"/>
                  </a:cubicBezTo>
                  <a:cubicBezTo>
                    <a:pt x="17568" y="266289"/>
                    <a:pt x="18939" y="259770"/>
                    <a:pt x="18939" y="257428"/>
                  </a:cubicBezTo>
                  <a:cubicBezTo>
                    <a:pt x="18939" y="255086"/>
                    <a:pt x="17568" y="246280"/>
                    <a:pt x="17568" y="244311"/>
                  </a:cubicBezTo>
                  <a:cubicBezTo>
                    <a:pt x="17568" y="242342"/>
                    <a:pt x="15992" y="240654"/>
                    <a:pt x="15992" y="238860"/>
                  </a:cubicBezTo>
                  <a:lnTo>
                    <a:pt x="15992" y="232939"/>
                  </a:lnTo>
                  <a:cubicBezTo>
                    <a:pt x="15992" y="229584"/>
                    <a:pt x="17568" y="230076"/>
                    <a:pt x="17568" y="229380"/>
                  </a:cubicBezTo>
                  <a:cubicBezTo>
                    <a:pt x="17568" y="228683"/>
                    <a:pt x="14825" y="224991"/>
                    <a:pt x="14248" y="222262"/>
                  </a:cubicBezTo>
                  <a:cubicBezTo>
                    <a:pt x="13671" y="219541"/>
                    <a:pt x="14445" y="220181"/>
                    <a:pt x="15992" y="218605"/>
                  </a:cubicBezTo>
                  <a:cubicBezTo>
                    <a:pt x="17546" y="217037"/>
                    <a:pt x="17568" y="214435"/>
                    <a:pt x="17568" y="212564"/>
                  </a:cubicBezTo>
                  <a:cubicBezTo>
                    <a:pt x="17568" y="210700"/>
                    <a:pt x="17764" y="210039"/>
                    <a:pt x="18939" y="208653"/>
                  </a:cubicBezTo>
                  <a:cubicBezTo>
                    <a:pt x="20107" y="207261"/>
                    <a:pt x="21281" y="204300"/>
                    <a:pt x="22055" y="202113"/>
                  </a:cubicBezTo>
                  <a:cubicBezTo>
                    <a:pt x="22828" y="199925"/>
                    <a:pt x="26486" y="196346"/>
                    <a:pt x="26746" y="195073"/>
                  </a:cubicBezTo>
                  <a:cubicBezTo>
                    <a:pt x="27006" y="193800"/>
                    <a:pt x="28518" y="193560"/>
                    <a:pt x="30262" y="192688"/>
                  </a:cubicBezTo>
                  <a:cubicBezTo>
                    <a:pt x="32014" y="191816"/>
                    <a:pt x="34278" y="192034"/>
                    <a:pt x="35671" y="192688"/>
                  </a:cubicBezTo>
                  <a:cubicBezTo>
                    <a:pt x="37063" y="193342"/>
                    <a:pt x="40066" y="193560"/>
                    <a:pt x="42472" y="194320"/>
                  </a:cubicBezTo>
                  <a:cubicBezTo>
                    <a:pt x="44877" y="195073"/>
                    <a:pt x="44476" y="194320"/>
                    <a:pt x="45468" y="193560"/>
                  </a:cubicBezTo>
                  <a:cubicBezTo>
                    <a:pt x="46270" y="192963"/>
                    <a:pt x="46811" y="191387"/>
                    <a:pt x="46980" y="190684"/>
                  </a:cubicBezTo>
                  <a:cubicBezTo>
                    <a:pt x="47191" y="189924"/>
                    <a:pt x="47718" y="188293"/>
                    <a:pt x="48112" y="187800"/>
                  </a:cubicBezTo>
                  <a:cubicBezTo>
                    <a:pt x="48612" y="187182"/>
                    <a:pt x="46980" y="185114"/>
                    <a:pt x="47620" y="182554"/>
                  </a:cubicBezTo>
                  <a:cubicBezTo>
                    <a:pt x="48253" y="179987"/>
                    <a:pt x="47360" y="180627"/>
                    <a:pt x="46980" y="179628"/>
                  </a:cubicBezTo>
                  <a:cubicBezTo>
                    <a:pt x="46607" y="178636"/>
                    <a:pt x="44476" y="177743"/>
                    <a:pt x="42472" y="176984"/>
                  </a:cubicBezTo>
                  <a:cubicBezTo>
                    <a:pt x="40460" y="176231"/>
                    <a:pt x="40439" y="174445"/>
                    <a:pt x="41339" y="172651"/>
                  </a:cubicBezTo>
                  <a:cubicBezTo>
                    <a:pt x="42232" y="170865"/>
                    <a:pt x="43843" y="167721"/>
                    <a:pt x="44476" y="166793"/>
                  </a:cubicBezTo>
                  <a:cubicBezTo>
                    <a:pt x="45116" y="165857"/>
                    <a:pt x="48253" y="160013"/>
                    <a:pt x="49245" y="159120"/>
                  </a:cubicBezTo>
                  <a:cubicBezTo>
                    <a:pt x="50243" y="158226"/>
                    <a:pt x="50124" y="153852"/>
                    <a:pt x="50124" y="152839"/>
                  </a:cubicBezTo>
                  <a:cubicBezTo>
                    <a:pt x="50124" y="151826"/>
                    <a:pt x="51256" y="151046"/>
                    <a:pt x="51769" y="150075"/>
                  </a:cubicBezTo>
                  <a:cubicBezTo>
                    <a:pt x="52290" y="149098"/>
                    <a:pt x="53401" y="145679"/>
                    <a:pt x="53521" y="144034"/>
                  </a:cubicBezTo>
                  <a:cubicBezTo>
                    <a:pt x="53640" y="142381"/>
                    <a:pt x="53858" y="135165"/>
                    <a:pt x="53978" y="134553"/>
                  </a:cubicBezTo>
                  <a:cubicBezTo>
                    <a:pt x="54097" y="133934"/>
                    <a:pt x="54752" y="131430"/>
                    <a:pt x="54752" y="130994"/>
                  </a:cubicBezTo>
                  <a:cubicBezTo>
                    <a:pt x="54752" y="130558"/>
                    <a:pt x="55567" y="129004"/>
                    <a:pt x="55567" y="128448"/>
                  </a:cubicBezTo>
                  <a:cubicBezTo>
                    <a:pt x="55567" y="127893"/>
                    <a:pt x="54970" y="127218"/>
                    <a:pt x="54752" y="126662"/>
                  </a:cubicBezTo>
                  <a:cubicBezTo>
                    <a:pt x="54533" y="126099"/>
                    <a:pt x="54533" y="122885"/>
                    <a:pt x="54336" y="122407"/>
                  </a:cubicBezTo>
                  <a:cubicBezTo>
                    <a:pt x="54140" y="121929"/>
                    <a:pt x="54294" y="118370"/>
                    <a:pt x="54336" y="117934"/>
                  </a:cubicBezTo>
                  <a:cubicBezTo>
                    <a:pt x="54379" y="117498"/>
                    <a:pt x="54970" y="117751"/>
                    <a:pt x="55567" y="117498"/>
                  </a:cubicBezTo>
                  <a:cubicBezTo>
                    <a:pt x="56165" y="117238"/>
                    <a:pt x="60997" y="116422"/>
                    <a:pt x="61848" y="116345"/>
                  </a:cubicBezTo>
                  <a:cubicBezTo>
                    <a:pt x="62706" y="116260"/>
                    <a:pt x="65069" y="114080"/>
                    <a:pt x="65786" y="113679"/>
                  </a:cubicBezTo>
                  <a:cubicBezTo>
                    <a:pt x="66504" y="113285"/>
                    <a:pt x="66841" y="112948"/>
                    <a:pt x="67432" y="112448"/>
                  </a:cubicBezTo>
                  <a:cubicBezTo>
                    <a:pt x="68030" y="111949"/>
                    <a:pt x="67953" y="110795"/>
                    <a:pt x="67953" y="109860"/>
                  </a:cubicBezTo>
                  <a:lnTo>
                    <a:pt x="67953" y="105471"/>
                  </a:lnTo>
                  <a:cubicBezTo>
                    <a:pt x="67953" y="104817"/>
                    <a:pt x="67854" y="103544"/>
                    <a:pt x="67953" y="103165"/>
                  </a:cubicBezTo>
                  <a:cubicBezTo>
                    <a:pt x="68051" y="102785"/>
                    <a:pt x="69324" y="101097"/>
                    <a:pt x="69521" y="101020"/>
                  </a:cubicBezTo>
                  <a:cubicBezTo>
                    <a:pt x="69718" y="100935"/>
                    <a:pt x="70041" y="100837"/>
                    <a:pt x="70358" y="100717"/>
                  </a:cubicBezTo>
                  <a:cubicBezTo>
                    <a:pt x="70674" y="100598"/>
                    <a:pt x="71033" y="99507"/>
                    <a:pt x="71251" y="99050"/>
                  </a:cubicBezTo>
                  <a:cubicBezTo>
                    <a:pt x="71469" y="98593"/>
                    <a:pt x="72109" y="97700"/>
                    <a:pt x="72404" y="97179"/>
                  </a:cubicBezTo>
                  <a:cubicBezTo>
                    <a:pt x="72700" y="96666"/>
                    <a:pt x="73832" y="94619"/>
                    <a:pt x="74212" y="93761"/>
                  </a:cubicBezTo>
                  <a:cubicBezTo>
                    <a:pt x="74592" y="92910"/>
                    <a:pt x="75028" y="91736"/>
                    <a:pt x="75365" y="91040"/>
                  </a:cubicBezTo>
                  <a:cubicBezTo>
                    <a:pt x="75703" y="90343"/>
                    <a:pt x="78608" y="86229"/>
                    <a:pt x="78847" y="85631"/>
                  </a:cubicBezTo>
                  <a:cubicBezTo>
                    <a:pt x="79086" y="85040"/>
                    <a:pt x="82201" y="82072"/>
                    <a:pt x="82581" y="81601"/>
                  </a:cubicBezTo>
                  <a:cubicBezTo>
                    <a:pt x="82961" y="81123"/>
                    <a:pt x="83137" y="78858"/>
                    <a:pt x="83137" y="77944"/>
                  </a:cubicBezTo>
                  <a:cubicBezTo>
                    <a:pt x="83137" y="77030"/>
                    <a:pt x="82581" y="75792"/>
                    <a:pt x="82581" y="75201"/>
                  </a:cubicBezTo>
                  <a:cubicBezTo>
                    <a:pt x="82581" y="74603"/>
                    <a:pt x="81906" y="73745"/>
                    <a:pt x="81568" y="73133"/>
                  </a:cubicBezTo>
                  <a:cubicBezTo>
                    <a:pt x="81231" y="72515"/>
                    <a:pt x="80654" y="71382"/>
                    <a:pt x="80134" y="70566"/>
                  </a:cubicBezTo>
                  <a:cubicBezTo>
                    <a:pt x="79620" y="69751"/>
                    <a:pt x="79205" y="69315"/>
                    <a:pt x="78727" y="68119"/>
                  </a:cubicBezTo>
                  <a:cubicBezTo>
                    <a:pt x="78249" y="66930"/>
                    <a:pt x="78347" y="65833"/>
                    <a:pt x="78509" y="64722"/>
                  </a:cubicBezTo>
                  <a:cubicBezTo>
                    <a:pt x="78664" y="63611"/>
                    <a:pt x="79142" y="64026"/>
                    <a:pt x="80134" y="63533"/>
                  </a:cubicBezTo>
                  <a:cubicBezTo>
                    <a:pt x="81132" y="63034"/>
                    <a:pt x="82384" y="62717"/>
                    <a:pt x="83137" y="62317"/>
                  </a:cubicBezTo>
                  <a:cubicBezTo>
                    <a:pt x="83889" y="61923"/>
                    <a:pt x="84129" y="60987"/>
                    <a:pt x="84487" y="60551"/>
                  </a:cubicBezTo>
                  <a:cubicBezTo>
                    <a:pt x="84846" y="60115"/>
                    <a:pt x="85901" y="57253"/>
                    <a:pt x="86119" y="56775"/>
                  </a:cubicBezTo>
                  <a:cubicBezTo>
                    <a:pt x="86337" y="56296"/>
                    <a:pt x="86674" y="54883"/>
                    <a:pt x="86892" y="53870"/>
                  </a:cubicBezTo>
                  <a:cubicBezTo>
                    <a:pt x="87110" y="52857"/>
                    <a:pt x="87230" y="52323"/>
                    <a:pt x="87434" y="51366"/>
                  </a:cubicBezTo>
                  <a:cubicBezTo>
                    <a:pt x="87631" y="50410"/>
                    <a:pt x="87969" y="49657"/>
                    <a:pt x="88123" y="49221"/>
                  </a:cubicBezTo>
                  <a:cubicBezTo>
                    <a:pt x="88285" y="48785"/>
                    <a:pt x="89600" y="46696"/>
                    <a:pt x="90015" y="46295"/>
                  </a:cubicBezTo>
                  <a:cubicBezTo>
                    <a:pt x="90430" y="45902"/>
                    <a:pt x="94643" y="42483"/>
                    <a:pt x="94903" y="42005"/>
                  </a:cubicBezTo>
                  <a:cubicBezTo>
                    <a:pt x="95163" y="41527"/>
                    <a:pt x="96633" y="40514"/>
                    <a:pt x="97667" y="40233"/>
                  </a:cubicBezTo>
                  <a:cubicBezTo>
                    <a:pt x="98701" y="39959"/>
                    <a:pt x="99854" y="41112"/>
                    <a:pt x="100410" y="41745"/>
                  </a:cubicBezTo>
                  <a:cubicBezTo>
                    <a:pt x="100966" y="42385"/>
                    <a:pt x="101620" y="42603"/>
                    <a:pt x="102520" y="42898"/>
                  </a:cubicBezTo>
                  <a:cubicBezTo>
                    <a:pt x="103413" y="43194"/>
                    <a:pt x="104145" y="43637"/>
                    <a:pt x="105045" y="43714"/>
                  </a:cubicBezTo>
                  <a:cubicBezTo>
                    <a:pt x="105938" y="43792"/>
                    <a:pt x="106255" y="43215"/>
                    <a:pt x="106550" y="42898"/>
                  </a:cubicBezTo>
                  <a:cubicBezTo>
                    <a:pt x="106852" y="42582"/>
                    <a:pt x="107330" y="41527"/>
                    <a:pt x="107330" y="41112"/>
                  </a:cubicBezTo>
                  <a:cubicBezTo>
                    <a:pt x="107330" y="40690"/>
                    <a:pt x="108836" y="37849"/>
                    <a:pt x="108920" y="37335"/>
                  </a:cubicBezTo>
                  <a:cubicBezTo>
                    <a:pt x="108997" y="36815"/>
                    <a:pt x="109391" y="35999"/>
                    <a:pt x="109652" y="35528"/>
                  </a:cubicBezTo>
                  <a:cubicBezTo>
                    <a:pt x="109912" y="35049"/>
                    <a:pt x="109391" y="32089"/>
                    <a:pt x="109391" y="31667"/>
                  </a:cubicBezTo>
                  <a:cubicBezTo>
                    <a:pt x="109391" y="31252"/>
                    <a:pt x="109356" y="23164"/>
                    <a:pt x="109391" y="22685"/>
                  </a:cubicBezTo>
                  <a:cubicBezTo>
                    <a:pt x="109434" y="22207"/>
                    <a:pt x="109736" y="21729"/>
                    <a:pt x="109954" y="21434"/>
                  </a:cubicBezTo>
                  <a:cubicBezTo>
                    <a:pt x="110172" y="21131"/>
                    <a:pt x="111107" y="20758"/>
                    <a:pt x="111698" y="20758"/>
                  </a:cubicBezTo>
                  <a:cubicBezTo>
                    <a:pt x="112296" y="20758"/>
                    <a:pt x="113168" y="20695"/>
                    <a:pt x="114188" y="20758"/>
                  </a:cubicBezTo>
                  <a:cubicBezTo>
                    <a:pt x="115200" y="20815"/>
                    <a:pt x="115798" y="21694"/>
                    <a:pt x="116551" y="22031"/>
                  </a:cubicBezTo>
                  <a:cubicBezTo>
                    <a:pt x="117303" y="22369"/>
                    <a:pt x="117979" y="22721"/>
                    <a:pt x="118499" y="22903"/>
                  </a:cubicBezTo>
                  <a:cubicBezTo>
                    <a:pt x="119012" y="23079"/>
                    <a:pt x="123267" y="23164"/>
                    <a:pt x="123865" y="23164"/>
                  </a:cubicBezTo>
                  <a:cubicBezTo>
                    <a:pt x="124463" y="23164"/>
                    <a:pt x="125138" y="23459"/>
                    <a:pt x="126053" y="23719"/>
                  </a:cubicBezTo>
                  <a:cubicBezTo>
                    <a:pt x="126967" y="23979"/>
                    <a:pt x="128373" y="25126"/>
                    <a:pt x="129091" y="25428"/>
                  </a:cubicBezTo>
                  <a:cubicBezTo>
                    <a:pt x="129808" y="25724"/>
                    <a:pt x="135533" y="28685"/>
                    <a:pt x="136525" y="28748"/>
                  </a:cubicBezTo>
                  <a:cubicBezTo>
                    <a:pt x="137523" y="28804"/>
                    <a:pt x="138297" y="27791"/>
                    <a:pt x="138811" y="27278"/>
                  </a:cubicBezTo>
                  <a:cubicBezTo>
                    <a:pt x="139331" y="26757"/>
                    <a:pt x="141891" y="23656"/>
                    <a:pt x="141715" y="23164"/>
                  </a:cubicBezTo>
                  <a:cubicBezTo>
                    <a:pt x="141532" y="22664"/>
                    <a:pt x="140639" y="22685"/>
                    <a:pt x="139922" y="22425"/>
                  </a:cubicBezTo>
                  <a:cubicBezTo>
                    <a:pt x="139211" y="22165"/>
                    <a:pt x="138079" y="21609"/>
                    <a:pt x="137777" y="21131"/>
                  </a:cubicBezTo>
                  <a:cubicBezTo>
                    <a:pt x="137481" y="20660"/>
                    <a:pt x="138417" y="20357"/>
                    <a:pt x="138811" y="19879"/>
                  </a:cubicBezTo>
                  <a:cubicBezTo>
                    <a:pt x="139211" y="19408"/>
                    <a:pt x="140266" y="18810"/>
                    <a:pt x="140639" y="18290"/>
                  </a:cubicBezTo>
                  <a:cubicBezTo>
                    <a:pt x="141019" y="17776"/>
                    <a:pt x="142031" y="13880"/>
                    <a:pt x="142489" y="13240"/>
                  </a:cubicBezTo>
                  <a:cubicBezTo>
                    <a:pt x="142946" y="12607"/>
                    <a:pt x="143045" y="11475"/>
                    <a:pt x="143262" y="10996"/>
                  </a:cubicBezTo>
                  <a:cubicBezTo>
                    <a:pt x="143480" y="10518"/>
                    <a:pt x="143227" y="8036"/>
                    <a:pt x="143480" y="6784"/>
                  </a:cubicBezTo>
                  <a:cubicBezTo>
                    <a:pt x="143741" y="5532"/>
                    <a:pt x="142447" y="3879"/>
                    <a:pt x="142327" y="3626"/>
                  </a:cubicBezTo>
                  <a:cubicBezTo>
                    <a:pt x="142214" y="3366"/>
                    <a:pt x="141518" y="2747"/>
                    <a:pt x="140857" y="2268"/>
                  </a:cubicBezTo>
                  <a:cubicBezTo>
                    <a:pt x="140203" y="1797"/>
                    <a:pt x="140822" y="862"/>
                    <a:pt x="141117" y="341"/>
                  </a:cubicBezTo>
                  <a:cubicBezTo>
                    <a:pt x="141413" y="-172"/>
                    <a:pt x="146483" y="46"/>
                    <a:pt x="147159" y="46"/>
                  </a:cubicBezTo>
                  <a:cubicBezTo>
                    <a:pt x="147834" y="46"/>
                    <a:pt x="152229" y="2233"/>
                    <a:pt x="152229" y="2486"/>
                  </a:cubicBezTo>
                  <a:cubicBezTo>
                    <a:pt x="152229" y="2747"/>
                    <a:pt x="152166" y="5848"/>
                    <a:pt x="152229" y="6587"/>
                  </a:cubicBezTo>
                  <a:cubicBezTo>
                    <a:pt x="152286" y="7318"/>
                    <a:pt x="154318" y="6826"/>
                    <a:pt x="154790" y="7501"/>
                  </a:cubicBezTo>
                  <a:cubicBezTo>
                    <a:pt x="155268" y="8176"/>
                    <a:pt x="159382" y="12684"/>
                    <a:pt x="159804" y="13360"/>
                  </a:cubicBezTo>
                  <a:cubicBezTo>
                    <a:pt x="160219" y="14035"/>
                    <a:pt x="170199" y="23797"/>
                    <a:pt x="170733" y="24113"/>
                  </a:cubicBezTo>
                  <a:cubicBezTo>
                    <a:pt x="171268" y="24437"/>
                    <a:pt x="172267" y="24352"/>
                    <a:pt x="173554" y="24472"/>
                  </a:cubicBezTo>
                  <a:cubicBezTo>
                    <a:pt x="174848" y="24591"/>
                    <a:pt x="176599" y="25885"/>
                    <a:pt x="178364" y="26005"/>
                  </a:cubicBezTo>
                  <a:cubicBezTo>
                    <a:pt x="180137" y="26125"/>
                    <a:pt x="185285" y="32426"/>
                    <a:pt x="185819" y="32841"/>
                  </a:cubicBezTo>
                  <a:cubicBezTo>
                    <a:pt x="186354" y="33256"/>
                    <a:pt x="186080" y="33875"/>
                    <a:pt x="186136" y="35289"/>
                  </a:cubicBezTo>
                  <a:cubicBezTo>
                    <a:pt x="186199" y="36695"/>
                    <a:pt x="186734" y="36759"/>
                    <a:pt x="187409" y="37434"/>
                  </a:cubicBezTo>
                  <a:cubicBezTo>
                    <a:pt x="188084" y="38109"/>
                    <a:pt x="192979" y="44389"/>
                    <a:pt x="192979" y="45065"/>
                  </a:cubicBezTo>
                  <a:cubicBezTo>
                    <a:pt x="192979" y="45740"/>
                    <a:pt x="193774" y="46218"/>
                    <a:pt x="193591" y="46956"/>
                  </a:cubicBezTo>
                  <a:cubicBezTo>
                    <a:pt x="193415" y="47688"/>
                    <a:pt x="192416" y="48363"/>
                    <a:pt x="191804" y="49024"/>
                  </a:cubicBezTo>
                  <a:cubicBezTo>
                    <a:pt x="191186" y="49678"/>
                    <a:pt x="191383" y="50375"/>
                    <a:pt x="191383" y="51408"/>
                  </a:cubicBezTo>
                  <a:lnTo>
                    <a:pt x="191383" y="56536"/>
                  </a:lnTo>
                  <a:cubicBezTo>
                    <a:pt x="191383" y="57626"/>
                    <a:pt x="192416" y="57830"/>
                    <a:pt x="192979" y="58561"/>
                  </a:cubicBezTo>
                  <a:cubicBezTo>
                    <a:pt x="193535" y="59299"/>
                    <a:pt x="192859" y="59595"/>
                    <a:pt x="192416" y="60629"/>
                  </a:cubicBezTo>
                  <a:cubicBezTo>
                    <a:pt x="191980" y="61663"/>
                    <a:pt x="191804" y="61423"/>
                    <a:pt x="191383" y="62401"/>
                  </a:cubicBezTo>
                  <a:cubicBezTo>
                    <a:pt x="190967" y="63372"/>
                    <a:pt x="191326" y="64483"/>
                    <a:pt x="191804" y="65397"/>
                  </a:cubicBezTo>
                  <a:cubicBezTo>
                    <a:pt x="192283" y="66311"/>
                    <a:pt x="193450" y="66136"/>
                    <a:pt x="194864" y="66375"/>
                  </a:cubicBezTo>
                  <a:cubicBezTo>
                    <a:pt x="196278" y="66614"/>
                    <a:pt x="196158" y="69378"/>
                    <a:pt x="196158" y="70109"/>
                  </a:cubicBezTo>
                  <a:cubicBezTo>
                    <a:pt x="196158" y="70848"/>
                    <a:pt x="195539" y="71502"/>
                    <a:pt x="194864" y="72297"/>
                  </a:cubicBezTo>
                  <a:lnTo>
                    <a:pt x="194779" y="72402"/>
                  </a:lnTo>
                  <a:cubicBezTo>
                    <a:pt x="194118" y="73169"/>
                    <a:pt x="193352" y="74076"/>
                    <a:pt x="192416" y="75595"/>
                  </a:cubicBezTo>
                  <a:cubicBezTo>
                    <a:pt x="191446" y="77185"/>
                    <a:pt x="194245" y="80244"/>
                    <a:pt x="194245" y="80863"/>
                  </a:cubicBezTo>
                  <a:cubicBezTo>
                    <a:pt x="194245" y="81355"/>
                    <a:pt x="196010" y="84196"/>
                    <a:pt x="196889" y="85554"/>
                  </a:cubicBezTo>
                  <a:cubicBezTo>
                    <a:pt x="197663" y="86876"/>
                    <a:pt x="199196" y="89675"/>
                    <a:pt x="199196" y="90266"/>
                  </a:cubicBezTo>
                  <a:cubicBezTo>
                    <a:pt x="199196" y="90997"/>
                    <a:pt x="199196" y="90997"/>
                    <a:pt x="198542" y="91736"/>
                  </a:cubicBezTo>
                  <a:cubicBezTo>
                    <a:pt x="197888" y="92474"/>
                    <a:pt x="197670" y="93445"/>
                    <a:pt x="197670" y="94423"/>
                  </a:cubicBezTo>
                  <a:cubicBezTo>
                    <a:pt x="197670" y="95393"/>
                    <a:pt x="198162" y="98016"/>
                    <a:pt x="197670" y="99908"/>
                  </a:cubicBezTo>
                  <a:cubicBezTo>
                    <a:pt x="197171" y="101793"/>
                    <a:pt x="197311" y="100956"/>
                    <a:pt x="196889" y="101674"/>
                  </a:cubicBezTo>
                  <a:cubicBezTo>
                    <a:pt x="196474" y="102391"/>
                    <a:pt x="195539" y="103024"/>
                    <a:pt x="194864" y="104058"/>
                  </a:cubicBezTo>
                  <a:cubicBezTo>
                    <a:pt x="194189" y="105092"/>
                    <a:pt x="194245" y="106562"/>
                    <a:pt x="194245" y="107617"/>
                  </a:cubicBezTo>
                  <a:lnTo>
                    <a:pt x="194245" y="111393"/>
                  </a:lnTo>
                  <a:cubicBezTo>
                    <a:pt x="194245" y="112666"/>
                    <a:pt x="194864" y="113602"/>
                    <a:pt x="195539" y="114755"/>
                  </a:cubicBezTo>
                  <a:cubicBezTo>
                    <a:pt x="196214" y="115908"/>
                    <a:pt x="198345" y="118054"/>
                    <a:pt x="199196" y="119144"/>
                  </a:cubicBezTo>
                  <a:cubicBezTo>
                    <a:pt x="200054" y="120241"/>
                    <a:pt x="201763" y="129166"/>
                    <a:pt x="200969" y="130572"/>
                  </a:cubicBezTo>
                  <a:cubicBezTo>
                    <a:pt x="200230" y="131051"/>
                    <a:pt x="199077" y="130572"/>
                    <a:pt x="197670" y="130572"/>
                  </a:cubicBezTo>
                  <a:cubicBezTo>
                    <a:pt x="196256" y="130572"/>
                    <a:pt x="196095" y="130094"/>
                    <a:pt x="195539" y="130094"/>
                  </a:cubicBezTo>
                  <a:cubicBezTo>
                    <a:pt x="194983" y="130094"/>
                    <a:pt x="195300" y="128927"/>
                    <a:pt x="194864" y="128448"/>
                  </a:cubicBezTo>
                  <a:cubicBezTo>
                    <a:pt x="194428" y="127970"/>
                    <a:pt x="194245" y="128448"/>
                    <a:pt x="193035" y="129721"/>
                  </a:cubicBezTo>
                  <a:cubicBezTo>
                    <a:pt x="191826" y="130994"/>
                    <a:pt x="191741" y="130094"/>
                    <a:pt x="190771" y="130094"/>
                  </a:cubicBezTo>
                  <a:cubicBezTo>
                    <a:pt x="189793" y="130094"/>
                    <a:pt x="189674" y="129721"/>
                    <a:pt x="187908" y="130094"/>
                  </a:cubicBezTo>
                  <a:cubicBezTo>
                    <a:pt x="186136" y="130474"/>
                    <a:pt x="187789" y="130952"/>
                    <a:pt x="187233" y="131550"/>
                  </a:cubicBezTo>
                  <a:cubicBezTo>
                    <a:pt x="186678" y="132148"/>
                    <a:pt x="184054" y="131191"/>
                    <a:pt x="183140" y="130572"/>
                  </a:cubicBezTo>
                  <a:cubicBezTo>
                    <a:pt x="182226" y="129961"/>
                    <a:pt x="182577" y="130572"/>
                    <a:pt x="181606" y="129721"/>
                  </a:cubicBezTo>
                  <a:cubicBezTo>
                    <a:pt x="180636" y="128863"/>
                    <a:pt x="180749" y="128448"/>
                    <a:pt x="180573" y="127893"/>
                  </a:cubicBezTo>
                  <a:cubicBezTo>
                    <a:pt x="180397" y="127337"/>
                    <a:pt x="179602" y="127098"/>
                    <a:pt x="179223" y="127098"/>
                  </a:cubicBezTo>
                  <a:cubicBezTo>
                    <a:pt x="178843" y="127098"/>
                    <a:pt x="179223" y="127893"/>
                    <a:pt x="179223" y="128448"/>
                  </a:cubicBezTo>
                  <a:cubicBezTo>
                    <a:pt x="179223" y="129004"/>
                    <a:pt x="179223" y="129778"/>
                    <a:pt x="178864" y="130572"/>
                  </a:cubicBezTo>
                  <a:cubicBezTo>
                    <a:pt x="178505" y="131367"/>
                    <a:pt x="177450" y="130572"/>
                    <a:pt x="176599" y="130094"/>
                  </a:cubicBezTo>
                  <a:cubicBezTo>
                    <a:pt x="175741" y="129623"/>
                    <a:pt x="176177" y="129102"/>
                    <a:pt x="176058" y="128448"/>
                  </a:cubicBezTo>
                  <a:cubicBezTo>
                    <a:pt x="175945" y="127794"/>
                    <a:pt x="176001" y="127457"/>
                    <a:pt x="175741" y="127098"/>
                  </a:cubicBezTo>
                  <a:cubicBezTo>
                    <a:pt x="175488" y="126739"/>
                    <a:pt x="174532" y="127394"/>
                    <a:pt x="173856" y="127893"/>
                  </a:cubicBezTo>
                  <a:cubicBezTo>
                    <a:pt x="173181" y="128385"/>
                    <a:pt x="173554" y="130572"/>
                    <a:pt x="173554" y="131550"/>
                  </a:cubicBezTo>
                  <a:cubicBezTo>
                    <a:pt x="173554" y="132521"/>
                    <a:pt x="173118" y="132521"/>
                    <a:pt x="172759" y="132957"/>
                  </a:cubicBezTo>
                  <a:cubicBezTo>
                    <a:pt x="172400" y="133400"/>
                    <a:pt x="172028" y="134553"/>
                    <a:pt x="172028" y="135109"/>
                  </a:cubicBezTo>
                  <a:cubicBezTo>
                    <a:pt x="172028" y="135664"/>
                    <a:pt x="172759" y="136023"/>
                    <a:pt x="173856" y="137113"/>
                  </a:cubicBezTo>
                  <a:cubicBezTo>
                    <a:pt x="174946" y="138210"/>
                    <a:pt x="174215" y="138703"/>
                    <a:pt x="174215" y="139617"/>
                  </a:cubicBezTo>
                  <a:cubicBezTo>
                    <a:pt x="174215" y="140531"/>
                    <a:pt x="174412" y="140834"/>
                    <a:pt x="174532" y="141685"/>
                  </a:cubicBezTo>
                  <a:cubicBezTo>
                    <a:pt x="174651" y="142543"/>
                    <a:pt x="174152" y="143035"/>
                    <a:pt x="173856" y="143218"/>
                  </a:cubicBezTo>
                  <a:cubicBezTo>
                    <a:pt x="173554" y="143394"/>
                    <a:pt x="172562" y="142979"/>
                    <a:pt x="172759" y="142676"/>
                  </a:cubicBezTo>
                  <a:cubicBezTo>
                    <a:pt x="172963" y="142381"/>
                    <a:pt x="172562" y="141326"/>
                    <a:pt x="172028" y="140412"/>
                  </a:cubicBezTo>
                  <a:cubicBezTo>
                    <a:pt x="171486" y="139497"/>
                    <a:pt x="170494" y="140412"/>
                    <a:pt x="169819" y="140412"/>
                  </a:cubicBezTo>
                  <a:cubicBezTo>
                    <a:pt x="169144" y="140412"/>
                    <a:pt x="168405" y="139800"/>
                    <a:pt x="167991" y="139125"/>
                  </a:cubicBezTo>
                  <a:cubicBezTo>
                    <a:pt x="167576" y="138442"/>
                    <a:pt x="167076" y="139441"/>
                    <a:pt x="167076" y="140412"/>
                  </a:cubicBezTo>
                  <a:cubicBezTo>
                    <a:pt x="167076" y="141389"/>
                    <a:pt x="168054" y="141748"/>
                    <a:pt x="168405" y="142304"/>
                  </a:cubicBezTo>
                  <a:cubicBezTo>
                    <a:pt x="168764" y="142859"/>
                    <a:pt x="167695" y="144069"/>
                    <a:pt x="167076" y="144505"/>
                  </a:cubicBezTo>
                  <a:cubicBezTo>
                    <a:pt x="166458" y="144948"/>
                    <a:pt x="165424" y="145722"/>
                    <a:pt x="164812" y="146038"/>
                  </a:cubicBezTo>
                  <a:cubicBezTo>
                    <a:pt x="164193" y="146355"/>
                    <a:pt x="163714" y="145187"/>
                    <a:pt x="163539" y="144505"/>
                  </a:cubicBezTo>
                  <a:cubicBezTo>
                    <a:pt x="163363" y="143830"/>
                    <a:pt x="162188" y="144505"/>
                    <a:pt x="161035" y="144505"/>
                  </a:cubicBezTo>
                  <a:cubicBezTo>
                    <a:pt x="159882" y="144505"/>
                    <a:pt x="160043" y="145363"/>
                    <a:pt x="159860" y="146038"/>
                  </a:cubicBezTo>
                  <a:cubicBezTo>
                    <a:pt x="159684" y="146713"/>
                    <a:pt x="160360" y="147607"/>
                    <a:pt x="161450" y="147607"/>
                  </a:cubicBezTo>
                  <a:cubicBezTo>
                    <a:pt x="162547" y="147607"/>
                    <a:pt x="162681" y="148401"/>
                    <a:pt x="162681" y="149196"/>
                  </a:cubicBezTo>
                  <a:cubicBezTo>
                    <a:pt x="162681" y="149998"/>
                    <a:pt x="161633" y="150370"/>
                    <a:pt x="161450" y="151046"/>
                  </a:cubicBezTo>
                  <a:cubicBezTo>
                    <a:pt x="161274" y="151721"/>
                    <a:pt x="161035" y="154942"/>
                    <a:pt x="161035" y="155920"/>
                  </a:cubicBezTo>
                  <a:cubicBezTo>
                    <a:pt x="161035" y="156693"/>
                    <a:pt x="158545" y="160322"/>
                    <a:pt x="157301" y="162038"/>
                  </a:cubicBezTo>
                  <a:cubicBezTo>
                    <a:pt x="156970" y="162791"/>
                    <a:pt x="156154" y="164387"/>
                    <a:pt x="155472" y="164781"/>
                  </a:cubicBezTo>
                  <a:cubicBezTo>
                    <a:pt x="154614" y="165281"/>
                    <a:pt x="154058" y="165140"/>
                    <a:pt x="153200" y="165520"/>
                  </a:cubicBezTo>
                  <a:cubicBezTo>
                    <a:pt x="152349" y="165892"/>
                    <a:pt x="152609" y="167784"/>
                    <a:pt x="155472" y="167721"/>
                  </a:cubicBezTo>
                  <a:cubicBezTo>
                    <a:pt x="157758" y="167679"/>
                    <a:pt x="157856" y="169451"/>
                    <a:pt x="157617" y="170351"/>
                  </a:cubicBezTo>
                  <a:cubicBezTo>
                    <a:pt x="157188" y="170450"/>
                    <a:pt x="156267" y="170696"/>
                    <a:pt x="156028" y="170886"/>
                  </a:cubicBezTo>
                  <a:cubicBezTo>
                    <a:pt x="155725" y="171125"/>
                    <a:pt x="155824" y="172117"/>
                    <a:pt x="156323" y="172651"/>
                  </a:cubicBezTo>
                  <a:cubicBezTo>
                    <a:pt x="156822" y="173193"/>
                    <a:pt x="157237" y="174065"/>
                    <a:pt x="159066" y="174445"/>
                  </a:cubicBezTo>
                  <a:cubicBezTo>
                    <a:pt x="160894" y="174817"/>
                    <a:pt x="160177" y="179628"/>
                    <a:pt x="160360" y="179072"/>
                  </a:cubicBezTo>
                  <a:cubicBezTo>
                    <a:pt x="160535" y="178517"/>
                    <a:pt x="162188" y="179192"/>
                    <a:pt x="162188" y="179628"/>
                  </a:cubicBezTo>
                  <a:cubicBezTo>
                    <a:pt x="162188" y="180071"/>
                    <a:pt x="161569" y="181576"/>
                    <a:pt x="161035" y="182554"/>
                  </a:cubicBezTo>
                  <a:cubicBezTo>
                    <a:pt x="160500" y="183524"/>
                    <a:pt x="158946" y="184319"/>
                    <a:pt x="157617" y="185114"/>
                  </a:cubicBezTo>
                  <a:cubicBezTo>
                    <a:pt x="156281" y="185908"/>
                    <a:pt x="156147" y="186112"/>
                    <a:pt x="155472" y="186647"/>
                  </a:cubicBezTo>
                  <a:cubicBezTo>
                    <a:pt x="154790" y="187182"/>
                    <a:pt x="154234" y="187681"/>
                    <a:pt x="153643" y="188419"/>
                  </a:cubicBezTo>
                  <a:cubicBezTo>
                    <a:pt x="153045" y="189151"/>
                    <a:pt x="152609" y="191359"/>
                    <a:pt x="152609" y="192034"/>
                  </a:cubicBezTo>
                  <a:cubicBezTo>
                    <a:pt x="152609" y="192709"/>
                    <a:pt x="148629" y="199904"/>
                    <a:pt x="148256" y="200143"/>
                  </a:cubicBezTo>
                  <a:cubicBezTo>
                    <a:pt x="147876" y="200382"/>
                    <a:pt x="147039" y="201677"/>
                    <a:pt x="146666" y="202113"/>
                  </a:cubicBezTo>
                  <a:cubicBezTo>
                    <a:pt x="146287" y="202549"/>
                    <a:pt x="145689" y="203322"/>
                    <a:pt x="145330" y="203758"/>
                  </a:cubicBezTo>
                  <a:cubicBezTo>
                    <a:pt x="144971" y="204194"/>
                    <a:pt x="143241" y="204117"/>
                    <a:pt x="142327" y="204300"/>
                  </a:cubicBezTo>
                  <a:cubicBezTo>
                    <a:pt x="141413" y="204476"/>
                    <a:pt x="142784" y="206143"/>
                    <a:pt x="141532" y="206783"/>
                  </a:cubicBezTo>
                  <a:cubicBezTo>
                    <a:pt x="140280" y="207416"/>
                    <a:pt x="140519" y="206642"/>
                    <a:pt x="139887" y="206783"/>
                  </a:cubicBezTo>
                  <a:cubicBezTo>
                    <a:pt x="139246" y="206923"/>
                    <a:pt x="138016" y="208034"/>
                    <a:pt x="137636" y="208653"/>
                  </a:cubicBezTo>
                  <a:cubicBezTo>
                    <a:pt x="137263" y="209265"/>
                    <a:pt x="135118" y="210039"/>
                    <a:pt x="134619" y="211551"/>
                  </a:cubicBezTo>
                  <a:cubicBezTo>
                    <a:pt x="134119" y="213063"/>
                    <a:pt x="134239" y="214435"/>
                    <a:pt x="133866" y="215068"/>
                  </a:cubicBezTo>
                  <a:cubicBezTo>
                    <a:pt x="133486" y="215708"/>
                    <a:pt x="132847" y="215068"/>
                    <a:pt x="131974" y="215068"/>
                  </a:cubicBezTo>
                  <a:cubicBezTo>
                    <a:pt x="131102" y="215068"/>
                    <a:pt x="131102" y="213183"/>
                    <a:pt x="130962" y="212564"/>
                  </a:cubicBezTo>
                  <a:cubicBezTo>
                    <a:pt x="130821" y="211952"/>
                    <a:pt x="129450" y="210538"/>
                    <a:pt x="129450" y="210039"/>
                  </a:cubicBezTo>
                  <a:lnTo>
                    <a:pt x="129450" y="215068"/>
                  </a:lnTo>
                  <a:cubicBezTo>
                    <a:pt x="128831" y="214857"/>
                    <a:pt x="127431" y="214435"/>
                    <a:pt x="126826" y="214435"/>
                  </a:cubicBezTo>
                  <a:cubicBezTo>
                    <a:pt x="126073" y="214435"/>
                    <a:pt x="125891" y="217613"/>
                    <a:pt x="125216" y="218605"/>
                  </a:cubicBezTo>
                  <a:cubicBezTo>
                    <a:pt x="124541" y="219604"/>
                    <a:pt x="123725" y="220975"/>
                    <a:pt x="123331" y="222262"/>
                  </a:cubicBezTo>
                  <a:cubicBezTo>
                    <a:pt x="123007" y="223296"/>
                    <a:pt x="122480" y="223029"/>
                    <a:pt x="122255" y="222762"/>
                  </a:cubicBezTo>
                  <a:cubicBezTo>
                    <a:pt x="121959" y="222199"/>
                    <a:pt x="121080" y="220891"/>
                    <a:pt x="119969" y="220181"/>
                  </a:cubicBezTo>
                  <a:cubicBezTo>
                    <a:pt x="118576" y="219287"/>
                    <a:pt x="118773" y="221672"/>
                    <a:pt x="118773" y="222762"/>
                  </a:cubicBezTo>
                  <a:cubicBezTo>
                    <a:pt x="118773" y="223859"/>
                    <a:pt x="114539" y="228093"/>
                    <a:pt x="113850" y="227987"/>
                  </a:cubicBezTo>
                  <a:cubicBezTo>
                    <a:pt x="113154" y="227889"/>
                    <a:pt x="112359" y="228585"/>
                    <a:pt x="112155" y="229380"/>
                  </a:cubicBezTo>
                  <a:cubicBezTo>
                    <a:pt x="111958" y="230175"/>
                    <a:pt x="114343" y="230076"/>
                    <a:pt x="114539" y="231349"/>
                  </a:cubicBezTo>
                  <a:cubicBezTo>
                    <a:pt x="114743" y="232622"/>
                    <a:pt x="113949" y="232939"/>
                    <a:pt x="112950" y="233712"/>
                  </a:cubicBezTo>
                  <a:cubicBezTo>
                    <a:pt x="111958" y="234493"/>
                    <a:pt x="111185" y="235006"/>
                    <a:pt x="109989" y="235506"/>
                  </a:cubicBezTo>
                  <a:cubicBezTo>
                    <a:pt x="108800" y="235998"/>
                    <a:pt x="108597" y="235604"/>
                    <a:pt x="108006" y="235506"/>
                  </a:cubicBezTo>
                  <a:cubicBezTo>
                    <a:pt x="107408" y="235407"/>
                    <a:pt x="106332" y="232939"/>
                    <a:pt x="105839" y="231947"/>
                  </a:cubicBezTo>
                  <a:cubicBezTo>
                    <a:pt x="105340" y="230955"/>
                    <a:pt x="104743" y="230456"/>
                    <a:pt x="103568" y="230076"/>
                  </a:cubicBezTo>
                  <a:cubicBezTo>
                    <a:pt x="102400" y="229696"/>
                    <a:pt x="103568" y="231750"/>
                    <a:pt x="103568" y="232939"/>
                  </a:cubicBezTo>
                  <a:cubicBezTo>
                    <a:pt x="103568" y="234134"/>
                    <a:pt x="104545" y="234408"/>
                    <a:pt x="106332" y="236300"/>
                  </a:cubicBezTo>
                  <a:cubicBezTo>
                    <a:pt x="108125" y="238185"/>
                    <a:pt x="106332" y="238466"/>
                    <a:pt x="106332" y="240654"/>
                  </a:cubicBezTo>
                  <a:cubicBezTo>
                    <a:pt x="106332" y="242841"/>
                    <a:pt x="107028" y="242918"/>
                    <a:pt x="106332" y="244311"/>
                  </a:cubicBezTo>
                  <a:cubicBezTo>
                    <a:pt x="105635" y="245704"/>
                    <a:pt x="104545" y="245879"/>
                    <a:pt x="103568" y="246280"/>
                  </a:cubicBezTo>
                  <a:cubicBezTo>
                    <a:pt x="102597" y="246674"/>
                    <a:pt x="101880" y="246773"/>
                    <a:pt x="101880" y="247370"/>
                  </a:cubicBezTo>
                  <a:cubicBezTo>
                    <a:pt x="101880" y="247968"/>
                    <a:pt x="100311" y="247968"/>
                    <a:pt x="99214" y="247370"/>
                  </a:cubicBezTo>
                  <a:cubicBezTo>
                    <a:pt x="98124" y="246773"/>
                    <a:pt x="97829" y="246576"/>
                    <a:pt x="97526" y="247370"/>
                  </a:cubicBezTo>
                  <a:cubicBezTo>
                    <a:pt x="97231" y="248165"/>
                    <a:pt x="98525" y="250036"/>
                    <a:pt x="98525" y="250732"/>
                  </a:cubicBezTo>
                  <a:cubicBezTo>
                    <a:pt x="98525" y="251421"/>
                    <a:pt x="96950" y="267724"/>
                    <a:pt x="96655" y="268519"/>
                  </a:cubicBezTo>
                  <a:cubicBezTo>
                    <a:pt x="96359" y="269313"/>
                    <a:pt x="98525" y="271979"/>
                    <a:pt x="99214" y="272471"/>
                  </a:cubicBezTo>
                  <a:cubicBezTo>
                    <a:pt x="99911" y="272971"/>
                    <a:pt x="99517" y="274841"/>
                    <a:pt x="98525" y="275038"/>
                  </a:cubicBezTo>
                  <a:cubicBezTo>
                    <a:pt x="97526" y="275235"/>
                    <a:pt x="95163" y="272577"/>
                    <a:pt x="94172" y="272471"/>
                  </a:cubicBezTo>
                  <a:cubicBezTo>
                    <a:pt x="93173" y="272373"/>
                    <a:pt x="94172" y="274145"/>
                    <a:pt x="94172" y="275735"/>
                  </a:cubicBezTo>
                  <a:cubicBezTo>
                    <a:pt x="94172" y="277324"/>
                    <a:pt x="93497" y="283246"/>
                    <a:pt x="93497" y="284125"/>
                  </a:cubicBezTo>
                  <a:cubicBezTo>
                    <a:pt x="93497" y="284997"/>
                    <a:pt x="94664" y="285813"/>
                    <a:pt x="94664" y="286706"/>
                  </a:cubicBezTo>
                  <a:cubicBezTo>
                    <a:pt x="94664" y="287599"/>
                    <a:pt x="94172" y="287979"/>
                    <a:pt x="94172" y="288774"/>
                  </a:cubicBezTo>
                  <a:cubicBezTo>
                    <a:pt x="94172" y="289569"/>
                    <a:pt x="93869" y="297080"/>
                    <a:pt x="94172" y="297776"/>
                  </a:cubicBezTo>
                  <a:cubicBezTo>
                    <a:pt x="94467" y="298473"/>
                    <a:pt x="95817" y="299345"/>
                    <a:pt x="95817" y="300442"/>
                  </a:cubicBezTo>
                  <a:lnTo>
                    <a:pt x="95817" y="306068"/>
                  </a:lnTo>
                  <a:cubicBezTo>
                    <a:pt x="95817" y="307341"/>
                    <a:pt x="98321" y="307158"/>
                    <a:pt x="100311" y="307658"/>
                  </a:cubicBezTo>
                  <a:cubicBezTo>
                    <a:pt x="102302" y="308150"/>
                    <a:pt x="101282" y="309029"/>
                    <a:pt x="102281" y="310422"/>
                  </a:cubicBezTo>
                  <a:cubicBezTo>
                    <a:pt x="103272" y="311807"/>
                    <a:pt x="103076" y="310422"/>
                    <a:pt x="103969" y="310422"/>
                  </a:cubicBezTo>
                  <a:cubicBezTo>
                    <a:pt x="104862" y="310422"/>
                    <a:pt x="104166" y="309521"/>
                    <a:pt x="106332" y="309029"/>
                  </a:cubicBezTo>
                  <a:cubicBezTo>
                    <a:pt x="108498" y="308530"/>
                    <a:pt x="108006" y="311413"/>
                    <a:pt x="108597" y="312686"/>
                  </a:cubicBezTo>
                  <a:cubicBezTo>
                    <a:pt x="109194" y="313959"/>
                    <a:pt x="109693" y="314276"/>
                    <a:pt x="110685" y="315865"/>
                  </a:cubicBezTo>
                  <a:cubicBezTo>
                    <a:pt x="111677" y="317455"/>
                    <a:pt x="115116" y="317434"/>
                    <a:pt x="115116" y="317933"/>
                  </a:cubicBezTo>
                  <a:cubicBezTo>
                    <a:pt x="115116" y="318432"/>
                    <a:pt x="116016" y="320493"/>
                    <a:pt x="117106" y="323081"/>
                  </a:cubicBezTo>
                  <a:cubicBezTo>
                    <a:pt x="119097" y="323777"/>
                    <a:pt x="118977" y="324846"/>
                    <a:pt x="120370" y="325845"/>
                  </a:cubicBezTo>
                  <a:cubicBezTo>
                    <a:pt x="121755" y="326837"/>
                    <a:pt x="123232" y="335424"/>
                    <a:pt x="121657" y="336022"/>
                  </a:cubicBezTo>
                  <a:cubicBezTo>
                    <a:pt x="120089" y="336620"/>
                    <a:pt x="119969" y="335720"/>
                    <a:pt x="118977" y="336022"/>
                  </a:cubicBezTo>
                  <a:cubicBezTo>
                    <a:pt x="117979" y="336317"/>
                    <a:pt x="118000" y="336718"/>
                    <a:pt x="117106" y="337991"/>
                  </a:cubicBezTo>
                  <a:cubicBezTo>
                    <a:pt x="116213" y="339257"/>
                    <a:pt x="115911" y="339475"/>
                    <a:pt x="115116" y="340375"/>
                  </a:cubicBezTo>
                  <a:cubicBezTo>
                    <a:pt x="114321" y="341269"/>
                    <a:pt x="113449" y="341944"/>
                    <a:pt x="112254" y="342935"/>
                  </a:cubicBezTo>
                  <a:cubicBezTo>
                    <a:pt x="111065" y="343934"/>
                    <a:pt x="110685" y="343632"/>
                    <a:pt x="109693" y="344033"/>
                  </a:cubicBezTo>
                  <a:cubicBezTo>
                    <a:pt x="108702" y="344426"/>
                    <a:pt x="108597" y="345404"/>
                    <a:pt x="108597" y="346494"/>
                  </a:cubicBezTo>
                  <a:cubicBezTo>
                    <a:pt x="108597" y="347591"/>
                    <a:pt x="110587" y="347788"/>
                    <a:pt x="111283" y="348182"/>
                  </a:cubicBezTo>
                  <a:cubicBezTo>
                    <a:pt x="111979" y="348583"/>
                    <a:pt x="111860" y="349554"/>
                    <a:pt x="112254" y="350749"/>
                  </a:cubicBezTo>
                  <a:cubicBezTo>
                    <a:pt x="112655" y="351938"/>
                    <a:pt x="112950" y="352318"/>
                    <a:pt x="112950" y="353309"/>
                  </a:cubicBezTo>
                  <a:cubicBezTo>
                    <a:pt x="112950" y="354308"/>
                    <a:pt x="112155" y="354006"/>
                    <a:pt x="108597" y="355103"/>
                  </a:cubicBezTo>
                  <a:cubicBezTo>
                    <a:pt x="106908" y="355103"/>
                    <a:pt x="107626" y="355103"/>
                    <a:pt x="107028" y="355679"/>
                  </a:cubicBezTo>
                  <a:cubicBezTo>
                    <a:pt x="106430" y="356256"/>
                    <a:pt x="106536" y="357466"/>
                    <a:pt x="106332" y="358858"/>
                  </a:cubicBezTo>
                  <a:cubicBezTo>
                    <a:pt x="106135" y="360230"/>
                    <a:pt x="105945" y="360230"/>
                    <a:pt x="105270" y="360230"/>
                  </a:cubicBezTo>
                  <a:lnTo>
                    <a:pt x="105242" y="360230"/>
                  </a:lnTo>
                  <a:cubicBezTo>
                    <a:pt x="104545" y="360230"/>
                    <a:pt x="103673" y="360033"/>
                    <a:pt x="103076" y="359435"/>
                  </a:cubicBezTo>
                  <a:cubicBezTo>
                    <a:pt x="102478" y="358837"/>
                    <a:pt x="103076" y="357768"/>
                    <a:pt x="103076" y="356973"/>
                  </a:cubicBezTo>
                  <a:cubicBezTo>
                    <a:pt x="103076" y="356172"/>
                    <a:pt x="102872" y="355103"/>
                    <a:pt x="102281" y="355103"/>
                  </a:cubicBezTo>
                  <a:cubicBezTo>
                    <a:pt x="101683" y="355103"/>
                    <a:pt x="101282" y="355581"/>
                    <a:pt x="101282" y="356973"/>
                  </a:cubicBezTo>
                  <a:cubicBezTo>
                    <a:pt x="101282" y="358359"/>
                    <a:pt x="100888" y="359337"/>
                    <a:pt x="99320" y="361320"/>
                  </a:cubicBezTo>
                  <a:cubicBezTo>
                    <a:pt x="97744" y="363310"/>
                    <a:pt x="96535" y="365420"/>
                    <a:pt x="95817" y="365420"/>
                  </a:cubicBezTo>
                  <a:cubicBezTo>
                    <a:pt x="95100" y="365420"/>
                    <a:pt x="93813" y="365814"/>
                    <a:pt x="93215" y="366433"/>
                  </a:cubicBezTo>
                  <a:cubicBezTo>
                    <a:pt x="92617" y="367045"/>
                    <a:pt x="91801" y="367425"/>
                    <a:pt x="90690" y="367840"/>
                  </a:cubicBezTo>
                  <a:cubicBezTo>
                    <a:pt x="89579" y="368262"/>
                    <a:pt x="88665" y="367425"/>
                    <a:pt x="87553" y="367840"/>
                  </a:cubicBezTo>
                  <a:cubicBezTo>
                    <a:pt x="86435" y="368262"/>
                    <a:pt x="84234" y="366433"/>
                    <a:pt x="83116" y="366433"/>
                  </a:cubicBezTo>
                  <a:cubicBezTo>
                    <a:pt x="82005" y="366433"/>
                    <a:pt x="80197" y="367031"/>
                    <a:pt x="79796" y="367425"/>
                  </a:cubicBezTo>
                  <a:cubicBezTo>
                    <a:pt x="79402" y="367825"/>
                    <a:pt x="80710" y="368838"/>
                    <a:pt x="81210" y="369549"/>
                  </a:cubicBezTo>
                  <a:cubicBezTo>
                    <a:pt x="81709" y="370266"/>
                    <a:pt x="84234" y="369155"/>
                    <a:pt x="85247" y="368838"/>
                  </a:cubicBezTo>
                  <a:cubicBezTo>
                    <a:pt x="86055" y="368585"/>
                    <a:pt x="88271" y="370146"/>
                    <a:pt x="89277" y="370962"/>
                  </a:cubicBezTo>
                  <a:lnTo>
                    <a:pt x="89277" y="372868"/>
                  </a:lnTo>
                  <a:cubicBezTo>
                    <a:pt x="88573" y="373276"/>
                    <a:pt x="86928" y="373839"/>
                    <a:pt x="86041" y="372868"/>
                  </a:cubicBezTo>
                  <a:cubicBezTo>
                    <a:pt x="84923" y="371658"/>
                    <a:pt x="84234" y="372376"/>
                    <a:pt x="83116" y="372868"/>
                  </a:cubicBezTo>
                  <a:cubicBezTo>
                    <a:pt x="82005" y="373368"/>
                    <a:pt x="84234" y="373782"/>
                    <a:pt x="84726" y="374085"/>
                  </a:cubicBezTo>
                  <a:cubicBezTo>
                    <a:pt x="85226" y="374380"/>
                    <a:pt x="87153" y="375794"/>
                    <a:pt x="87969" y="377622"/>
                  </a:cubicBezTo>
                  <a:cubicBezTo>
                    <a:pt x="88784" y="379451"/>
                    <a:pt x="88862" y="380344"/>
                    <a:pt x="88665" y="381554"/>
                  </a:cubicBezTo>
                  <a:cubicBezTo>
                    <a:pt x="88468" y="382771"/>
                    <a:pt x="87969" y="383066"/>
                    <a:pt x="87969" y="384065"/>
                  </a:cubicBezTo>
                  <a:cubicBezTo>
                    <a:pt x="87969" y="385056"/>
                    <a:pt x="87153" y="386590"/>
                    <a:pt x="87969" y="387898"/>
                  </a:cubicBezTo>
                  <a:cubicBezTo>
                    <a:pt x="88784" y="389213"/>
                    <a:pt x="87153" y="389607"/>
                    <a:pt x="86555" y="389607"/>
                  </a:cubicBezTo>
                  <a:cubicBezTo>
                    <a:pt x="85957" y="389607"/>
                    <a:pt x="85247" y="388517"/>
                    <a:pt x="84234" y="387898"/>
                  </a:cubicBezTo>
                  <a:cubicBezTo>
                    <a:pt x="83214" y="387279"/>
                    <a:pt x="84234" y="390620"/>
                    <a:pt x="84234" y="391935"/>
                  </a:cubicBezTo>
                  <a:cubicBezTo>
                    <a:pt x="84234" y="393243"/>
                    <a:pt x="87153" y="394853"/>
                    <a:pt x="87153" y="396070"/>
                  </a:cubicBezTo>
                  <a:cubicBezTo>
                    <a:pt x="87153" y="397280"/>
                    <a:pt x="84431" y="398792"/>
                    <a:pt x="84234" y="399284"/>
                  </a:cubicBezTo>
                  <a:cubicBezTo>
                    <a:pt x="84030" y="399784"/>
                    <a:pt x="86857" y="400817"/>
                    <a:pt x="87153" y="402112"/>
                  </a:cubicBezTo>
                  <a:cubicBezTo>
                    <a:pt x="87448" y="403399"/>
                    <a:pt x="86259" y="403940"/>
                    <a:pt x="85247" y="405051"/>
                  </a:cubicBezTo>
                  <a:cubicBezTo>
                    <a:pt x="84234" y="406163"/>
                    <a:pt x="83833" y="407161"/>
                    <a:pt x="83116" y="408568"/>
                  </a:cubicBezTo>
                  <a:cubicBezTo>
                    <a:pt x="82546" y="409700"/>
                    <a:pt x="84297" y="412872"/>
                    <a:pt x="85247" y="414314"/>
                  </a:cubicBezTo>
                  <a:cubicBezTo>
                    <a:pt x="84740" y="414377"/>
                    <a:pt x="83608" y="414638"/>
                    <a:pt x="83116" y="415130"/>
                  </a:cubicBezTo>
                  <a:cubicBezTo>
                    <a:pt x="82504" y="415749"/>
                    <a:pt x="83116" y="417950"/>
                    <a:pt x="83116" y="419068"/>
                  </a:cubicBezTo>
                  <a:cubicBezTo>
                    <a:pt x="83116" y="420179"/>
                    <a:pt x="79599" y="425925"/>
                    <a:pt x="78087" y="432065"/>
                  </a:cubicBezTo>
                  <a:cubicBezTo>
                    <a:pt x="76575" y="438205"/>
                    <a:pt x="73537" y="441145"/>
                    <a:pt x="72327" y="441145"/>
                  </a:cubicBezTo>
                  <a:cubicBezTo>
                    <a:pt x="71110" y="441145"/>
                    <a:pt x="71631" y="439640"/>
                    <a:pt x="71012" y="438923"/>
                  </a:cubicBezTo>
                  <a:cubicBezTo>
                    <a:pt x="70400" y="438205"/>
                    <a:pt x="69204" y="438923"/>
                    <a:pt x="68192" y="438923"/>
                  </a:cubicBezTo>
                  <a:cubicBezTo>
                    <a:pt x="67179" y="438923"/>
                    <a:pt x="67094" y="439640"/>
                    <a:pt x="66180" y="439640"/>
                  </a:cubicBezTo>
                  <a:cubicBezTo>
                    <a:pt x="65266" y="439640"/>
                    <a:pt x="64872" y="438923"/>
                    <a:pt x="63859" y="438923"/>
                  </a:cubicBezTo>
                  <a:cubicBezTo>
                    <a:pt x="62846" y="438923"/>
                    <a:pt x="59421" y="438824"/>
                    <a:pt x="57614" y="438923"/>
                  </a:cubicBezTo>
                  <a:cubicBezTo>
                    <a:pt x="55806" y="439021"/>
                    <a:pt x="56207" y="440132"/>
                    <a:pt x="56207" y="441145"/>
                  </a:cubicBezTo>
                  <a:cubicBezTo>
                    <a:pt x="56207" y="442165"/>
                    <a:pt x="57002" y="443156"/>
                    <a:pt x="56207" y="443452"/>
                  </a:cubicBezTo>
                  <a:cubicBezTo>
                    <a:pt x="55413" y="443754"/>
                    <a:pt x="53584" y="442460"/>
                    <a:pt x="52768" y="442460"/>
                  </a:cubicBezTo>
                  <a:cubicBezTo>
                    <a:pt x="51952" y="442460"/>
                    <a:pt x="52367" y="443670"/>
                    <a:pt x="50961" y="444563"/>
                  </a:cubicBezTo>
                  <a:cubicBezTo>
                    <a:pt x="49547" y="445463"/>
                    <a:pt x="48330" y="449817"/>
                    <a:pt x="48133" y="450928"/>
                  </a:cubicBezTo>
                  <a:cubicBezTo>
                    <a:pt x="47937" y="452039"/>
                    <a:pt x="50658" y="454346"/>
                    <a:pt x="50961" y="455858"/>
                  </a:cubicBezTo>
                  <a:cubicBezTo>
                    <a:pt x="51256" y="457370"/>
                    <a:pt x="50243" y="458995"/>
                    <a:pt x="49744" y="458995"/>
                  </a:cubicBezTo>
                  <a:cubicBezTo>
                    <a:pt x="49245" y="458995"/>
                    <a:pt x="46923" y="460704"/>
                    <a:pt x="46009" y="460704"/>
                  </a:cubicBezTo>
                  <a:cubicBezTo>
                    <a:pt x="45095" y="460704"/>
                    <a:pt x="44300" y="458995"/>
                    <a:pt x="42493" y="458995"/>
                  </a:cubicBezTo>
                  <a:cubicBezTo>
                    <a:pt x="40678" y="458995"/>
                    <a:pt x="38850" y="460310"/>
                    <a:pt x="37837" y="460704"/>
                  </a:cubicBezTo>
                  <a:cubicBezTo>
                    <a:pt x="36824" y="461105"/>
                    <a:pt x="35636" y="461520"/>
                    <a:pt x="34517" y="461520"/>
                  </a:cubicBezTo>
                  <a:cubicBezTo>
                    <a:pt x="33406" y="461520"/>
                    <a:pt x="32295" y="460212"/>
                    <a:pt x="30487" y="458995"/>
                  </a:cubicBezTo>
                  <a:cubicBezTo>
                    <a:pt x="28673" y="457785"/>
                    <a:pt x="29890" y="453748"/>
                    <a:pt x="29890" y="453354"/>
                  </a:cubicBezTo>
                  <a:cubicBezTo>
                    <a:pt x="29890" y="452954"/>
                    <a:pt x="31099" y="449219"/>
                    <a:pt x="29890" y="448108"/>
                  </a:cubicBezTo>
                  <a:cubicBezTo>
                    <a:pt x="28673" y="446990"/>
                    <a:pt x="23687" y="436975"/>
                    <a:pt x="23349" y="435603"/>
                  </a:cubicBezTo>
                  <a:cubicBezTo>
                    <a:pt x="23081" y="434506"/>
                    <a:pt x="26113" y="435146"/>
                    <a:pt x="27660" y="435603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7" name="Freihandform: Form 252">
              <a:extLst>
                <a:ext uri="{FF2B5EF4-FFF2-40B4-BE49-F238E27FC236}">
                  <a16:creationId xmlns:a16="http://schemas.microsoft.com/office/drawing/2014/main" id="{6BC95846-48AD-C543-83C4-9EED9CCE96D7}"/>
                </a:ext>
              </a:extLst>
            </p:cNvPr>
            <p:cNvSpPr/>
            <p:nvPr/>
          </p:nvSpPr>
          <p:spPr>
            <a:xfrm>
              <a:off x="6474492" y="2968475"/>
              <a:ext cx="166944" cy="376514"/>
            </a:xfrm>
            <a:custGeom>
              <a:avLst/>
              <a:gdLst>
                <a:gd name="connsiteX0" fmla="*/ 0 w 166944"/>
                <a:gd name="connsiteY0" fmla="*/ 45656 h 376514"/>
                <a:gd name="connsiteX1" fmla="*/ 922 w 166944"/>
                <a:gd name="connsiteY1" fmla="*/ 43947 h 376514"/>
                <a:gd name="connsiteX2" fmla="*/ 5669 w 166944"/>
                <a:gd name="connsiteY2" fmla="*/ 43926 h 376514"/>
                <a:gd name="connsiteX3" fmla="*/ 7181 w 166944"/>
                <a:gd name="connsiteY3" fmla="*/ 43947 h 376514"/>
                <a:gd name="connsiteX4" fmla="*/ 6541 w 166944"/>
                <a:gd name="connsiteY4" fmla="*/ 42097 h 376514"/>
                <a:gd name="connsiteX5" fmla="*/ 5373 w 166944"/>
                <a:gd name="connsiteY5" fmla="*/ 39790 h 376514"/>
                <a:gd name="connsiteX6" fmla="*/ 10107 w 166944"/>
                <a:gd name="connsiteY6" fmla="*/ 35064 h 376514"/>
                <a:gd name="connsiteX7" fmla="*/ 12576 w 166944"/>
                <a:gd name="connsiteY7" fmla="*/ 34452 h 376514"/>
                <a:gd name="connsiteX8" fmla="*/ 15930 w 166944"/>
                <a:gd name="connsiteY8" fmla="*/ 35064 h 376514"/>
                <a:gd name="connsiteX9" fmla="*/ 16577 w 166944"/>
                <a:gd name="connsiteY9" fmla="*/ 36682 h 376514"/>
                <a:gd name="connsiteX10" fmla="*/ 18715 w 166944"/>
                <a:gd name="connsiteY10" fmla="*/ 41183 h 376514"/>
                <a:gd name="connsiteX11" fmla="*/ 22604 w 166944"/>
                <a:gd name="connsiteY11" fmla="*/ 47428 h 376514"/>
                <a:gd name="connsiteX12" fmla="*/ 24419 w 166944"/>
                <a:gd name="connsiteY12" fmla="*/ 50073 h 376514"/>
                <a:gd name="connsiteX13" fmla="*/ 27197 w 166944"/>
                <a:gd name="connsiteY13" fmla="*/ 54384 h 376514"/>
                <a:gd name="connsiteX14" fmla="*/ 27197 w 166944"/>
                <a:gd name="connsiteY14" fmla="*/ 58280 h 376514"/>
                <a:gd name="connsiteX15" fmla="*/ 30123 w 166944"/>
                <a:gd name="connsiteY15" fmla="*/ 59947 h 376514"/>
                <a:gd name="connsiteX16" fmla="*/ 33857 w 166944"/>
                <a:gd name="connsiteY16" fmla="*/ 59947 h 376514"/>
                <a:gd name="connsiteX17" fmla="*/ 39561 w 166944"/>
                <a:gd name="connsiteY17" fmla="*/ 62015 h 376514"/>
                <a:gd name="connsiteX18" fmla="*/ 41931 w 166944"/>
                <a:gd name="connsiteY18" fmla="*/ 62015 h 376514"/>
                <a:gd name="connsiteX19" fmla="*/ 42353 w 166944"/>
                <a:gd name="connsiteY19" fmla="*/ 61220 h 376514"/>
                <a:gd name="connsiteX20" fmla="*/ 44013 w 166944"/>
                <a:gd name="connsiteY20" fmla="*/ 59947 h 376514"/>
                <a:gd name="connsiteX21" fmla="*/ 45504 w 166944"/>
                <a:gd name="connsiteY21" fmla="*/ 60383 h 376514"/>
                <a:gd name="connsiteX22" fmla="*/ 47080 w 166944"/>
                <a:gd name="connsiteY22" fmla="*/ 59947 h 376514"/>
                <a:gd name="connsiteX23" fmla="*/ 49703 w 166944"/>
                <a:gd name="connsiteY23" fmla="*/ 54384 h 376514"/>
                <a:gd name="connsiteX24" fmla="*/ 54155 w 166944"/>
                <a:gd name="connsiteY24" fmla="*/ 55910 h 376514"/>
                <a:gd name="connsiteX25" fmla="*/ 54851 w 166944"/>
                <a:gd name="connsiteY25" fmla="*/ 56965 h 376514"/>
                <a:gd name="connsiteX26" fmla="*/ 57074 w 166944"/>
                <a:gd name="connsiteY26" fmla="*/ 59110 h 376514"/>
                <a:gd name="connsiteX27" fmla="*/ 58642 w 166944"/>
                <a:gd name="connsiteY27" fmla="*/ 59391 h 376514"/>
                <a:gd name="connsiteX28" fmla="*/ 60274 w 166944"/>
                <a:gd name="connsiteY28" fmla="*/ 59947 h 376514"/>
                <a:gd name="connsiteX29" fmla="*/ 62735 w 166944"/>
                <a:gd name="connsiteY29" fmla="*/ 62612 h 376514"/>
                <a:gd name="connsiteX30" fmla="*/ 65977 w 166944"/>
                <a:gd name="connsiteY30" fmla="*/ 65355 h 376514"/>
                <a:gd name="connsiteX31" fmla="*/ 69853 w 166944"/>
                <a:gd name="connsiteY31" fmla="*/ 62015 h 376514"/>
                <a:gd name="connsiteX32" fmla="*/ 69853 w 166944"/>
                <a:gd name="connsiteY32" fmla="*/ 57162 h 376514"/>
                <a:gd name="connsiteX33" fmla="*/ 69867 w 166944"/>
                <a:gd name="connsiteY33" fmla="*/ 57134 h 376514"/>
                <a:gd name="connsiteX34" fmla="*/ 72919 w 166944"/>
                <a:gd name="connsiteY34" fmla="*/ 53406 h 376514"/>
                <a:gd name="connsiteX35" fmla="*/ 74846 w 166944"/>
                <a:gd name="connsiteY35" fmla="*/ 53069 h 376514"/>
                <a:gd name="connsiteX36" fmla="*/ 76808 w 166944"/>
                <a:gd name="connsiteY36" fmla="*/ 52295 h 376514"/>
                <a:gd name="connsiteX37" fmla="*/ 77814 w 166944"/>
                <a:gd name="connsiteY37" fmla="*/ 51866 h 376514"/>
                <a:gd name="connsiteX38" fmla="*/ 78897 w 166944"/>
                <a:gd name="connsiteY38" fmla="*/ 50073 h 376514"/>
                <a:gd name="connsiteX39" fmla="*/ 78714 w 166944"/>
                <a:gd name="connsiteY39" fmla="*/ 46289 h 376514"/>
                <a:gd name="connsiteX40" fmla="*/ 78897 w 166944"/>
                <a:gd name="connsiteY40" fmla="*/ 33510 h 376514"/>
                <a:gd name="connsiteX41" fmla="*/ 80191 w 166944"/>
                <a:gd name="connsiteY41" fmla="*/ 27546 h 376514"/>
                <a:gd name="connsiteX42" fmla="*/ 80585 w 166944"/>
                <a:gd name="connsiteY42" fmla="*/ 24746 h 376514"/>
                <a:gd name="connsiteX43" fmla="*/ 81274 w 166944"/>
                <a:gd name="connsiteY43" fmla="*/ 23867 h 376514"/>
                <a:gd name="connsiteX44" fmla="*/ 82414 w 166944"/>
                <a:gd name="connsiteY44" fmla="*/ 21926 h 376514"/>
                <a:gd name="connsiteX45" fmla="*/ 82181 w 166944"/>
                <a:gd name="connsiteY45" fmla="*/ 20302 h 376514"/>
                <a:gd name="connsiteX46" fmla="*/ 82414 w 166944"/>
                <a:gd name="connsiteY46" fmla="*/ 17910 h 376514"/>
                <a:gd name="connsiteX47" fmla="*/ 82449 w 166944"/>
                <a:gd name="connsiteY47" fmla="*/ 17889 h 376514"/>
                <a:gd name="connsiteX48" fmla="*/ 85895 w 166944"/>
                <a:gd name="connsiteY48" fmla="*/ 14985 h 376514"/>
                <a:gd name="connsiteX49" fmla="*/ 87449 w 166944"/>
                <a:gd name="connsiteY49" fmla="*/ 13107 h 376514"/>
                <a:gd name="connsiteX50" fmla="*/ 88996 w 166944"/>
                <a:gd name="connsiteY50" fmla="*/ 11011 h 376514"/>
                <a:gd name="connsiteX51" fmla="*/ 89362 w 166944"/>
                <a:gd name="connsiteY51" fmla="*/ 9393 h 376514"/>
                <a:gd name="connsiteX52" fmla="*/ 90445 w 166944"/>
                <a:gd name="connsiteY52" fmla="*/ 6840 h 376514"/>
                <a:gd name="connsiteX53" fmla="*/ 94525 w 166944"/>
                <a:gd name="connsiteY53" fmla="*/ 5884 h 376514"/>
                <a:gd name="connsiteX54" fmla="*/ 96086 w 166944"/>
                <a:gd name="connsiteY54" fmla="*/ 5645 h 376514"/>
                <a:gd name="connsiteX55" fmla="*/ 97921 w 166944"/>
                <a:gd name="connsiteY55" fmla="*/ 5884 h 376514"/>
                <a:gd name="connsiteX56" fmla="*/ 98111 w 166944"/>
                <a:gd name="connsiteY56" fmla="*/ 6510 h 376514"/>
                <a:gd name="connsiteX57" fmla="*/ 99553 w 166944"/>
                <a:gd name="connsiteY57" fmla="*/ 7333 h 376514"/>
                <a:gd name="connsiteX58" fmla="*/ 101002 w 166944"/>
                <a:gd name="connsiteY58" fmla="*/ 7241 h 376514"/>
                <a:gd name="connsiteX59" fmla="*/ 102177 w 166944"/>
                <a:gd name="connsiteY59" fmla="*/ 6840 h 376514"/>
                <a:gd name="connsiteX60" fmla="*/ 102641 w 166944"/>
                <a:gd name="connsiteY60" fmla="*/ 6095 h 376514"/>
                <a:gd name="connsiteX61" fmla="*/ 104103 w 166944"/>
                <a:gd name="connsiteY61" fmla="*/ 4611 h 376514"/>
                <a:gd name="connsiteX62" fmla="*/ 107578 w 166944"/>
                <a:gd name="connsiteY62" fmla="*/ 1798 h 376514"/>
                <a:gd name="connsiteX63" fmla="*/ 108949 w 166944"/>
                <a:gd name="connsiteY63" fmla="*/ 658 h 376514"/>
                <a:gd name="connsiteX64" fmla="*/ 109238 w 166944"/>
                <a:gd name="connsiteY64" fmla="*/ 433 h 376514"/>
                <a:gd name="connsiteX65" fmla="*/ 111179 w 166944"/>
                <a:gd name="connsiteY65" fmla="*/ 658 h 376514"/>
                <a:gd name="connsiteX66" fmla="*/ 114956 w 166944"/>
                <a:gd name="connsiteY66" fmla="*/ 5884 h 376514"/>
                <a:gd name="connsiteX67" fmla="*/ 117959 w 166944"/>
                <a:gd name="connsiteY67" fmla="*/ 9084 h 376514"/>
                <a:gd name="connsiteX68" fmla="*/ 119801 w 166944"/>
                <a:gd name="connsiteY68" fmla="*/ 11011 h 376514"/>
                <a:gd name="connsiteX69" fmla="*/ 122748 w 166944"/>
                <a:gd name="connsiteY69" fmla="*/ 13212 h 376514"/>
                <a:gd name="connsiteX70" fmla="*/ 122805 w 166944"/>
                <a:gd name="connsiteY70" fmla="*/ 13240 h 376514"/>
                <a:gd name="connsiteX71" fmla="*/ 123845 w 166944"/>
                <a:gd name="connsiteY71" fmla="*/ 14000 h 376514"/>
                <a:gd name="connsiteX72" fmla="*/ 127081 w 166944"/>
                <a:gd name="connsiteY72" fmla="*/ 15864 h 376514"/>
                <a:gd name="connsiteX73" fmla="*/ 130857 w 166944"/>
                <a:gd name="connsiteY73" fmla="*/ 18965 h 376514"/>
                <a:gd name="connsiteX74" fmla="*/ 131877 w 166944"/>
                <a:gd name="connsiteY74" fmla="*/ 20885 h 376514"/>
                <a:gd name="connsiteX75" fmla="*/ 132489 w 166944"/>
                <a:gd name="connsiteY75" fmla="*/ 21926 h 376514"/>
                <a:gd name="connsiteX76" fmla="*/ 133354 w 166944"/>
                <a:gd name="connsiteY76" fmla="*/ 26153 h 376514"/>
                <a:gd name="connsiteX77" fmla="*/ 133354 w 166944"/>
                <a:gd name="connsiteY77" fmla="*/ 26153 h 376514"/>
                <a:gd name="connsiteX78" fmla="*/ 133361 w 166944"/>
                <a:gd name="connsiteY78" fmla="*/ 26216 h 376514"/>
                <a:gd name="connsiteX79" fmla="*/ 133537 w 166944"/>
                <a:gd name="connsiteY79" fmla="*/ 26786 h 376514"/>
                <a:gd name="connsiteX80" fmla="*/ 133361 w 166944"/>
                <a:gd name="connsiteY80" fmla="*/ 28741 h 376514"/>
                <a:gd name="connsiteX81" fmla="*/ 127833 w 166944"/>
                <a:gd name="connsiteY81" fmla="*/ 36492 h 376514"/>
                <a:gd name="connsiteX82" fmla="*/ 126384 w 166944"/>
                <a:gd name="connsiteY82" fmla="*/ 41520 h 376514"/>
                <a:gd name="connsiteX83" fmla="*/ 126427 w 166944"/>
                <a:gd name="connsiteY83" fmla="*/ 42343 h 376514"/>
                <a:gd name="connsiteX84" fmla="*/ 127081 w 166944"/>
                <a:gd name="connsiteY84" fmla="*/ 44819 h 376514"/>
                <a:gd name="connsiteX85" fmla="*/ 125709 w 166944"/>
                <a:gd name="connsiteY85" fmla="*/ 48497 h 376514"/>
                <a:gd name="connsiteX86" fmla="*/ 120779 w 166944"/>
                <a:gd name="connsiteY86" fmla="*/ 51219 h 376514"/>
                <a:gd name="connsiteX87" fmla="*/ 122713 w 166944"/>
                <a:gd name="connsiteY87" fmla="*/ 52457 h 376514"/>
                <a:gd name="connsiteX88" fmla="*/ 124457 w 166944"/>
                <a:gd name="connsiteY88" fmla="*/ 53406 h 376514"/>
                <a:gd name="connsiteX89" fmla="*/ 124619 w 166944"/>
                <a:gd name="connsiteY89" fmla="*/ 57225 h 376514"/>
                <a:gd name="connsiteX90" fmla="*/ 124457 w 166944"/>
                <a:gd name="connsiteY90" fmla="*/ 57999 h 376514"/>
                <a:gd name="connsiteX91" fmla="*/ 123684 w 166944"/>
                <a:gd name="connsiteY91" fmla="*/ 62015 h 376514"/>
                <a:gd name="connsiteX92" fmla="*/ 119801 w 166944"/>
                <a:gd name="connsiteY92" fmla="*/ 65932 h 376514"/>
                <a:gd name="connsiteX93" fmla="*/ 121356 w 166944"/>
                <a:gd name="connsiteY93" fmla="*/ 71854 h 376514"/>
                <a:gd name="connsiteX94" fmla="*/ 121785 w 166944"/>
                <a:gd name="connsiteY94" fmla="*/ 73978 h 376514"/>
                <a:gd name="connsiteX95" fmla="*/ 122129 w 166944"/>
                <a:gd name="connsiteY95" fmla="*/ 75729 h 376514"/>
                <a:gd name="connsiteX96" fmla="*/ 122755 w 166944"/>
                <a:gd name="connsiteY96" fmla="*/ 78170 h 376514"/>
                <a:gd name="connsiteX97" fmla="*/ 123684 w 166944"/>
                <a:gd name="connsiteY97" fmla="*/ 81236 h 376514"/>
                <a:gd name="connsiteX98" fmla="*/ 126089 w 166944"/>
                <a:gd name="connsiteY98" fmla="*/ 82087 h 376514"/>
                <a:gd name="connsiteX99" fmla="*/ 127833 w 166944"/>
                <a:gd name="connsiteY99" fmla="*/ 82607 h 376514"/>
                <a:gd name="connsiteX100" fmla="*/ 131631 w 166944"/>
                <a:gd name="connsiteY100" fmla="*/ 85034 h 376514"/>
                <a:gd name="connsiteX101" fmla="*/ 132658 w 166944"/>
                <a:gd name="connsiteY101" fmla="*/ 85618 h 376514"/>
                <a:gd name="connsiteX102" fmla="*/ 136463 w 166944"/>
                <a:gd name="connsiteY102" fmla="*/ 90358 h 376514"/>
                <a:gd name="connsiteX103" fmla="*/ 140915 w 166944"/>
                <a:gd name="connsiteY103" fmla="*/ 98488 h 376514"/>
                <a:gd name="connsiteX104" fmla="*/ 144213 w 166944"/>
                <a:gd name="connsiteY104" fmla="*/ 102842 h 376514"/>
                <a:gd name="connsiteX105" fmla="*/ 142961 w 166944"/>
                <a:gd name="connsiteY105" fmla="*/ 109720 h 376514"/>
                <a:gd name="connsiteX106" fmla="*/ 138509 w 166944"/>
                <a:gd name="connsiteY106" fmla="*/ 115346 h 376514"/>
                <a:gd name="connsiteX107" fmla="*/ 134908 w 166944"/>
                <a:gd name="connsiteY107" fmla="*/ 120867 h 376514"/>
                <a:gd name="connsiteX108" fmla="*/ 131237 w 166944"/>
                <a:gd name="connsiteY108" fmla="*/ 127549 h 376514"/>
                <a:gd name="connsiteX109" fmla="*/ 130885 w 166944"/>
                <a:gd name="connsiteY109" fmla="*/ 129033 h 376514"/>
                <a:gd name="connsiteX110" fmla="*/ 130161 w 166944"/>
                <a:gd name="connsiteY110" fmla="*/ 132676 h 376514"/>
                <a:gd name="connsiteX111" fmla="*/ 131237 w 166944"/>
                <a:gd name="connsiteY111" fmla="*/ 137824 h 376514"/>
                <a:gd name="connsiteX112" fmla="*/ 131976 w 166944"/>
                <a:gd name="connsiteY112" fmla="*/ 138464 h 376514"/>
                <a:gd name="connsiteX113" fmla="*/ 133185 w 166944"/>
                <a:gd name="connsiteY113" fmla="*/ 139849 h 376514"/>
                <a:gd name="connsiteX114" fmla="*/ 133509 w 166944"/>
                <a:gd name="connsiteY114" fmla="*/ 141446 h 376514"/>
                <a:gd name="connsiteX115" fmla="*/ 134233 w 166944"/>
                <a:gd name="connsiteY115" fmla="*/ 144104 h 376514"/>
                <a:gd name="connsiteX116" fmla="*/ 136758 w 166944"/>
                <a:gd name="connsiteY116" fmla="*/ 149632 h 376514"/>
                <a:gd name="connsiteX117" fmla="*/ 136800 w 166944"/>
                <a:gd name="connsiteY117" fmla="*/ 150083 h 376514"/>
                <a:gd name="connsiteX118" fmla="*/ 137335 w 166944"/>
                <a:gd name="connsiteY118" fmla="*/ 153508 h 376514"/>
                <a:gd name="connsiteX119" fmla="*/ 137489 w 166944"/>
                <a:gd name="connsiteY119" fmla="*/ 154323 h 376514"/>
                <a:gd name="connsiteX120" fmla="*/ 138509 w 166944"/>
                <a:gd name="connsiteY120" fmla="*/ 156905 h 376514"/>
                <a:gd name="connsiteX121" fmla="*/ 138995 w 166944"/>
                <a:gd name="connsiteY121" fmla="*/ 157425 h 376514"/>
                <a:gd name="connsiteX122" fmla="*/ 141111 w 166944"/>
                <a:gd name="connsiteY122" fmla="*/ 160006 h 376514"/>
                <a:gd name="connsiteX123" fmla="*/ 142764 w 166944"/>
                <a:gd name="connsiteY123" fmla="*/ 164655 h 376514"/>
                <a:gd name="connsiteX124" fmla="*/ 142807 w 166944"/>
                <a:gd name="connsiteY124" fmla="*/ 165422 h 376514"/>
                <a:gd name="connsiteX125" fmla="*/ 143439 w 166944"/>
                <a:gd name="connsiteY125" fmla="*/ 169114 h 376514"/>
                <a:gd name="connsiteX126" fmla="*/ 143981 w 166944"/>
                <a:gd name="connsiteY126" fmla="*/ 170120 h 376514"/>
                <a:gd name="connsiteX127" fmla="*/ 145760 w 166944"/>
                <a:gd name="connsiteY127" fmla="*/ 174438 h 376514"/>
                <a:gd name="connsiteX128" fmla="*/ 145739 w 166944"/>
                <a:gd name="connsiteY128" fmla="*/ 175613 h 376514"/>
                <a:gd name="connsiteX129" fmla="*/ 145191 w 166944"/>
                <a:gd name="connsiteY129" fmla="*/ 178215 h 376514"/>
                <a:gd name="connsiteX130" fmla="*/ 144762 w 166944"/>
                <a:gd name="connsiteY130" fmla="*/ 178763 h 376514"/>
                <a:gd name="connsiteX131" fmla="*/ 142188 w 166944"/>
                <a:gd name="connsiteY131" fmla="*/ 181513 h 376514"/>
                <a:gd name="connsiteX132" fmla="*/ 141548 w 166944"/>
                <a:gd name="connsiteY132" fmla="*/ 181872 h 376514"/>
                <a:gd name="connsiteX133" fmla="*/ 140535 w 166944"/>
                <a:gd name="connsiteY133" fmla="*/ 183743 h 376514"/>
                <a:gd name="connsiteX134" fmla="*/ 139318 w 166944"/>
                <a:gd name="connsiteY134" fmla="*/ 191535 h 376514"/>
                <a:gd name="connsiteX135" fmla="*/ 138509 w 166944"/>
                <a:gd name="connsiteY135" fmla="*/ 195643 h 376514"/>
                <a:gd name="connsiteX136" fmla="*/ 140007 w 166944"/>
                <a:gd name="connsiteY136" fmla="*/ 197513 h 376514"/>
                <a:gd name="connsiteX137" fmla="*/ 141111 w 166944"/>
                <a:gd name="connsiteY137" fmla="*/ 198744 h 376514"/>
                <a:gd name="connsiteX138" fmla="*/ 142152 w 166944"/>
                <a:gd name="connsiteY138" fmla="*/ 204314 h 376514"/>
                <a:gd name="connsiteX139" fmla="*/ 144712 w 166944"/>
                <a:gd name="connsiteY139" fmla="*/ 219576 h 376514"/>
                <a:gd name="connsiteX140" fmla="*/ 144677 w 166944"/>
                <a:gd name="connsiteY140" fmla="*/ 223585 h 376514"/>
                <a:gd name="connsiteX141" fmla="*/ 144712 w 166944"/>
                <a:gd name="connsiteY141" fmla="*/ 224127 h 376514"/>
                <a:gd name="connsiteX142" fmla="*/ 144670 w 166944"/>
                <a:gd name="connsiteY142" fmla="*/ 224499 h 376514"/>
                <a:gd name="connsiteX143" fmla="*/ 145760 w 166944"/>
                <a:gd name="connsiteY143" fmla="*/ 227706 h 376514"/>
                <a:gd name="connsiteX144" fmla="*/ 147462 w 166944"/>
                <a:gd name="connsiteY144" fmla="*/ 228586 h 376514"/>
                <a:gd name="connsiteX145" fmla="*/ 151091 w 166944"/>
                <a:gd name="connsiteY145" fmla="*/ 230808 h 376514"/>
                <a:gd name="connsiteX146" fmla="*/ 153039 w 166944"/>
                <a:gd name="connsiteY146" fmla="*/ 235084 h 376514"/>
                <a:gd name="connsiteX147" fmla="*/ 152266 w 166944"/>
                <a:gd name="connsiteY147" fmla="*/ 239733 h 376514"/>
                <a:gd name="connsiteX148" fmla="*/ 151119 w 166944"/>
                <a:gd name="connsiteY148" fmla="*/ 241519 h 376514"/>
                <a:gd name="connsiteX149" fmla="*/ 148567 w 166944"/>
                <a:gd name="connsiteY149" fmla="*/ 245437 h 376514"/>
                <a:gd name="connsiteX150" fmla="*/ 144712 w 166944"/>
                <a:gd name="connsiteY150" fmla="*/ 248932 h 376514"/>
                <a:gd name="connsiteX151" fmla="*/ 151091 w 166944"/>
                <a:gd name="connsiteY151" fmla="*/ 257843 h 376514"/>
                <a:gd name="connsiteX152" fmla="*/ 157491 w 166944"/>
                <a:gd name="connsiteY152" fmla="*/ 263941 h 376514"/>
                <a:gd name="connsiteX153" fmla="*/ 159341 w 166944"/>
                <a:gd name="connsiteY153" fmla="*/ 265558 h 376514"/>
                <a:gd name="connsiteX154" fmla="*/ 162717 w 166944"/>
                <a:gd name="connsiteY154" fmla="*/ 269173 h 376514"/>
                <a:gd name="connsiteX155" fmla="*/ 164996 w 166944"/>
                <a:gd name="connsiteY155" fmla="*/ 273013 h 376514"/>
                <a:gd name="connsiteX156" fmla="*/ 165917 w 166944"/>
                <a:gd name="connsiteY156" fmla="*/ 274497 h 376514"/>
                <a:gd name="connsiteX157" fmla="*/ 166895 w 166944"/>
                <a:gd name="connsiteY157" fmla="*/ 278372 h 376514"/>
                <a:gd name="connsiteX158" fmla="*/ 166789 w 166944"/>
                <a:gd name="connsiteY158" fmla="*/ 279259 h 376514"/>
                <a:gd name="connsiteX159" fmla="*/ 163596 w 166944"/>
                <a:gd name="connsiteY159" fmla="*/ 291370 h 376514"/>
                <a:gd name="connsiteX160" fmla="*/ 157695 w 166944"/>
                <a:gd name="connsiteY160" fmla="*/ 298635 h 376514"/>
                <a:gd name="connsiteX161" fmla="*/ 157491 w 166944"/>
                <a:gd name="connsiteY161" fmla="*/ 298923 h 376514"/>
                <a:gd name="connsiteX162" fmla="*/ 142089 w 166944"/>
                <a:gd name="connsiteY162" fmla="*/ 319832 h 376514"/>
                <a:gd name="connsiteX163" fmla="*/ 135211 w 166944"/>
                <a:gd name="connsiteY163" fmla="*/ 327590 h 376514"/>
                <a:gd name="connsiteX164" fmla="*/ 127158 w 166944"/>
                <a:gd name="connsiteY164" fmla="*/ 336311 h 376514"/>
                <a:gd name="connsiteX165" fmla="*/ 122783 w 166944"/>
                <a:gd name="connsiteY165" fmla="*/ 341037 h 376514"/>
                <a:gd name="connsiteX166" fmla="*/ 119703 w 166944"/>
                <a:gd name="connsiteY166" fmla="*/ 344441 h 376514"/>
                <a:gd name="connsiteX167" fmla="*/ 115624 w 166944"/>
                <a:gd name="connsiteY167" fmla="*/ 348956 h 376514"/>
                <a:gd name="connsiteX168" fmla="*/ 110307 w 166944"/>
                <a:gd name="connsiteY168" fmla="*/ 354716 h 376514"/>
                <a:gd name="connsiteX169" fmla="*/ 109976 w 166944"/>
                <a:gd name="connsiteY169" fmla="*/ 355370 h 376514"/>
                <a:gd name="connsiteX170" fmla="*/ 107979 w 166944"/>
                <a:gd name="connsiteY170" fmla="*/ 356468 h 376514"/>
                <a:gd name="connsiteX171" fmla="*/ 103048 w 166944"/>
                <a:gd name="connsiteY171" fmla="*/ 356559 h 376514"/>
                <a:gd name="connsiteX172" fmla="*/ 100425 w 166944"/>
                <a:gd name="connsiteY172" fmla="*/ 356468 h 376514"/>
                <a:gd name="connsiteX173" fmla="*/ 94721 w 166944"/>
                <a:gd name="connsiteY173" fmla="*/ 357621 h 376514"/>
                <a:gd name="connsiteX174" fmla="*/ 87646 w 166944"/>
                <a:gd name="connsiteY174" fmla="*/ 359274 h 376514"/>
                <a:gd name="connsiteX175" fmla="*/ 83096 w 166944"/>
                <a:gd name="connsiteY175" fmla="*/ 360722 h 376514"/>
                <a:gd name="connsiteX176" fmla="*/ 83026 w 166944"/>
                <a:gd name="connsiteY176" fmla="*/ 361201 h 376514"/>
                <a:gd name="connsiteX177" fmla="*/ 80093 w 166944"/>
                <a:gd name="connsiteY177" fmla="*/ 364302 h 376514"/>
                <a:gd name="connsiteX178" fmla="*/ 76900 w 166944"/>
                <a:gd name="connsiteY178" fmla="*/ 364112 h 376514"/>
                <a:gd name="connsiteX179" fmla="*/ 73489 w 166944"/>
                <a:gd name="connsiteY179" fmla="*/ 364302 h 376514"/>
                <a:gd name="connsiteX180" fmla="*/ 71759 w 166944"/>
                <a:gd name="connsiteY180" fmla="*/ 365139 h 376514"/>
                <a:gd name="connsiteX181" fmla="*/ 68460 w 166944"/>
                <a:gd name="connsiteY181" fmla="*/ 366349 h 376514"/>
                <a:gd name="connsiteX182" fmla="*/ 58860 w 166944"/>
                <a:gd name="connsiteY182" fmla="*/ 371954 h 376514"/>
                <a:gd name="connsiteX183" fmla="*/ 58508 w 166944"/>
                <a:gd name="connsiteY183" fmla="*/ 371596 h 376514"/>
                <a:gd name="connsiteX184" fmla="*/ 56539 w 166944"/>
                <a:gd name="connsiteY184" fmla="*/ 370224 h 376514"/>
                <a:gd name="connsiteX185" fmla="*/ 54071 w 166944"/>
                <a:gd name="connsiteY185" fmla="*/ 371138 h 376514"/>
                <a:gd name="connsiteX186" fmla="*/ 51609 w 166944"/>
                <a:gd name="connsiteY186" fmla="*/ 371954 h 376514"/>
                <a:gd name="connsiteX187" fmla="*/ 47691 w 166944"/>
                <a:gd name="connsiteY187" fmla="*/ 372890 h 376514"/>
                <a:gd name="connsiteX188" fmla="*/ 47333 w 166944"/>
                <a:gd name="connsiteY188" fmla="*/ 373023 h 376514"/>
                <a:gd name="connsiteX189" fmla="*/ 46242 w 166944"/>
                <a:gd name="connsiteY189" fmla="*/ 373642 h 376514"/>
                <a:gd name="connsiteX190" fmla="*/ 43078 w 166944"/>
                <a:gd name="connsiteY190" fmla="*/ 374775 h 376514"/>
                <a:gd name="connsiteX191" fmla="*/ 39885 w 166944"/>
                <a:gd name="connsiteY191" fmla="*/ 375766 h 376514"/>
                <a:gd name="connsiteX192" fmla="*/ 37655 w 166944"/>
                <a:gd name="connsiteY192" fmla="*/ 376505 h 376514"/>
                <a:gd name="connsiteX193" fmla="*/ 36003 w 166944"/>
                <a:gd name="connsiteY193" fmla="*/ 374775 h 376514"/>
                <a:gd name="connsiteX194" fmla="*/ 36481 w 166944"/>
                <a:gd name="connsiteY194" fmla="*/ 373783 h 376514"/>
                <a:gd name="connsiteX195" fmla="*/ 37177 w 166944"/>
                <a:gd name="connsiteY195" fmla="*/ 371673 h 376514"/>
                <a:gd name="connsiteX196" fmla="*/ 36579 w 166944"/>
                <a:gd name="connsiteY196" fmla="*/ 368775 h 376514"/>
                <a:gd name="connsiteX197" fmla="*/ 36446 w 166944"/>
                <a:gd name="connsiteY197" fmla="*/ 368656 h 376514"/>
                <a:gd name="connsiteX198" fmla="*/ 34075 w 166944"/>
                <a:gd name="connsiteY198" fmla="*/ 368276 h 376514"/>
                <a:gd name="connsiteX199" fmla="*/ 32521 w 166944"/>
                <a:gd name="connsiteY199" fmla="*/ 370351 h 376514"/>
                <a:gd name="connsiteX200" fmla="*/ 31551 w 166944"/>
                <a:gd name="connsiteY200" fmla="*/ 371673 h 376514"/>
                <a:gd name="connsiteX201" fmla="*/ 28076 w 166944"/>
                <a:gd name="connsiteY201" fmla="*/ 371673 h 376514"/>
                <a:gd name="connsiteX202" fmla="*/ 30580 w 166944"/>
                <a:gd name="connsiteY202" fmla="*/ 364302 h 376514"/>
                <a:gd name="connsiteX203" fmla="*/ 30650 w 166944"/>
                <a:gd name="connsiteY203" fmla="*/ 363479 h 376514"/>
                <a:gd name="connsiteX204" fmla="*/ 29328 w 166944"/>
                <a:gd name="connsiteY204" fmla="*/ 361595 h 376514"/>
                <a:gd name="connsiteX205" fmla="*/ 27479 w 166944"/>
                <a:gd name="connsiteY205" fmla="*/ 360842 h 376514"/>
                <a:gd name="connsiteX206" fmla="*/ 25249 w 166944"/>
                <a:gd name="connsiteY206" fmla="*/ 360722 h 376514"/>
                <a:gd name="connsiteX207" fmla="*/ 22077 w 166944"/>
                <a:gd name="connsiteY207" fmla="*/ 360385 h 376514"/>
                <a:gd name="connsiteX208" fmla="*/ 20122 w 166944"/>
                <a:gd name="connsiteY208" fmla="*/ 360146 h 376514"/>
                <a:gd name="connsiteX209" fmla="*/ 19165 w 166944"/>
                <a:gd name="connsiteY209" fmla="*/ 360272 h 376514"/>
                <a:gd name="connsiteX210" fmla="*/ 18174 w 166944"/>
                <a:gd name="connsiteY210" fmla="*/ 359274 h 376514"/>
                <a:gd name="connsiteX211" fmla="*/ 17597 w 166944"/>
                <a:gd name="connsiteY211" fmla="*/ 356383 h 376514"/>
                <a:gd name="connsiteX212" fmla="*/ 17499 w 166944"/>
                <a:gd name="connsiteY212" fmla="*/ 355293 h 376514"/>
                <a:gd name="connsiteX213" fmla="*/ 17639 w 166944"/>
                <a:gd name="connsiteY213" fmla="*/ 354210 h 376514"/>
                <a:gd name="connsiteX214" fmla="*/ 16444 w 166944"/>
                <a:gd name="connsiteY214" fmla="*/ 353267 h 376514"/>
                <a:gd name="connsiteX215" fmla="*/ 14643 w 166944"/>
                <a:gd name="connsiteY215" fmla="*/ 353408 h 376514"/>
                <a:gd name="connsiteX216" fmla="*/ 12568 w 166944"/>
                <a:gd name="connsiteY216" fmla="*/ 352691 h 376514"/>
                <a:gd name="connsiteX217" fmla="*/ 12512 w 166944"/>
                <a:gd name="connsiteY217" fmla="*/ 350053 h 376514"/>
                <a:gd name="connsiteX218" fmla="*/ 12568 w 166944"/>
                <a:gd name="connsiteY218" fmla="*/ 348991 h 376514"/>
                <a:gd name="connsiteX219" fmla="*/ 12596 w 166944"/>
                <a:gd name="connsiteY219" fmla="*/ 348436 h 376514"/>
                <a:gd name="connsiteX220" fmla="*/ 11598 w 166944"/>
                <a:gd name="connsiteY220" fmla="*/ 346586 h 376514"/>
                <a:gd name="connsiteX221" fmla="*/ 10726 w 166944"/>
                <a:gd name="connsiteY221" fmla="*/ 346157 h 376514"/>
                <a:gd name="connsiteX222" fmla="*/ 8595 w 166944"/>
                <a:gd name="connsiteY222" fmla="*/ 344645 h 376514"/>
                <a:gd name="connsiteX223" fmla="*/ 9748 w 166944"/>
                <a:gd name="connsiteY223" fmla="*/ 342711 h 376514"/>
                <a:gd name="connsiteX224" fmla="*/ 11598 w 166944"/>
                <a:gd name="connsiteY224" fmla="*/ 342711 h 376514"/>
                <a:gd name="connsiteX225" fmla="*/ 12568 w 166944"/>
                <a:gd name="connsiteY225" fmla="*/ 342015 h 376514"/>
                <a:gd name="connsiteX226" fmla="*/ 12407 w 166944"/>
                <a:gd name="connsiteY226" fmla="*/ 341206 h 376514"/>
                <a:gd name="connsiteX227" fmla="*/ 12568 w 166944"/>
                <a:gd name="connsiteY227" fmla="*/ 337190 h 376514"/>
                <a:gd name="connsiteX228" fmla="*/ 13518 w 166944"/>
                <a:gd name="connsiteY228" fmla="*/ 336015 h 376514"/>
                <a:gd name="connsiteX229" fmla="*/ 14496 w 166944"/>
                <a:gd name="connsiteY229" fmla="*/ 334285 h 376514"/>
                <a:gd name="connsiteX230" fmla="*/ 14552 w 166944"/>
                <a:gd name="connsiteY230" fmla="*/ 332288 h 376514"/>
                <a:gd name="connsiteX231" fmla="*/ 14496 w 166944"/>
                <a:gd name="connsiteY231" fmla="*/ 330487 h 376514"/>
                <a:gd name="connsiteX232" fmla="*/ 14496 w 166944"/>
                <a:gd name="connsiteY232" fmla="*/ 325937 h 376514"/>
                <a:gd name="connsiteX233" fmla="*/ 14496 w 166944"/>
                <a:gd name="connsiteY233" fmla="*/ 323032 h 376514"/>
                <a:gd name="connsiteX234" fmla="*/ 13975 w 166944"/>
                <a:gd name="connsiteY234" fmla="*/ 320212 h 376514"/>
                <a:gd name="connsiteX235" fmla="*/ 13722 w 166944"/>
                <a:gd name="connsiteY235" fmla="*/ 319558 h 376514"/>
                <a:gd name="connsiteX236" fmla="*/ 13356 w 166944"/>
                <a:gd name="connsiteY236" fmla="*/ 318369 h 376514"/>
                <a:gd name="connsiteX237" fmla="*/ 12568 w 166944"/>
                <a:gd name="connsiteY237" fmla="*/ 316456 h 376514"/>
                <a:gd name="connsiteX238" fmla="*/ 11682 w 166944"/>
                <a:gd name="connsiteY238" fmla="*/ 314445 h 376514"/>
                <a:gd name="connsiteX239" fmla="*/ 10719 w 166944"/>
                <a:gd name="connsiteY239" fmla="*/ 312384 h 376514"/>
                <a:gd name="connsiteX240" fmla="*/ 9748 w 166944"/>
                <a:gd name="connsiteY240" fmla="*/ 306758 h 376514"/>
                <a:gd name="connsiteX241" fmla="*/ 10374 w 166944"/>
                <a:gd name="connsiteY241" fmla="*/ 304704 h 376514"/>
                <a:gd name="connsiteX242" fmla="*/ 10719 w 166944"/>
                <a:gd name="connsiteY242" fmla="*/ 303853 h 376514"/>
                <a:gd name="connsiteX243" fmla="*/ 11105 w 166944"/>
                <a:gd name="connsiteY243" fmla="*/ 302222 h 376514"/>
                <a:gd name="connsiteX244" fmla="*/ 11598 w 166944"/>
                <a:gd name="connsiteY244" fmla="*/ 297650 h 376514"/>
                <a:gd name="connsiteX245" fmla="*/ 10198 w 166944"/>
                <a:gd name="connsiteY245" fmla="*/ 296743 h 376514"/>
                <a:gd name="connsiteX246" fmla="*/ 8595 w 166944"/>
                <a:gd name="connsiteY246" fmla="*/ 295048 h 376514"/>
                <a:gd name="connsiteX247" fmla="*/ 8124 w 166944"/>
                <a:gd name="connsiteY247" fmla="*/ 293156 h 376514"/>
                <a:gd name="connsiteX248" fmla="*/ 7722 w 166944"/>
                <a:gd name="connsiteY248" fmla="*/ 291370 h 376514"/>
                <a:gd name="connsiteX249" fmla="*/ 8229 w 166944"/>
                <a:gd name="connsiteY249" fmla="*/ 289956 h 376514"/>
                <a:gd name="connsiteX250" fmla="*/ 8595 w 166944"/>
                <a:gd name="connsiteY250" fmla="*/ 288950 h 376514"/>
                <a:gd name="connsiteX251" fmla="*/ 8208 w 166944"/>
                <a:gd name="connsiteY251" fmla="*/ 287825 h 376514"/>
                <a:gd name="connsiteX252" fmla="*/ 7722 w 166944"/>
                <a:gd name="connsiteY252" fmla="*/ 286221 h 376514"/>
                <a:gd name="connsiteX253" fmla="*/ 7708 w 166944"/>
                <a:gd name="connsiteY253" fmla="*/ 285539 h 376514"/>
                <a:gd name="connsiteX254" fmla="*/ 8595 w 166944"/>
                <a:gd name="connsiteY254" fmla="*/ 281868 h 376514"/>
                <a:gd name="connsiteX255" fmla="*/ 11598 w 166944"/>
                <a:gd name="connsiteY255" fmla="*/ 279842 h 376514"/>
                <a:gd name="connsiteX256" fmla="*/ 11809 w 166944"/>
                <a:gd name="connsiteY256" fmla="*/ 279097 h 376514"/>
                <a:gd name="connsiteX257" fmla="*/ 12568 w 166944"/>
                <a:gd name="connsiteY257" fmla="*/ 277697 h 376514"/>
                <a:gd name="connsiteX258" fmla="*/ 14123 w 166944"/>
                <a:gd name="connsiteY258" fmla="*/ 275742 h 376514"/>
                <a:gd name="connsiteX259" fmla="*/ 14496 w 166944"/>
                <a:gd name="connsiteY259" fmla="*/ 275194 h 376514"/>
                <a:gd name="connsiteX260" fmla="*/ 15473 w 166944"/>
                <a:gd name="connsiteY260" fmla="*/ 273344 h 376514"/>
                <a:gd name="connsiteX261" fmla="*/ 14496 w 166944"/>
                <a:gd name="connsiteY261" fmla="*/ 269173 h 376514"/>
                <a:gd name="connsiteX262" fmla="*/ 19545 w 166944"/>
                <a:gd name="connsiteY262" fmla="*/ 266466 h 376514"/>
                <a:gd name="connsiteX263" fmla="*/ 20037 w 166944"/>
                <a:gd name="connsiteY263" fmla="*/ 267092 h 376514"/>
                <a:gd name="connsiteX264" fmla="*/ 20502 w 166944"/>
                <a:gd name="connsiteY264" fmla="*/ 267816 h 376514"/>
                <a:gd name="connsiteX265" fmla="*/ 23027 w 166944"/>
                <a:gd name="connsiteY265" fmla="*/ 267816 h 376514"/>
                <a:gd name="connsiteX266" fmla="*/ 25755 w 166944"/>
                <a:gd name="connsiteY266" fmla="*/ 265966 h 376514"/>
                <a:gd name="connsiteX267" fmla="*/ 26226 w 166944"/>
                <a:gd name="connsiteY267" fmla="*/ 265593 h 376514"/>
                <a:gd name="connsiteX268" fmla="*/ 27000 w 166944"/>
                <a:gd name="connsiteY268" fmla="*/ 265143 h 376514"/>
                <a:gd name="connsiteX269" fmla="*/ 27774 w 166944"/>
                <a:gd name="connsiteY269" fmla="*/ 263842 h 376514"/>
                <a:gd name="connsiteX270" fmla="*/ 26191 w 166944"/>
                <a:gd name="connsiteY270" fmla="*/ 261479 h 376514"/>
                <a:gd name="connsiteX271" fmla="*/ 25151 w 166944"/>
                <a:gd name="connsiteY271" fmla="*/ 260065 h 376514"/>
                <a:gd name="connsiteX272" fmla="*/ 25727 w 166944"/>
                <a:gd name="connsiteY272" fmla="*/ 258363 h 376514"/>
                <a:gd name="connsiteX273" fmla="*/ 25748 w 166944"/>
                <a:gd name="connsiteY273" fmla="*/ 258335 h 376514"/>
                <a:gd name="connsiteX274" fmla="*/ 26972 w 166944"/>
                <a:gd name="connsiteY274" fmla="*/ 257773 h 376514"/>
                <a:gd name="connsiteX275" fmla="*/ 27774 w 166944"/>
                <a:gd name="connsiteY275" fmla="*/ 257562 h 376514"/>
                <a:gd name="connsiteX276" fmla="*/ 28358 w 166944"/>
                <a:gd name="connsiteY276" fmla="*/ 257569 h 376514"/>
                <a:gd name="connsiteX277" fmla="*/ 28850 w 166944"/>
                <a:gd name="connsiteY277" fmla="*/ 256486 h 376514"/>
                <a:gd name="connsiteX278" fmla="*/ 31178 w 166944"/>
                <a:gd name="connsiteY278" fmla="*/ 250866 h 376514"/>
                <a:gd name="connsiteX279" fmla="*/ 34554 w 166944"/>
                <a:gd name="connsiteY279" fmla="*/ 244762 h 376514"/>
                <a:gd name="connsiteX280" fmla="*/ 35229 w 166944"/>
                <a:gd name="connsiteY280" fmla="*/ 246210 h 376514"/>
                <a:gd name="connsiteX281" fmla="*/ 36678 w 166944"/>
                <a:gd name="connsiteY281" fmla="*/ 246210 h 376514"/>
                <a:gd name="connsiteX282" fmla="*/ 39104 w 166944"/>
                <a:gd name="connsiteY282" fmla="*/ 244185 h 376514"/>
                <a:gd name="connsiteX283" fmla="*/ 40954 w 166944"/>
                <a:gd name="connsiteY283" fmla="*/ 243608 h 376514"/>
                <a:gd name="connsiteX284" fmla="*/ 42402 w 166944"/>
                <a:gd name="connsiteY284" fmla="*/ 243608 h 376514"/>
                <a:gd name="connsiteX285" fmla="*/ 42402 w 166944"/>
                <a:gd name="connsiteY285" fmla="*/ 238657 h 376514"/>
                <a:gd name="connsiteX286" fmla="*/ 45012 w 166944"/>
                <a:gd name="connsiteY286" fmla="*/ 238657 h 376514"/>
                <a:gd name="connsiteX287" fmla="*/ 46658 w 166944"/>
                <a:gd name="connsiteY287" fmla="*/ 239234 h 376514"/>
                <a:gd name="connsiteX288" fmla="*/ 48704 w 166944"/>
                <a:gd name="connsiteY288" fmla="*/ 232559 h 376514"/>
                <a:gd name="connsiteX289" fmla="*/ 52284 w 166944"/>
                <a:gd name="connsiteY289" fmla="*/ 228403 h 376514"/>
                <a:gd name="connsiteX290" fmla="*/ 53480 w 166944"/>
                <a:gd name="connsiteY290" fmla="*/ 226757 h 376514"/>
                <a:gd name="connsiteX291" fmla="*/ 55189 w 166944"/>
                <a:gd name="connsiteY291" fmla="*/ 224527 h 376514"/>
                <a:gd name="connsiteX292" fmla="*/ 56448 w 166944"/>
                <a:gd name="connsiteY292" fmla="*/ 223374 h 376514"/>
                <a:gd name="connsiteX293" fmla="*/ 57608 w 166944"/>
                <a:gd name="connsiteY293" fmla="*/ 221707 h 376514"/>
                <a:gd name="connsiteX294" fmla="*/ 59458 w 166944"/>
                <a:gd name="connsiteY294" fmla="*/ 216918 h 376514"/>
                <a:gd name="connsiteX295" fmla="*/ 63038 w 166944"/>
                <a:gd name="connsiteY295" fmla="*/ 208246 h 376514"/>
                <a:gd name="connsiteX296" fmla="*/ 63727 w 166944"/>
                <a:gd name="connsiteY296" fmla="*/ 207247 h 376514"/>
                <a:gd name="connsiteX297" fmla="*/ 66716 w 166944"/>
                <a:gd name="connsiteY297" fmla="*/ 204075 h 376514"/>
                <a:gd name="connsiteX298" fmla="*/ 68242 w 166944"/>
                <a:gd name="connsiteY298" fmla="*/ 203224 h 376514"/>
                <a:gd name="connsiteX299" fmla="*/ 70211 w 166944"/>
                <a:gd name="connsiteY299" fmla="*/ 201269 h 376514"/>
                <a:gd name="connsiteX300" fmla="*/ 71822 w 166944"/>
                <a:gd name="connsiteY300" fmla="*/ 199553 h 376514"/>
                <a:gd name="connsiteX301" fmla="*/ 72539 w 166944"/>
                <a:gd name="connsiteY301" fmla="*/ 197872 h 376514"/>
                <a:gd name="connsiteX302" fmla="*/ 72230 w 166944"/>
                <a:gd name="connsiteY302" fmla="*/ 192274 h 376514"/>
                <a:gd name="connsiteX303" fmla="*/ 72040 w 166944"/>
                <a:gd name="connsiteY303" fmla="*/ 190319 h 376514"/>
                <a:gd name="connsiteX304" fmla="*/ 72181 w 166944"/>
                <a:gd name="connsiteY304" fmla="*/ 188771 h 376514"/>
                <a:gd name="connsiteX305" fmla="*/ 72040 w 166944"/>
                <a:gd name="connsiteY305" fmla="*/ 187316 h 376514"/>
                <a:gd name="connsiteX306" fmla="*/ 69283 w 166944"/>
                <a:gd name="connsiteY306" fmla="*/ 184868 h 376514"/>
                <a:gd name="connsiteX307" fmla="*/ 66716 w 166944"/>
                <a:gd name="connsiteY307" fmla="*/ 182667 h 376514"/>
                <a:gd name="connsiteX308" fmla="*/ 66399 w 166944"/>
                <a:gd name="connsiteY308" fmla="*/ 181745 h 376514"/>
                <a:gd name="connsiteX309" fmla="*/ 64191 w 166944"/>
                <a:gd name="connsiteY309" fmla="*/ 181014 h 376514"/>
                <a:gd name="connsiteX310" fmla="*/ 61940 w 166944"/>
                <a:gd name="connsiteY310" fmla="*/ 181133 h 376514"/>
                <a:gd name="connsiteX311" fmla="*/ 59556 w 166944"/>
                <a:gd name="connsiteY311" fmla="*/ 179565 h 376514"/>
                <a:gd name="connsiteX312" fmla="*/ 59155 w 166944"/>
                <a:gd name="connsiteY312" fmla="*/ 177469 h 376514"/>
                <a:gd name="connsiteX313" fmla="*/ 57608 w 166944"/>
                <a:gd name="connsiteY313" fmla="*/ 175591 h 376514"/>
                <a:gd name="connsiteX314" fmla="*/ 56103 w 166944"/>
                <a:gd name="connsiteY314" fmla="*/ 174930 h 376514"/>
                <a:gd name="connsiteX315" fmla="*/ 54408 w 166944"/>
                <a:gd name="connsiteY315" fmla="*/ 174241 h 376514"/>
                <a:gd name="connsiteX316" fmla="*/ 53641 w 166944"/>
                <a:gd name="connsiteY316" fmla="*/ 173939 h 376514"/>
                <a:gd name="connsiteX317" fmla="*/ 51686 w 166944"/>
                <a:gd name="connsiteY317" fmla="*/ 164676 h 376514"/>
                <a:gd name="connsiteX318" fmla="*/ 50357 w 166944"/>
                <a:gd name="connsiteY318" fmla="*/ 163136 h 376514"/>
                <a:gd name="connsiteX319" fmla="*/ 48029 w 166944"/>
                <a:gd name="connsiteY319" fmla="*/ 160287 h 376514"/>
                <a:gd name="connsiteX320" fmla="*/ 47874 w 166944"/>
                <a:gd name="connsiteY320" fmla="*/ 160020 h 376514"/>
                <a:gd name="connsiteX321" fmla="*/ 46735 w 166944"/>
                <a:gd name="connsiteY321" fmla="*/ 156926 h 376514"/>
                <a:gd name="connsiteX322" fmla="*/ 46735 w 166944"/>
                <a:gd name="connsiteY322" fmla="*/ 153149 h 376514"/>
                <a:gd name="connsiteX323" fmla="*/ 46735 w 166944"/>
                <a:gd name="connsiteY323" fmla="*/ 152910 h 376514"/>
                <a:gd name="connsiteX324" fmla="*/ 47354 w 166944"/>
                <a:gd name="connsiteY324" fmla="*/ 149590 h 376514"/>
                <a:gd name="connsiteX325" fmla="*/ 48514 w 166944"/>
                <a:gd name="connsiteY325" fmla="*/ 148233 h 376514"/>
                <a:gd name="connsiteX326" fmla="*/ 49379 w 166944"/>
                <a:gd name="connsiteY326" fmla="*/ 147206 h 376514"/>
                <a:gd name="connsiteX327" fmla="*/ 49654 w 166944"/>
                <a:gd name="connsiteY327" fmla="*/ 146854 h 376514"/>
                <a:gd name="connsiteX328" fmla="*/ 50153 w 166944"/>
                <a:gd name="connsiteY328" fmla="*/ 145441 h 376514"/>
                <a:gd name="connsiteX329" fmla="*/ 50237 w 166944"/>
                <a:gd name="connsiteY329" fmla="*/ 141052 h 376514"/>
                <a:gd name="connsiteX330" fmla="*/ 50153 w 166944"/>
                <a:gd name="connsiteY330" fmla="*/ 139955 h 376514"/>
                <a:gd name="connsiteX331" fmla="*/ 51032 w 166944"/>
                <a:gd name="connsiteY331" fmla="*/ 137268 h 376514"/>
                <a:gd name="connsiteX332" fmla="*/ 51630 w 166944"/>
                <a:gd name="connsiteY332" fmla="*/ 136459 h 376514"/>
                <a:gd name="connsiteX333" fmla="*/ 51686 w 166944"/>
                <a:gd name="connsiteY333" fmla="*/ 135798 h 376514"/>
                <a:gd name="connsiteX334" fmla="*/ 49379 w 166944"/>
                <a:gd name="connsiteY334" fmla="*/ 131086 h 376514"/>
                <a:gd name="connsiteX335" fmla="*/ 46735 w 166944"/>
                <a:gd name="connsiteY335" fmla="*/ 126395 h 376514"/>
                <a:gd name="connsiteX336" fmla="*/ 46137 w 166944"/>
                <a:gd name="connsiteY336" fmla="*/ 125249 h 376514"/>
                <a:gd name="connsiteX337" fmla="*/ 44906 w 166944"/>
                <a:gd name="connsiteY337" fmla="*/ 121127 h 376514"/>
                <a:gd name="connsiteX338" fmla="*/ 47269 w 166944"/>
                <a:gd name="connsiteY338" fmla="*/ 117934 h 376514"/>
                <a:gd name="connsiteX339" fmla="*/ 47354 w 166944"/>
                <a:gd name="connsiteY339" fmla="*/ 117829 h 376514"/>
                <a:gd name="connsiteX340" fmla="*/ 47515 w 166944"/>
                <a:gd name="connsiteY340" fmla="*/ 117639 h 376514"/>
                <a:gd name="connsiteX341" fmla="*/ 48648 w 166944"/>
                <a:gd name="connsiteY341" fmla="*/ 115642 h 376514"/>
                <a:gd name="connsiteX342" fmla="*/ 48648 w 166944"/>
                <a:gd name="connsiteY342" fmla="*/ 115480 h 376514"/>
                <a:gd name="connsiteX343" fmla="*/ 47354 w 166944"/>
                <a:gd name="connsiteY343" fmla="*/ 111907 h 376514"/>
                <a:gd name="connsiteX344" fmla="*/ 46334 w 166944"/>
                <a:gd name="connsiteY344" fmla="*/ 111781 h 376514"/>
                <a:gd name="connsiteX345" fmla="*/ 44294 w 166944"/>
                <a:gd name="connsiteY345" fmla="*/ 110930 h 376514"/>
                <a:gd name="connsiteX346" fmla="*/ 43873 w 166944"/>
                <a:gd name="connsiteY346" fmla="*/ 107933 h 376514"/>
                <a:gd name="connsiteX347" fmla="*/ 44379 w 166944"/>
                <a:gd name="connsiteY347" fmla="*/ 107082 h 376514"/>
                <a:gd name="connsiteX348" fmla="*/ 44906 w 166944"/>
                <a:gd name="connsiteY348" fmla="*/ 106161 h 376514"/>
                <a:gd name="connsiteX349" fmla="*/ 45356 w 166944"/>
                <a:gd name="connsiteY349" fmla="*/ 105359 h 376514"/>
                <a:gd name="connsiteX350" fmla="*/ 45469 w 166944"/>
                <a:gd name="connsiteY350" fmla="*/ 104093 h 376514"/>
                <a:gd name="connsiteX351" fmla="*/ 44773 w 166944"/>
                <a:gd name="connsiteY351" fmla="*/ 103460 h 376514"/>
                <a:gd name="connsiteX352" fmla="*/ 43873 w 166944"/>
                <a:gd name="connsiteY352" fmla="*/ 102068 h 376514"/>
                <a:gd name="connsiteX353" fmla="*/ 43873 w 166944"/>
                <a:gd name="connsiteY353" fmla="*/ 96941 h 376514"/>
                <a:gd name="connsiteX354" fmla="*/ 43859 w 166944"/>
                <a:gd name="connsiteY354" fmla="*/ 96336 h 376514"/>
                <a:gd name="connsiteX355" fmla="*/ 44294 w 166944"/>
                <a:gd name="connsiteY355" fmla="*/ 94557 h 376514"/>
                <a:gd name="connsiteX356" fmla="*/ 44892 w 166944"/>
                <a:gd name="connsiteY356" fmla="*/ 93980 h 376514"/>
                <a:gd name="connsiteX357" fmla="*/ 46081 w 166944"/>
                <a:gd name="connsiteY357" fmla="*/ 92489 h 376514"/>
                <a:gd name="connsiteX358" fmla="*/ 45785 w 166944"/>
                <a:gd name="connsiteY358" fmla="*/ 91427 h 376514"/>
                <a:gd name="connsiteX359" fmla="*/ 45469 w 166944"/>
                <a:gd name="connsiteY359" fmla="*/ 90597 h 376514"/>
                <a:gd name="connsiteX360" fmla="*/ 39899 w 166944"/>
                <a:gd name="connsiteY360" fmla="*/ 82966 h 376514"/>
                <a:gd name="connsiteX361" fmla="*/ 39477 w 166944"/>
                <a:gd name="connsiteY361" fmla="*/ 82586 h 376514"/>
                <a:gd name="connsiteX362" fmla="*/ 38626 w 166944"/>
                <a:gd name="connsiteY362" fmla="*/ 80821 h 376514"/>
                <a:gd name="connsiteX363" fmla="*/ 38633 w 166944"/>
                <a:gd name="connsiteY363" fmla="*/ 79703 h 376514"/>
                <a:gd name="connsiteX364" fmla="*/ 38309 w 166944"/>
                <a:gd name="connsiteY364" fmla="*/ 78374 h 376514"/>
                <a:gd name="connsiteX365" fmla="*/ 37254 w 166944"/>
                <a:gd name="connsiteY365" fmla="*/ 77241 h 376514"/>
                <a:gd name="connsiteX366" fmla="*/ 30854 w 166944"/>
                <a:gd name="connsiteY366" fmla="*/ 71537 h 376514"/>
                <a:gd name="connsiteX367" fmla="*/ 28041 w 166944"/>
                <a:gd name="connsiteY367" fmla="*/ 70672 h 376514"/>
                <a:gd name="connsiteX368" fmla="*/ 26044 w 166944"/>
                <a:gd name="connsiteY368" fmla="*/ 70004 h 376514"/>
                <a:gd name="connsiteX369" fmla="*/ 24953 w 166944"/>
                <a:gd name="connsiteY369" fmla="*/ 69934 h 376514"/>
                <a:gd name="connsiteX370" fmla="*/ 23223 w 166944"/>
                <a:gd name="connsiteY370" fmla="*/ 69645 h 376514"/>
                <a:gd name="connsiteX371" fmla="*/ 12294 w 166944"/>
                <a:gd name="connsiteY371" fmla="*/ 58892 h 376514"/>
                <a:gd name="connsiteX372" fmla="*/ 9460 w 166944"/>
                <a:gd name="connsiteY372" fmla="*/ 55565 h 376514"/>
                <a:gd name="connsiteX373" fmla="*/ 7279 w 166944"/>
                <a:gd name="connsiteY373" fmla="*/ 53033 h 376514"/>
                <a:gd name="connsiteX374" fmla="*/ 5908 w 166944"/>
                <a:gd name="connsiteY374" fmla="*/ 52604 h 376514"/>
                <a:gd name="connsiteX375" fmla="*/ 4719 w 166944"/>
                <a:gd name="connsiteY375" fmla="*/ 52119 h 376514"/>
                <a:gd name="connsiteX376" fmla="*/ 4712 w 166944"/>
                <a:gd name="connsiteY376" fmla="*/ 48427 h 376514"/>
                <a:gd name="connsiteX377" fmla="*/ 4719 w 166944"/>
                <a:gd name="connsiteY377" fmla="*/ 48019 h 376514"/>
                <a:gd name="connsiteX378" fmla="*/ 0 w 166944"/>
                <a:gd name="connsiteY378" fmla="*/ 45656 h 376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</a:cxnLst>
              <a:rect l="l" t="t" r="r" b="b"/>
              <a:pathLst>
                <a:path w="166944" h="376514">
                  <a:moveTo>
                    <a:pt x="0" y="45656"/>
                  </a:moveTo>
                  <a:cubicBezTo>
                    <a:pt x="-7" y="44699"/>
                    <a:pt x="239" y="43996"/>
                    <a:pt x="922" y="43947"/>
                  </a:cubicBezTo>
                  <a:cubicBezTo>
                    <a:pt x="2406" y="43848"/>
                    <a:pt x="4234" y="43890"/>
                    <a:pt x="5669" y="43926"/>
                  </a:cubicBezTo>
                  <a:cubicBezTo>
                    <a:pt x="6253" y="43933"/>
                    <a:pt x="6780" y="43947"/>
                    <a:pt x="7181" y="43947"/>
                  </a:cubicBezTo>
                  <a:cubicBezTo>
                    <a:pt x="7912" y="43947"/>
                    <a:pt x="7265" y="43068"/>
                    <a:pt x="6541" y="42097"/>
                  </a:cubicBezTo>
                  <a:cubicBezTo>
                    <a:pt x="5887" y="41218"/>
                    <a:pt x="5177" y="40254"/>
                    <a:pt x="5373" y="39790"/>
                  </a:cubicBezTo>
                  <a:cubicBezTo>
                    <a:pt x="5796" y="38820"/>
                    <a:pt x="7603" y="35205"/>
                    <a:pt x="10107" y="35064"/>
                  </a:cubicBezTo>
                  <a:cubicBezTo>
                    <a:pt x="10965" y="35015"/>
                    <a:pt x="11802" y="34719"/>
                    <a:pt x="12576" y="34452"/>
                  </a:cubicBezTo>
                  <a:cubicBezTo>
                    <a:pt x="14052" y="33939"/>
                    <a:pt x="15290" y="33510"/>
                    <a:pt x="15930" y="35064"/>
                  </a:cubicBezTo>
                  <a:cubicBezTo>
                    <a:pt x="16148" y="35591"/>
                    <a:pt x="16366" y="36133"/>
                    <a:pt x="16577" y="36682"/>
                  </a:cubicBezTo>
                  <a:cubicBezTo>
                    <a:pt x="17330" y="38581"/>
                    <a:pt x="18061" y="40430"/>
                    <a:pt x="18715" y="41183"/>
                  </a:cubicBezTo>
                  <a:cubicBezTo>
                    <a:pt x="19383" y="41963"/>
                    <a:pt x="21585" y="45670"/>
                    <a:pt x="22604" y="47428"/>
                  </a:cubicBezTo>
                  <a:lnTo>
                    <a:pt x="24419" y="50073"/>
                  </a:lnTo>
                  <a:lnTo>
                    <a:pt x="27197" y="54384"/>
                  </a:lnTo>
                  <a:lnTo>
                    <a:pt x="27197" y="58280"/>
                  </a:lnTo>
                  <a:lnTo>
                    <a:pt x="30123" y="59947"/>
                  </a:lnTo>
                  <a:lnTo>
                    <a:pt x="33857" y="59947"/>
                  </a:lnTo>
                  <a:cubicBezTo>
                    <a:pt x="35081" y="59947"/>
                    <a:pt x="38169" y="61325"/>
                    <a:pt x="39561" y="62015"/>
                  </a:cubicBezTo>
                  <a:cubicBezTo>
                    <a:pt x="40117" y="62387"/>
                    <a:pt x="41369" y="62908"/>
                    <a:pt x="41931" y="62015"/>
                  </a:cubicBezTo>
                  <a:cubicBezTo>
                    <a:pt x="42100" y="61733"/>
                    <a:pt x="42234" y="61466"/>
                    <a:pt x="42353" y="61220"/>
                  </a:cubicBezTo>
                  <a:cubicBezTo>
                    <a:pt x="42712" y="60481"/>
                    <a:pt x="42972" y="59947"/>
                    <a:pt x="44013" y="59947"/>
                  </a:cubicBezTo>
                  <a:cubicBezTo>
                    <a:pt x="44526" y="59947"/>
                    <a:pt x="45047" y="60179"/>
                    <a:pt x="45504" y="60383"/>
                  </a:cubicBezTo>
                  <a:cubicBezTo>
                    <a:pt x="46285" y="60728"/>
                    <a:pt x="46904" y="61002"/>
                    <a:pt x="47080" y="59947"/>
                  </a:cubicBezTo>
                  <a:cubicBezTo>
                    <a:pt x="47354" y="58280"/>
                    <a:pt x="48170" y="54384"/>
                    <a:pt x="49703" y="54384"/>
                  </a:cubicBezTo>
                  <a:cubicBezTo>
                    <a:pt x="51229" y="54384"/>
                    <a:pt x="53177" y="54658"/>
                    <a:pt x="54155" y="55910"/>
                  </a:cubicBezTo>
                  <a:cubicBezTo>
                    <a:pt x="54436" y="56276"/>
                    <a:pt x="54647" y="56627"/>
                    <a:pt x="54851" y="56965"/>
                  </a:cubicBezTo>
                  <a:cubicBezTo>
                    <a:pt x="55350" y="57788"/>
                    <a:pt x="55787" y="58519"/>
                    <a:pt x="57074" y="59110"/>
                  </a:cubicBezTo>
                  <a:cubicBezTo>
                    <a:pt x="57911" y="59497"/>
                    <a:pt x="58304" y="59441"/>
                    <a:pt x="58642" y="59391"/>
                  </a:cubicBezTo>
                  <a:cubicBezTo>
                    <a:pt x="59043" y="59335"/>
                    <a:pt x="59380" y="59286"/>
                    <a:pt x="60274" y="59947"/>
                  </a:cubicBezTo>
                  <a:cubicBezTo>
                    <a:pt x="60928" y="60425"/>
                    <a:pt x="61828" y="61522"/>
                    <a:pt x="62735" y="62612"/>
                  </a:cubicBezTo>
                  <a:cubicBezTo>
                    <a:pt x="64156" y="64329"/>
                    <a:pt x="65569" y="66038"/>
                    <a:pt x="65977" y="65355"/>
                  </a:cubicBezTo>
                  <a:cubicBezTo>
                    <a:pt x="66519" y="64462"/>
                    <a:pt x="68790" y="62760"/>
                    <a:pt x="69853" y="62015"/>
                  </a:cubicBezTo>
                  <a:cubicBezTo>
                    <a:pt x="69670" y="61002"/>
                    <a:pt x="69410" y="58611"/>
                    <a:pt x="69853" y="57162"/>
                  </a:cubicBezTo>
                  <a:lnTo>
                    <a:pt x="69867" y="57134"/>
                  </a:lnTo>
                  <a:cubicBezTo>
                    <a:pt x="70415" y="55340"/>
                    <a:pt x="70837" y="53962"/>
                    <a:pt x="72919" y="53406"/>
                  </a:cubicBezTo>
                  <a:cubicBezTo>
                    <a:pt x="73700" y="53202"/>
                    <a:pt x="74326" y="53125"/>
                    <a:pt x="74846" y="53069"/>
                  </a:cubicBezTo>
                  <a:cubicBezTo>
                    <a:pt x="75718" y="52970"/>
                    <a:pt x="76288" y="52907"/>
                    <a:pt x="76808" y="52295"/>
                  </a:cubicBezTo>
                  <a:cubicBezTo>
                    <a:pt x="77118" y="51936"/>
                    <a:pt x="77476" y="51901"/>
                    <a:pt x="77814" y="51866"/>
                  </a:cubicBezTo>
                  <a:cubicBezTo>
                    <a:pt x="78398" y="51803"/>
                    <a:pt x="78897" y="51746"/>
                    <a:pt x="78897" y="50073"/>
                  </a:cubicBezTo>
                  <a:cubicBezTo>
                    <a:pt x="78897" y="49383"/>
                    <a:pt x="78813" y="47991"/>
                    <a:pt x="78714" y="46289"/>
                  </a:cubicBezTo>
                  <a:cubicBezTo>
                    <a:pt x="78426" y="41450"/>
                    <a:pt x="77990" y="34115"/>
                    <a:pt x="78897" y="33510"/>
                  </a:cubicBezTo>
                  <a:cubicBezTo>
                    <a:pt x="79685" y="32996"/>
                    <a:pt x="79966" y="29923"/>
                    <a:pt x="80191" y="27546"/>
                  </a:cubicBezTo>
                  <a:cubicBezTo>
                    <a:pt x="80318" y="26181"/>
                    <a:pt x="80423" y="25042"/>
                    <a:pt x="80585" y="24746"/>
                  </a:cubicBezTo>
                  <a:cubicBezTo>
                    <a:pt x="80747" y="24458"/>
                    <a:pt x="81000" y="24170"/>
                    <a:pt x="81274" y="23867"/>
                  </a:cubicBezTo>
                  <a:cubicBezTo>
                    <a:pt x="81759" y="23312"/>
                    <a:pt x="82301" y="22693"/>
                    <a:pt x="82414" y="21926"/>
                  </a:cubicBezTo>
                  <a:cubicBezTo>
                    <a:pt x="82484" y="21476"/>
                    <a:pt x="82336" y="20892"/>
                    <a:pt x="82181" y="20302"/>
                  </a:cubicBezTo>
                  <a:cubicBezTo>
                    <a:pt x="81928" y="19310"/>
                    <a:pt x="81668" y="18304"/>
                    <a:pt x="82414" y="17910"/>
                  </a:cubicBezTo>
                  <a:lnTo>
                    <a:pt x="82449" y="17889"/>
                  </a:lnTo>
                  <a:cubicBezTo>
                    <a:pt x="83630" y="17263"/>
                    <a:pt x="84833" y="16623"/>
                    <a:pt x="85895" y="14985"/>
                  </a:cubicBezTo>
                  <a:cubicBezTo>
                    <a:pt x="86366" y="14260"/>
                    <a:pt x="86929" y="13662"/>
                    <a:pt x="87449" y="13107"/>
                  </a:cubicBezTo>
                  <a:cubicBezTo>
                    <a:pt x="88117" y="12404"/>
                    <a:pt x="88715" y="11771"/>
                    <a:pt x="88996" y="11011"/>
                  </a:cubicBezTo>
                  <a:cubicBezTo>
                    <a:pt x="89165" y="10547"/>
                    <a:pt x="89264" y="9970"/>
                    <a:pt x="89362" y="9393"/>
                  </a:cubicBezTo>
                  <a:cubicBezTo>
                    <a:pt x="89552" y="8275"/>
                    <a:pt x="89742" y="7150"/>
                    <a:pt x="90445" y="6840"/>
                  </a:cubicBezTo>
                  <a:cubicBezTo>
                    <a:pt x="91522" y="6362"/>
                    <a:pt x="93069" y="5884"/>
                    <a:pt x="94525" y="5884"/>
                  </a:cubicBezTo>
                  <a:cubicBezTo>
                    <a:pt x="95045" y="5884"/>
                    <a:pt x="95586" y="5757"/>
                    <a:pt x="96086" y="5645"/>
                  </a:cubicBezTo>
                  <a:cubicBezTo>
                    <a:pt x="96951" y="5441"/>
                    <a:pt x="97682" y="5272"/>
                    <a:pt x="97921" y="5884"/>
                  </a:cubicBezTo>
                  <a:cubicBezTo>
                    <a:pt x="98006" y="6095"/>
                    <a:pt x="98062" y="6313"/>
                    <a:pt x="98111" y="6510"/>
                  </a:cubicBezTo>
                  <a:cubicBezTo>
                    <a:pt x="98294" y="7206"/>
                    <a:pt x="98421" y="7719"/>
                    <a:pt x="99553" y="7333"/>
                  </a:cubicBezTo>
                  <a:cubicBezTo>
                    <a:pt x="100207" y="7108"/>
                    <a:pt x="100643" y="7185"/>
                    <a:pt x="101002" y="7241"/>
                  </a:cubicBezTo>
                  <a:cubicBezTo>
                    <a:pt x="101438" y="7312"/>
                    <a:pt x="101748" y="7361"/>
                    <a:pt x="102177" y="6840"/>
                  </a:cubicBezTo>
                  <a:cubicBezTo>
                    <a:pt x="102444" y="6510"/>
                    <a:pt x="102549" y="6292"/>
                    <a:pt x="102641" y="6095"/>
                  </a:cubicBezTo>
                  <a:cubicBezTo>
                    <a:pt x="102817" y="5722"/>
                    <a:pt x="102957" y="5434"/>
                    <a:pt x="104103" y="4611"/>
                  </a:cubicBezTo>
                  <a:cubicBezTo>
                    <a:pt x="105180" y="3844"/>
                    <a:pt x="106544" y="2670"/>
                    <a:pt x="107578" y="1798"/>
                  </a:cubicBezTo>
                  <a:cubicBezTo>
                    <a:pt x="108218" y="1242"/>
                    <a:pt x="108731" y="806"/>
                    <a:pt x="108949" y="658"/>
                  </a:cubicBezTo>
                  <a:cubicBezTo>
                    <a:pt x="109048" y="588"/>
                    <a:pt x="109139" y="511"/>
                    <a:pt x="109238" y="433"/>
                  </a:cubicBezTo>
                  <a:cubicBezTo>
                    <a:pt x="109709" y="32"/>
                    <a:pt x="110201" y="-390"/>
                    <a:pt x="111179" y="658"/>
                  </a:cubicBezTo>
                  <a:cubicBezTo>
                    <a:pt x="112353" y="1910"/>
                    <a:pt x="114083" y="4435"/>
                    <a:pt x="114956" y="5884"/>
                  </a:cubicBezTo>
                  <a:cubicBezTo>
                    <a:pt x="115652" y="7044"/>
                    <a:pt x="117248" y="8500"/>
                    <a:pt x="117959" y="9084"/>
                  </a:cubicBezTo>
                  <a:cubicBezTo>
                    <a:pt x="118507" y="9400"/>
                    <a:pt x="119647" y="10230"/>
                    <a:pt x="119801" y="11011"/>
                  </a:cubicBezTo>
                  <a:cubicBezTo>
                    <a:pt x="119998" y="11960"/>
                    <a:pt x="121848" y="12804"/>
                    <a:pt x="122748" y="13212"/>
                  </a:cubicBezTo>
                  <a:lnTo>
                    <a:pt x="122805" y="13240"/>
                  </a:lnTo>
                  <a:cubicBezTo>
                    <a:pt x="123100" y="13374"/>
                    <a:pt x="123444" y="13662"/>
                    <a:pt x="123845" y="14000"/>
                  </a:cubicBezTo>
                  <a:cubicBezTo>
                    <a:pt x="124633" y="14668"/>
                    <a:pt x="125667" y="15547"/>
                    <a:pt x="127081" y="15864"/>
                  </a:cubicBezTo>
                  <a:cubicBezTo>
                    <a:pt x="129204" y="16342"/>
                    <a:pt x="130281" y="17313"/>
                    <a:pt x="130857" y="18965"/>
                  </a:cubicBezTo>
                  <a:cubicBezTo>
                    <a:pt x="131195" y="19922"/>
                    <a:pt x="131554" y="20428"/>
                    <a:pt x="131877" y="20885"/>
                  </a:cubicBezTo>
                  <a:cubicBezTo>
                    <a:pt x="132109" y="21209"/>
                    <a:pt x="132320" y="21511"/>
                    <a:pt x="132489" y="21926"/>
                  </a:cubicBezTo>
                  <a:cubicBezTo>
                    <a:pt x="132876" y="22890"/>
                    <a:pt x="133241" y="25394"/>
                    <a:pt x="133354" y="26153"/>
                  </a:cubicBezTo>
                  <a:lnTo>
                    <a:pt x="133354" y="26153"/>
                  </a:lnTo>
                  <a:lnTo>
                    <a:pt x="133361" y="26216"/>
                  </a:lnTo>
                  <a:cubicBezTo>
                    <a:pt x="133389" y="26392"/>
                    <a:pt x="133460" y="26582"/>
                    <a:pt x="133537" y="26786"/>
                  </a:cubicBezTo>
                  <a:cubicBezTo>
                    <a:pt x="133755" y="27356"/>
                    <a:pt x="134008" y="28024"/>
                    <a:pt x="133361" y="28741"/>
                  </a:cubicBezTo>
                  <a:cubicBezTo>
                    <a:pt x="132489" y="29719"/>
                    <a:pt x="128593" y="34944"/>
                    <a:pt x="127833" y="36492"/>
                  </a:cubicBezTo>
                  <a:cubicBezTo>
                    <a:pt x="127081" y="38046"/>
                    <a:pt x="126286" y="40353"/>
                    <a:pt x="126384" y="41520"/>
                  </a:cubicBezTo>
                  <a:cubicBezTo>
                    <a:pt x="126405" y="41781"/>
                    <a:pt x="126412" y="42062"/>
                    <a:pt x="126427" y="42343"/>
                  </a:cubicBezTo>
                  <a:cubicBezTo>
                    <a:pt x="126455" y="43335"/>
                    <a:pt x="126490" y="44376"/>
                    <a:pt x="127081" y="44819"/>
                  </a:cubicBezTo>
                  <a:cubicBezTo>
                    <a:pt x="127833" y="45396"/>
                    <a:pt x="128607" y="48103"/>
                    <a:pt x="125709" y="48497"/>
                  </a:cubicBezTo>
                  <a:cubicBezTo>
                    <a:pt x="122805" y="48898"/>
                    <a:pt x="119907" y="50150"/>
                    <a:pt x="120779" y="51219"/>
                  </a:cubicBezTo>
                  <a:cubicBezTo>
                    <a:pt x="121271" y="51824"/>
                    <a:pt x="121975" y="52133"/>
                    <a:pt x="122713" y="52457"/>
                  </a:cubicBezTo>
                  <a:cubicBezTo>
                    <a:pt x="123297" y="52717"/>
                    <a:pt x="123909" y="52977"/>
                    <a:pt x="124457" y="53406"/>
                  </a:cubicBezTo>
                  <a:cubicBezTo>
                    <a:pt x="125407" y="54152"/>
                    <a:pt x="124914" y="56086"/>
                    <a:pt x="124619" y="57225"/>
                  </a:cubicBezTo>
                  <a:cubicBezTo>
                    <a:pt x="124527" y="57584"/>
                    <a:pt x="124457" y="57865"/>
                    <a:pt x="124457" y="57999"/>
                  </a:cubicBezTo>
                  <a:cubicBezTo>
                    <a:pt x="124457" y="58575"/>
                    <a:pt x="124260" y="61579"/>
                    <a:pt x="123684" y="62015"/>
                  </a:cubicBezTo>
                  <a:cubicBezTo>
                    <a:pt x="123107" y="62451"/>
                    <a:pt x="119801" y="64954"/>
                    <a:pt x="119801" y="65932"/>
                  </a:cubicBezTo>
                  <a:cubicBezTo>
                    <a:pt x="119801" y="66903"/>
                    <a:pt x="120681" y="70700"/>
                    <a:pt x="121356" y="71854"/>
                  </a:cubicBezTo>
                  <a:cubicBezTo>
                    <a:pt x="121707" y="72452"/>
                    <a:pt x="121750" y="73239"/>
                    <a:pt x="121785" y="73978"/>
                  </a:cubicBezTo>
                  <a:cubicBezTo>
                    <a:pt x="121820" y="74660"/>
                    <a:pt x="121855" y="75307"/>
                    <a:pt x="122129" y="75729"/>
                  </a:cubicBezTo>
                  <a:cubicBezTo>
                    <a:pt x="122382" y="76116"/>
                    <a:pt x="122565" y="77122"/>
                    <a:pt x="122755" y="78170"/>
                  </a:cubicBezTo>
                  <a:cubicBezTo>
                    <a:pt x="122994" y="79499"/>
                    <a:pt x="123248" y="80905"/>
                    <a:pt x="123684" y="81236"/>
                  </a:cubicBezTo>
                  <a:cubicBezTo>
                    <a:pt x="124148" y="81595"/>
                    <a:pt x="125125" y="81841"/>
                    <a:pt x="126089" y="82087"/>
                  </a:cubicBezTo>
                  <a:cubicBezTo>
                    <a:pt x="126729" y="82256"/>
                    <a:pt x="127369" y="82418"/>
                    <a:pt x="127833" y="82607"/>
                  </a:cubicBezTo>
                  <a:cubicBezTo>
                    <a:pt x="129008" y="83086"/>
                    <a:pt x="130780" y="84077"/>
                    <a:pt x="131631" y="85034"/>
                  </a:cubicBezTo>
                  <a:cubicBezTo>
                    <a:pt x="131863" y="85294"/>
                    <a:pt x="132222" y="85442"/>
                    <a:pt x="132658" y="85618"/>
                  </a:cubicBezTo>
                  <a:cubicBezTo>
                    <a:pt x="133818" y="86089"/>
                    <a:pt x="135478" y="86764"/>
                    <a:pt x="136463" y="90358"/>
                  </a:cubicBezTo>
                  <a:cubicBezTo>
                    <a:pt x="137813" y="95288"/>
                    <a:pt x="139740" y="98108"/>
                    <a:pt x="140915" y="98488"/>
                  </a:cubicBezTo>
                  <a:cubicBezTo>
                    <a:pt x="142089" y="98868"/>
                    <a:pt x="144213" y="101090"/>
                    <a:pt x="144213" y="102842"/>
                  </a:cubicBezTo>
                  <a:cubicBezTo>
                    <a:pt x="144213" y="104593"/>
                    <a:pt x="144037" y="108545"/>
                    <a:pt x="142961" y="109720"/>
                  </a:cubicBezTo>
                  <a:cubicBezTo>
                    <a:pt x="141885" y="110894"/>
                    <a:pt x="139009" y="114671"/>
                    <a:pt x="138509" y="115346"/>
                  </a:cubicBezTo>
                  <a:cubicBezTo>
                    <a:pt x="138108" y="115888"/>
                    <a:pt x="135942" y="119257"/>
                    <a:pt x="134908" y="120867"/>
                  </a:cubicBezTo>
                  <a:cubicBezTo>
                    <a:pt x="133684" y="122935"/>
                    <a:pt x="131237" y="127169"/>
                    <a:pt x="131237" y="127549"/>
                  </a:cubicBezTo>
                  <a:cubicBezTo>
                    <a:pt x="131237" y="127724"/>
                    <a:pt x="131075" y="128308"/>
                    <a:pt x="130885" y="129033"/>
                  </a:cubicBezTo>
                  <a:cubicBezTo>
                    <a:pt x="130548" y="130306"/>
                    <a:pt x="130098" y="131994"/>
                    <a:pt x="130161" y="132676"/>
                  </a:cubicBezTo>
                  <a:cubicBezTo>
                    <a:pt x="130259" y="133752"/>
                    <a:pt x="130759" y="137149"/>
                    <a:pt x="131237" y="137824"/>
                  </a:cubicBezTo>
                  <a:cubicBezTo>
                    <a:pt x="131413" y="138084"/>
                    <a:pt x="131687" y="138267"/>
                    <a:pt x="131976" y="138464"/>
                  </a:cubicBezTo>
                  <a:cubicBezTo>
                    <a:pt x="132440" y="138780"/>
                    <a:pt x="132946" y="139125"/>
                    <a:pt x="133185" y="139849"/>
                  </a:cubicBezTo>
                  <a:cubicBezTo>
                    <a:pt x="133326" y="140300"/>
                    <a:pt x="133417" y="140862"/>
                    <a:pt x="133509" y="141446"/>
                  </a:cubicBezTo>
                  <a:cubicBezTo>
                    <a:pt x="133656" y="142381"/>
                    <a:pt x="133818" y="143387"/>
                    <a:pt x="134233" y="144104"/>
                  </a:cubicBezTo>
                  <a:cubicBezTo>
                    <a:pt x="134908" y="145279"/>
                    <a:pt x="136659" y="148655"/>
                    <a:pt x="136758" y="149632"/>
                  </a:cubicBezTo>
                  <a:cubicBezTo>
                    <a:pt x="136772" y="149759"/>
                    <a:pt x="136786" y="149914"/>
                    <a:pt x="136800" y="150083"/>
                  </a:cubicBezTo>
                  <a:cubicBezTo>
                    <a:pt x="136906" y="151173"/>
                    <a:pt x="137075" y="152924"/>
                    <a:pt x="137335" y="153508"/>
                  </a:cubicBezTo>
                  <a:cubicBezTo>
                    <a:pt x="137426" y="153719"/>
                    <a:pt x="137454" y="154000"/>
                    <a:pt x="137489" y="154323"/>
                  </a:cubicBezTo>
                  <a:cubicBezTo>
                    <a:pt x="137560" y="155041"/>
                    <a:pt x="137651" y="155976"/>
                    <a:pt x="138509" y="156905"/>
                  </a:cubicBezTo>
                  <a:cubicBezTo>
                    <a:pt x="138678" y="157087"/>
                    <a:pt x="138840" y="157263"/>
                    <a:pt x="138995" y="157425"/>
                  </a:cubicBezTo>
                  <a:cubicBezTo>
                    <a:pt x="139965" y="158473"/>
                    <a:pt x="140612" y="159169"/>
                    <a:pt x="141111" y="160006"/>
                  </a:cubicBezTo>
                  <a:cubicBezTo>
                    <a:pt x="141688" y="160984"/>
                    <a:pt x="142666" y="163305"/>
                    <a:pt x="142764" y="164655"/>
                  </a:cubicBezTo>
                  <a:cubicBezTo>
                    <a:pt x="142778" y="164894"/>
                    <a:pt x="142792" y="165154"/>
                    <a:pt x="142807" y="165422"/>
                  </a:cubicBezTo>
                  <a:cubicBezTo>
                    <a:pt x="142877" y="166674"/>
                    <a:pt x="142961" y="168158"/>
                    <a:pt x="143439" y="169114"/>
                  </a:cubicBezTo>
                  <a:cubicBezTo>
                    <a:pt x="143566" y="169367"/>
                    <a:pt x="143763" y="169712"/>
                    <a:pt x="143981" y="170120"/>
                  </a:cubicBezTo>
                  <a:cubicBezTo>
                    <a:pt x="144769" y="171533"/>
                    <a:pt x="145922" y="173601"/>
                    <a:pt x="145760" y="174438"/>
                  </a:cubicBezTo>
                  <a:cubicBezTo>
                    <a:pt x="145697" y="174797"/>
                    <a:pt x="145718" y="175191"/>
                    <a:pt x="145739" y="175613"/>
                  </a:cubicBezTo>
                  <a:cubicBezTo>
                    <a:pt x="145788" y="176450"/>
                    <a:pt x="145838" y="177378"/>
                    <a:pt x="145191" y="178215"/>
                  </a:cubicBezTo>
                  <a:cubicBezTo>
                    <a:pt x="145043" y="178398"/>
                    <a:pt x="144902" y="178580"/>
                    <a:pt x="144762" y="178763"/>
                  </a:cubicBezTo>
                  <a:cubicBezTo>
                    <a:pt x="143932" y="179853"/>
                    <a:pt x="143102" y="180937"/>
                    <a:pt x="142188" y="181513"/>
                  </a:cubicBezTo>
                  <a:cubicBezTo>
                    <a:pt x="141970" y="181647"/>
                    <a:pt x="141752" y="181766"/>
                    <a:pt x="141548" y="181872"/>
                  </a:cubicBezTo>
                  <a:cubicBezTo>
                    <a:pt x="140718" y="182315"/>
                    <a:pt x="140078" y="182660"/>
                    <a:pt x="140535" y="183743"/>
                  </a:cubicBezTo>
                  <a:cubicBezTo>
                    <a:pt x="140893" y="184580"/>
                    <a:pt x="140028" y="188406"/>
                    <a:pt x="139318" y="191535"/>
                  </a:cubicBezTo>
                  <a:cubicBezTo>
                    <a:pt x="138882" y="193448"/>
                    <a:pt x="138509" y="195094"/>
                    <a:pt x="138509" y="195643"/>
                  </a:cubicBezTo>
                  <a:cubicBezTo>
                    <a:pt x="138509" y="196444"/>
                    <a:pt x="139297" y="197007"/>
                    <a:pt x="140007" y="197513"/>
                  </a:cubicBezTo>
                  <a:cubicBezTo>
                    <a:pt x="140584" y="197928"/>
                    <a:pt x="141111" y="198308"/>
                    <a:pt x="141111" y="198744"/>
                  </a:cubicBezTo>
                  <a:cubicBezTo>
                    <a:pt x="141111" y="199082"/>
                    <a:pt x="141569" y="201361"/>
                    <a:pt x="142152" y="204314"/>
                  </a:cubicBezTo>
                  <a:cubicBezTo>
                    <a:pt x="143285" y="210004"/>
                    <a:pt x="144909" y="218177"/>
                    <a:pt x="144712" y="219576"/>
                  </a:cubicBezTo>
                  <a:cubicBezTo>
                    <a:pt x="144480" y="221222"/>
                    <a:pt x="144607" y="222748"/>
                    <a:pt x="144677" y="223585"/>
                  </a:cubicBezTo>
                  <a:cubicBezTo>
                    <a:pt x="144698" y="223831"/>
                    <a:pt x="144712" y="224014"/>
                    <a:pt x="144712" y="224127"/>
                  </a:cubicBezTo>
                  <a:cubicBezTo>
                    <a:pt x="144712" y="224211"/>
                    <a:pt x="144691" y="224338"/>
                    <a:pt x="144670" y="224499"/>
                  </a:cubicBezTo>
                  <a:cubicBezTo>
                    <a:pt x="144543" y="225294"/>
                    <a:pt x="144304" y="226898"/>
                    <a:pt x="145760" y="227706"/>
                  </a:cubicBezTo>
                  <a:cubicBezTo>
                    <a:pt x="146281" y="227995"/>
                    <a:pt x="146865" y="228290"/>
                    <a:pt x="147462" y="228586"/>
                  </a:cubicBezTo>
                  <a:cubicBezTo>
                    <a:pt x="148904" y="229303"/>
                    <a:pt x="150402" y="230048"/>
                    <a:pt x="151091" y="230808"/>
                  </a:cubicBezTo>
                  <a:cubicBezTo>
                    <a:pt x="152062" y="231884"/>
                    <a:pt x="153039" y="233431"/>
                    <a:pt x="153039" y="235084"/>
                  </a:cubicBezTo>
                  <a:cubicBezTo>
                    <a:pt x="153039" y="236730"/>
                    <a:pt x="152758" y="239058"/>
                    <a:pt x="152266" y="239733"/>
                  </a:cubicBezTo>
                  <a:cubicBezTo>
                    <a:pt x="152069" y="239993"/>
                    <a:pt x="151640" y="240682"/>
                    <a:pt x="151119" y="241519"/>
                  </a:cubicBezTo>
                  <a:cubicBezTo>
                    <a:pt x="150311" y="242820"/>
                    <a:pt x="149270" y="244487"/>
                    <a:pt x="148567" y="245437"/>
                  </a:cubicBezTo>
                  <a:cubicBezTo>
                    <a:pt x="147413" y="246991"/>
                    <a:pt x="145985" y="248257"/>
                    <a:pt x="144712" y="248932"/>
                  </a:cubicBezTo>
                  <a:cubicBezTo>
                    <a:pt x="143439" y="249614"/>
                    <a:pt x="149143" y="256570"/>
                    <a:pt x="151091" y="257843"/>
                  </a:cubicBezTo>
                  <a:cubicBezTo>
                    <a:pt x="153039" y="259109"/>
                    <a:pt x="156141" y="262295"/>
                    <a:pt x="157491" y="263941"/>
                  </a:cubicBezTo>
                  <a:cubicBezTo>
                    <a:pt x="157998" y="264567"/>
                    <a:pt x="158645" y="265045"/>
                    <a:pt x="159341" y="265558"/>
                  </a:cubicBezTo>
                  <a:cubicBezTo>
                    <a:pt x="160488" y="266409"/>
                    <a:pt x="161754" y="267352"/>
                    <a:pt x="162717" y="269173"/>
                  </a:cubicBezTo>
                  <a:cubicBezTo>
                    <a:pt x="163702" y="271023"/>
                    <a:pt x="164412" y="272113"/>
                    <a:pt x="164996" y="273013"/>
                  </a:cubicBezTo>
                  <a:cubicBezTo>
                    <a:pt x="165340" y="273541"/>
                    <a:pt x="165636" y="273998"/>
                    <a:pt x="165917" y="274497"/>
                  </a:cubicBezTo>
                  <a:cubicBezTo>
                    <a:pt x="166691" y="275869"/>
                    <a:pt x="167092" y="277001"/>
                    <a:pt x="166895" y="278372"/>
                  </a:cubicBezTo>
                  <a:cubicBezTo>
                    <a:pt x="166867" y="278548"/>
                    <a:pt x="166831" y="278851"/>
                    <a:pt x="166789" y="279259"/>
                  </a:cubicBezTo>
                  <a:cubicBezTo>
                    <a:pt x="166473" y="282058"/>
                    <a:pt x="165622" y="289604"/>
                    <a:pt x="163596" y="291370"/>
                  </a:cubicBezTo>
                  <a:cubicBezTo>
                    <a:pt x="161423" y="293261"/>
                    <a:pt x="158757" y="297109"/>
                    <a:pt x="157695" y="298635"/>
                  </a:cubicBezTo>
                  <a:cubicBezTo>
                    <a:pt x="157618" y="298740"/>
                    <a:pt x="157548" y="298839"/>
                    <a:pt x="157491" y="298923"/>
                  </a:cubicBezTo>
                  <a:cubicBezTo>
                    <a:pt x="156620" y="300175"/>
                    <a:pt x="143439" y="318763"/>
                    <a:pt x="142089" y="319832"/>
                  </a:cubicBezTo>
                  <a:cubicBezTo>
                    <a:pt x="140732" y="320908"/>
                    <a:pt x="135689" y="326915"/>
                    <a:pt x="135211" y="327590"/>
                  </a:cubicBezTo>
                  <a:cubicBezTo>
                    <a:pt x="134733" y="328265"/>
                    <a:pt x="128987" y="334665"/>
                    <a:pt x="127158" y="336311"/>
                  </a:cubicBezTo>
                  <a:cubicBezTo>
                    <a:pt x="126103" y="337267"/>
                    <a:pt x="124394" y="339208"/>
                    <a:pt x="122783" y="341037"/>
                  </a:cubicBezTo>
                  <a:cubicBezTo>
                    <a:pt x="121602" y="342380"/>
                    <a:pt x="120477" y="343660"/>
                    <a:pt x="119703" y="344441"/>
                  </a:cubicBezTo>
                  <a:cubicBezTo>
                    <a:pt x="118936" y="345222"/>
                    <a:pt x="117312" y="347050"/>
                    <a:pt x="115624" y="348956"/>
                  </a:cubicBezTo>
                  <a:cubicBezTo>
                    <a:pt x="113282" y="351601"/>
                    <a:pt x="110813" y="354386"/>
                    <a:pt x="110307" y="354716"/>
                  </a:cubicBezTo>
                  <a:cubicBezTo>
                    <a:pt x="109997" y="354920"/>
                    <a:pt x="109990" y="355145"/>
                    <a:pt x="109976" y="355370"/>
                  </a:cubicBezTo>
                  <a:cubicBezTo>
                    <a:pt x="109955" y="355799"/>
                    <a:pt x="109934" y="356221"/>
                    <a:pt x="107979" y="356468"/>
                  </a:cubicBezTo>
                  <a:cubicBezTo>
                    <a:pt x="106017" y="356714"/>
                    <a:pt x="104589" y="356636"/>
                    <a:pt x="103048" y="356559"/>
                  </a:cubicBezTo>
                  <a:cubicBezTo>
                    <a:pt x="102233" y="356517"/>
                    <a:pt x="101396" y="356468"/>
                    <a:pt x="100425" y="356468"/>
                  </a:cubicBezTo>
                  <a:cubicBezTo>
                    <a:pt x="97619" y="356468"/>
                    <a:pt x="95115" y="357143"/>
                    <a:pt x="94721" y="357621"/>
                  </a:cubicBezTo>
                  <a:cubicBezTo>
                    <a:pt x="94321" y="358099"/>
                    <a:pt x="90269" y="359274"/>
                    <a:pt x="87646" y="359274"/>
                  </a:cubicBezTo>
                  <a:cubicBezTo>
                    <a:pt x="85023" y="359274"/>
                    <a:pt x="83293" y="359646"/>
                    <a:pt x="83096" y="360722"/>
                  </a:cubicBezTo>
                  <a:cubicBezTo>
                    <a:pt x="83068" y="360863"/>
                    <a:pt x="83047" y="361025"/>
                    <a:pt x="83026" y="361201"/>
                  </a:cubicBezTo>
                  <a:cubicBezTo>
                    <a:pt x="82892" y="362326"/>
                    <a:pt x="82695" y="363958"/>
                    <a:pt x="80093" y="364302"/>
                  </a:cubicBezTo>
                  <a:cubicBezTo>
                    <a:pt x="78756" y="364478"/>
                    <a:pt x="77779" y="364281"/>
                    <a:pt x="76900" y="364112"/>
                  </a:cubicBezTo>
                  <a:cubicBezTo>
                    <a:pt x="75789" y="363894"/>
                    <a:pt x="74832" y="363705"/>
                    <a:pt x="73489" y="364302"/>
                  </a:cubicBezTo>
                  <a:cubicBezTo>
                    <a:pt x="72715" y="364647"/>
                    <a:pt x="72195" y="364914"/>
                    <a:pt x="71759" y="365139"/>
                  </a:cubicBezTo>
                  <a:cubicBezTo>
                    <a:pt x="70858" y="365603"/>
                    <a:pt x="70303" y="365892"/>
                    <a:pt x="68460" y="366349"/>
                  </a:cubicBezTo>
                  <a:cubicBezTo>
                    <a:pt x="65738" y="367024"/>
                    <a:pt x="59240" y="371553"/>
                    <a:pt x="58860" y="371954"/>
                  </a:cubicBezTo>
                  <a:cubicBezTo>
                    <a:pt x="58733" y="372088"/>
                    <a:pt x="58649" y="371898"/>
                    <a:pt x="58508" y="371596"/>
                  </a:cubicBezTo>
                  <a:cubicBezTo>
                    <a:pt x="58248" y="371019"/>
                    <a:pt x="57805" y="370041"/>
                    <a:pt x="56539" y="370224"/>
                  </a:cubicBezTo>
                  <a:cubicBezTo>
                    <a:pt x="55618" y="370358"/>
                    <a:pt x="54830" y="370759"/>
                    <a:pt x="54071" y="371138"/>
                  </a:cubicBezTo>
                  <a:cubicBezTo>
                    <a:pt x="53247" y="371553"/>
                    <a:pt x="52467" y="371954"/>
                    <a:pt x="51609" y="371954"/>
                  </a:cubicBezTo>
                  <a:cubicBezTo>
                    <a:pt x="50111" y="371954"/>
                    <a:pt x="48845" y="372440"/>
                    <a:pt x="47691" y="372890"/>
                  </a:cubicBezTo>
                  <a:cubicBezTo>
                    <a:pt x="47572" y="372932"/>
                    <a:pt x="47452" y="372981"/>
                    <a:pt x="47333" y="373023"/>
                  </a:cubicBezTo>
                  <a:cubicBezTo>
                    <a:pt x="46918" y="373185"/>
                    <a:pt x="46587" y="373410"/>
                    <a:pt x="46242" y="373642"/>
                  </a:cubicBezTo>
                  <a:cubicBezTo>
                    <a:pt x="45539" y="374120"/>
                    <a:pt x="44766" y="374641"/>
                    <a:pt x="43078" y="374775"/>
                  </a:cubicBezTo>
                  <a:cubicBezTo>
                    <a:pt x="41720" y="374880"/>
                    <a:pt x="40757" y="375344"/>
                    <a:pt x="39885" y="375766"/>
                  </a:cubicBezTo>
                  <a:cubicBezTo>
                    <a:pt x="39139" y="376132"/>
                    <a:pt x="38457" y="376455"/>
                    <a:pt x="37655" y="376505"/>
                  </a:cubicBezTo>
                  <a:cubicBezTo>
                    <a:pt x="35904" y="376603"/>
                    <a:pt x="35510" y="375949"/>
                    <a:pt x="36003" y="374775"/>
                  </a:cubicBezTo>
                  <a:cubicBezTo>
                    <a:pt x="36157" y="374423"/>
                    <a:pt x="36319" y="374092"/>
                    <a:pt x="36481" y="373783"/>
                  </a:cubicBezTo>
                  <a:cubicBezTo>
                    <a:pt x="36846" y="373066"/>
                    <a:pt x="37177" y="372425"/>
                    <a:pt x="37177" y="371673"/>
                  </a:cubicBezTo>
                  <a:cubicBezTo>
                    <a:pt x="37177" y="370604"/>
                    <a:pt x="37156" y="369268"/>
                    <a:pt x="36579" y="368775"/>
                  </a:cubicBezTo>
                  <a:cubicBezTo>
                    <a:pt x="36537" y="368733"/>
                    <a:pt x="36488" y="368691"/>
                    <a:pt x="36446" y="368656"/>
                  </a:cubicBezTo>
                  <a:cubicBezTo>
                    <a:pt x="35939" y="368199"/>
                    <a:pt x="35503" y="367819"/>
                    <a:pt x="34075" y="368276"/>
                  </a:cubicBezTo>
                  <a:cubicBezTo>
                    <a:pt x="33239" y="368543"/>
                    <a:pt x="32852" y="369514"/>
                    <a:pt x="32521" y="370351"/>
                  </a:cubicBezTo>
                  <a:cubicBezTo>
                    <a:pt x="32240" y="371061"/>
                    <a:pt x="32001" y="371673"/>
                    <a:pt x="31551" y="371673"/>
                  </a:cubicBezTo>
                  <a:lnTo>
                    <a:pt x="28076" y="371673"/>
                  </a:lnTo>
                  <a:cubicBezTo>
                    <a:pt x="28906" y="369669"/>
                    <a:pt x="30580" y="365378"/>
                    <a:pt x="30580" y="364302"/>
                  </a:cubicBezTo>
                  <a:cubicBezTo>
                    <a:pt x="30580" y="363986"/>
                    <a:pt x="30615" y="363719"/>
                    <a:pt x="30650" y="363479"/>
                  </a:cubicBezTo>
                  <a:cubicBezTo>
                    <a:pt x="30756" y="362706"/>
                    <a:pt x="30819" y="362270"/>
                    <a:pt x="29328" y="361595"/>
                  </a:cubicBezTo>
                  <a:cubicBezTo>
                    <a:pt x="28386" y="361173"/>
                    <a:pt x="27942" y="360955"/>
                    <a:pt x="27479" y="360842"/>
                  </a:cubicBezTo>
                  <a:cubicBezTo>
                    <a:pt x="26979" y="360722"/>
                    <a:pt x="26452" y="360722"/>
                    <a:pt x="25249" y="360722"/>
                  </a:cubicBezTo>
                  <a:cubicBezTo>
                    <a:pt x="23955" y="360722"/>
                    <a:pt x="22956" y="360540"/>
                    <a:pt x="22077" y="360385"/>
                  </a:cubicBezTo>
                  <a:cubicBezTo>
                    <a:pt x="21388" y="360258"/>
                    <a:pt x="20762" y="360146"/>
                    <a:pt x="20122" y="360146"/>
                  </a:cubicBezTo>
                  <a:cubicBezTo>
                    <a:pt x="19672" y="360146"/>
                    <a:pt x="19376" y="360223"/>
                    <a:pt x="19165" y="360272"/>
                  </a:cubicBezTo>
                  <a:cubicBezTo>
                    <a:pt x="18701" y="360392"/>
                    <a:pt x="18638" y="360406"/>
                    <a:pt x="18174" y="359274"/>
                  </a:cubicBezTo>
                  <a:cubicBezTo>
                    <a:pt x="17703" y="358113"/>
                    <a:pt x="17646" y="357234"/>
                    <a:pt x="17597" y="356383"/>
                  </a:cubicBezTo>
                  <a:cubicBezTo>
                    <a:pt x="17576" y="356024"/>
                    <a:pt x="17555" y="355666"/>
                    <a:pt x="17499" y="355293"/>
                  </a:cubicBezTo>
                  <a:cubicBezTo>
                    <a:pt x="17442" y="354878"/>
                    <a:pt x="17548" y="354512"/>
                    <a:pt x="17639" y="354210"/>
                  </a:cubicBezTo>
                  <a:cubicBezTo>
                    <a:pt x="17822" y="353612"/>
                    <a:pt x="17928" y="353267"/>
                    <a:pt x="16444" y="353267"/>
                  </a:cubicBezTo>
                  <a:cubicBezTo>
                    <a:pt x="15761" y="353267"/>
                    <a:pt x="15157" y="353345"/>
                    <a:pt x="14643" y="353408"/>
                  </a:cubicBezTo>
                  <a:cubicBezTo>
                    <a:pt x="13490" y="353549"/>
                    <a:pt x="12779" y="353640"/>
                    <a:pt x="12568" y="352691"/>
                  </a:cubicBezTo>
                  <a:cubicBezTo>
                    <a:pt x="12364" y="351755"/>
                    <a:pt x="12442" y="350862"/>
                    <a:pt x="12512" y="350053"/>
                  </a:cubicBezTo>
                  <a:cubicBezTo>
                    <a:pt x="12540" y="349681"/>
                    <a:pt x="12568" y="349329"/>
                    <a:pt x="12568" y="348991"/>
                  </a:cubicBezTo>
                  <a:cubicBezTo>
                    <a:pt x="12568" y="348794"/>
                    <a:pt x="12582" y="348612"/>
                    <a:pt x="12596" y="348436"/>
                  </a:cubicBezTo>
                  <a:cubicBezTo>
                    <a:pt x="12653" y="347690"/>
                    <a:pt x="12688" y="347156"/>
                    <a:pt x="11598" y="346586"/>
                  </a:cubicBezTo>
                  <a:cubicBezTo>
                    <a:pt x="11309" y="346438"/>
                    <a:pt x="11014" y="346298"/>
                    <a:pt x="10726" y="346157"/>
                  </a:cubicBezTo>
                  <a:cubicBezTo>
                    <a:pt x="9650" y="345644"/>
                    <a:pt x="8672" y="345172"/>
                    <a:pt x="8595" y="344645"/>
                  </a:cubicBezTo>
                  <a:cubicBezTo>
                    <a:pt x="8517" y="344103"/>
                    <a:pt x="9333" y="343133"/>
                    <a:pt x="9748" y="342711"/>
                  </a:cubicBezTo>
                  <a:lnTo>
                    <a:pt x="11598" y="342711"/>
                  </a:lnTo>
                  <a:cubicBezTo>
                    <a:pt x="11921" y="342704"/>
                    <a:pt x="12568" y="342556"/>
                    <a:pt x="12568" y="342015"/>
                  </a:cubicBezTo>
                  <a:cubicBezTo>
                    <a:pt x="12568" y="341853"/>
                    <a:pt x="12498" y="341564"/>
                    <a:pt x="12407" y="341206"/>
                  </a:cubicBezTo>
                  <a:cubicBezTo>
                    <a:pt x="12139" y="340116"/>
                    <a:pt x="11703" y="338350"/>
                    <a:pt x="12568" y="337190"/>
                  </a:cubicBezTo>
                  <a:cubicBezTo>
                    <a:pt x="12941" y="336684"/>
                    <a:pt x="13258" y="336318"/>
                    <a:pt x="13518" y="336015"/>
                  </a:cubicBezTo>
                  <a:cubicBezTo>
                    <a:pt x="14059" y="335375"/>
                    <a:pt x="14362" y="335010"/>
                    <a:pt x="14496" y="334285"/>
                  </a:cubicBezTo>
                  <a:cubicBezTo>
                    <a:pt x="14622" y="333624"/>
                    <a:pt x="14594" y="333069"/>
                    <a:pt x="14552" y="332288"/>
                  </a:cubicBezTo>
                  <a:cubicBezTo>
                    <a:pt x="14531" y="331803"/>
                    <a:pt x="14496" y="331233"/>
                    <a:pt x="14496" y="330487"/>
                  </a:cubicBezTo>
                  <a:lnTo>
                    <a:pt x="14496" y="325937"/>
                  </a:lnTo>
                  <a:lnTo>
                    <a:pt x="14496" y="323032"/>
                  </a:lnTo>
                  <a:cubicBezTo>
                    <a:pt x="14496" y="321570"/>
                    <a:pt x="14355" y="321204"/>
                    <a:pt x="13975" y="320212"/>
                  </a:cubicBezTo>
                  <a:cubicBezTo>
                    <a:pt x="13898" y="320022"/>
                    <a:pt x="13813" y="319804"/>
                    <a:pt x="13722" y="319558"/>
                  </a:cubicBezTo>
                  <a:cubicBezTo>
                    <a:pt x="13504" y="318967"/>
                    <a:pt x="13426" y="318644"/>
                    <a:pt x="13356" y="318369"/>
                  </a:cubicBezTo>
                  <a:cubicBezTo>
                    <a:pt x="13251" y="317919"/>
                    <a:pt x="13173" y="317596"/>
                    <a:pt x="12568" y="316456"/>
                  </a:cubicBezTo>
                  <a:cubicBezTo>
                    <a:pt x="12111" y="315584"/>
                    <a:pt x="11893" y="315001"/>
                    <a:pt x="11682" y="314445"/>
                  </a:cubicBezTo>
                  <a:cubicBezTo>
                    <a:pt x="11450" y="313826"/>
                    <a:pt x="11239" y="313256"/>
                    <a:pt x="10719" y="312384"/>
                  </a:cubicBezTo>
                  <a:cubicBezTo>
                    <a:pt x="9748" y="310732"/>
                    <a:pt x="9748" y="308685"/>
                    <a:pt x="9748" y="306758"/>
                  </a:cubicBezTo>
                  <a:cubicBezTo>
                    <a:pt x="9748" y="305604"/>
                    <a:pt x="10093" y="305105"/>
                    <a:pt x="10374" y="304704"/>
                  </a:cubicBezTo>
                  <a:cubicBezTo>
                    <a:pt x="10564" y="304430"/>
                    <a:pt x="10719" y="304205"/>
                    <a:pt x="10719" y="303853"/>
                  </a:cubicBezTo>
                  <a:cubicBezTo>
                    <a:pt x="10719" y="303579"/>
                    <a:pt x="10895" y="302967"/>
                    <a:pt x="11105" y="302222"/>
                  </a:cubicBezTo>
                  <a:cubicBezTo>
                    <a:pt x="11563" y="300611"/>
                    <a:pt x="12196" y="298375"/>
                    <a:pt x="11598" y="297650"/>
                  </a:cubicBezTo>
                  <a:cubicBezTo>
                    <a:pt x="11253" y="297242"/>
                    <a:pt x="10719" y="296989"/>
                    <a:pt x="10198" y="296743"/>
                  </a:cubicBezTo>
                  <a:cubicBezTo>
                    <a:pt x="9382" y="296363"/>
                    <a:pt x="8595" y="295990"/>
                    <a:pt x="8595" y="295048"/>
                  </a:cubicBezTo>
                  <a:cubicBezTo>
                    <a:pt x="8595" y="294281"/>
                    <a:pt x="8356" y="293712"/>
                    <a:pt x="8124" y="293156"/>
                  </a:cubicBezTo>
                  <a:cubicBezTo>
                    <a:pt x="7891" y="292600"/>
                    <a:pt x="7673" y="292066"/>
                    <a:pt x="7722" y="291370"/>
                  </a:cubicBezTo>
                  <a:cubicBezTo>
                    <a:pt x="7772" y="290645"/>
                    <a:pt x="8011" y="290287"/>
                    <a:pt x="8229" y="289956"/>
                  </a:cubicBezTo>
                  <a:cubicBezTo>
                    <a:pt x="8419" y="289668"/>
                    <a:pt x="8595" y="289407"/>
                    <a:pt x="8595" y="288950"/>
                  </a:cubicBezTo>
                  <a:cubicBezTo>
                    <a:pt x="8595" y="288500"/>
                    <a:pt x="8412" y="288177"/>
                    <a:pt x="8208" y="287825"/>
                  </a:cubicBezTo>
                  <a:cubicBezTo>
                    <a:pt x="7976" y="287410"/>
                    <a:pt x="7722" y="286953"/>
                    <a:pt x="7722" y="286221"/>
                  </a:cubicBezTo>
                  <a:cubicBezTo>
                    <a:pt x="7722" y="286017"/>
                    <a:pt x="7716" y="285785"/>
                    <a:pt x="7708" y="285539"/>
                  </a:cubicBezTo>
                  <a:cubicBezTo>
                    <a:pt x="7666" y="284133"/>
                    <a:pt x="7617" y="282206"/>
                    <a:pt x="8595" y="281868"/>
                  </a:cubicBezTo>
                  <a:cubicBezTo>
                    <a:pt x="9748" y="281474"/>
                    <a:pt x="11119" y="280721"/>
                    <a:pt x="11598" y="279842"/>
                  </a:cubicBezTo>
                  <a:cubicBezTo>
                    <a:pt x="11781" y="279505"/>
                    <a:pt x="11795" y="279301"/>
                    <a:pt x="11809" y="279097"/>
                  </a:cubicBezTo>
                  <a:cubicBezTo>
                    <a:pt x="11837" y="278773"/>
                    <a:pt x="11858" y="278471"/>
                    <a:pt x="12568" y="277697"/>
                  </a:cubicBezTo>
                  <a:cubicBezTo>
                    <a:pt x="13476" y="276713"/>
                    <a:pt x="13729" y="276333"/>
                    <a:pt x="14123" y="275742"/>
                  </a:cubicBezTo>
                  <a:cubicBezTo>
                    <a:pt x="14235" y="275580"/>
                    <a:pt x="14355" y="275405"/>
                    <a:pt x="14496" y="275194"/>
                  </a:cubicBezTo>
                  <a:cubicBezTo>
                    <a:pt x="15037" y="274413"/>
                    <a:pt x="15375" y="273632"/>
                    <a:pt x="15473" y="273344"/>
                  </a:cubicBezTo>
                  <a:cubicBezTo>
                    <a:pt x="14826" y="272528"/>
                    <a:pt x="13722" y="270552"/>
                    <a:pt x="14496" y="269173"/>
                  </a:cubicBezTo>
                  <a:cubicBezTo>
                    <a:pt x="17695" y="267042"/>
                    <a:pt x="19067" y="266367"/>
                    <a:pt x="19545" y="266466"/>
                  </a:cubicBezTo>
                  <a:cubicBezTo>
                    <a:pt x="19805" y="266522"/>
                    <a:pt x="19918" y="266789"/>
                    <a:pt x="20037" y="267092"/>
                  </a:cubicBezTo>
                  <a:cubicBezTo>
                    <a:pt x="20150" y="267352"/>
                    <a:pt x="20270" y="267633"/>
                    <a:pt x="20502" y="267816"/>
                  </a:cubicBezTo>
                  <a:cubicBezTo>
                    <a:pt x="21001" y="268217"/>
                    <a:pt x="21578" y="268597"/>
                    <a:pt x="23027" y="267816"/>
                  </a:cubicBezTo>
                  <a:cubicBezTo>
                    <a:pt x="24215" y="267183"/>
                    <a:pt x="25017" y="266543"/>
                    <a:pt x="25755" y="265966"/>
                  </a:cubicBezTo>
                  <a:cubicBezTo>
                    <a:pt x="25910" y="265840"/>
                    <a:pt x="26072" y="265713"/>
                    <a:pt x="26226" y="265593"/>
                  </a:cubicBezTo>
                  <a:cubicBezTo>
                    <a:pt x="26494" y="265382"/>
                    <a:pt x="26761" y="265256"/>
                    <a:pt x="27000" y="265143"/>
                  </a:cubicBezTo>
                  <a:cubicBezTo>
                    <a:pt x="27535" y="264890"/>
                    <a:pt x="27915" y="264714"/>
                    <a:pt x="27774" y="263842"/>
                  </a:cubicBezTo>
                  <a:cubicBezTo>
                    <a:pt x="27661" y="263125"/>
                    <a:pt x="26881" y="262246"/>
                    <a:pt x="26191" y="261479"/>
                  </a:cubicBezTo>
                  <a:cubicBezTo>
                    <a:pt x="25685" y="260909"/>
                    <a:pt x="25228" y="260396"/>
                    <a:pt x="25151" y="260065"/>
                  </a:cubicBezTo>
                  <a:cubicBezTo>
                    <a:pt x="24975" y="259306"/>
                    <a:pt x="25263" y="258947"/>
                    <a:pt x="25727" y="258363"/>
                  </a:cubicBezTo>
                  <a:lnTo>
                    <a:pt x="25748" y="258335"/>
                  </a:lnTo>
                  <a:cubicBezTo>
                    <a:pt x="26058" y="257949"/>
                    <a:pt x="26494" y="257864"/>
                    <a:pt x="26972" y="257773"/>
                  </a:cubicBezTo>
                  <a:cubicBezTo>
                    <a:pt x="27232" y="257716"/>
                    <a:pt x="27507" y="257667"/>
                    <a:pt x="27774" y="257562"/>
                  </a:cubicBezTo>
                  <a:cubicBezTo>
                    <a:pt x="28048" y="257456"/>
                    <a:pt x="28231" y="257519"/>
                    <a:pt x="28358" y="257569"/>
                  </a:cubicBezTo>
                  <a:cubicBezTo>
                    <a:pt x="28597" y="257660"/>
                    <a:pt x="28667" y="257681"/>
                    <a:pt x="28850" y="256486"/>
                  </a:cubicBezTo>
                  <a:cubicBezTo>
                    <a:pt x="29701" y="253011"/>
                    <a:pt x="29926" y="252589"/>
                    <a:pt x="31178" y="250866"/>
                  </a:cubicBezTo>
                  <a:cubicBezTo>
                    <a:pt x="32176" y="249481"/>
                    <a:pt x="33843" y="246217"/>
                    <a:pt x="34554" y="244762"/>
                  </a:cubicBezTo>
                  <a:lnTo>
                    <a:pt x="35229" y="246210"/>
                  </a:lnTo>
                  <a:lnTo>
                    <a:pt x="36678" y="246210"/>
                  </a:lnTo>
                  <a:cubicBezTo>
                    <a:pt x="37297" y="245662"/>
                    <a:pt x="38647" y="244487"/>
                    <a:pt x="39104" y="244185"/>
                  </a:cubicBezTo>
                  <a:cubicBezTo>
                    <a:pt x="39681" y="243805"/>
                    <a:pt x="40377" y="243608"/>
                    <a:pt x="40954" y="243608"/>
                  </a:cubicBezTo>
                  <a:lnTo>
                    <a:pt x="42402" y="243608"/>
                  </a:lnTo>
                  <a:lnTo>
                    <a:pt x="42402" y="238657"/>
                  </a:lnTo>
                  <a:lnTo>
                    <a:pt x="45012" y="238657"/>
                  </a:lnTo>
                  <a:cubicBezTo>
                    <a:pt x="45328" y="238657"/>
                    <a:pt x="46242" y="239044"/>
                    <a:pt x="46658" y="239234"/>
                  </a:cubicBezTo>
                  <a:cubicBezTo>
                    <a:pt x="46925" y="237426"/>
                    <a:pt x="47705" y="233558"/>
                    <a:pt x="48704" y="232559"/>
                  </a:cubicBezTo>
                  <a:cubicBezTo>
                    <a:pt x="49956" y="231307"/>
                    <a:pt x="50934" y="230154"/>
                    <a:pt x="52284" y="228403"/>
                  </a:cubicBezTo>
                  <a:cubicBezTo>
                    <a:pt x="52847" y="227671"/>
                    <a:pt x="53177" y="227200"/>
                    <a:pt x="53480" y="226757"/>
                  </a:cubicBezTo>
                  <a:cubicBezTo>
                    <a:pt x="53909" y="226145"/>
                    <a:pt x="54281" y="225603"/>
                    <a:pt x="55189" y="224527"/>
                  </a:cubicBezTo>
                  <a:cubicBezTo>
                    <a:pt x="55843" y="223747"/>
                    <a:pt x="56187" y="223536"/>
                    <a:pt x="56448" y="223374"/>
                  </a:cubicBezTo>
                  <a:cubicBezTo>
                    <a:pt x="56799" y="223163"/>
                    <a:pt x="56989" y="223043"/>
                    <a:pt x="57608" y="221707"/>
                  </a:cubicBezTo>
                  <a:cubicBezTo>
                    <a:pt x="58009" y="220835"/>
                    <a:pt x="58691" y="218985"/>
                    <a:pt x="59458" y="216918"/>
                  </a:cubicBezTo>
                  <a:cubicBezTo>
                    <a:pt x="60738" y="213436"/>
                    <a:pt x="62250" y="209343"/>
                    <a:pt x="63038" y="208246"/>
                  </a:cubicBezTo>
                  <a:cubicBezTo>
                    <a:pt x="63298" y="207887"/>
                    <a:pt x="63516" y="207557"/>
                    <a:pt x="63727" y="207247"/>
                  </a:cubicBezTo>
                  <a:cubicBezTo>
                    <a:pt x="64514" y="206073"/>
                    <a:pt x="65091" y="205222"/>
                    <a:pt x="66716" y="204075"/>
                  </a:cubicBezTo>
                  <a:cubicBezTo>
                    <a:pt x="67468" y="203541"/>
                    <a:pt x="67904" y="203358"/>
                    <a:pt x="68242" y="203224"/>
                  </a:cubicBezTo>
                  <a:cubicBezTo>
                    <a:pt x="68826" y="202985"/>
                    <a:pt x="69121" y="202866"/>
                    <a:pt x="70211" y="201269"/>
                  </a:cubicBezTo>
                  <a:cubicBezTo>
                    <a:pt x="70971" y="200158"/>
                    <a:pt x="71477" y="199799"/>
                    <a:pt x="71822" y="199553"/>
                  </a:cubicBezTo>
                  <a:cubicBezTo>
                    <a:pt x="72265" y="199244"/>
                    <a:pt x="72441" y="199117"/>
                    <a:pt x="72539" y="197872"/>
                  </a:cubicBezTo>
                  <a:cubicBezTo>
                    <a:pt x="72666" y="196318"/>
                    <a:pt x="72420" y="194053"/>
                    <a:pt x="72230" y="192274"/>
                  </a:cubicBezTo>
                  <a:cubicBezTo>
                    <a:pt x="72145" y="191500"/>
                    <a:pt x="72068" y="190818"/>
                    <a:pt x="72040" y="190319"/>
                  </a:cubicBezTo>
                  <a:cubicBezTo>
                    <a:pt x="71998" y="189608"/>
                    <a:pt x="72096" y="189151"/>
                    <a:pt x="72181" y="188771"/>
                  </a:cubicBezTo>
                  <a:cubicBezTo>
                    <a:pt x="72293" y="188272"/>
                    <a:pt x="72371" y="187920"/>
                    <a:pt x="72040" y="187316"/>
                  </a:cubicBezTo>
                  <a:cubicBezTo>
                    <a:pt x="71737" y="186760"/>
                    <a:pt x="70507" y="185810"/>
                    <a:pt x="69283" y="184868"/>
                  </a:cubicBezTo>
                  <a:cubicBezTo>
                    <a:pt x="68200" y="184038"/>
                    <a:pt x="67124" y="183208"/>
                    <a:pt x="66716" y="182667"/>
                  </a:cubicBezTo>
                  <a:cubicBezTo>
                    <a:pt x="66421" y="182280"/>
                    <a:pt x="66407" y="181977"/>
                    <a:pt x="66399" y="181745"/>
                  </a:cubicBezTo>
                  <a:cubicBezTo>
                    <a:pt x="66378" y="181281"/>
                    <a:pt x="66371" y="181084"/>
                    <a:pt x="64191" y="181014"/>
                  </a:cubicBezTo>
                  <a:cubicBezTo>
                    <a:pt x="63213" y="180986"/>
                    <a:pt x="62496" y="181070"/>
                    <a:pt x="61940" y="181133"/>
                  </a:cubicBezTo>
                  <a:cubicBezTo>
                    <a:pt x="60632" y="181281"/>
                    <a:pt x="60245" y="181323"/>
                    <a:pt x="59556" y="179565"/>
                  </a:cubicBezTo>
                  <a:cubicBezTo>
                    <a:pt x="59190" y="178616"/>
                    <a:pt x="59169" y="177962"/>
                    <a:pt x="59155" y="177469"/>
                  </a:cubicBezTo>
                  <a:cubicBezTo>
                    <a:pt x="59127" y="176653"/>
                    <a:pt x="59113" y="176246"/>
                    <a:pt x="57608" y="175591"/>
                  </a:cubicBezTo>
                  <a:cubicBezTo>
                    <a:pt x="56891" y="175282"/>
                    <a:pt x="56434" y="175078"/>
                    <a:pt x="56103" y="174930"/>
                  </a:cubicBezTo>
                  <a:cubicBezTo>
                    <a:pt x="55315" y="174586"/>
                    <a:pt x="55294" y="174572"/>
                    <a:pt x="54408" y="174241"/>
                  </a:cubicBezTo>
                  <a:cubicBezTo>
                    <a:pt x="54204" y="174157"/>
                    <a:pt x="53937" y="174058"/>
                    <a:pt x="53641" y="173939"/>
                  </a:cubicBezTo>
                  <a:cubicBezTo>
                    <a:pt x="53465" y="170788"/>
                    <a:pt x="52333" y="165506"/>
                    <a:pt x="51686" y="164676"/>
                  </a:cubicBezTo>
                  <a:cubicBezTo>
                    <a:pt x="51370" y="164275"/>
                    <a:pt x="50877" y="163727"/>
                    <a:pt x="50357" y="163136"/>
                  </a:cubicBezTo>
                  <a:cubicBezTo>
                    <a:pt x="49457" y="162130"/>
                    <a:pt x="48458" y="161012"/>
                    <a:pt x="48029" y="160287"/>
                  </a:cubicBezTo>
                  <a:cubicBezTo>
                    <a:pt x="47980" y="160196"/>
                    <a:pt x="47923" y="160105"/>
                    <a:pt x="47874" y="160020"/>
                  </a:cubicBezTo>
                  <a:cubicBezTo>
                    <a:pt x="47262" y="158986"/>
                    <a:pt x="46735" y="158100"/>
                    <a:pt x="46735" y="156926"/>
                  </a:cubicBezTo>
                  <a:lnTo>
                    <a:pt x="46735" y="153149"/>
                  </a:lnTo>
                  <a:cubicBezTo>
                    <a:pt x="46735" y="153072"/>
                    <a:pt x="46735" y="152994"/>
                    <a:pt x="46735" y="152910"/>
                  </a:cubicBezTo>
                  <a:cubicBezTo>
                    <a:pt x="46735" y="151883"/>
                    <a:pt x="46728" y="150547"/>
                    <a:pt x="47354" y="149590"/>
                  </a:cubicBezTo>
                  <a:cubicBezTo>
                    <a:pt x="47705" y="149056"/>
                    <a:pt x="48127" y="148620"/>
                    <a:pt x="48514" y="148233"/>
                  </a:cubicBezTo>
                  <a:cubicBezTo>
                    <a:pt x="48866" y="147874"/>
                    <a:pt x="49182" y="147551"/>
                    <a:pt x="49379" y="147206"/>
                  </a:cubicBezTo>
                  <a:cubicBezTo>
                    <a:pt x="49520" y="146974"/>
                    <a:pt x="49597" y="146904"/>
                    <a:pt x="49654" y="146854"/>
                  </a:cubicBezTo>
                  <a:cubicBezTo>
                    <a:pt x="49773" y="146749"/>
                    <a:pt x="49823" y="146707"/>
                    <a:pt x="50153" y="145441"/>
                  </a:cubicBezTo>
                  <a:cubicBezTo>
                    <a:pt x="50519" y="144055"/>
                    <a:pt x="50350" y="142290"/>
                    <a:pt x="50237" y="141052"/>
                  </a:cubicBezTo>
                  <a:cubicBezTo>
                    <a:pt x="50195" y="140595"/>
                    <a:pt x="50153" y="140215"/>
                    <a:pt x="50153" y="139955"/>
                  </a:cubicBezTo>
                  <a:cubicBezTo>
                    <a:pt x="50153" y="138977"/>
                    <a:pt x="50378" y="138007"/>
                    <a:pt x="51032" y="137268"/>
                  </a:cubicBezTo>
                  <a:cubicBezTo>
                    <a:pt x="51405" y="136853"/>
                    <a:pt x="51560" y="136671"/>
                    <a:pt x="51630" y="136459"/>
                  </a:cubicBezTo>
                  <a:cubicBezTo>
                    <a:pt x="51686" y="136298"/>
                    <a:pt x="51686" y="136115"/>
                    <a:pt x="51686" y="135798"/>
                  </a:cubicBezTo>
                  <a:cubicBezTo>
                    <a:pt x="51686" y="135208"/>
                    <a:pt x="50153" y="132409"/>
                    <a:pt x="49379" y="131086"/>
                  </a:cubicBezTo>
                  <a:cubicBezTo>
                    <a:pt x="48500" y="129729"/>
                    <a:pt x="46735" y="126888"/>
                    <a:pt x="46735" y="126395"/>
                  </a:cubicBezTo>
                  <a:cubicBezTo>
                    <a:pt x="46735" y="126205"/>
                    <a:pt x="46475" y="125783"/>
                    <a:pt x="46137" y="125249"/>
                  </a:cubicBezTo>
                  <a:cubicBezTo>
                    <a:pt x="45371" y="124039"/>
                    <a:pt x="44231" y="122232"/>
                    <a:pt x="44906" y="121127"/>
                  </a:cubicBezTo>
                  <a:cubicBezTo>
                    <a:pt x="45842" y="119608"/>
                    <a:pt x="46608" y="118701"/>
                    <a:pt x="47269" y="117934"/>
                  </a:cubicBezTo>
                  <a:lnTo>
                    <a:pt x="47354" y="117829"/>
                  </a:lnTo>
                  <a:cubicBezTo>
                    <a:pt x="47410" y="117766"/>
                    <a:pt x="47459" y="117702"/>
                    <a:pt x="47515" y="117639"/>
                  </a:cubicBezTo>
                  <a:cubicBezTo>
                    <a:pt x="48127" y="116929"/>
                    <a:pt x="48648" y="116317"/>
                    <a:pt x="48648" y="115642"/>
                  </a:cubicBezTo>
                  <a:cubicBezTo>
                    <a:pt x="48648" y="115600"/>
                    <a:pt x="48648" y="115543"/>
                    <a:pt x="48648" y="115480"/>
                  </a:cubicBezTo>
                  <a:cubicBezTo>
                    <a:pt x="48655" y="114566"/>
                    <a:pt x="48676" y="112132"/>
                    <a:pt x="47354" y="111907"/>
                  </a:cubicBezTo>
                  <a:cubicBezTo>
                    <a:pt x="46995" y="111844"/>
                    <a:pt x="46658" y="111809"/>
                    <a:pt x="46334" y="111781"/>
                  </a:cubicBezTo>
                  <a:cubicBezTo>
                    <a:pt x="45392" y="111689"/>
                    <a:pt x="44646" y="111612"/>
                    <a:pt x="44294" y="110930"/>
                  </a:cubicBezTo>
                  <a:cubicBezTo>
                    <a:pt x="43816" y="110015"/>
                    <a:pt x="43457" y="108904"/>
                    <a:pt x="43873" y="107933"/>
                  </a:cubicBezTo>
                  <a:cubicBezTo>
                    <a:pt x="44083" y="107455"/>
                    <a:pt x="44224" y="107265"/>
                    <a:pt x="44379" y="107082"/>
                  </a:cubicBezTo>
                  <a:cubicBezTo>
                    <a:pt x="44534" y="106886"/>
                    <a:pt x="44688" y="106689"/>
                    <a:pt x="44906" y="106161"/>
                  </a:cubicBezTo>
                  <a:cubicBezTo>
                    <a:pt x="45047" y="105831"/>
                    <a:pt x="45216" y="105577"/>
                    <a:pt x="45356" y="105359"/>
                  </a:cubicBezTo>
                  <a:cubicBezTo>
                    <a:pt x="45652" y="104895"/>
                    <a:pt x="45842" y="104593"/>
                    <a:pt x="45469" y="104093"/>
                  </a:cubicBezTo>
                  <a:cubicBezTo>
                    <a:pt x="45272" y="103840"/>
                    <a:pt x="45019" y="103643"/>
                    <a:pt x="44773" y="103460"/>
                  </a:cubicBezTo>
                  <a:cubicBezTo>
                    <a:pt x="44316" y="103109"/>
                    <a:pt x="43873" y="102778"/>
                    <a:pt x="43873" y="102068"/>
                  </a:cubicBezTo>
                  <a:lnTo>
                    <a:pt x="43873" y="96941"/>
                  </a:lnTo>
                  <a:cubicBezTo>
                    <a:pt x="43873" y="96723"/>
                    <a:pt x="43865" y="96526"/>
                    <a:pt x="43859" y="96336"/>
                  </a:cubicBezTo>
                  <a:cubicBezTo>
                    <a:pt x="43830" y="95619"/>
                    <a:pt x="43802" y="95070"/>
                    <a:pt x="44294" y="94557"/>
                  </a:cubicBezTo>
                  <a:cubicBezTo>
                    <a:pt x="44470" y="94367"/>
                    <a:pt x="44681" y="94177"/>
                    <a:pt x="44892" y="93980"/>
                  </a:cubicBezTo>
                  <a:cubicBezTo>
                    <a:pt x="45413" y="93502"/>
                    <a:pt x="45954" y="93009"/>
                    <a:pt x="46081" y="92489"/>
                  </a:cubicBezTo>
                  <a:cubicBezTo>
                    <a:pt x="46179" y="92081"/>
                    <a:pt x="45983" y="91750"/>
                    <a:pt x="45785" y="91427"/>
                  </a:cubicBezTo>
                  <a:cubicBezTo>
                    <a:pt x="45624" y="91160"/>
                    <a:pt x="45469" y="90899"/>
                    <a:pt x="45469" y="90597"/>
                  </a:cubicBezTo>
                  <a:cubicBezTo>
                    <a:pt x="45469" y="89922"/>
                    <a:pt x="40574" y="83641"/>
                    <a:pt x="39899" y="82966"/>
                  </a:cubicBezTo>
                  <a:cubicBezTo>
                    <a:pt x="39751" y="82818"/>
                    <a:pt x="39603" y="82699"/>
                    <a:pt x="39477" y="82586"/>
                  </a:cubicBezTo>
                  <a:cubicBezTo>
                    <a:pt x="39013" y="82200"/>
                    <a:pt x="38675" y="81918"/>
                    <a:pt x="38626" y="80821"/>
                  </a:cubicBezTo>
                  <a:cubicBezTo>
                    <a:pt x="38612" y="80378"/>
                    <a:pt x="38626" y="80012"/>
                    <a:pt x="38633" y="79703"/>
                  </a:cubicBezTo>
                  <a:cubicBezTo>
                    <a:pt x="38661" y="79042"/>
                    <a:pt x="38675" y="78662"/>
                    <a:pt x="38309" y="78374"/>
                  </a:cubicBezTo>
                  <a:cubicBezTo>
                    <a:pt x="38183" y="78275"/>
                    <a:pt x="37796" y="77846"/>
                    <a:pt x="37254" y="77241"/>
                  </a:cubicBezTo>
                  <a:cubicBezTo>
                    <a:pt x="35517" y="75314"/>
                    <a:pt x="32205" y="71629"/>
                    <a:pt x="30854" y="71537"/>
                  </a:cubicBezTo>
                  <a:cubicBezTo>
                    <a:pt x="29884" y="71474"/>
                    <a:pt x="28920" y="71052"/>
                    <a:pt x="28041" y="70672"/>
                  </a:cubicBezTo>
                  <a:cubicBezTo>
                    <a:pt x="27310" y="70356"/>
                    <a:pt x="26628" y="70060"/>
                    <a:pt x="26044" y="70004"/>
                  </a:cubicBezTo>
                  <a:cubicBezTo>
                    <a:pt x="25650" y="69969"/>
                    <a:pt x="25284" y="69955"/>
                    <a:pt x="24953" y="69934"/>
                  </a:cubicBezTo>
                  <a:cubicBezTo>
                    <a:pt x="24187" y="69899"/>
                    <a:pt x="23596" y="69871"/>
                    <a:pt x="23223" y="69645"/>
                  </a:cubicBezTo>
                  <a:cubicBezTo>
                    <a:pt x="22689" y="69329"/>
                    <a:pt x="12709" y="59567"/>
                    <a:pt x="12294" y="58892"/>
                  </a:cubicBezTo>
                  <a:cubicBezTo>
                    <a:pt x="12062" y="58519"/>
                    <a:pt x="10711" y="56986"/>
                    <a:pt x="9460" y="55565"/>
                  </a:cubicBezTo>
                  <a:cubicBezTo>
                    <a:pt x="8447" y="54412"/>
                    <a:pt x="7497" y="53336"/>
                    <a:pt x="7279" y="53033"/>
                  </a:cubicBezTo>
                  <a:cubicBezTo>
                    <a:pt x="7054" y="52703"/>
                    <a:pt x="6464" y="52654"/>
                    <a:pt x="5908" y="52604"/>
                  </a:cubicBezTo>
                  <a:cubicBezTo>
                    <a:pt x="5310" y="52548"/>
                    <a:pt x="4747" y="52499"/>
                    <a:pt x="4719" y="52119"/>
                  </a:cubicBezTo>
                  <a:cubicBezTo>
                    <a:pt x="4670" y="51521"/>
                    <a:pt x="4698" y="49348"/>
                    <a:pt x="4712" y="48427"/>
                  </a:cubicBezTo>
                  <a:cubicBezTo>
                    <a:pt x="4719" y="48216"/>
                    <a:pt x="4719" y="48068"/>
                    <a:pt x="4719" y="48019"/>
                  </a:cubicBezTo>
                  <a:cubicBezTo>
                    <a:pt x="4719" y="47794"/>
                    <a:pt x="1245" y="46036"/>
                    <a:pt x="0" y="45656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8" name="Freihandform: Form 253">
              <a:extLst>
                <a:ext uri="{FF2B5EF4-FFF2-40B4-BE49-F238E27FC236}">
                  <a16:creationId xmlns:a16="http://schemas.microsoft.com/office/drawing/2014/main" id="{AF46FD30-0771-7046-A4A9-FA3975DFA0D0}"/>
                </a:ext>
              </a:extLst>
            </p:cNvPr>
            <p:cNvSpPr/>
            <p:nvPr/>
          </p:nvSpPr>
          <p:spPr>
            <a:xfrm>
              <a:off x="6480260" y="3399521"/>
              <a:ext cx="110710" cy="66940"/>
            </a:xfrm>
            <a:custGeom>
              <a:avLst/>
              <a:gdLst>
                <a:gd name="connsiteX0" fmla="*/ 1575 w 110710"/>
                <a:gd name="connsiteY0" fmla="*/ 56060 h 66940"/>
                <a:gd name="connsiteX1" fmla="*/ 6 w 110710"/>
                <a:gd name="connsiteY1" fmla="*/ 49555 h 66940"/>
                <a:gd name="connsiteX2" fmla="*/ 70 w 110710"/>
                <a:gd name="connsiteY2" fmla="*/ 46151 h 66940"/>
                <a:gd name="connsiteX3" fmla="*/ 1399 w 110710"/>
                <a:gd name="connsiteY3" fmla="*/ 35179 h 66940"/>
                <a:gd name="connsiteX4" fmla="*/ 3122 w 110710"/>
                <a:gd name="connsiteY4" fmla="*/ 33442 h 66940"/>
                <a:gd name="connsiteX5" fmla="*/ 6090 w 110710"/>
                <a:gd name="connsiteY5" fmla="*/ 29975 h 66940"/>
                <a:gd name="connsiteX6" fmla="*/ 6660 w 110710"/>
                <a:gd name="connsiteY6" fmla="*/ 25453 h 66940"/>
                <a:gd name="connsiteX7" fmla="*/ 7637 w 110710"/>
                <a:gd name="connsiteY7" fmla="*/ 19580 h 66940"/>
                <a:gd name="connsiteX8" fmla="*/ 8390 w 110710"/>
                <a:gd name="connsiteY8" fmla="*/ 19024 h 66940"/>
                <a:gd name="connsiteX9" fmla="*/ 9543 w 110710"/>
                <a:gd name="connsiteY9" fmla="*/ 17329 h 66940"/>
                <a:gd name="connsiteX10" fmla="*/ 11456 w 110710"/>
                <a:gd name="connsiteY10" fmla="*/ 13180 h 66940"/>
                <a:gd name="connsiteX11" fmla="*/ 13447 w 110710"/>
                <a:gd name="connsiteY11" fmla="*/ 13419 h 66940"/>
                <a:gd name="connsiteX12" fmla="*/ 16822 w 110710"/>
                <a:gd name="connsiteY12" fmla="*/ 13180 h 66940"/>
                <a:gd name="connsiteX13" fmla="*/ 17652 w 110710"/>
                <a:gd name="connsiteY13" fmla="*/ 12582 h 66940"/>
                <a:gd name="connsiteX14" fmla="*/ 24615 w 110710"/>
                <a:gd name="connsiteY14" fmla="*/ 8665 h 66940"/>
                <a:gd name="connsiteX15" fmla="*/ 24439 w 110710"/>
                <a:gd name="connsiteY15" fmla="*/ 10233 h 66940"/>
                <a:gd name="connsiteX16" fmla="*/ 24615 w 110710"/>
                <a:gd name="connsiteY16" fmla="*/ 13180 h 66940"/>
                <a:gd name="connsiteX17" fmla="*/ 30157 w 110710"/>
                <a:gd name="connsiteY17" fmla="*/ 17329 h 66940"/>
                <a:gd name="connsiteX18" fmla="*/ 33097 w 110710"/>
                <a:gd name="connsiteY18" fmla="*/ 19580 h 66940"/>
                <a:gd name="connsiteX19" fmla="*/ 33097 w 110710"/>
                <a:gd name="connsiteY19" fmla="*/ 24088 h 66940"/>
                <a:gd name="connsiteX20" fmla="*/ 33885 w 110710"/>
                <a:gd name="connsiteY20" fmla="*/ 25537 h 66940"/>
                <a:gd name="connsiteX21" fmla="*/ 35361 w 110710"/>
                <a:gd name="connsiteY21" fmla="*/ 27724 h 66940"/>
                <a:gd name="connsiteX22" fmla="*/ 35995 w 110710"/>
                <a:gd name="connsiteY22" fmla="*/ 28280 h 66940"/>
                <a:gd name="connsiteX23" fmla="*/ 38484 w 110710"/>
                <a:gd name="connsiteY23" fmla="*/ 29975 h 66940"/>
                <a:gd name="connsiteX24" fmla="*/ 39237 w 110710"/>
                <a:gd name="connsiteY24" fmla="*/ 30488 h 66940"/>
                <a:gd name="connsiteX25" fmla="*/ 40735 w 110710"/>
                <a:gd name="connsiteY25" fmla="*/ 30847 h 66940"/>
                <a:gd name="connsiteX26" fmla="*/ 43175 w 110710"/>
                <a:gd name="connsiteY26" fmla="*/ 29736 h 66940"/>
                <a:gd name="connsiteX27" fmla="*/ 45763 w 110710"/>
                <a:gd name="connsiteY27" fmla="*/ 28758 h 66940"/>
                <a:gd name="connsiteX28" fmla="*/ 51488 w 110710"/>
                <a:gd name="connsiteY28" fmla="*/ 24967 h 66940"/>
                <a:gd name="connsiteX29" fmla="*/ 52515 w 110710"/>
                <a:gd name="connsiteY29" fmla="*/ 21324 h 66940"/>
                <a:gd name="connsiteX30" fmla="*/ 52565 w 110710"/>
                <a:gd name="connsiteY30" fmla="*/ 17941 h 66940"/>
                <a:gd name="connsiteX31" fmla="*/ 52515 w 110710"/>
                <a:gd name="connsiteY31" fmla="*/ 15599 h 66940"/>
                <a:gd name="connsiteX32" fmla="*/ 52403 w 110710"/>
                <a:gd name="connsiteY32" fmla="*/ 12223 h 66940"/>
                <a:gd name="connsiteX33" fmla="*/ 52339 w 110710"/>
                <a:gd name="connsiteY33" fmla="*/ 7814 h 66940"/>
                <a:gd name="connsiteX34" fmla="*/ 52100 w 110710"/>
                <a:gd name="connsiteY34" fmla="*/ 5880 h 66940"/>
                <a:gd name="connsiteX35" fmla="*/ 52515 w 110710"/>
                <a:gd name="connsiteY35" fmla="*/ 3812 h 66940"/>
                <a:gd name="connsiteX36" fmla="*/ 56158 w 110710"/>
                <a:gd name="connsiteY36" fmla="*/ 2476 h 66940"/>
                <a:gd name="connsiteX37" fmla="*/ 58915 w 110710"/>
                <a:gd name="connsiteY37" fmla="*/ 1393 h 66940"/>
                <a:gd name="connsiteX38" fmla="*/ 60617 w 110710"/>
                <a:gd name="connsiteY38" fmla="*/ 907 h 66940"/>
                <a:gd name="connsiteX39" fmla="*/ 64464 w 110710"/>
                <a:gd name="connsiteY39" fmla="*/ 0 h 66940"/>
                <a:gd name="connsiteX40" fmla="*/ 69852 w 110710"/>
                <a:gd name="connsiteY40" fmla="*/ 1393 h 66940"/>
                <a:gd name="connsiteX41" fmla="*/ 75556 w 110710"/>
                <a:gd name="connsiteY41" fmla="*/ 4846 h 66940"/>
                <a:gd name="connsiteX42" fmla="*/ 81456 w 110710"/>
                <a:gd name="connsiteY42" fmla="*/ 11091 h 66940"/>
                <a:gd name="connsiteX43" fmla="*/ 84917 w 110710"/>
                <a:gd name="connsiteY43" fmla="*/ 15599 h 66940"/>
                <a:gd name="connsiteX44" fmla="*/ 88510 w 110710"/>
                <a:gd name="connsiteY44" fmla="*/ 14235 h 66940"/>
                <a:gd name="connsiteX45" fmla="*/ 91162 w 110710"/>
                <a:gd name="connsiteY45" fmla="*/ 13180 h 66940"/>
                <a:gd name="connsiteX46" fmla="*/ 94798 w 110710"/>
                <a:gd name="connsiteY46" fmla="*/ 13180 h 66940"/>
                <a:gd name="connsiteX47" fmla="*/ 98075 w 110710"/>
                <a:gd name="connsiteY47" fmla="*/ 15599 h 66940"/>
                <a:gd name="connsiteX48" fmla="*/ 101894 w 110710"/>
                <a:gd name="connsiteY48" fmla="*/ 18209 h 66940"/>
                <a:gd name="connsiteX49" fmla="*/ 104672 w 110710"/>
                <a:gd name="connsiteY49" fmla="*/ 21324 h 66940"/>
                <a:gd name="connsiteX50" fmla="*/ 105369 w 110710"/>
                <a:gd name="connsiteY50" fmla="*/ 23392 h 66940"/>
                <a:gd name="connsiteX51" fmla="*/ 103624 w 110710"/>
                <a:gd name="connsiteY51" fmla="*/ 27724 h 66940"/>
                <a:gd name="connsiteX52" fmla="*/ 103624 w 110710"/>
                <a:gd name="connsiteY52" fmla="*/ 32577 h 66940"/>
                <a:gd name="connsiteX53" fmla="*/ 102591 w 110710"/>
                <a:gd name="connsiteY53" fmla="*/ 33273 h 66940"/>
                <a:gd name="connsiteX54" fmla="*/ 102591 w 110710"/>
                <a:gd name="connsiteY54" fmla="*/ 34145 h 66940"/>
                <a:gd name="connsiteX55" fmla="*/ 104672 w 110710"/>
                <a:gd name="connsiteY55" fmla="*/ 34145 h 66940"/>
                <a:gd name="connsiteX56" fmla="*/ 105369 w 110710"/>
                <a:gd name="connsiteY56" fmla="*/ 36572 h 66940"/>
                <a:gd name="connsiteX57" fmla="*/ 107957 w 110710"/>
                <a:gd name="connsiteY57" fmla="*/ 42276 h 66940"/>
                <a:gd name="connsiteX58" fmla="*/ 109863 w 110710"/>
                <a:gd name="connsiteY58" fmla="*/ 46453 h 66940"/>
                <a:gd name="connsiteX59" fmla="*/ 109891 w 110710"/>
                <a:gd name="connsiteY59" fmla="*/ 50244 h 66940"/>
                <a:gd name="connsiteX60" fmla="*/ 109863 w 110710"/>
                <a:gd name="connsiteY60" fmla="*/ 51461 h 66940"/>
                <a:gd name="connsiteX61" fmla="*/ 110348 w 110710"/>
                <a:gd name="connsiteY61" fmla="*/ 52481 h 66940"/>
                <a:gd name="connsiteX62" fmla="*/ 109863 w 110710"/>
                <a:gd name="connsiteY62" fmla="*/ 53887 h 66940"/>
                <a:gd name="connsiteX63" fmla="*/ 106403 w 110710"/>
                <a:gd name="connsiteY63" fmla="*/ 55793 h 66940"/>
                <a:gd name="connsiteX64" fmla="*/ 102591 w 110710"/>
                <a:gd name="connsiteY64" fmla="*/ 60822 h 66940"/>
                <a:gd name="connsiteX65" fmla="*/ 98075 w 110710"/>
                <a:gd name="connsiteY65" fmla="*/ 62911 h 66940"/>
                <a:gd name="connsiteX66" fmla="*/ 96029 w 110710"/>
                <a:gd name="connsiteY66" fmla="*/ 62489 h 66940"/>
                <a:gd name="connsiteX67" fmla="*/ 92371 w 110710"/>
                <a:gd name="connsiteY67" fmla="*/ 62911 h 66940"/>
                <a:gd name="connsiteX68" fmla="*/ 87680 w 110710"/>
                <a:gd name="connsiteY68" fmla="*/ 65850 h 66940"/>
                <a:gd name="connsiteX69" fmla="*/ 83538 w 110710"/>
                <a:gd name="connsiteY69" fmla="*/ 66941 h 66940"/>
                <a:gd name="connsiteX70" fmla="*/ 74557 w 110710"/>
                <a:gd name="connsiteY70" fmla="*/ 58360 h 66940"/>
                <a:gd name="connsiteX71" fmla="*/ 74557 w 110710"/>
                <a:gd name="connsiteY71" fmla="*/ 58360 h 66940"/>
                <a:gd name="connsiteX72" fmla="*/ 72595 w 110710"/>
                <a:gd name="connsiteY72" fmla="*/ 56307 h 66940"/>
                <a:gd name="connsiteX73" fmla="*/ 65041 w 110710"/>
                <a:gd name="connsiteY73" fmla="*/ 53149 h 66940"/>
                <a:gd name="connsiteX74" fmla="*/ 58205 w 110710"/>
                <a:gd name="connsiteY74" fmla="*/ 46573 h 66940"/>
                <a:gd name="connsiteX75" fmla="*/ 53373 w 110710"/>
                <a:gd name="connsiteY75" fmla="*/ 49175 h 66940"/>
                <a:gd name="connsiteX76" fmla="*/ 52361 w 110710"/>
                <a:gd name="connsiteY76" fmla="*/ 50230 h 66940"/>
                <a:gd name="connsiteX77" fmla="*/ 43590 w 110710"/>
                <a:gd name="connsiteY77" fmla="*/ 48408 h 66940"/>
                <a:gd name="connsiteX78" fmla="*/ 43358 w 110710"/>
                <a:gd name="connsiteY78" fmla="*/ 48282 h 66940"/>
                <a:gd name="connsiteX79" fmla="*/ 34419 w 110710"/>
                <a:gd name="connsiteY79" fmla="*/ 48071 h 66940"/>
                <a:gd name="connsiteX80" fmla="*/ 32879 w 110710"/>
                <a:gd name="connsiteY80" fmla="*/ 48282 h 66940"/>
                <a:gd name="connsiteX81" fmla="*/ 29559 w 110710"/>
                <a:gd name="connsiteY81" fmla="*/ 47881 h 66940"/>
                <a:gd name="connsiteX82" fmla="*/ 29559 w 110710"/>
                <a:gd name="connsiteY82" fmla="*/ 47881 h 66940"/>
                <a:gd name="connsiteX83" fmla="*/ 15803 w 110710"/>
                <a:gd name="connsiteY83" fmla="*/ 46573 h 66940"/>
                <a:gd name="connsiteX84" fmla="*/ 3277 w 110710"/>
                <a:gd name="connsiteY84" fmla="*/ 54478 h 66940"/>
                <a:gd name="connsiteX85" fmla="*/ 1575 w 110710"/>
                <a:gd name="connsiteY85" fmla="*/ 56060 h 66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10710" h="66940">
                  <a:moveTo>
                    <a:pt x="1575" y="56060"/>
                  </a:moveTo>
                  <a:cubicBezTo>
                    <a:pt x="696" y="53873"/>
                    <a:pt x="-78" y="51454"/>
                    <a:pt x="6" y="49555"/>
                  </a:cubicBezTo>
                  <a:cubicBezTo>
                    <a:pt x="42" y="48577"/>
                    <a:pt x="56" y="47410"/>
                    <a:pt x="70" y="46151"/>
                  </a:cubicBezTo>
                  <a:cubicBezTo>
                    <a:pt x="119" y="41825"/>
                    <a:pt x="182" y="36523"/>
                    <a:pt x="1399" y="35179"/>
                  </a:cubicBezTo>
                  <a:cubicBezTo>
                    <a:pt x="1905" y="34617"/>
                    <a:pt x="2517" y="34033"/>
                    <a:pt x="3122" y="33442"/>
                  </a:cubicBezTo>
                  <a:cubicBezTo>
                    <a:pt x="4374" y="32232"/>
                    <a:pt x="5633" y="31016"/>
                    <a:pt x="6090" y="29975"/>
                  </a:cubicBezTo>
                  <a:cubicBezTo>
                    <a:pt x="6378" y="29300"/>
                    <a:pt x="6512" y="27429"/>
                    <a:pt x="6660" y="25453"/>
                  </a:cubicBezTo>
                  <a:cubicBezTo>
                    <a:pt x="6850" y="22850"/>
                    <a:pt x="7053" y="20065"/>
                    <a:pt x="7637" y="19580"/>
                  </a:cubicBezTo>
                  <a:cubicBezTo>
                    <a:pt x="7905" y="19355"/>
                    <a:pt x="8158" y="19179"/>
                    <a:pt x="8390" y="19024"/>
                  </a:cubicBezTo>
                  <a:cubicBezTo>
                    <a:pt x="9065" y="18560"/>
                    <a:pt x="9543" y="18230"/>
                    <a:pt x="9543" y="17329"/>
                  </a:cubicBezTo>
                  <a:cubicBezTo>
                    <a:pt x="9543" y="16120"/>
                    <a:pt x="9726" y="13356"/>
                    <a:pt x="11456" y="13180"/>
                  </a:cubicBezTo>
                  <a:cubicBezTo>
                    <a:pt x="12096" y="13110"/>
                    <a:pt x="12772" y="13264"/>
                    <a:pt x="13447" y="13419"/>
                  </a:cubicBezTo>
                  <a:cubicBezTo>
                    <a:pt x="14586" y="13672"/>
                    <a:pt x="15739" y="13939"/>
                    <a:pt x="16822" y="13180"/>
                  </a:cubicBezTo>
                  <a:cubicBezTo>
                    <a:pt x="17034" y="13025"/>
                    <a:pt x="17322" y="12821"/>
                    <a:pt x="17652" y="12582"/>
                  </a:cubicBezTo>
                  <a:cubicBezTo>
                    <a:pt x="19973" y="10922"/>
                    <a:pt x="24615" y="7603"/>
                    <a:pt x="24615" y="8665"/>
                  </a:cubicBezTo>
                  <a:cubicBezTo>
                    <a:pt x="24615" y="9044"/>
                    <a:pt x="24531" y="9621"/>
                    <a:pt x="24439" y="10233"/>
                  </a:cubicBezTo>
                  <a:cubicBezTo>
                    <a:pt x="24235" y="11604"/>
                    <a:pt x="24010" y="13180"/>
                    <a:pt x="24615" y="13180"/>
                  </a:cubicBezTo>
                  <a:cubicBezTo>
                    <a:pt x="25487" y="13180"/>
                    <a:pt x="29285" y="16457"/>
                    <a:pt x="30157" y="17329"/>
                  </a:cubicBezTo>
                  <a:cubicBezTo>
                    <a:pt x="30854" y="18033"/>
                    <a:pt x="32408" y="19123"/>
                    <a:pt x="33097" y="19580"/>
                  </a:cubicBezTo>
                  <a:cubicBezTo>
                    <a:pt x="32809" y="20621"/>
                    <a:pt x="32401" y="22977"/>
                    <a:pt x="33097" y="24088"/>
                  </a:cubicBezTo>
                  <a:cubicBezTo>
                    <a:pt x="33406" y="24580"/>
                    <a:pt x="33653" y="25073"/>
                    <a:pt x="33885" y="25537"/>
                  </a:cubicBezTo>
                  <a:cubicBezTo>
                    <a:pt x="34314" y="26388"/>
                    <a:pt x="34700" y="27162"/>
                    <a:pt x="35361" y="27724"/>
                  </a:cubicBezTo>
                  <a:cubicBezTo>
                    <a:pt x="35565" y="27893"/>
                    <a:pt x="35777" y="28083"/>
                    <a:pt x="35995" y="28280"/>
                  </a:cubicBezTo>
                  <a:cubicBezTo>
                    <a:pt x="36909" y="29082"/>
                    <a:pt x="37922" y="29975"/>
                    <a:pt x="38484" y="29975"/>
                  </a:cubicBezTo>
                  <a:cubicBezTo>
                    <a:pt x="38752" y="29975"/>
                    <a:pt x="38991" y="30228"/>
                    <a:pt x="39237" y="30488"/>
                  </a:cubicBezTo>
                  <a:cubicBezTo>
                    <a:pt x="39645" y="30924"/>
                    <a:pt x="40088" y="31389"/>
                    <a:pt x="40735" y="30847"/>
                  </a:cubicBezTo>
                  <a:cubicBezTo>
                    <a:pt x="41325" y="30348"/>
                    <a:pt x="42156" y="30073"/>
                    <a:pt x="43175" y="29736"/>
                  </a:cubicBezTo>
                  <a:cubicBezTo>
                    <a:pt x="43935" y="29490"/>
                    <a:pt x="44807" y="29201"/>
                    <a:pt x="45763" y="28758"/>
                  </a:cubicBezTo>
                  <a:cubicBezTo>
                    <a:pt x="48007" y="27724"/>
                    <a:pt x="50806" y="25839"/>
                    <a:pt x="51488" y="24967"/>
                  </a:cubicBezTo>
                  <a:cubicBezTo>
                    <a:pt x="52164" y="24088"/>
                    <a:pt x="52339" y="23075"/>
                    <a:pt x="52515" y="21324"/>
                  </a:cubicBezTo>
                  <a:cubicBezTo>
                    <a:pt x="52635" y="20206"/>
                    <a:pt x="52600" y="19172"/>
                    <a:pt x="52565" y="17941"/>
                  </a:cubicBezTo>
                  <a:cubicBezTo>
                    <a:pt x="52543" y="17238"/>
                    <a:pt x="52515" y="16478"/>
                    <a:pt x="52515" y="15599"/>
                  </a:cubicBezTo>
                  <a:cubicBezTo>
                    <a:pt x="52515" y="14622"/>
                    <a:pt x="52459" y="13419"/>
                    <a:pt x="52403" y="12223"/>
                  </a:cubicBezTo>
                  <a:cubicBezTo>
                    <a:pt x="52318" y="10472"/>
                    <a:pt x="52234" y="8749"/>
                    <a:pt x="52339" y="7814"/>
                  </a:cubicBezTo>
                  <a:cubicBezTo>
                    <a:pt x="52410" y="7216"/>
                    <a:pt x="52248" y="6520"/>
                    <a:pt x="52100" y="5880"/>
                  </a:cubicBezTo>
                  <a:cubicBezTo>
                    <a:pt x="51861" y="4832"/>
                    <a:pt x="51657" y="3924"/>
                    <a:pt x="52515" y="3812"/>
                  </a:cubicBezTo>
                  <a:cubicBezTo>
                    <a:pt x="53296" y="3713"/>
                    <a:pt x="54766" y="3073"/>
                    <a:pt x="56158" y="2476"/>
                  </a:cubicBezTo>
                  <a:cubicBezTo>
                    <a:pt x="57256" y="1997"/>
                    <a:pt x="58303" y="1540"/>
                    <a:pt x="58915" y="1393"/>
                  </a:cubicBezTo>
                  <a:cubicBezTo>
                    <a:pt x="59366" y="1280"/>
                    <a:pt x="59963" y="1104"/>
                    <a:pt x="60617" y="907"/>
                  </a:cubicBezTo>
                  <a:cubicBezTo>
                    <a:pt x="62010" y="485"/>
                    <a:pt x="63642" y="0"/>
                    <a:pt x="64464" y="0"/>
                  </a:cubicBezTo>
                  <a:cubicBezTo>
                    <a:pt x="65674" y="0"/>
                    <a:pt x="68994" y="513"/>
                    <a:pt x="69852" y="1393"/>
                  </a:cubicBezTo>
                  <a:cubicBezTo>
                    <a:pt x="70703" y="2265"/>
                    <a:pt x="73987" y="4157"/>
                    <a:pt x="75556" y="4846"/>
                  </a:cubicBezTo>
                  <a:cubicBezTo>
                    <a:pt x="76815" y="5408"/>
                    <a:pt x="80014" y="9241"/>
                    <a:pt x="81456" y="11091"/>
                  </a:cubicBezTo>
                  <a:cubicBezTo>
                    <a:pt x="82209" y="12596"/>
                    <a:pt x="83946" y="15599"/>
                    <a:pt x="84917" y="15599"/>
                  </a:cubicBezTo>
                  <a:cubicBezTo>
                    <a:pt x="85578" y="15599"/>
                    <a:pt x="87111" y="14889"/>
                    <a:pt x="88510" y="14235"/>
                  </a:cubicBezTo>
                  <a:cubicBezTo>
                    <a:pt x="89685" y="13679"/>
                    <a:pt x="90768" y="13180"/>
                    <a:pt x="91162" y="13180"/>
                  </a:cubicBezTo>
                  <a:lnTo>
                    <a:pt x="94798" y="13180"/>
                  </a:lnTo>
                  <a:cubicBezTo>
                    <a:pt x="95600" y="13989"/>
                    <a:pt x="97379" y="15599"/>
                    <a:pt x="98075" y="15599"/>
                  </a:cubicBezTo>
                  <a:cubicBezTo>
                    <a:pt x="98779" y="15599"/>
                    <a:pt x="100910" y="17336"/>
                    <a:pt x="101894" y="18209"/>
                  </a:cubicBezTo>
                  <a:lnTo>
                    <a:pt x="104672" y="21324"/>
                  </a:lnTo>
                  <a:cubicBezTo>
                    <a:pt x="105137" y="21781"/>
                    <a:pt x="105924" y="22836"/>
                    <a:pt x="105369" y="23392"/>
                  </a:cubicBezTo>
                  <a:cubicBezTo>
                    <a:pt x="104813" y="23947"/>
                    <a:pt x="103976" y="26514"/>
                    <a:pt x="103624" y="27724"/>
                  </a:cubicBezTo>
                  <a:lnTo>
                    <a:pt x="103624" y="32577"/>
                  </a:lnTo>
                  <a:lnTo>
                    <a:pt x="102591" y="33273"/>
                  </a:lnTo>
                  <a:lnTo>
                    <a:pt x="102591" y="34145"/>
                  </a:lnTo>
                  <a:lnTo>
                    <a:pt x="104672" y="34145"/>
                  </a:lnTo>
                  <a:lnTo>
                    <a:pt x="105369" y="36572"/>
                  </a:lnTo>
                  <a:cubicBezTo>
                    <a:pt x="105938" y="38007"/>
                    <a:pt x="107253" y="41164"/>
                    <a:pt x="107957" y="42276"/>
                  </a:cubicBezTo>
                  <a:cubicBezTo>
                    <a:pt x="108829" y="43668"/>
                    <a:pt x="109687" y="45082"/>
                    <a:pt x="109863" y="46453"/>
                  </a:cubicBezTo>
                  <a:cubicBezTo>
                    <a:pt x="109989" y="47431"/>
                    <a:pt x="109933" y="49027"/>
                    <a:pt x="109891" y="50244"/>
                  </a:cubicBezTo>
                  <a:cubicBezTo>
                    <a:pt x="109877" y="50736"/>
                    <a:pt x="109863" y="51158"/>
                    <a:pt x="109863" y="51461"/>
                  </a:cubicBezTo>
                  <a:cubicBezTo>
                    <a:pt x="109863" y="51841"/>
                    <a:pt x="110116" y="52178"/>
                    <a:pt x="110348" y="52481"/>
                  </a:cubicBezTo>
                  <a:cubicBezTo>
                    <a:pt x="110749" y="53008"/>
                    <a:pt x="111073" y="53444"/>
                    <a:pt x="109863" y="53887"/>
                  </a:cubicBezTo>
                  <a:cubicBezTo>
                    <a:pt x="108337" y="54443"/>
                    <a:pt x="106923" y="55385"/>
                    <a:pt x="106403" y="55793"/>
                  </a:cubicBezTo>
                  <a:cubicBezTo>
                    <a:pt x="105362" y="57179"/>
                    <a:pt x="103146" y="60125"/>
                    <a:pt x="102591" y="60822"/>
                  </a:cubicBezTo>
                  <a:cubicBezTo>
                    <a:pt x="101894" y="61694"/>
                    <a:pt x="99967" y="62911"/>
                    <a:pt x="98075" y="62911"/>
                  </a:cubicBezTo>
                  <a:cubicBezTo>
                    <a:pt x="97449" y="62911"/>
                    <a:pt x="96739" y="62700"/>
                    <a:pt x="96029" y="62489"/>
                  </a:cubicBezTo>
                  <a:cubicBezTo>
                    <a:pt x="94608" y="62060"/>
                    <a:pt x="93181" y="61638"/>
                    <a:pt x="92371" y="62911"/>
                  </a:cubicBezTo>
                  <a:cubicBezTo>
                    <a:pt x="91162" y="64817"/>
                    <a:pt x="90445" y="65154"/>
                    <a:pt x="87680" y="65850"/>
                  </a:cubicBezTo>
                  <a:cubicBezTo>
                    <a:pt x="86661" y="66104"/>
                    <a:pt x="85120" y="66519"/>
                    <a:pt x="83538" y="66941"/>
                  </a:cubicBezTo>
                  <a:cubicBezTo>
                    <a:pt x="81934" y="66125"/>
                    <a:pt x="77405" y="61356"/>
                    <a:pt x="74557" y="58360"/>
                  </a:cubicBezTo>
                  <a:lnTo>
                    <a:pt x="74557" y="58360"/>
                  </a:lnTo>
                  <a:cubicBezTo>
                    <a:pt x="73713" y="57467"/>
                    <a:pt x="73024" y="56736"/>
                    <a:pt x="72595" y="56307"/>
                  </a:cubicBezTo>
                  <a:cubicBezTo>
                    <a:pt x="70647" y="54365"/>
                    <a:pt x="66251" y="52910"/>
                    <a:pt x="65041" y="53149"/>
                  </a:cubicBezTo>
                  <a:cubicBezTo>
                    <a:pt x="63831" y="53388"/>
                    <a:pt x="59436" y="48282"/>
                    <a:pt x="58205" y="46573"/>
                  </a:cubicBezTo>
                  <a:cubicBezTo>
                    <a:pt x="57171" y="45145"/>
                    <a:pt x="55146" y="47290"/>
                    <a:pt x="53373" y="49175"/>
                  </a:cubicBezTo>
                  <a:cubicBezTo>
                    <a:pt x="53022" y="49548"/>
                    <a:pt x="52677" y="49906"/>
                    <a:pt x="52361" y="50230"/>
                  </a:cubicBezTo>
                  <a:cubicBezTo>
                    <a:pt x="50462" y="52129"/>
                    <a:pt x="46706" y="50096"/>
                    <a:pt x="43590" y="48408"/>
                  </a:cubicBezTo>
                  <a:lnTo>
                    <a:pt x="43358" y="48282"/>
                  </a:lnTo>
                  <a:cubicBezTo>
                    <a:pt x="40925" y="46967"/>
                    <a:pt x="36768" y="47670"/>
                    <a:pt x="34419" y="48071"/>
                  </a:cubicBezTo>
                  <a:cubicBezTo>
                    <a:pt x="33709" y="48190"/>
                    <a:pt x="33160" y="48282"/>
                    <a:pt x="32879" y="48282"/>
                  </a:cubicBezTo>
                  <a:cubicBezTo>
                    <a:pt x="32499" y="48282"/>
                    <a:pt x="31261" y="48113"/>
                    <a:pt x="29559" y="47881"/>
                  </a:cubicBezTo>
                  <a:lnTo>
                    <a:pt x="29559" y="47881"/>
                  </a:lnTo>
                  <a:cubicBezTo>
                    <a:pt x="25818" y="47375"/>
                    <a:pt x="19840" y="46573"/>
                    <a:pt x="15803" y="46573"/>
                  </a:cubicBezTo>
                  <a:cubicBezTo>
                    <a:pt x="11463" y="46573"/>
                    <a:pt x="6202" y="51651"/>
                    <a:pt x="3277" y="54478"/>
                  </a:cubicBezTo>
                  <a:cubicBezTo>
                    <a:pt x="2552" y="55181"/>
                    <a:pt x="1969" y="55744"/>
                    <a:pt x="1575" y="5606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9" name="Freihandform: Form 254">
              <a:extLst>
                <a:ext uri="{FF2B5EF4-FFF2-40B4-BE49-F238E27FC236}">
                  <a16:creationId xmlns:a16="http://schemas.microsoft.com/office/drawing/2014/main" id="{359D1A92-7A7D-1E46-A224-EC79A081E7EA}"/>
                </a:ext>
              </a:extLst>
            </p:cNvPr>
            <p:cNvSpPr/>
            <p:nvPr/>
          </p:nvSpPr>
          <p:spPr>
            <a:xfrm>
              <a:off x="6493622" y="3352359"/>
              <a:ext cx="95466" cy="62760"/>
            </a:xfrm>
            <a:custGeom>
              <a:avLst/>
              <a:gdLst>
                <a:gd name="connsiteX0" fmla="*/ 83968 w 95466"/>
                <a:gd name="connsiteY0" fmla="*/ 62472 h 62760"/>
                <a:gd name="connsiteX1" fmla="*/ 85409 w 95466"/>
                <a:gd name="connsiteY1" fmla="*/ 58611 h 62760"/>
                <a:gd name="connsiteX2" fmla="*/ 89840 w 95466"/>
                <a:gd name="connsiteY2" fmla="*/ 52943 h 62760"/>
                <a:gd name="connsiteX3" fmla="*/ 90255 w 95466"/>
                <a:gd name="connsiteY3" fmla="*/ 52549 h 62760"/>
                <a:gd name="connsiteX4" fmla="*/ 90255 w 95466"/>
                <a:gd name="connsiteY4" fmla="*/ 46465 h 62760"/>
                <a:gd name="connsiteX5" fmla="*/ 88659 w 95466"/>
                <a:gd name="connsiteY5" fmla="*/ 45016 h 62760"/>
                <a:gd name="connsiteX6" fmla="*/ 88659 w 95466"/>
                <a:gd name="connsiteY6" fmla="*/ 45016 h 62760"/>
                <a:gd name="connsiteX7" fmla="*/ 87161 w 95466"/>
                <a:gd name="connsiteY7" fmla="*/ 42667 h 62760"/>
                <a:gd name="connsiteX8" fmla="*/ 87119 w 95466"/>
                <a:gd name="connsiteY8" fmla="*/ 39320 h 62760"/>
                <a:gd name="connsiteX9" fmla="*/ 87119 w 95466"/>
                <a:gd name="connsiteY9" fmla="*/ 39320 h 62760"/>
                <a:gd name="connsiteX10" fmla="*/ 87119 w 95466"/>
                <a:gd name="connsiteY10" fmla="*/ 39320 h 62760"/>
                <a:gd name="connsiteX11" fmla="*/ 87119 w 95466"/>
                <a:gd name="connsiteY11" fmla="*/ 39320 h 62760"/>
                <a:gd name="connsiteX12" fmla="*/ 87161 w 95466"/>
                <a:gd name="connsiteY12" fmla="*/ 37976 h 62760"/>
                <a:gd name="connsiteX13" fmla="*/ 87161 w 95466"/>
                <a:gd name="connsiteY13" fmla="*/ 34003 h 62760"/>
                <a:gd name="connsiteX14" fmla="*/ 86317 w 95466"/>
                <a:gd name="connsiteY14" fmla="*/ 31527 h 62760"/>
                <a:gd name="connsiteX15" fmla="*/ 85409 w 95466"/>
                <a:gd name="connsiteY15" fmla="*/ 28798 h 62760"/>
                <a:gd name="connsiteX16" fmla="*/ 85001 w 95466"/>
                <a:gd name="connsiteY16" fmla="*/ 26850 h 62760"/>
                <a:gd name="connsiteX17" fmla="*/ 85409 w 95466"/>
                <a:gd name="connsiteY17" fmla="*/ 23608 h 62760"/>
                <a:gd name="connsiteX18" fmla="*/ 90255 w 95466"/>
                <a:gd name="connsiteY18" fmla="*/ 17187 h 62760"/>
                <a:gd name="connsiteX19" fmla="*/ 91486 w 95466"/>
                <a:gd name="connsiteY19" fmla="*/ 14057 h 62760"/>
                <a:gd name="connsiteX20" fmla="*/ 92344 w 95466"/>
                <a:gd name="connsiteY20" fmla="*/ 12517 h 62760"/>
                <a:gd name="connsiteX21" fmla="*/ 94433 w 95466"/>
                <a:gd name="connsiteY21" fmla="*/ 8881 h 62760"/>
                <a:gd name="connsiteX22" fmla="*/ 94433 w 95466"/>
                <a:gd name="connsiteY22" fmla="*/ 8881 h 62760"/>
                <a:gd name="connsiteX23" fmla="*/ 95467 w 95466"/>
                <a:gd name="connsiteY23" fmla="*/ 4886 h 62760"/>
                <a:gd name="connsiteX24" fmla="*/ 90255 w 95466"/>
                <a:gd name="connsiteY24" fmla="*/ 6271 h 62760"/>
                <a:gd name="connsiteX25" fmla="*/ 81077 w 95466"/>
                <a:gd name="connsiteY25" fmla="*/ 4886 h 62760"/>
                <a:gd name="connsiteX26" fmla="*/ 70682 w 95466"/>
                <a:gd name="connsiteY26" fmla="*/ 1426 h 62760"/>
                <a:gd name="connsiteX27" fmla="*/ 60126 w 95466"/>
                <a:gd name="connsiteY27" fmla="*/ 33 h 62760"/>
                <a:gd name="connsiteX28" fmla="*/ 58663 w 95466"/>
                <a:gd name="connsiteY28" fmla="*/ 1144 h 62760"/>
                <a:gd name="connsiteX29" fmla="*/ 55434 w 95466"/>
                <a:gd name="connsiteY29" fmla="*/ 3156 h 62760"/>
                <a:gd name="connsiteX30" fmla="*/ 49892 w 95466"/>
                <a:gd name="connsiteY30" fmla="*/ 3156 h 62760"/>
                <a:gd name="connsiteX31" fmla="*/ 45553 w 95466"/>
                <a:gd name="connsiteY31" fmla="*/ 1426 h 62760"/>
                <a:gd name="connsiteX32" fmla="*/ 45553 w 95466"/>
                <a:gd name="connsiteY32" fmla="*/ 4886 h 62760"/>
                <a:gd name="connsiteX33" fmla="*/ 38977 w 95466"/>
                <a:gd name="connsiteY33" fmla="*/ 4886 h 62760"/>
                <a:gd name="connsiteX34" fmla="*/ 36909 w 95466"/>
                <a:gd name="connsiteY34" fmla="*/ 6271 h 62760"/>
                <a:gd name="connsiteX35" fmla="*/ 33611 w 95466"/>
                <a:gd name="connsiteY35" fmla="*/ 8881 h 62760"/>
                <a:gd name="connsiteX36" fmla="*/ 33611 w 95466"/>
                <a:gd name="connsiteY36" fmla="*/ 10090 h 62760"/>
                <a:gd name="connsiteX37" fmla="*/ 28941 w 95466"/>
                <a:gd name="connsiteY37" fmla="*/ 10090 h 62760"/>
                <a:gd name="connsiteX38" fmla="*/ 24763 w 95466"/>
                <a:gd name="connsiteY38" fmla="*/ 12517 h 62760"/>
                <a:gd name="connsiteX39" fmla="*/ 24763 w 95466"/>
                <a:gd name="connsiteY39" fmla="*/ 15281 h 62760"/>
                <a:gd name="connsiteX40" fmla="*/ 24763 w 95466"/>
                <a:gd name="connsiteY40" fmla="*/ 17187 h 62760"/>
                <a:gd name="connsiteX41" fmla="*/ 26676 w 95466"/>
                <a:gd name="connsiteY41" fmla="*/ 19093 h 62760"/>
                <a:gd name="connsiteX42" fmla="*/ 24763 w 95466"/>
                <a:gd name="connsiteY42" fmla="*/ 21006 h 62760"/>
                <a:gd name="connsiteX43" fmla="*/ 24763 w 95466"/>
                <a:gd name="connsiteY43" fmla="*/ 24818 h 62760"/>
                <a:gd name="connsiteX44" fmla="*/ 28941 w 95466"/>
                <a:gd name="connsiteY44" fmla="*/ 26372 h 62760"/>
                <a:gd name="connsiteX45" fmla="*/ 24763 w 95466"/>
                <a:gd name="connsiteY45" fmla="*/ 28798 h 62760"/>
                <a:gd name="connsiteX46" fmla="*/ 26676 w 95466"/>
                <a:gd name="connsiteY46" fmla="*/ 32793 h 62760"/>
                <a:gd name="connsiteX47" fmla="*/ 28941 w 95466"/>
                <a:gd name="connsiteY47" fmla="*/ 37976 h 62760"/>
                <a:gd name="connsiteX48" fmla="*/ 34645 w 95466"/>
                <a:gd name="connsiteY48" fmla="*/ 40937 h 62760"/>
                <a:gd name="connsiteX49" fmla="*/ 38977 w 95466"/>
                <a:gd name="connsiteY49" fmla="*/ 37976 h 62760"/>
                <a:gd name="connsiteX50" fmla="*/ 40545 w 95466"/>
                <a:gd name="connsiteY50" fmla="*/ 37976 h 62760"/>
                <a:gd name="connsiteX51" fmla="*/ 40545 w 95466"/>
                <a:gd name="connsiteY51" fmla="*/ 40937 h 62760"/>
                <a:gd name="connsiteX52" fmla="*/ 38977 w 95466"/>
                <a:gd name="connsiteY52" fmla="*/ 44735 h 62760"/>
                <a:gd name="connsiteX53" fmla="*/ 38977 w 95466"/>
                <a:gd name="connsiteY53" fmla="*/ 48371 h 62760"/>
                <a:gd name="connsiteX54" fmla="*/ 39723 w 95466"/>
                <a:gd name="connsiteY54" fmla="*/ 50847 h 62760"/>
                <a:gd name="connsiteX55" fmla="*/ 42789 w 95466"/>
                <a:gd name="connsiteY55" fmla="*/ 49637 h 62760"/>
                <a:gd name="connsiteX56" fmla="*/ 42789 w 95466"/>
                <a:gd name="connsiteY56" fmla="*/ 49637 h 62760"/>
                <a:gd name="connsiteX57" fmla="*/ 45553 w 95466"/>
                <a:gd name="connsiteY57" fmla="*/ 48554 h 62760"/>
                <a:gd name="connsiteX58" fmla="*/ 47255 w 95466"/>
                <a:gd name="connsiteY58" fmla="*/ 48069 h 62760"/>
                <a:gd name="connsiteX59" fmla="*/ 47255 w 95466"/>
                <a:gd name="connsiteY59" fmla="*/ 48069 h 62760"/>
                <a:gd name="connsiteX60" fmla="*/ 51102 w 95466"/>
                <a:gd name="connsiteY60" fmla="*/ 47162 h 62760"/>
                <a:gd name="connsiteX61" fmla="*/ 56489 w 95466"/>
                <a:gd name="connsiteY61" fmla="*/ 48554 h 62760"/>
                <a:gd name="connsiteX62" fmla="*/ 62193 w 95466"/>
                <a:gd name="connsiteY62" fmla="*/ 52007 h 62760"/>
                <a:gd name="connsiteX63" fmla="*/ 68094 w 95466"/>
                <a:gd name="connsiteY63" fmla="*/ 58253 h 62760"/>
                <a:gd name="connsiteX64" fmla="*/ 71554 w 95466"/>
                <a:gd name="connsiteY64" fmla="*/ 62761 h 62760"/>
                <a:gd name="connsiteX65" fmla="*/ 75148 w 95466"/>
                <a:gd name="connsiteY65" fmla="*/ 61396 h 62760"/>
                <a:gd name="connsiteX66" fmla="*/ 77793 w 95466"/>
                <a:gd name="connsiteY66" fmla="*/ 60341 h 62760"/>
                <a:gd name="connsiteX67" fmla="*/ 81436 w 95466"/>
                <a:gd name="connsiteY67" fmla="*/ 60341 h 62760"/>
                <a:gd name="connsiteX68" fmla="*/ 83968 w 95466"/>
                <a:gd name="connsiteY68" fmla="*/ 62472 h 62760"/>
                <a:gd name="connsiteX69" fmla="*/ 14214 w 95466"/>
                <a:gd name="connsiteY69" fmla="*/ 19093 h 62760"/>
                <a:gd name="connsiteX70" fmla="*/ 11429 w 95466"/>
                <a:gd name="connsiteY70" fmla="*/ 16153 h 62760"/>
                <a:gd name="connsiteX71" fmla="*/ 9340 w 95466"/>
                <a:gd name="connsiteY71" fmla="*/ 20126 h 62760"/>
                <a:gd name="connsiteX72" fmla="*/ 3636 w 95466"/>
                <a:gd name="connsiteY72" fmla="*/ 21006 h 62760"/>
                <a:gd name="connsiteX73" fmla="*/ 9340 w 95466"/>
                <a:gd name="connsiteY73" fmla="*/ 22215 h 62760"/>
                <a:gd name="connsiteX74" fmla="*/ 9340 w 95466"/>
                <a:gd name="connsiteY74" fmla="*/ 26372 h 62760"/>
                <a:gd name="connsiteX75" fmla="*/ 12125 w 95466"/>
                <a:gd name="connsiteY75" fmla="*/ 28798 h 62760"/>
                <a:gd name="connsiteX76" fmla="*/ 12125 w 95466"/>
                <a:gd name="connsiteY76" fmla="*/ 25676 h 62760"/>
                <a:gd name="connsiteX77" fmla="*/ 16633 w 95466"/>
                <a:gd name="connsiteY77" fmla="*/ 23608 h 62760"/>
                <a:gd name="connsiteX78" fmla="*/ 18525 w 95466"/>
                <a:gd name="connsiteY78" fmla="*/ 21006 h 62760"/>
                <a:gd name="connsiteX79" fmla="*/ 16633 w 95466"/>
                <a:gd name="connsiteY79" fmla="*/ 21006 h 62760"/>
                <a:gd name="connsiteX80" fmla="*/ 14214 w 95466"/>
                <a:gd name="connsiteY80" fmla="*/ 19093 h 62760"/>
                <a:gd name="connsiteX81" fmla="*/ 16633 w 95466"/>
                <a:gd name="connsiteY81" fmla="*/ 30521 h 62760"/>
                <a:gd name="connsiteX82" fmla="*/ 11429 w 95466"/>
                <a:gd name="connsiteY82" fmla="*/ 30521 h 62760"/>
                <a:gd name="connsiteX83" fmla="*/ 7455 w 95466"/>
                <a:gd name="connsiteY83" fmla="*/ 32793 h 62760"/>
                <a:gd name="connsiteX84" fmla="*/ 5880 w 95466"/>
                <a:gd name="connsiteY84" fmla="*/ 34003 h 62760"/>
                <a:gd name="connsiteX85" fmla="*/ 3636 w 95466"/>
                <a:gd name="connsiteY85" fmla="*/ 36070 h 62760"/>
                <a:gd name="connsiteX86" fmla="*/ 1547 w 95466"/>
                <a:gd name="connsiteY86" fmla="*/ 32793 h 62760"/>
                <a:gd name="connsiteX87" fmla="*/ 2068 w 95466"/>
                <a:gd name="connsiteY87" fmla="*/ 37125 h 62760"/>
                <a:gd name="connsiteX88" fmla="*/ 0 w 95466"/>
                <a:gd name="connsiteY88" fmla="*/ 39193 h 62760"/>
                <a:gd name="connsiteX89" fmla="*/ 3636 w 95466"/>
                <a:gd name="connsiteY89" fmla="*/ 42667 h 62760"/>
                <a:gd name="connsiteX90" fmla="*/ 3636 w 95466"/>
                <a:gd name="connsiteY90" fmla="*/ 44735 h 62760"/>
                <a:gd name="connsiteX91" fmla="*/ 2068 w 95466"/>
                <a:gd name="connsiteY91" fmla="*/ 49764 h 62760"/>
                <a:gd name="connsiteX92" fmla="*/ 3636 w 95466"/>
                <a:gd name="connsiteY92" fmla="*/ 49764 h 62760"/>
                <a:gd name="connsiteX93" fmla="*/ 7455 w 95466"/>
                <a:gd name="connsiteY93" fmla="*/ 43701 h 62760"/>
                <a:gd name="connsiteX94" fmla="*/ 11429 w 95466"/>
                <a:gd name="connsiteY94" fmla="*/ 40937 h 62760"/>
                <a:gd name="connsiteX95" fmla="*/ 16633 w 95466"/>
                <a:gd name="connsiteY95" fmla="*/ 37125 h 62760"/>
                <a:gd name="connsiteX96" fmla="*/ 19735 w 95466"/>
                <a:gd name="connsiteY96" fmla="*/ 36070 h 62760"/>
                <a:gd name="connsiteX97" fmla="*/ 21486 w 95466"/>
                <a:gd name="connsiteY97" fmla="*/ 34003 h 62760"/>
                <a:gd name="connsiteX98" fmla="*/ 16633 w 95466"/>
                <a:gd name="connsiteY98" fmla="*/ 30521 h 6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95466" h="62760">
                  <a:moveTo>
                    <a:pt x="83968" y="62472"/>
                  </a:moveTo>
                  <a:cubicBezTo>
                    <a:pt x="84418" y="61101"/>
                    <a:pt x="84924" y="59701"/>
                    <a:pt x="85409" y="58611"/>
                  </a:cubicBezTo>
                  <a:cubicBezTo>
                    <a:pt x="86598" y="55939"/>
                    <a:pt x="88792" y="53913"/>
                    <a:pt x="89840" y="52943"/>
                  </a:cubicBezTo>
                  <a:cubicBezTo>
                    <a:pt x="90016" y="52781"/>
                    <a:pt x="90157" y="52647"/>
                    <a:pt x="90255" y="52549"/>
                  </a:cubicBezTo>
                  <a:cubicBezTo>
                    <a:pt x="90951" y="51853"/>
                    <a:pt x="91985" y="48350"/>
                    <a:pt x="90255" y="46465"/>
                  </a:cubicBezTo>
                  <a:cubicBezTo>
                    <a:pt x="89650" y="45804"/>
                    <a:pt x="89116" y="45375"/>
                    <a:pt x="88659" y="45016"/>
                  </a:cubicBezTo>
                  <a:lnTo>
                    <a:pt x="88659" y="45016"/>
                  </a:lnTo>
                  <a:cubicBezTo>
                    <a:pt x="87822" y="44341"/>
                    <a:pt x="87273" y="43912"/>
                    <a:pt x="87161" y="42667"/>
                  </a:cubicBezTo>
                  <a:cubicBezTo>
                    <a:pt x="87034" y="41366"/>
                    <a:pt x="87083" y="40297"/>
                    <a:pt x="87119" y="39320"/>
                  </a:cubicBezTo>
                  <a:lnTo>
                    <a:pt x="87119" y="39320"/>
                  </a:lnTo>
                  <a:lnTo>
                    <a:pt x="87119" y="39320"/>
                  </a:lnTo>
                  <a:lnTo>
                    <a:pt x="87119" y="39320"/>
                  </a:lnTo>
                  <a:cubicBezTo>
                    <a:pt x="87139" y="38855"/>
                    <a:pt x="87161" y="38412"/>
                    <a:pt x="87161" y="37976"/>
                  </a:cubicBezTo>
                  <a:lnTo>
                    <a:pt x="87161" y="34003"/>
                  </a:lnTo>
                  <a:cubicBezTo>
                    <a:pt x="87161" y="33159"/>
                    <a:pt x="86739" y="32357"/>
                    <a:pt x="86317" y="31527"/>
                  </a:cubicBezTo>
                  <a:cubicBezTo>
                    <a:pt x="85866" y="30662"/>
                    <a:pt x="85409" y="29776"/>
                    <a:pt x="85409" y="28798"/>
                  </a:cubicBezTo>
                  <a:cubicBezTo>
                    <a:pt x="85409" y="28137"/>
                    <a:pt x="85199" y="27483"/>
                    <a:pt x="85001" y="26850"/>
                  </a:cubicBezTo>
                  <a:cubicBezTo>
                    <a:pt x="84622" y="25647"/>
                    <a:pt x="84263" y="24522"/>
                    <a:pt x="85409" y="23608"/>
                  </a:cubicBezTo>
                  <a:cubicBezTo>
                    <a:pt x="87161" y="22215"/>
                    <a:pt x="90255" y="18917"/>
                    <a:pt x="90255" y="17187"/>
                  </a:cubicBezTo>
                  <a:cubicBezTo>
                    <a:pt x="90255" y="16040"/>
                    <a:pt x="90874" y="15049"/>
                    <a:pt x="91486" y="14057"/>
                  </a:cubicBezTo>
                  <a:cubicBezTo>
                    <a:pt x="91795" y="13551"/>
                    <a:pt x="92112" y="13044"/>
                    <a:pt x="92344" y="12517"/>
                  </a:cubicBezTo>
                  <a:cubicBezTo>
                    <a:pt x="93040" y="10948"/>
                    <a:pt x="93736" y="9914"/>
                    <a:pt x="94433" y="8881"/>
                  </a:cubicBezTo>
                  <a:lnTo>
                    <a:pt x="94433" y="8881"/>
                  </a:lnTo>
                  <a:cubicBezTo>
                    <a:pt x="94988" y="8051"/>
                    <a:pt x="95354" y="5870"/>
                    <a:pt x="95467" y="4886"/>
                  </a:cubicBezTo>
                  <a:cubicBezTo>
                    <a:pt x="94764" y="5406"/>
                    <a:pt x="92738" y="6419"/>
                    <a:pt x="90255" y="6271"/>
                  </a:cubicBezTo>
                  <a:cubicBezTo>
                    <a:pt x="87780" y="6131"/>
                    <a:pt x="83103" y="5287"/>
                    <a:pt x="81077" y="4886"/>
                  </a:cubicBezTo>
                  <a:cubicBezTo>
                    <a:pt x="78995" y="4077"/>
                    <a:pt x="74002" y="2248"/>
                    <a:pt x="70682" y="1426"/>
                  </a:cubicBezTo>
                  <a:cubicBezTo>
                    <a:pt x="66526" y="392"/>
                    <a:pt x="60998" y="-143"/>
                    <a:pt x="60126" y="33"/>
                  </a:cubicBezTo>
                  <a:cubicBezTo>
                    <a:pt x="59788" y="103"/>
                    <a:pt x="59268" y="582"/>
                    <a:pt x="58663" y="1144"/>
                  </a:cubicBezTo>
                  <a:cubicBezTo>
                    <a:pt x="57692" y="2044"/>
                    <a:pt x="56497" y="3156"/>
                    <a:pt x="55434" y="3156"/>
                  </a:cubicBezTo>
                  <a:lnTo>
                    <a:pt x="49892" y="3156"/>
                  </a:lnTo>
                  <a:cubicBezTo>
                    <a:pt x="48233" y="3156"/>
                    <a:pt x="46313" y="2002"/>
                    <a:pt x="45553" y="1426"/>
                  </a:cubicBezTo>
                  <a:lnTo>
                    <a:pt x="45553" y="4886"/>
                  </a:lnTo>
                  <a:lnTo>
                    <a:pt x="38977" y="4886"/>
                  </a:lnTo>
                  <a:cubicBezTo>
                    <a:pt x="38640" y="5005"/>
                    <a:pt x="37754" y="5448"/>
                    <a:pt x="36909" y="6271"/>
                  </a:cubicBezTo>
                  <a:cubicBezTo>
                    <a:pt x="36065" y="7101"/>
                    <a:pt x="34357" y="8353"/>
                    <a:pt x="33611" y="8881"/>
                  </a:cubicBezTo>
                  <a:lnTo>
                    <a:pt x="33611" y="10090"/>
                  </a:lnTo>
                  <a:lnTo>
                    <a:pt x="28941" y="10090"/>
                  </a:lnTo>
                  <a:lnTo>
                    <a:pt x="24763" y="12517"/>
                  </a:lnTo>
                  <a:lnTo>
                    <a:pt x="24763" y="15281"/>
                  </a:lnTo>
                  <a:lnTo>
                    <a:pt x="24763" y="17187"/>
                  </a:lnTo>
                  <a:lnTo>
                    <a:pt x="26676" y="19093"/>
                  </a:lnTo>
                  <a:lnTo>
                    <a:pt x="24763" y="21006"/>
                  </a:lnTo>
                  <a:lnTo>
                    <a:pt x="24763" y="24818"/>
                  </a:lnTo>
                  <a:lnTo>
                    <a:pt x="28941" y="26372"/>
                  </a:lnTo>
                  <a:lnTo>
                    <a:pt x="24763" y="28798"/>
                  </a:lnTo>
                  <a:lnTo>
                    <a:pt x="26676" y="32793"/>
                  </a:lnTo>
                  <a:lnTo>
                    <a:pt x="28941" y="37976"/>
                  </a:lnTo>
                  <a:cubicBezTo>
                    <a:pt x="30495" y="39200"/>
                    <a:pt x="33815" y="41493"/>
                    <a:pt x="34645" y="40937"/>
                  </a:cubicBezTo>
                  <a:cubicBezTo>
                    <a:pt x="35468" y="40382"/>
                    <a:pt x="37880" y="38736"/>
                    <a:pt x="38977" y="37976"/>
                  </a:cubicBezTo>
                  <a:lnTo>
                    <a:pt x="40545" y="37976"/>
                  </a:lnTo>
                  <a:lnTo>
                    <a:pt x="40545" y="40937"/>
                  </a:lnTo>
                  <a:lnTo>
                    <a:pt x="38977" y="44735"/>
                  </a:lnTo>
                  <a:lnTo>
                    <a:pt x="38977" y="48371"/>
                  </a:lnTo>
                  <a:lnTo>
                    <a:pt x="39723" y="50847"/>
                  </a:lnTo>
                  <a:cubicBezTo>
                    <a:pt x="40539" y="50615"/>
                    <a:pt x="41692" y="50115"/>
                    <a:pt x="42789" y="49637"/>
                  </a:cubicBezTo>
                  <a:lnTo>
                    <a:pt x="42789" y="49637"/>
                  </a:lnTo>
                  <a:cubicBezTo>
                    <a:pt x="43893" y="49159"/>
                    <a:pt x="44941" y="48702"/>
                    <a:pt x="45553" y="48554"/>
                  </a:cubicBezTo>
                  <a:cubicBezTo>
                    <a:pt x="45996" y="48442"/>
                    <a:pt x="46601" y="48266"/>
                    <a:pt x="47255" y="48069"/>
                  </a:cubicBezTo>
                  <a:lnTo>
                    <a:pt x="47255" y="48069"/>
                  </a:lnTo>
                  <a:cubicBezTo>
                    <a:pt x="48648" y="47647"/>
                    <a:pt x="50272" y="47162"/>
                    <a:pt x="51102" y="47162"/>
                  </a:cubicBezTo>
                  <a:cubicBezTo>
                    <a:pt x="52312" y="47162"/>
                    <a:pt x="55632" y="47675"/>
                    <a:pt x="56489" y="48554"/>
                  </a:cubicBezTo>
                  <a:cubicBezTo>
                    <a:pt x="57340" y="49426"/>
                    <a:pt x="60625" y="51318"/>
                    <a:pt x="62193" y="52007"/>
                  </a:cubicBezTo>
                  <a:cubicBezTo>
                    <a:pt x="63452" y="52570"/>
                    <a:pt x="66652" y="56403"/>
                    <a:pt x="68094" y="58253"/>
                  </a:cubicBezTo>
                  <a:cubicBezTo>
                    <a:pt x="68847" y="59758"/>
                    <a:pt x="70584" y="62761"/>
                    <a:pt x="71554" y="62761"/>
                  </a:cubicBezTo>
                  <a:cubicBezTo>
                    <a:pt x="72216" y="62761"/>
                    <a:pt x="73749" y="62051"/>
                    <a:pt x="75148" y="61396"/>
                  </a:cubicBezTo>
                  <a:cubicBezTo>
                    <a:pt x="76323" y="60841"/>
                    <a:pt x="77406" y="60341"/>
                    <a:pt x="77793" y="60341"/>
                  </a:cubicBezTo>
                  <a:lnTo>
                    <a:pt x="81436" y="60341"/>
                  </a:lnTo>
                  <a:cubicBezTo>
                    <a:pt x="82020" y="60932"/>
                    <a:pt x="83138" y="61966"/>
                    <a:pt x="83968" y="62472"/>
                  </a:cubicBezTo>
                  <a:close/>
                  <a:moveTo>
                    <a:pt x="14214" y="19093"/>
                  </a:moveTo>
                  <a:lnTo>
                    <a:pt x="11429" y="16153"/>
                  </a:lnTo>
                  <a:lnTo>
                    <a:pt x="9340" y="20126"/>
                  </a:lnTo>
                  <a:lnTo>
                    <a:pt x="3636" y="21006"/>
                  </a:lnTo>
                  <a:lnTo>
                    <a:pt x="9340" y="22215"/>
                  </a:lnTo>
                  <a:lnTo>
                    <a:pt x="9340" y="26372"/>
                  </a:lnTo>
                  <a:lnTo>
                    <a:pt x="12125" y="28798"/>
                  </a:lnTo>
                  <a:lnTo>
                    <a:pt x="12125" y="25676"/>
                  </a:lnTo>
                  <a:lnTo>
                    <a:pt x="16633" y="23608"/>
                  </a:lnTo>
                  <a:lnTo>
                    <a:pt x="18525" y="21006"/>
                  </a:lnTo>
                  <a:lnTo>
                    <a:pt x="16633" y="21006"/>
                  </a:lnTo>
                  <a:lnTo>
                    <a:pt x="14214" y="19093"/>
                  </a:lnTo>
                  <a:close/>
                  <a:moveTo>
                    <a:pt x="16633" y="30521"/>
                  </a:moveTo>
                  <a:lnTo>
                    <a:pt x="11429" y="30521"/>
                  </a:lnTo>
                  <a:lnTo>
                    <a:pt x="7455" y="32793"/>
                  </a:lnTo>
                  <a:lnTo>
                    <a:pt x="5880" y="34003"/>
                  </a:lnTo>
                  <a:lnTo>
                    <a:pt x="3636" y="36070"/>
                  </a:lnTo>
                  <a:lnTo>
                    <a:pt x="1547" y="32793"/>
                  </a:lnTo>
                  <a:lnTo>
                    <a:pt x="2068" y="37125"/>
                  </a:lnTo>
                  <a:lnTo>
                    <a:pt x="0" y="39193"/>
                  </a:lnTo>
                  <a:lnTo>
                    <a:pt x="3636" y="42667"/>
                  </a:lnTo>
                  <a:lnTo>
                    <a:pt x="3636" y="44735"/>
                  </a:lnTo>
                  <a:lnTo>
                    <a:pt x="2068" y="49764"/>
                  </a:lnTo>
                  <a:lnTo>
                    <a:pt x="3636" y="49764"/>
                  </a:lnTo>
                  <a:lnTo>
                    <a:pt x="7455" y="43701"/>
                  </a:lnTo>
                  <a:lnTo>
                    <a:pt x="11429" y="40937"/>
                  </a:lnTo>
                  <a:lnTo>
                    <a:pt x="16633" y="37125"/>
                  </a:lnTo>
                  <a:cubicBezTo>
                    <a:pt x="17379" y="36774"/>
                    <a:pt x="19038" y="36070"/>
                    <a:pt x="19735" y="36070"/>
                  </a:cubicBezTo>
                  <a:cubicBezTo>
                    <a:pt x="20438" y="36070"/>
                    <a:pt x="21191" y="34692"/>
                    <a:pt x="21486" y="34003"/>
                  </a:cubicBezTo>
                  <a:lnTo>
                    <a:pt x="16633" y="3052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0" name="Freihandform: Form 255">
              <a:extLst>
                <a:ext uri="{FF2B5EF4-FFF2-40B4-BE49-F238E27FC236}">
                  <a16:creationId xmlns:a16="http://schemas.microsoft.com/office/drawing/2014/main" id="{D426F2B3-7D0A-8E4C-B781-A7521ABFD12A}"/>
                </a:ext>
              </a:extLst>
            </p:cNvPr>
            <p:cNvSpPr/>
            <p:nvPr/>
          </p:nvSpPr>
          <p:spPr>
            <a:xfrm>
              <a:off x="6420555" y="3617750"/>
              <a:ext cx="88799" cy="52289"/>
            </a:xfrm>
            <a:custGeom>
              <a:avLst/>
              <a:gdLst>
                <a:gd name="connsiteX0" fmla="*/ 17941 w 88799"/>
                <a:gd name="connsiteY0" fmla="*/ 0 h 52289"/>
                <a:gd name="connsiteX1" fmla="*/ 17941 w 88799"/>
                <a:gd name="connsiteY1" fmla="*/ 0 h 52289"/>
                <a:gd name="connsiteX2" fmla="*/ 21845 w 88799"/>
                <a:gd name="connsiteY2" fmla="*/ 0 h 52289"/>
                <a:gd name="connsiteX3" fmla="*/ 27113 w 88799"/>
                <a:gd name="connsiteY3" fmla="*/ 3017 h 52289"/>
                <a:gd name="connsiteX4" fmla="*/ 30214 w 88799"/>
                <a:gd name="connsiteY4" fmla="*/ 7990 h 52289"/>
                <a:gd name="connsiteX5" fmla="*/ 29651 w 88799"/>
                <a:gd name="connsiteY5" fmla="*/ 9628 h 52289"/>
                <a:gd name="connsiteX6" fmla="*/ 27113 w 88799"/>
                <a:gd name="connsiteY6" fmla="*/ 12041 h 52289"/>
                <a:gd name="connsiteX7" fmla="*/ 22900 w 88799"/>
                <a:gd name="connsiteY7" fmla="*/ 15044 h 52289"/>
                <a:gd name="connsiteX8" fmla="*/ 20649 w 88799"/>
                <a:gd name="connsiteY8" fmla="*/ 17547 h 52289"/>
                <a:gd name="connsiteX9" fmla="*/ 17421 w 88799"/>
                <a:gd name="connsiteY9" fmla="*/ 22794 h 52289"/>
                <a:gd name="connsiteX10" fmla="*/ 16359 w 88799"/>
                <a:gd name="connsiteY10" fmla="*/ 23751 h 52289"/>
                <a:gd name="connsiteX11" fmla="*/ 9438 w 88799"/>
                <a:gd name="connsiteY11" fmla="*/ 26156 h 52289"/>
                <a:gd name="connsiteX12" fmla="*/ 6963 w 88799"/>
                <a:gd name="connsiteY12" fmla="*/ 25776 h 52289"/>
                <a:gd name="connsiteX13" fmla="*/ 4649 w 88799"/>
                <a:gd name="connsiteY13" fmla="*/ 26156 h 52289"/>
                <a:gd name="connsiteX14" fmla="*/ 4473 w 88799"/>
                <a:gd name="connsiteY14" fmla="*/ 26712 h 52289"/>
                <a:gd name="connsiteX15" fmla="*/ 1892 w 88799"/>
                <a:gd name="connsiteY15" fmla="*/ 30657 h 52289"/>
                <a:gd name="connsiteX16" fmla="*/ 598 w 88799"/>
                <a:gd name="connsiteY16" fmla="*/ 36888 h 52289"/>
                <a:gd name="connsiteX17" fmla="*/ 1421 w 88799"/>
                <a:gd name="connsiteY17" fmla="*/ 39891 h 52289"/>
                <a:gd name="connsiteX18" fmla="*/ 1421 w 88799"/>
                <a:gd name="connsiteY18" fmla="*/ 39891 h 52289"/>
                <a:gd name="connsiteX19" fmla="*/ 3517 w 88799"/>
                <a:gd name="connsiteY19" fmla="*/ 41959 h 52289"/>
                <a:gd name="connsiteX20" fmla="*/ 4761 w 88799"/>
                <a:gd name="connsiteY20" fmla="*/ 44583 h 52289"/>
                <a:gd name="connsiteX21" fmla="*/ 4761 w 88799"/>
                <a:gd name="connsiteY21" fmla="*/ 44583 h 52289"/>
                <a:gd name="connsiteX22" fmla="*/ 4761 w 88799"/>
                <a:gd name="connsiteY22" fmla="*/ 44583 h 52289"/>
                <a:gd name="connsiteX23" fmla="*/ 5275 w 88799"/>
                <a:gd name="connsiteY23" fmla="*/ 45476 h 52289"/>
                <a:gd name="connsiteX24" fmla="*/ 8742 w 88799"/>
                <a:gd name="connsiteY24" fmla="*/ 46327 h 52289"/>
                <a:gd name="connsiteX25" fmla="*/ 15283 w 88799"/>
                <a:gd name="connsiteY25" fmla="*/ 52016 h 52289"/>
                <a:gd name="connsiteX26" fmla="*/ 17970 w 88799"/>
                <a:gd name="connsiteY26" fmla="*/ 52122 h 52289"/>
                <a:gd name="connsiteX27" fmla="*/ 17970 w 88799"/>
                <a:gd name="connsiteY27" fmla="*/ 52122 h 52289"/>
                <a:gd name="connsiteX28" fmla="*/ 17970 w 88799"/>
                <a:gd name="connsiteY28" fmla="*/ 52122 h 52289"/>
                <a:gd name="connsiteX29" fmla="*/ 25066 w 88799"/>
                <a:gd name="connsiteY29" fmla="*/ 52016 h 52289"/>
                <a:gd name="connsiteX30" fmla="*/ 27619 w 88799"/>
                <a:gd name="connsiteY30" fmla="*/ 51630 h 52289"/>
                <a:gd name="connsiteX31" fmla="*/ 30369 w 88799"/>
                <a:gd name="connsiteY31" fmla="*/ 50800 h 52289"/>
                <a:gd name="connsiteX32" fmla="*/ 30052 w 88799"/>
                <a:gd name="connsiteY32" fmla="*/ 49351 h 52289"/>
                <a:gd name="connsiteX33" fmla="*/ 30369 w 88799"/>
                <a:gd name="connsiteY33" fmla="*/ 46327 h 52289"/>
                <a:gd name="connsiteX34" fmla="*/ 35700 w 88799"/>
                <a:gd name="connsiteY34" fmla="*/ 45237 h 52289"/>
                <a:gd name="connsiteX35" fmla="*/ 40764 w 88799"/>
                <a:gd name="connsiteY35" fmla="*/ 44161 h 52289"/>
                <a:gd name="connsiteX36" fmla="*/ 41179 w 88799"/>
                <a:gd name="connsiteY36" fmla="*/ 43120 h 52289"/>
                <a:gd name="connsiteX37" fmla="*/ 42459 w 88799"/>
                <a:gd name="connsiteY37" fmla="*/ 41741 h 52289"/>
                <a:gd name="connsiteX38" fmla="*/ 45834 w 88799"/>
                <a:gd name="connsiteY38" fmla="*/ 42592 h 52289"/>
                <a:gd name="connsiteX39" fmla="*/ 49688 w 88799"/>
                <a:gd name="connsiteY39" fmla="*/ 42592 h 52289"/>
                <a:gd name="connsiteX40" fmla="*/ 51588 w 88799"/>
                <a:gd name="connsiteY40" fmla="*/ 41636 h 52289"/>
                <a:gd name="connsiteX41" fmla="*/ 51588 w 88799"/>
                <a:gd name="connsiteY41" fmla="*/ 41636 h 52289"/>
                <a:gd name="connsiteX42" fmla="*/ 51588 w 88799"/>
                <a:gd name="connsiteY42" fmla="*/ 41636 h 52289"/>
                <a:gd name="connsiteX43" fmla="*/ 54162 w 88799"/>
                <a:gd name="connsiteY43" fmla="*/ 40166 h 52289"/>
                <a:gd name="connsiteX44" fmla="*/ 55034 w 88799"/>
                <a:gd name="connsiteY44" fmla="*/ 39329 h 52289"/>
                <a:gd name="connsiteX45" fmla="*/ 55034 w 88799"/>
                <a:gd name="connsiteY45" fmla="*/ 39329 h 52289"/>
                <a:gd name="connsiteX46" fmla="*/ 57066 w 88799"/>
                <a:gd name="connsiteY46" fmla="*/ 37029 h 52289"/>
                <a:gd name="connsiteX47" fmla="*/ 57369 w 88799"/>
                <a:gd name="connsiteY47" fmla="*/ 36262 h 52289"/>
                <a:gd name="connsiteX48" fmla="*/ 57369 w 88799"/>
                <a:gd name="connsiteY48" fmla="*/ 36262 h 52289"/>
                <a:gd name="connsiteX49" fmla="*/ 59612 w 88799"/>
                <a:gd name="connsiteY49" fmla="*/ 33766 h 52289"/>
                <a:gd name="connsiteX50" fmla="*/ 61539 w 88799"/>
                <a:gd name="connsiteY50" fmla="*/ 33597 h 52289"/>
                <a:gd name="connsiteX51" fmla="*/ 64437 w 88799"/>
                <a:gd name="connsiteY51" fmla="*/ 33766 h 52289"/>
                <a:gd name="connsiteX52" fmla="*/ 64535 w 88799"/>
                <a:gd name="connsiteY52" fmla="*/ 33913 h 52289"/>
                <a:gd name="connsiteX53" fmla="*/ 64535 w 88799"/>
                <a:gd name="connsiteY53" fmla="*/ 33913 h 52289"/>
                <a:gd name="connsiteX54" fmla="*/ 67201 w 88799"/>
                <a:gd name="connsiteY54" fmla="*/ 34982 h 52289"/>
                <a:gd name="connsiteX55" fmla="*/ 69135 w 88799"/>
                <a:gd name="connsiteY55" fmla="*/ 34328 h 52289"/>
                <a:gd name="connsiteX56" fmla="*/ 71315 w 88799"/>
                <a:gd name="connsiteY56" fmla="*/ 33766 h 52289"/>
                <a:gd name="connsiteX57" fmla="*/ 73066 w 88799"/>
                <a:gd name="connsiteY57" fmla="*/ 34624 h 52289"/>
                <a:gd name="connsiteX58" fmla="*/ 73601 w 88799"/>
                <a:gd name="connsiteY58" fmla="*/ 34982 h 52289"/>
                <a:gd name="connsiteX59" fmla="*/ 74136 w 88799"/>
                <a:gd name="connsiteY59" fmla="*/ 35623 h 52289"/>
                <a:gd name="connsiteX60" fmla="*/ 75669 w 88799"/>
                <a:gd name="connsiteY60" fmla="*/ 37029 h 52289"/>
                <a:gd name="connsiteX61" fmla="*/ 78770 w 88799"/>
                <a:gd name="connsiteY61" fmla="*/ 37550 h 52289"/>
                <a:gd name="connsiteX62" fmla="*/ 80620 w 88799"/>
                <a:gd name="connsiteY62" fmla="*/ 37880 h 52289"/>
                <a:gd name="connsiteX63" fmla="*/ 83025 w 88799"/>
                <a:gd name="connsiteY63" fmla="*/ 36051 h 52289"/>
                <a:gd name="connsiteX64" fmla="*/ 84474 w 88799"/>
                <a:gd name="connsiteY64" fmla="*/ 32317 h 52289"/>
                <a:gd name="connsiteX65" fmla="*/ 85002 w 88799"/>
                <a:gd name="connsiteY65" fmla="*/ 31810 h 52289"/>
                <a:gd name="connsiteX66" fmla="*/ 87020 w 88799"/>
                <a:gd name="connsiteY66" fmla="*/ 28463 h 52289"/>
                <a:gd name="connsiteX67" fmla="*/ 88230 w 88799"/>
                <a:gd name="connsiteY67" fmla="*/ 24349 h 52289"/>
                <a:gd name="connsiteX68" fmla="*/ 88800 w 88799"/>
                <a:gd name="connsiteY68" fmla="*/ 20143 h 52289"/>
                <a:gd name="connsiteX69" fmla="*/ 87892 w 88799"/>
                <a:gd name="connsiteY69" fmla="*/ 19953 h 52289"/>
                <a:gd name="connsiteX70" fmla="*/ 83124 w 88799"/>
                <a:gd name="connsiteY70" fmla="*/ 17470 h 52289"/>
                <a:gd name="connsiteX71" fmla="*/ 79973 w 88799"/>
                <a:gd name="connsiteY71" fmla="*/ 15895 h 52289"/>
                <a:gd name="connsiteX72" fmla="*/ 77955 w 88799"/>
                <a:gd name="connsiteY72" fmla="*/ 14987 h 52289"/>
                <a:gd name="connsiteX73" fmla="*/ 70879 w 88799"/>
                <a:gd name="connsiteY73" fmla="*/ 13271 h 52289"/>
                <a:gd name="connsiteX74" fmla="*/ 66308 w 88799"/>
                <a:gd name="connsiteY74" fmla="*/ 14987 h 52289"/>
                <a:gd name="connsiteX75" fmla="*/ 60963 w 88799"/>
                <a:gd name="connsiteY75" fmla="*/ 13271 h 52289"/>
                <a:gd name="connsiteX76" fmla="*/ 53318 w 88799"/>
                <a:gd name="connsiteY76" fmla="*/ 14551 h 52289"/>
                <a:gd name="connsiteX77" fmla="*/ 52354 w 88799"/>
                <a:gd name="connsiteY77" fmla="*/ 14987 h 52289"/>
                <a:gd name="connsiteX78" fmla="*/ 49611 w 88799"/>
                <a:gd name="connsiteY78" fmla="*/ 16288 h 52289"/>
                <a:gd name="connsiteX79" fmla="*/ 49611 w 88799"/>
                <a:gd name="connsiteY79" fmla="*/ 16288 h 52289"/>
                <a:gd name="connsiteX80" fmla="*/ 49611 w 88799"/>
                <a:gd name="connsiteY80" fmla="*/ 16288 h 52289"/>
                <a:gd name="connsiteX81" fmla="*/ 45659 w 88799"/>
                <a:gd name="connsiteY81" fmla="*/ 17470 h 52289"/>
                <a:gd name="connsiteX82" fmla="*/ 45272 w 88799"/>
                <a:gd name="connsiteY82" fmla="*/ 15592 h 52289"/>
                <a:gd name="connsiteX83" fmla="*/ 45272 w 88799"/>
                <a:gd name="connsiteY83" fmla="*/ 15592 h 52289"/>
                <a:gd name="connsiteX84" fmla="*/ 45659 w 88799"/>
                <a:gd name="connsiteY84" fmla="*/ 13271 h 52289"/>
                <a:gd name="connsiteX85" fmla="*/ 42782 w 88799"/>
                <a:gd name="connsiteY85" fmla="*/ 10550 h 52289"/>
                <a:gd name="connsiteX86" fmla="*/ 42782 w 88799"/>
                <a:gd name="connsiteY86" fmla="*/ 10550 h 52289"/>
                <a:gd name="connsiteX87" fmla="*/ 42782 w 88799"/>
                <a:gd name="connsiteY87" fmla="*/ 10550 h 52289"/>
                <a:gd name="connsiteX88" fmla="*/ 40686 w 88799"/>
                <a:gd name="connsiteY88" fmla="*/ 9459 h 52289"/>
                <a:gd name="connsiteX89" fmla="*/ 36713 w 88799"/>
                <a:gd name="connsiteY89" fmla="*/ 12048 h 52289"/>
                <a:gd name="connsiteX90" fmla="*/ 35735 w 88799"/>
                <a:gd name="connsiteY90" fmla="*/ 13271 h 52289"/>
                <a:gd name="connsiteX91" fmla="*/ 32099 w 88799"/>
                <a:gd name="connsiteY91" fmla="*/ 10789 h 52289"/>
                <a:gd name="connsiteX92" fmla="*/ 30031 w 88799"/>
                <a:gd name="connsiteY92" fmla="*/ 9312 h 52289"/>
                <a:gd name="connsiteX93" fmla="*/ 30214 w 88799"/>
                <a:gd name="connsiteY93" fmla="*/ 7990 h 52289"/>
                <a:gd name="connsiteX94" fmla="*/ 27113 w 88799"/>
                <a:gd name="connsiteY94" fmla="*/ 3017 h 52289"/>
                <a:gd name="connsiteX95" fmla="*/ 21845 w 88799"/>
                <a:gd name="connsiteY95" fmla="*/ 0 h 52289"/>
                <a:gd name="connsiteX96" fmla="*/ 17941 w 88799"/>
                <a:gd name="connsiteY96" fmla="*/ 0 h 52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88799" h="52289">
                  <a:moveTo>
                    <a:pt x="17941" y="0"/>
                  </a:moveTo>
                  <a:lnTo>
                    <a:pt x="17941" y="0"/>
                  </a:lnTo>
                  <a:lnTo>
                    <a:pt x="21845" y="0"/>
                  </a:lnTo>
                  <a:cubicBezTo>
                    <a:pt x="23772" y="0"/>
                    <a:pt x="26634" y="633"/>
                    <a:pt x="27113" y="3017"/>
                  </a:cubicBezTo>
                  <a:cubicBezTo>
                    <a:pt x="27591" y="5401"/>
                    <a:pt x="29019" y="7033"/>
                    <a:pt x="30214" y="7990"/>
                  </a:cubicBezTo>
                  <a:cubicBezTo>
                    <a:pt x="30931" y="8566"/>
                    <a:pt x="30608" y="8841"/>
                    <a:pt x="29651" y="9628"/>
                  </a:cubicBezTo>
                  <a:cubicBezTo>
                    <a:pt x="29025" y="10142"/>
                    <a:pt x="28146" y="10866"/>
                    <a:pt x="27113" y="12041"/>
                  </a:cubicBezTo>
                  <a:cubicBezTo>
                    <a:pt x="25931" y="13384"/>
                    <a:pt x="24264" y="14291"/>
                    <a:pt x="22900" y="15044"/>
                  </a:cubicBezTo>
                  <a:cubicBezTo>
                    <a:pt x="21226" y="15958"/>
                    <a:pt x="19995" y="16626"/>
                    <a:pt x="20649" y="17547"/>
                  </a:cubicBezTo>
                  <a:cubicBezTo>
                    <a:pt x="21683" y="18996"/>
                    <a:pt x="19678" y="20783"/>
                    <a:pt x="17421" y="22794"/>
                  </a:cubicBezTo>
                  <a:cubicBezTo>
                    <a:pt x="17069" y="23111"/>
                    <a:pt x="16711" y="23427"/>
                    <a:pt x="16359" y="23751"/>
                  </a:cubicBezTo>
                  <a:cubicBezTo>
                    <a:pt x="13736" y="26156"/>
                    <a:pt x="11823" y="26156"/>
                    <a:pt x="9438" y="26156"/>
                  </a:cubicBezTo>
                  <a:cubicBezTo>
                    <a:pt x="8531" y="26156"/>
                    <a:pt x="7687" y="25952"/>
                    <a:pt x="6963" y="25776"/>
                  </a:cubicBezTo>
                  <a:cubicBezTo>
                    <a:pt x="5795" y="25488"/>
                    <a:pt x="4944" y="25284"/>
                    <a:pt x="4649" y="26156"/>
                  </a:cubicBezTo>
                  <a:cubicBezTo>
                    <a:pt x="4600" y="26311"/>
                    <a:pt x="4536" y="26500"/>
                    <a:pt x="4473" y="26712"/>
                  </a:cubicBezTo>
                  <a:cubicBezTo>
                    <a:pt x="4030" y="28146"/>
                    <a:pt x="3270" y="30594"/>
                    <a:pt x="1892" y="30657"/>
                  </a:cubicBezTo>
                  <a:cubicBezTo>
                    <a:pt x="1899" y="32872"/>
                    <a:pt x="1611" y="35320"/>
                    <a:pt x="598" y="36888"/>
                  </a:cubicBezTo>
                  <a:cubicBezTo>
                    <a:pt x="-654" y="38815"/>
                    <a:pt x="274" y="39294"/>
                    <a:pt x="1421" y="39891"/>
                  </a:cubicBezTo>
                  <a:lnTo>
                    <a:pt x="1421" y="39891"/>
                  </a:lnTo>
                  <a:cubicBezTo>
                    <a:pt x="2243" y="40321"/>
                    <a:pt x="3193" y="40813"/>
                    <a:pt x="3517" y="41959"/>
                  </a:cubicBezTo>
                  <a:cubicBezTo>
                    <a:pt x="3805" y="42972"/>
                    <a:pt x="4318" y="43837"/>
                    <a:pt x="4761" y="44583"/>
                  </a:cubicBezTo>
                  <a:lnTo>
                    <a:pt x="4761" y="44583"/>
                  </a:lnTo>
                  <a:lnTo>
                    <a:pt x="4761" y="44583"/>
                  </a:lnTo>
                  <a:cubicBezTo>
                    <a:pt x="4951" y="44899"/>
                    <a:pt x="5127" y="45194"/>
                    <a:pt x="5275" y="45476"/>
                  </a:cubicBezTo>
                  <a:cubicBezTo>
                    <a:pt x="7061" y="45645"/>
                    <a:pt x="8587" y="45919"/>
                    <a:pt x="8742" y="46327"/>
                  </a:cubicBezTo>
                  <a:cubicBezTo>
                    <a:pt x="9122" y="47304"/>
                    <a:pt x="13117" y="52016"/>
                    <a:pt x="15283" y="52016"/>
                  </a:cubicBezTo>
                  <a:cubicBezTo>
                    <a:pt x="15916" y="52016"/>
                    <a:pt x="16879" y="52066"/>
                    <a:pt x="17970" y="52122"/>
                  </a:cubicBezTo>
                  <a:lnTo>
                    <a:pt x="17970" y="52122"/>
                  </a:lnTo>
                  <a:lnTo>
                    <a:pt x="17970" y="52122"/>
                  </a:lnTo>
                  <a:cubicBezTo>
                    <a:pt x="20635" y="52270"/>
                    <a:pt x="24032" y="52453"/>
                    <a:pt x="25066" y="52016"/>
                  </a:cubicBezTo>
                  <a:cubicBezTo>
                    <a:pt x="25657" y="51763"/>
                    <a:pt x="26648" y="51700"/>
                    <a:pt x="27619" y="51630"/>
                  </a:cubicBezTo>
                  <a:cubicBezTo>
                    <a:pt x="29019" y="51538"/>
                    <a:pt x="30369" y="51447"/>
                    <a:pt x="30369" y="50800"/>
                  </a:cubicBezTo>
                  <a:cubicBezTo>
                    <a:pt x="30369" y="50476"/>
                    <a:pt x="30221" y="49942"/>
                    <a:pt x="30052" y="49351"/>
                  </a:cubicBezTo>
                  <a:cubicBezTo>
                    <a:pt x="29658" y="47979"/>
                    <a:pt x="29187" y="46327"/>
                    <a:pt x="30369" y="46327"/>
                  </a:cubicBezTo>
                  <a:cubicBezTo>
                    <a:pt x="31719" y="46327"/>
                    <a:pt x="34483" y="45602"/>
                    <a:pt x="35700" y="45237"/>
                  </a:cubicBezTo>
                  <a:cubicBezTo>
                    <a:pt x="37191" y="45244"/>
                    <a:pt x="40292" y="45040"/>
                    <a:pt x="40764" y="44161"/>
                  </a:cubicBezTo>
                  <a:cubicBezTo>
                    <a:pt x="40953" y="43823"/>
                    <a:pt x="41066" y="43464"/>
                    <a:pt x="41179" y="43120"/>
                  </a:cubicBezTo>
                  <a:cubicBezTo>
                    <a:pt x="41418" y="42374"/>
                    <a:pt x="41622" y="41741"/>
                    <a:pt x="42459" y="41741"/>
                  </a:cubicBezTo>
                  <a:cubicBezTo>
                    <a:pt x="43668" y="41741"/>
                    <a:pt x="44386" y="41994"/>
                    <a:pt x="45834" y="42592"/>
                  </a:cubicBezTo>
                  <a:cubicBezTo>
                    <a:pt x="47283" y="43190"/>
                    <a:pt x="48479" y="43450"/>
                    <a:pt x="49688" y="42592"/>
                  </a:cubicBezTo>
                  <a:cubicBezTo>
                    <a:pt x="50202" y="42234"/>
                    <a:pt x="50884" y="41938"/>
                    <a:pt x="51588" y="41636"/>
                  </a:cubicBezTo>
                  <a:lnTo>
                    <a:pt x="51588" y="41636"/>
                  </a:lnTo>
                  <a:lnTo>
                    <a:pt x="51588" y="41636"/>
                  </a:lnTo>
                  <a:cubicBezTo>
                    <a:pt x="52544" y="41228"/>
                    <a:pt x="53529" y="40799"/>
                    <a:pt x="54162" y="40166"/>
                  </a:cubicBezTo>
                  <a:cubicBezTo>
                    <a:pt x="54443" y="39884"/>
                    <a:pt x="54738" y="39603"/>
                    <a:pt x="55034" y="39329"/>
                  </a:cubicBezTo>
                  <a:lnTo>
                    <a:pt x="55034" y="39329"/>
                  </a:lnTo>
                  <a:cubicBezTo>
                    <a:pt x="55885" y="38527"/>
                    <a:pt x="56708" y="37753"/>
                    <a:pt x="57066" y="37029"/>
                  </a:cubicBezTo>
                  <a:cubicBezTo>
                    <a:pt x="57165" y="36818"/>
                    <a:pt x="57263" y="36558"/>
                    <a:pt x="57369" y="36262"/>
                  </a:cubicBezTo>
                  <a:lnTo>
                    <a:pt x="57369" y="36262"/>
                  </a:lnTo>
                  <a:cubicBezTo>
                    <a:pt x="57763" y="35186"/>
                    <a:pt x="58276" y="33766"/>
                    <a:pt x="59612" y="33766"/>
                  </a:cubicBezTo>
                  <a:cubicBezTo>
                    <a:pt x="60182" y="33766"/>
                    <a:pt x="60864" y="33681"/>
                    <a:pt x="61539" y="33597"/>
                  </a:cubicBezTo>
                  <a:cubicBezTo>
                    <a:pt x="62854" y="33435"/>
                    <a:pt x="64120" y="33280"/>
                    <a:pt x="64437" y="33766"/>
                  </a:cubicBezTo>
                  <a:cubicBezTo>
                    <a:pt x="64472" y="33815"/>
                    <a:pt x="64500" y="33864"/>
                    <a:pt x="64535" y="33913"/>
                  </a:cubicBezTo>
                  <a:lnTo>
                    <a:pt x="64535" y="33913"/>
                  </a:lnTo>
                  <a:cubicBezTo>
                    <a:pt x="64978" y="34624"/>
                    <a:pt x="65492" y="35426"/>
                    <a:pt x="67201" y="34982"/>
                  </a:cubicBezTo>
                  <a:cubicBezTo>
                    <a:pt x="67953" y="34785"/>
                    <a:pt x="68572" y="34546"/>
                    <a:pt x="69135" y="34328"/>
                  </a:cubicBezTo>
                  <a:cubicBezTo>
                    <a:pt x="69937" y="34026"/>
                    <a:pt x="70598" y="33766"/>
                    <a:pt x="71315" y="33766"/>
                  </a:cubicBezTo>
                  <a:cubicBezTo>
                    <a:pt x="72096" y="33766"/>
                    <a:pt x="72659" y="34265"/>
                    <a:pt x="73066" y="34624"/>
                  </a:cubicBezTo>
                  <a:cubicBezTo>
                    <a:pt x="73291" y="34828"/>
                    <a:pt x="73467" y="34982"/>
                    <a:pt x="73601" y="34982"/>
                  </a:cubicBezTo>
                  <a:cubicBezTo>
                    <a:pt x="73742" y="34982"/>
                    <a:pt x="73917" y="35264"/>
                    <a:pt x="74136" y="35623"/>
                  </a:cubicBezTo>
                  <a:cubicBezTo>
                    <a:pt x="74501" y="36220"/>
                    <a:pt x="74994" y="37029"/>
                    <a:pt x="75669" y="37029"/>
                  </a:cubicBezTo>
                  <a:cubicBezTo>
                    <a:pt x="76288" y="37029"/>
                    <a:pt x="77624" y="37310"/>
                    <a:pt x="78770" y="37550"/>
                  </a:cubicBezTo>
                  <a:cubicBezTo>
                    <a:pt x="79621" y="37725"/>
                    <a:pt x="80367" y="37880"/>
                    <a:pt x="80620" y="37880"/>
                  </a:cubicBezTo>
                  <a:cubicBezTo>
                    <a:pt x="81218" y="37880"/>
                    <a:pt x="82885" y="37128"/>
                    <a:pt x="83025" y="36051"/>
                  </a:cubicBezTo>
                  <a:cubicBezTo>
                    <a:pt x="83166" y="34982"/>
                    <a:pt x="83384" y="33407"/>
                    <a:pt x="84474" y="32317"/>
                  </a:cubicBezTo>
                  <a:cubicBezTo>
                    <a:pt x="84650" y="32141"/>
                    <a:pt x="84826" y="31972"/>
                    <a:pt x="85002" y="31810"/>
                  </a:cubicBezTo>
                  <a:cubicBezTo>
                    <a:pt x="85902" y="30960"/>
                    <a:pt x="86718" y="30193"/>
                    <a:pt x="87020" y="28463"/>
                  </a:cubicBezTo>
                  <a:cubicBezTo>
                    <a:pt x="87379" y="26395"/>
                    <a:pt x="87632" y="25558"/>
                    <a:pt x="88230" y="24349"/>
                  </a:cubicBezTo>
                  <a:cubicBezTo>
                    <a:pt x="88448" y="23898"/>
                    <a:pt x="88645" y="22189"/>
                    <a:pt x="88800" y="20143"/>
                  </a:cubicBezTo>
                  <a:cubicBezTo>
                    <a:pt x="88497" y="20051"/>
                    <a:pt x="88194" y="19981"/>
                    <a:pt x="87892" y="19953"/>
                  </a:cubicBezTo>
                  <a:cubicBezTo>
                    <a:pt x="85789" y="19756"/>
                    <a:pt x="84833" y="18996"/>
                    <a:pt x="83124" y="17470"/>
                  </a:cubicBezTo>
                  <a:cubicBezTo>
                    <a:pt x="82160" y="16605"/>
                    <a:pt x="81000" y="16225"/>
                    <a:pt x="79973" y="15895"/>
                  </a:cubicBezTo>
                  <a:cubicBezTo>
                    <a:pt x="79178" y="15634"/>
                    <a:pt x="78454" y="15402"/>
                    <a:pt x="77955" y="14987"/>
                  </a:cubicBezTo>
                  <a:cubicBezTo>
                    <a:pt x="76801" y="14031"/>
                    <a:pt x="73566" y="13271"/>
                    <a:pt x="70879" y="13271"/>
                  </a:cubicBezTo>
                  <a:cubicBezTo>
                    <a:pt x="68192" y="13271"/>
                    <a:pt x="67440" y="13271"/>
                    <a:pt x="66308" y="14987"/>
                  </a:cubicBezTo>
                  <a:cubicBezTo>
                    <a:pt x="65175" y="16696"/>
                    <a:pt x="62475" y="14987"/>
                    <a:pt x="60963" y="13271"/>
                  </a:cubicBezTo>
                  <a:cubicBezTo>
                    <a:pt x="59577" y="11710"/>
                    <a:pt x="56715" y="13011"/>
                    <a:pt x="53318" y="14551"/>
                  </a:cubicBezTo>
                  <a:cubicBezTo>
                    <a:pt x="53001" y="14692"/>
                    <a:pt x="52678" y="14840"/>
                    <a:pt x="52354" y="14987"/>
                  </a:cubicBezTo>
                  <a:cubicBezTo>
                    <a:pt x="51271" y="15466"/>
                    <a:pt x="50371" y="15909"/>
                    <a:pt x="49611" y="16288"/>
                  </a:cubicBezTo>
                  <a:lnTo>
                    <a:pt x="49611" y="16288"/>
                  </a:lnTo>
                  <a:lnTo>
                    <a:pt x="49611" y="16288"/>
                  </a:lnTo>
                  <a:cubicBezTo>
                    <a:pt x="47684" y="17231"/>
                    <a:pt x="46622" y="17751"/>
                    <a:pt x="45659" y="17470"/>
                  </a:cubicBezTo>
                  <a:cubicBezTo>
                    <a:pt x="44836" y="17231"/>
                    <a:pt x="45012" y="16577"/>
                    <a:pt x="45272" y="15592"/>
                  </a:cubicBezTo>
                  <a:lnTo>
                    <a:pt x="45272" y="15592"/>
                  </a:lnTo>
                  <a:cubicBezTo>
                    <a:pt x="45448" y="14952"/>
                    <a:pt x="45659" y="14172"/>
                    <a:pt x="45659" y="13271"/>
                  </a:cubicBezTo>
                  <a:cubicBezTo>
                    <a:pt x="45659" y="11766"/>
                    <a:pt x="44238" y="11162"/>
                    <a:pt x="42782" y="10550"/>
                  </a:cubicBezTo>
                  <a:lnTo>
                    <a:pt x="42782" y="10550"/>
                  </a:lnTo>
                  <a:lnTo>
                    <a:pt x="42782" y="10550"/>
                  </a:lnTo>
                  <a:cubicBezTo>
                    <a:pt x="42030" y="10233"/>
                    <a:pt x="41270" y="9910"/>
                    <a:pt x="40686" y="9459"/>
                  </a:cubicBezTo>
                  <a:cubicBezTo>
                    <a:pt x="39378" y="8447"/>
                    <a:pt x="37866" y="10493"/>
                    <a:pt x="36713" y="12048"/>
                  </a:cubicBezTo>
                  <a:cubicBezTo>
                    <a:pt x="36347" y="12547"/>
                    <a:pt x="36009" y="12997"/>
                    <a:pt x="35735" y="13271"/>
                  </a:cubicBezTo>
                  <a:cubicBezTo>
                    <a:pt x="34603" y="14425"/>
                    <a:pt x="33055" y="13454"/>
                    <a:pt x="32099" y="10789"/>
                  </a:cubicBezTo>
                  <a:cubicBezTo>
                    <a:pt x="31874" y="10156"/>
                    <a:pt x="31093" y="9670"/>
                    <a:pt x="30031" y="9312"/>
                  </a:cubicBezTo>
                  <a:cubicBezTo>
                    <a:pt x="30678" y="8749"/>
                    <a:pt x="30826" y="8482"/>
                    <a:pt x="30214" y="7990"/>
                  </a:cubicBezTo>
                  <a:cubicBezTo>
                    <a:pt x="29019" y="7033"/>
                    <a:pt x="27591" y="5401"/>
                    <a:pt x="27113" y="3017"/>
                  </a:cubicBezTo>
                  <a:cubicBezTo>
                    <a:pt x="26634" y="633"/>
                    <a:pt x="23772" y="0"/>
                    <a:pt x="21845" y="0"/>
                  </a:cubicBezTo>
                  <a:lnTo>
                    <a:pt x="17941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1" name="Freihandform: Form 256">
              <a:extLst>
                <a:ext uri="{FF2B5EF4-FFF2-40B4-BE49-F238E27FC236}">
                  <a16:creationId xmlns:a16="http://schemas.microsoft.com/office/drawing/2014/main" id="{E6DD2624-14B5-8B48-AEF0-569497F2D6A8}"/>
                </a:ext>
              </a:extLst>
            </p:cNvPr>
            <p:cNvSpPr/>
            <p:nvPr/>
          </p:nvSpPr>
          <p:spPr>
            <a:xfrm>
              <a:off x="6403905" y="3727091"/>
              <a:ext cx="59359" cy="59030"/>
            </a:xfrm>
            <a:custGeom>
              <a:avLst/>
              <a:gdLst>
                <a:gd name="connsiteX0" fmla="*/ 39093 w 59359"/>
                <a:gd name="connsiteY0" fmla="*/ 2639 h 59030"/>
                <a:gd name="connsiteX1" fmla="*/ 35689 w 59359"/>
                <a:gd name="connsiteY1" fmla="*/ 3554 h 59030"/>
                <a:gd name="connsiteX2" fmla="*/ 29929 w 59359"/>
                <a:gd name="connsiteY2" fmla="*/ 2639 h 59030"/>
                <a:gd name="connsiteX3" fmla="*/ 23248 w 59359"/>
                <a:gd name="connsiteY3" fmla="*/ 1190 h 59030"/>
                <a:gd name="connsiteX4" fmla="*/ 19196 w 59359"/>
                <a:gd name="connsiteY4" fmla="*/ 135 h 59030"/>
                <a:gd name="connsiteX5" fmla="*/ 15539 w 59359"/>
                <a:gd name="connsiteY5" fmla="*/ 1190 h 59030"/>
                <a:gd name="connsiteX6" fmla="*/ 10567 w 59359"/>
                <a:gd name="connsiteY6" fmla="*/ 2639 h 59030"/>
                <a:gd name="connsiteX7" fmla="*/ 6628 w 59359"/>
                <a:gd name="connsiteY7" fmla="*/ 3554 h 59030"/>
                <a:gd name="connsiteX8" fmla="*/ 3632 w 59359"/>
                <a:gd name="connsiteY8" fmla="*/ 135 h 59030"/>
                <a:gd name="connsiteX9" fmla="*/ 228 w 59359"/>
                <a:gd name="connsiteY9" fmla="*/ 3554 h 59030"/>
                <a:gd name="connsiteX10" fmla="*/ 228 w 59359"/>
                <a:gd name="connsiteY10" fmla="*/ 9834 h 59030"/>
                <a:gd name="connsiteX11" fmla="*/ 3632 w 59359"/>
                <a:gd name="connsiteY11" fmla="*/ 13491 h 59030"/>
                <a:gd name="connsiteX12" fmla="*/ 6628 w 59359"/>
                <a:gd name="connsiteY12" fmla="*/ 20433 h 59030"/>
                <a:gd name="connsiteX13" fmla="*/ 12536 w 59359"/>
                <a:gd name="connsiteY13" fmla="*/ 29337 h 59030"/>
                <a:gd name="connsiteX14" fmla="*/ 20111 w 59359"/>
                <a:gd name="connsiteY14" fmla="*/ 37045 h 59030"/>
                <a:gd name="connsiteX15" fmla="*/ 23248 w 59359"/>
                <a:gd name="connsiteY15" fmla="*/ 39788 h 59030"/>
                <a:gd name="connsiteX16" fmla="*/ 24162 w 59359"/>
                <a:gd name="connsiteY16" fmla="*/ 42411 h 59030"/>
                <a:gd name="connsiteX17" fmla="*/ 29268 w 59359"/>
                <a:gd name="connsiteY17" fmla="*/ 47897 h 59030"/>
                <a:gd name="connsiteX18" fmla="*/ 32693 w 59359"/>
                <a:gd name="connsiteY18" fmla="*/ 49930 h 59030"/>
                <a:gd name="connsiteX19" fmla="*/ 39093 w 59359"/>
                <a:gd name="connsiteY19" fmla="*/ 55493 h 59030"/>
                <a:gd name="connsiteX20" fmla="*/ 41969 w 59359"/>
                <a:gd name="connsiteY20" fmla="*/ 59030 h 59030"/>
                <a:gd name="connsiteX21" fmla="*/ 43798 w 59359"/>
                <a:gd name="connsiteY21" fmla="*/ 55493 h 59030"/>
                <a:gd name="connsiteX22" fmla="*/ 41969 w 59359"/>
                <a:gd name="connsiteY22" fmla="*/ 51695 h 59030"/>
                <a:gd name="connsiteX23" fmla="*/ 43798 w 59359"/>
                <a:gd name="connsiteY23" fmla="*/ 47897 h 59030"/>
                <a:gd name="connsiteX24" fmla="*/ 45507 w 59359"/>
                <a:gd name="connsiteY24" fmla="*/ 44641 h 59030"/>
                <a:gd name="connsiteX25" fmla="*/ 46682 w 59359"/>
                <a:gd name="connsiteY25" fmla="*/ 42411 h 59030"/>
                <a:gd name="connsiteX26" fmla="*/ 50993 w 59359"/>
                <a:gd name="connsiteY26" fmla="*/ 42411 h 59030"/>
                <a:gd name="connsiteX27" fmla="*/ 50993 w 59359"/>
                <a:gd name="connsiteY27" fmla="*/ 38621 h 59030"/>
                <a:gd name="connsiteX28" fmla="*/ 55311 w 59359"/>
                <a:gd name="connsiteY28" fmla="*/ 37045 h 59030"/>
                <a:gd name="connsiteX29" fmla="*/ 58448 w 59359"/>
                <a:gd name="connsiteY29" fmla="*/ 33908 h 59030"/>
                <a:gd name="connsiteX30" fmla="*/ 56106 w 59359"/>
                <a:gd name="connsiteY30" fmla="*/ 28282 h 59030"/>
                <a:gd name="connsiteX31" fmla="*/ 59109 w 59359"/>
                <a:gd name="connsiteY31" fmla="*/ 27487 h 59030"/>
                <a:gd name="connsiteX32" fmla="*/ 58448 w 59359"/>
                <a:gd name="connsiteY32" fmla="*/ 23830 h 59030"/>
                <a:gd name="connsiteX33" fmla="*/ 53363 w 59359"/>
                <a:gd name="connsiteY33" fmla="*/ 20433 h 59030"/>
                <a:gd name="connsiteX34" fmla="*/ 53363 w 59359"/>
                <a:gd name="connsiteY34" fmla="*/ 16234 h 59030"/>
                <a:gd name="connsiteX35" fmla="*/ 56106 w 59359"/>
                <a:gd name="connsiteY35" fmla="*/ 8125 h 59030"/>
                <a:gd name="connsiteX36" fmla="*/ 50993 w 59359"/>
                <a:gd name="connsiteY36" fmla="*/ 7070 h 59030"/>
                <a:gd name="connsiteX37" fmla="*/ 45507 w 59359"/>
                <a:gd name="connsiteY37" fmla="*/ 4327 h 59030"/>
                <a:gd name="connsiteX38" fmla="*/ 39093 w 59359"/>
                <a:gd name="connsiteY38" fmla="*/ 2639 h 5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9359" h="59030">
                  <a:moveTo>
                    <a:pt x="39093" y="2639"/>
                  </a:moveTo>
                  <a:lnTo>
                    <a:pt x="35689" y="3554"/>
                  </a:lnTo>
                  <a:lnTo>
                    <a:pt x="29929" y="2639"/>
                  </a:lnTo>
                  <a:lnTo>
                    <a:pt x="23248" y="1190"/>
                  </a:lnTo>
                  <a:lnTo>
                    <a:pt x="19196" y="135"/>
                  </a:lnTo>
                  <a:lnTo>
                    <a:pt x="15539" y="1190"/>
                  </a:lnTo>
                  <a:cubicBezTo>
                    <a:pt x="14534" y="276"/>
                    <a:pt x="12142" y="-715"/>
                    <a:pt x="10567" y="2639"/>
                  </a:cubicBezTo>
                  <a:cubicBezTo>
                    <a:pt x="8992" y="5994"/>
                    <a:pt x="7289" y="4651"/>
                    <a:pt x="6628" y="3554"/>
                  </a:cubicBezTo>
                  <a:cubicBezTo>
                    <a:pt x="6024" y="2682"/>
                    <a:pt x="4568" y="776"/>
                    <a:pt x="3632" y="135"/>
                  </a:cubicBezTo>
                  <a:cubicBezTo>
                    <a:pt x="2458" y="-659"/>
                    <a:pt x="749" y="2245"/>
                    <a:pt x="228" y="3554"/>
                  </a:cubicBezTo>
                  <a:cubicBezTo>
                    <a:pt x="-285" y="4869"/>
                    <a:pt x="228" y="8125"/>
                    <a:pt x="228" y="9834"/>
                  </a:cubicBezTo>
                  <a:cubicBezTo>
                    <a:pt x="228" y="11206"/>
                    <a:pt x="2500" y="12844"/>
                    <a:pt x="3632" y="13491"/>
                  </a:cubicBezTo>
                  <a:cubicBezTo>
                    <a:pt x="4153" y="14061"/>
                    <a:pt x="5489" y="16248"/>
                    <a:pt x="6628" y="20433"/>
                  </a:cubicBezTo>
                  <a:cubicBezTo>
                    <a:pt x="8063" y="25658"/>
                    <a:pt x="11221" y="27487"/>
                    <a:pt x="12536" y="29337"/>
                  </a:cubicBezTo>
                  <a:cubicBezTo>
                    <a:pt x="13584" y="30814"/>
                    <a:pt x="18022" y="35090"/>
                    <a:pt x="20111" y="37045"/>
                  </a:cubicBezTo>
                  <a:cubicBezTo>
                    <a:pt x="20983" y="37573"/>
                    <a:pt x="22833" y="38852"/>
                    <a:pt x="23248" y="39788"/>
                  </a:cubicBezTo>
                  <a:cubicBezTo>
                    <a:pt x="23663" y="40730"/>
                    <a:pt x="24028" y="41933"/>
                    <a:pt x="24162" y="42411"/>
                  </a:cubicBezTo>
                  <a:lnTo>
                    <a:pt x="29268" y="47897"/>
                  </a:lnTo>
                  <a:lnTo>
                    <a:pt x="32693" y="49930"/>
                  </a:lnTo>
                  <a:lnTo>
                    <a:pt x="39093" y="55493"/>
                  </a:lnTo>
                  <a:lnTo>
                    <a:pt x="41969" y="59030"/>
                  </a:lnTo>
                  <a:lnTo>
                    <a:pt x="43798" y="55493"/>
                  </a:lnTo>
                  <a:cubicBezTo>
                    <a:pt x="43193" y="54445"/>
                    <a:pt x="41969" y="52222"/>
                    <a:pt x="41969" y="51695"/>
                  </a:cubicBezTo>
                  <a:cubicBezTo>
                    <a:pt x="41969" y="51041"/>
                    <a:pt x="42884" y="49093"/>
                    <a:pt x="43798" y="47897"/>
                  </a:cubicBezTo>
                  <a:cubicBezTo>
                    <a:pt x="44712" y="46709"/>
                    <a:pt x="44712" y="46068"/>
                    <a:pt x="45507" y="44641"/>
                  </a:cubicBezTo>
                  <a:cubicBezTo>
                    <a:pt x="46147" y="43494"/>
                    <a:pt x="46555" y="42679"/>
                    <a:pt x="46682" y="42411"/>
                  </a:cubicBezTo>
                  <a:lnTo>
                    <a:pt x="50993" y="42411"/>
                  </a:lnTo>
                  <a:cubicBezTo>
                    <a:pt x="52456" y="42411"/>
                    <a:pt x="51605" y="39886"/>
                    <a:pt x="50993" y="38621"/>
                  </a:cubicBezTo>
                  <a:cubicBezTo>
                    <a:pt x="50993" y="38177"/>
                    <a:pt x="51858" y="37256"/>
                    <a:pt x="55311" y="37045"/>
                  </a:cubicBezTo>
                  <a:cubicBezTo>
                    <a:pt x="59622" y="36792"/>
                    <a:pt x="58448" y="34703"/>
                    <a:pt x="58448" y="33908"/>
                  </a:cubicBezTo>
                  <a:cubicBezTo>
                    <a:pt x="58448" y="33114"/>
                    <a:pt x="56106" y="29991"/>
                    <a:pt x="56106" y="28282"/>
                  </a:cubicBezTo>
                  <a:cubicBezTo>
                    <a:pt x="56106" y="26573"/>
                    <a:pt x="58448" y="27628"/>
                    <a:pt x="59109" y="27487"/>
                  </a:cubicBezTo>
                  <a:cubicBezTo>
                    <a:pt x="59763" y="27347"/>
                    <a:pt x="58990" y="25004"/>
                    <a:pt x="58448" y="23830"/>
                  </a:cubicBezTo>
                  <a:cubicBezTo>
                    <a:pt x="57913" y="22655"/>
                    <a:pt x="54538" y="21600"/>
                    <a:pt x="53363" y="20433"/>
                  </a:cubicBezTo>
                  <a:cubicBezTo>
                    <a:pt x="52189" y="19258"/>
                    <a:pt x="53363" y="17289"/>
                    <a:pt x="53363" y="16234"/>
                  </a:cubicBezTo>
                  <a:cubicBezTo>
                    <a:pt x="53363" y="15397"/>
                    <a:pt x="55192" y="10481"/>
                    <a:pt x="56106" y="8125"/>
                  </a:cubicBezTo>
                  <a:cubicBezTo>
                    <a:pt x="54707" y="7773"/>
                    <a:pt x="51724" y="7070"/>
                    <a:pt x="50993" y="7070"/>
                  </a:cubicBezTo>
                  <a:cubicBezTo>
                    <a:pt x="50261" y="7070"/>
                    <a:pt x="47033" y="5241"/>
                    <a:pt x="45507" y="4327"/>
                  </a:cubicBezTo>
                  <a:lnTo>
                    <a:pt x="39093" y="263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2" name="Freihandform: Form 257">
              <a:extLst>
                <a:ext uri="{FF2B5EF4-FFF2-40B4-BE49-F238E27FC236}">
                  <a16:creationId xmlns:a16="http://schemas.microsoft.com/office/drawing/2014/main" id="{90D5B7E9-82CA-044E-BD4D-93A61E174E51}"/>
                </a:ext>
              </a:extLst>
            </p:cNvPr>
            <p:cNvSpPr/>
            <p:nvPr/>
          </p:nvSpPr>
          <p:spPr>
            <a:xfrm>
              <a:off x="6411005" y="3651188"/>
              <a:ext cx="104040" cy="64249"/>
            </a:xfrm>
            <a:custGeom>
              <a:avLst/>
              <a:gdLst>
                <a:gd name="connsiteX0" fmla="*/ 12041 w 104040"/>
                <a:gd name="connsiteY0" fmla="*/ 7086 h 64249"/>
                <a:gd name="connsiteX1" fmla="*/ 12041 w 104040"/>
                <a:gd name="connsiteY1" fmla="*/ 7086 h 64249"/>
                <a:gd name="connsiteX2" fmla="*/ 13067 w 104040"/>
                <a:gd name="connsiteY2" fmla="*/ 8520 h 64249"/>
                <a:gd name="connsiteX3" fmla="*/ 14312 w 104040"/>
                <a:gd name="connsiteY3" fmla="*/ 11144 h 64249"/>
                <a:gd name="connsiteX4" fmla="*/ 14312 w 104040"/>
                <a:gd name="connsiteY4" fmla="*/ 11144 h 64249"/>
                <a:gd name="connsiteX5" fmla="*/ 14636 w 104040"/>
                <a:gd name="connsiteY5" fmla="*/ 14182 h 64249"/>
                <a:gd name="connsiteX6" fmla="*/ 14284 w 104040"/>
                <a:gd name="connsiteY6" fmla="*/ 16911 h 64249"/>
                <a:gd name="connsiteX7" fmla="*/ 13067 w 104040"/>
                <a:gd name="connsiteY7" fmla="*/ 20027 h 64249"/>
                <a:gd name="connsiteX8" fmla="*/ 10057 w 104040"/>
                <a:gd name="connsiteY8" fmla="*/ 19654 h 64249"/>
                <a:gd name="connsiteX9" fmla="*/ 10057 w 104040"/>
                <a:gd name="connsiteY9" fmla="*/ 19654 h 64249"/>
                <a:gd name="connsiteX10" fmla="*/ 7603 w 104040"/>
                <a:gd name="connsiteY10" fmla="*/ 19049 h 64249"/>
                <a:gd name="connsiteX11" fmla="*/ 6048 w 104040"/>
                <a:gd name="connsiteY11" fmla="*/ 21975 h 64249"/>
                <a:gd name="connsiteX12" fmla="*/ 5162 w 104040"/>
                <a:gd name="connsiteY12" fmla="*/ 26138 h 64249"/>
                <a:gd name="connsiteX13" fmla="*/ 4100 w 104040"/>
                <a:gd name="connsiteY13" fmla="*/ 28016 h 64249"/>
                <a:gd name="connsiteX14" fmla="*/ 3904 w 104040"/>
                <a:gd name="connsiteY14" fmla="*/ 31680 h 64249"/>
                <a:gd name="connsiteX15" fmla="*/ 4100 w 104040"/>
                <a:gd name="connsiteY15" fmla="*/ 34458 h 64249"/>
                <a:gd name="connsiteX16" fmla="*/ 0 w 104040"/>
                <a:gd name="connsiteY16" fmla="*/ 38003 h 64249"/>
                <a:gd name="connsiteX17" fmla="*/ 70 w 104040"/>
                <a:gd name="connsiteY17" fmla="*/ 38235 h 64249"/>
                <a:gd name="connsiteX18" fmla="*/ 3622 w 104040"/>
                <a:gd name="connsiteY18" fmla="*/ 46042 h 64249"/>
                <a:gd name="connsiteX19" fmla="*/ 7054 w 104040"/>
                <a:gd name="connsiteY19" fmla="*/ 49439 h 64249"/>
                <a:gd name="connsiteX20" fmla="*/ 10184 w 104040"/>
                <a:gd name="connsiteY20" fmla="*/ 52245 h 64249"/>
                <a:gd name="connsiteX21" fmla="*/ 30242 w 104040"/>
                <a:gd name="connsiteY21" fmla="*/ 64131 h 64249"/>
                <a:gd name="connsiteX22" fmla="*/ 51707 w 104040"/>
                <a:gd name="connsiteY22" fmla="*/ 56163 h 64249"/>
                <a:gd name="connsiteX23" fmla="*/ 58557 w 104040"/>
                <a:gd name="connsiteY23" fmla="*/ 55663 h 64249"/>
                <a:gd name="connsiteX24" fmla="*/ 70155 w 104040"/>
                <a:gd name="connsiteY24" fmla="*/ 54911 h 64249"/>
                <a:gd name="connsiteX25" fmla="*/ 81682 w 104040"/>
                <a:gd name="connsiteY25" fmla="*/ 44094 h 64249"/>
                <a:gd name="connsiteX26" fmla="*/ 83925 w 104040"/>
                <a:gd name="connsiteY26" fmla="*/ 39396 h 64249"/>
                <a:gd name="connsiteX27" fmla="*/ 83925 w 104040"/>
                <a:gd name="connsiteY27" fmla="*/ 39396 h 64249"/>
                <a:gd name="connsiteX28" fmla="*/ 83925 w 104040"/>
                <a:gd name="connsiteY28" fmla="*/ 39396 h 64249"/>
                <a:gd name="connsiteX29" fmla="*/ 87006 w 104040"/>
                <a:gd name="connsiteY29" fmla="*/ 33087 h 64249"/>
                <a:gd name="connsiteX30" fmla="*/ 91261 w 104040"/>
                <a:gd name="connsiteY30" fmla="*/ 24218 h 64249"/>
                <a:gd name="connsiteX31" fmla="*/ 92197 w 104040"/>
                <a:gd name="connsiteY31" fmla="*/ 22966 h 64249"/>
                <a:gd name="connsiteX32" fmla="*/ 97127 w 104040"/>
                <a:gd name="connsiteY32" fmla="*/ 18894 h 64249"/>
                <a:gd name="connsiteX33" fmla="*/ 99047 w 104040"/>
                <a:gd name="connsiteY33" fmla="*/ 18803 h 64249"/>
                <a:gd name="connsiteX34" fmla="*/ 101558 w 104040"/>
                <a:gd name="connsiteY34" fmla="*/ 17481 h 64249"/>
                <a:gd name="connsiteX35" fmla="*/ 104040 w 104040"/>
                <a:gd name="connsiteY35" fmla="*/ 13212 h 64249"/>
                <a:gd name="connsiteX36" fmla="*/ 98196 w 104040"/>
                <a:gd name="connsiteY36" fmla="*/ 7881 h 64249"/>
                <a:gd name="connsiteX37" fmla="*/ 92605 w 104040"/>
                <a:gd name="connsiteY37" fmla="*/ 2374 h 64249"/>
                <a:gd name="connsiteX38" fmla="*/ 92576 w 104040"/>
                <a:gd name="connsiteY38" fmla="*/ 2613 h 64249"/>
                <a:gd name="connsiteX39" fmla="*/ 90171 w 104040"/>
                <a:gd name="connsiteY39" fmla="*/ 4441 h 64249"/>
                <a:gd name="connsiteX40" fmla="*/ 88314 w 104040"/>
                <a:gd name="connsiteY40" fmla="*/ 4111 h 64249"/>
                <a:gd name="connsiteX41" fmla="*/ 85220 w 104040"/>
                <a:gd name="connsiteY41" fmla="*/ 3590 h 64249"/>
                <a:gd name="connsiteX42" fmla="*/ 83686 w 104040"/>
                <a:gd name="connsiteY42" fmla="*/ 2184 h 64249"/>
                <a:gd name="connsiteX43" fmla="*/ 83152 w 104040"/>
                <a:gd name="connsiteY43" fmla="*/ 1544 h 64249"/>
                <a:gd name="connsiteX44" fmla="*/ 82617 w 104040"/>
                <a:gd name="connsiteY44" fmla="*/ 1185 h 64249"/>
                <a:gd name="connsiteX45" fmla="*/ 80866 w 104040"/>
                <a:gd name="connsiteY45" fmla="*/ 327 h 64249"/>
                <a:gd name="connsiteX46" fmla="*/ 78679 w 104040"/>
                <a:gd name="connsiteY46" fmla="*/ 890 h 64249"/>
                <a:gd name="connsiteX47" fmla="*/ 76752 w 104040"/>
                <a:gd name="connsiteY47" fmla="*/ 1544 h 64249"/>
                <a:gd name="connsiteX48" fmla="*/ 74079 w 104040"/>
                <a:gd name="connsiteY48" fmla="*/ 475 h 64249"/>
                <a:gd name="connsiteX49" fmla="*/ 74079 w 104040"/>
                <a:gd name="connsiteY49" fmla="*/ 475 h 64249"/>
                <a:gd name="connsiteX50" fmla="*/ 73988 w 104040"/>
                <a:gd name="connsiteY50" fmla="*/ 327 h 64249"/>
                <a:gd name="connsiteX51" fmla="*/ 71090 w 104040"/>
                <a:gd name="connsiteY51" fmla="*/ 158 h 64249"/>
                <a:gd name="connsiteX52" fmla="*/ 69156 w 104040"/>
                <a:gd name="connsiteY52" fmla="*/ 327 h 64249"/>
                <a:gd name="connsiteX53" fmla="*/ 66920 w 104040"/>
                <a:gd name="connsiteY53" fmla="*/ 2824 h 64249"/>
                <a:gd name="connsiteX54" fmla="*/ 66920 w 104040"/>
                <a:gd name="connsiteY54" fmla="*/ 2824 h 64249"/>
                <a:gd name="connsiteX55" fmla="*/ 66617 w 104040"/>
                <a:gd name="connsiteY55" fmla="*/ 3590 h 64249"/>
                <a:gd name="connsiteX56" fmla="*/ 64585 w 104040"/>
                <a:gd name="connsiteY56" fmla="*/ 5890 h 64249"/>
                <a:gd name="connsiteX57" fmla="*/ 64585 w 104040"/>
                <a:gd name="connsiteY57" fmla="*/ 5890 h 64249"/>
                <a:gd name="connsiteX58" fmla="*/ 63713 w 104040"/>
                <a:gd name="connsiteY58" fmla="*/ 6727 h 64249"/>
                <a:gd name="connsiteX59" fmla="*/ 61132 w 104040"/>
                <a:gd name="connsiteY59" fmla="*/ 8197 h 64249"/>
                <a:gd name="connsiteX60" fmla="*/ 61132 w 104040"/>
                <a:gd name="connsiteY60" fmla="*/ 8197 h 64249"/>
                <a:gd name="connsiteX61" fmla="*/ 61132 w 104040"/>
                <a:gd name="connsiteY61" fmla="*/ 8197 h 64249"/>
                <a:gd name="connsiteX62" fmla="*/ 59239 w 104040"/>
                <a:gd name="connsiteY62" fmla="*/ 9154 h 64249"/>
                <a:gd name="connsiteX63" fmla="*/ 55385 w 104040"/>
                <a:gd name="connsiteY63" fmla="*/ 9154 h 64249"/>
                <a:gd name="connsiteX64" fmla="*/ 52003 w 104040"/>
                <a:gd name="connsiteY64" fmla="*/ 8296 h 64249"/>
                <a:gd name="connsiteX65" fmla="*/ 50722 w 104040"/>
                <a:gd name="connsiteY65" fmla="*/ 9681 h 64249"/>
                <a:gd name="connsiteX66" fmla="*/ 50314 w 104040"/>
                <a:gd name="connsiteY66" fmla="*/ 10722 h 64249"/>
                <a:gd name="connsiteX67" fmla="*/ 45251 w 104040"/>
                <a:gd name="connsiteY67" fmla="*/ 11798 h 64249"/>
                <a:gd name="connsiteX68" fmla="*/ 39920 w 104040"/>
                <a:gd name="connsiteY68" fmla="*/ 12888 h 64249"/>
                <a:gd name="connsiteX69" fmla="*/ 39603 w 104040"/>
                <a:gd name="connsiteY69" fmla="*/ 15912 h 64249"/>
                <a:gd name="connsiteX70" fmla="*/ 39920 w 104040"/>
                <a:gd name="connsiteY70" fmla="*/ 17361 h 64249"/>
                <a:gd name="connsiteX71" fmla="*/ 37163 w 104040"/>
                <a:gd name="connsiteY71" fmla="*/ 18191 h 64249"/>
                <a:gd name="connsiteX72" fmla="*/ 34617 w 104040"/>
                <a:gd name="connsiteY72" fmla="*/ 18578 h 64249"/>
                <a:gd name="connsiteX73" fmla="*/ 27521 w 104040"/>
                <a:gd name="connsiteY73" fmla="*/ 18683 h 64249"/>
                <a:gd name="connsiteX74" fmla="*/ 27521 w 104040"/>
                <a:gd name="connsiteY74" fmla="*/ 18683 h 64249"/>
                <a:gd name="connsiteX75" fmla="*/ 27521 w 104040"/>
                <a:gd name="connsiteY75" fmla="*/ 18683 h 64249"/>
                <a:gd name="connsiteX76" fmla="*/ 24834 w 104040"/>
                <a:gd name="connsiteY76" fmla="*/ 18578 h 64249"/>
                <a:gd name="connsiteX77" fmla="*/ 18293 w 104040"/>
                <a:gd name="connsiteY77" fmla="*/ 12888 h 64249"/>
                <a:gd name="connsiteX78" fmla="*/ 14826 w 104040"/>
                <a:gd name="connsiteY78" fmla="*/ 12037 h 64249"/>
                <a:gd name="connsiteX79" fmla="*/ 14312 w 104040"/>
                <a:gd name="connsiteY79" fmla="*/ 11144 h 64249"/>
                <a:gd name="connsiteX80" fmla="*/ 14312 w 104040"/>
                <a:gd name="connsiteY80" fmla="*/ 11144 h 64249"/>
                <a:gd name="connsiteX81" fmla="*/ 13067 w 104040"/>
                <a:gd name="connsiteY81" fmla="*/ 8520 h 64249"/>
                <a:gd name="connsiteX82" fmla="*/ 12041 w 104040"/>
                <a:gd name="connsiteY82" fmla="*/ 7086 h 6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104040" h="64249">
                  <a:moveTo>
                    <a:pt x="12041" y="7086"/>
                  </a:moveTo>
                  <a:lnTo>
                    <a:pt x="12041" y="7086"/>
                  </a:lnTo>
                  <a:cubicBezTo>
                    <a:pt x="12491" y="7423"/>
                    <a:pt x="12878" y="7866"/>
                    <a:pt x="13067" y="8520"/>
                  </a:cubicBezTo>
                  <a:cubicBezTo>
                    <a:pt x="13356" y="9533"/>
                    <a:pt x="13869" y="10398"/>
                    <a:pt x="14312" y="11144"/>
                  </a:cubicBezTo>
                  <a:lnTo>
                    <a:pt x="14312" y="11144"/>
                  </a:lnTo>
                  <a:cubicBezTo>
                    <a:pt x="15058" y="12396"/>
                    <a:pt x="15621" y="13338"/>
                    <a:pt x="14636" y="14182"/>
                  </a:cubicBezTo>
                  <a:cubicBezTo>
                    <a:pt x="13954" y="14773"/>
                    <a:pt x="14122" y="15842"/>
                    <a:pt x="14284" y="16911"/>
                  </a:cubicBezTo>
                  <a:cubicBezTo>
                    <a:pt x="14502" y="18311"/>
                    <a:pt x="14720" y="19703"/>
                    <a:pt x="13067" y="20027"/>
                  </a:cubicBezTo>
                  <a:cubicBezTo>
                    <a:pt x="11457" y="20343"/>
                    <a:pt x="10789" y="20013"/>
                    <a:pt x="10057" y="19654"/>
                  </a:cubicBezTo>
                  <a:lnTo>
                    <a:pt x="10057" y="19654"/>
                  </a:lnTo>
                  <a:cubicBezTo>
                    <a:pt x="9460" y="19366"/>
                    <a:pt x="8827" y="19049"/>
                    <a:pt x="7603" y="19049"/>
                  </a:cubicBezTo>
                  <a:cubicBezTo>
                    <a:pt x="4874" y="19049"/>
                    <a:pt x="4501" y="20421"/>
                    <a:pt x="6048" y="21975"/>
                  </a:cubicBezTo>
                  <a:cubicBezTo>
                    <a:pt x="7132" y="23058"/>
                    <a:pt x="6133" y="24626"/>
                    <a:pt x="5162" y="26138"/>
                  </a:cubicBezTo>
                  <a:cubicBezTo>
                    <a:pt x="4747" y="26793"/>
                    <a:pt x="4332" y="27432"/>
                    <a:pt x="4100" y="28016"/>
                  </a:cubicBezTo>
                  <a:cubicBezTo>
                    <a:pt x="3615" y="29247"/>
                    <a:pt x="3742" y="30323"/>
                    <a:pt x="3904" y="31680"/>
                  </a:cubicBezTo>
                  <a:cubicBezTo>
                    <a:pt x="3995" y="32482"/>
                    <a:pt x="4100" y="33375"/>
                    <a:pt x="4100" y="34458"/>
                  </a:cubicBezTo>
                  <a:cubicBezTo>
                    <a:pt x="4100" y="36041"/>
                    <a:pt x="2047" y="37047"/>
                    <a:pt x="0" y="38003"/>
                  </a:cubicBezTo>
                  <a:lnTo>
                    <a:pt x="70" y="38235"/>
                  </a:lnTo>
                  <a:cubicBezTo>
                    <a:pt x="1252" y="40366"/>
                    <a:pt x="3622" y="44917"/>
                    <a:pt x="3622" y="46042"/>
                  </a:cubicBezTo>
                  <a:cubicBezTo>
                    <a:pt x="3622" y="46823"/>
                    <a:pt x="5352" y="48145"/>
                    <a:pt x="7054" y="49439"/>
                  </a:cubicBezTo>
                  <a:cubicBezTo>
                    <a:pt x="8426" y="50487"/>
                    <a:pt x="9783" y="51528"/>
                    <a:pt x="10184" y="52245"/>
                  </a:cubicBezTo>
                  <a:cubicBezTo>
                    <a:pt x="11077" y="53856"/>
                    <a:pt x="23146" y="65545"/>
                    <a:pt x="30242" y="64131"/>
                  </a:cubicBezTo>
                  <a:cubicBezTo>
                    <a:pt x="37339" y="62724"/>
                    <a:pt x="49225" y="59187"/>
                    <a:pt x="51707" y="56163"/>
                  </a:cubicBezTo>
                  <a:cubicBezTo>
                    <a:pt x="52846" y="54777"/>
                    <a:pt x="55442" y="55178"/>
                    <a:pt x="58557" y="55663"/>
                  </a:cubicBezTo>
                  <a:cubicBezTo>
                    <a:pt x="62222" y="56240"/>
                    <a:pt x="66603" y="56922"/>
                    <a:pt x="70155" y="54911"/>
                  </a:cubicBezTo>
                  <a:cubicBezTo>
                    <a:pt x="76710" y="51190"/>
                    <a:pt x="81323" y="46063"/>
                    <a:pt x="81682" y="44094"/>
                  </a:cubicBezTo>
                  <a:cubicBezTo>
                    <a:pt x="81858" y="43137"/>
                    <a:pt x="82828" y="41379"/>
                    <a:pt x="83925" y="39396"/>
                  </a:cubicBezTo>
                  <a:lnTo>
                    <a:pt x="83925" y="39396"/>
                  </a:lnTo>
                  <a:lnTo>
                    <a:pt x="83925" y="39396"/>
                  </a:lnTo>
                  <a:cubicBezTo>
                    <a:pt x="85079" y="37314"/>
                    <a:pt x="86366" y="34986"/>
                    <a:pt x="87006" y="33087"/>
                  </a:cubicBezTo>
                  <a:cubicBezTo>
                    <a:pt x="88258" y="29367"/>
                    <a:pt x="89475" y="26525"/>
                    <a:pt x="91261" y="24218"/>
                  </a:cubicBezTo>
                  <a:cubicBezTo>
                    <a:pt x="91585" y="23811"/>
                    <a:pt x="91887" y="23381"/>
                    <a:pt x="92197" y="22966"/>
                  </a:cubicBezTo>
                  <a:cubicBezTo>
                    <a:pt x="93596" y="21032"/>
                    <a:pt x="94939" y="19190"/>
                    <a:pt x="97127" y="18894"/>
                  </a:cubicBezTo>
                  <a:cubicBezTo>
                    <a:pt x="97957" y="18782"/>
                    <a:pt x="98561" y="18796"/>
                    <a:pt x="99047" y="18803"/>
                  </a:cubicBezTo>
                  <a:cubicBezTo>
                    <a:pt x="100109" y="18824"/>
                    <a:pt x="100573" y="18838"/>
                    <a:pt x="101558" y="17481"/>
                  </a:cubicBezTo>
                  <a:cubicBezTo>
                    <a:pt x="102704" y="15905"/>
                    <a:pt x="103688" y="13978"/>
                    <a:pt x="104040" y="13212"/>
                  </a:cubicBezTo>
                  <a:cubicBezTo>
                    <a:pt x="102451" y="12023"/>
                    <a:pt x="99061" y="9294"/>
                    <a:pt x="98196" y="7881"/>
                  </a:cubicBezTo>
                  <a:cubicBezTo>
                    <a:pt x="97781" y="7191"/>
                    <a:pt x="95425" y="4948"/>
                    <a:pt x="92605" y="2374"/>
                  </a:cubicBezTo>
                  <a:cubicBezTo>
                    <a:pt x="92597" y="2458"/>
                    <a:pt x="92583" y="2536"/>
                    <a:pt x="92576" y="2613"/>
                  </a:cubicBezTo>
                  <a:cubicBezTo>
                    <a:pt x="92436" y="3689"/>
                    <a:pt x="90762" y="4441"/>
                    <a:pt x="90171" y="4441"/>
                  </a:cubicBezTo>
                  <a:cubicBezTo>
                    <a:pt x="89911" y="4441"/>
                    <a:pt x="89172" y="4287"/>
                    <a:pt x="88314" y="4111"/>
                  </a:cubicBezTo>
                  <a:cubicBezTo>
                    <a:pt x="87175" y="3872"/>
                    <a:pt x="85831" y="3590"/>
                    <a:pt x="85220" y="3590"/>
                  </a:cubicBezTo>
                  <a:cubicBezTo>
                    <a:pt x="84545" y="3590"/>
                    <a:pt x="84052" y="2782"/>
                    <a:pt x="83686" y="2184"/>
                  </a:cubicBezTo>
                  <a:cubicBezTo>
                    <a:pt x="83468" y="1825"/>
                    <a:pt x="83293" y="1544"/>
                    <a:pt x="83152" y="1544"/>
                  </a:cubicBezTo>
                  <a:cubicBezTo>
                    <a:pt x="83018" y="1544"/>
                    <a:pt x="82842" y="1382"/>
                    <a:pt x="82617" y="1185"/>
                  </a:cubicBezTo>
                  <a:cubicBezTo>
                    <a:pt x="82209" y="826"/>
                    <a:pt x="81647" y="327"/>
                    <a:pt x="80866" y="327"/>
                  </a:cubicBezTo>
                  <a:cubicBezTo>
                    <a:pt x="80149" y="327"/>
                    <a:pt x="79488" y="587"/>
                    <a:pt x="78679" y="890"/>
                  </a:cubicBezTo>
                  <a:cubicBezTo>
                    <a:pt x="78123" y="1108"/>
                    <a:pt x="77504" y="1347"/>
                    <a:pt x="76752" y="1544"/>
                  </a:cubicBezTo>
                  <a:cubicBezTo>
                    <a:pt x="75043" y="1987"/>
                    <a:pt x="74529" y="1178"/>
                    <a:pt x="74079" y="475"/>
                  </a:cubicBezTo>
                  <a:lnTo>
                    <a:pt x="74079" y="475"/>
                  </a:lnTo>
                  <a:cubicBezTo>
                    <a:pt x="74051" y="426"/>
                    <a:pt x="74023" y="376"/>
                    <a:pt x="73988" y="327"/>
                  </a:cubicBezTo>
                  <a:cubicBezTo>
                    <a:pt x="73671" y="-158"/>
                    <a:pt x="72405" y="-3"/>
                    <a:pt x="71090" y="158"/>
                  </a:cubicBezTo>
                  <a:cubicBezTo>
                    <a:pt x="70415" y="243"/>
                    <a:pt x="69733" y="327"/>
                    <a:pt x="69156" y="327"/>
                  </a:cubicBezTo>
                  <a:cubicBezTo>
                    <a:pt x="67827" y="327"/>
                    <a:pt x="67314" y="1748"/>
                    <a:pt x="66920" y="2824"/>
                  </a:cubicBezTo>
                  <a:lnTo>
                    <a:pt x="66920" y="2824"/>
                  </a:lnTo>
                  <a:cubicBezTo>
                    <a:pt x="66814" y="3119"/>
                    <a:pt x="66716" y="3379"/>
                    <a:pt x="66617" y="3590"/>
                  </a:cubicBezTo>
                  <a:cubicBezTo>
                    <a:pt x="66259" y="4308"/>
                    <a:pt x="65436" y="5088"/>
                    <a:pt x="64585" y="5890"/>
                  </a:cubicBezTo>
                  <a:lnTo>
                    <a:pt x="64585" y="5890"/>
                  </a:lnTo>
                  <a:cubicBezTo>
                    <a:pt x="64289" y="6165"/>
                    <a:pt x="63994" y="6446"/>
                    <a:pt x="63713" y="6727"/>
                  </a:cubicBezTo>
                  <a:cubicBezTo>
                    <a:pt x="63080" y="7360"/>
                    <a:pt x="62095" y="7789"/>
                    <a:pt x="61132" y="8197"/>
                  </a:cubicBezTo>
                  <a:lnTo>
                    <a:pt x="61132" y="8197"/>
                  </a:lnTo>
                  <a:lnTo>
                    <a:pt x="61132" y="8197"/>
                  </a:lnTo>
                  <a:cubicBezTo>
                    <a:pt x="60435" y="8500"/>
                    <a:pt x="59753" y="8795"/>
                    <a:pt x="59239" y="9154"/>
                  </a:cubicBezTo>
                  <a:cubicBezTo>
                    <a:pt x="58030" y="10005"/>
                    <a:pt x="56834" y="9751"/>
                    <a:pt x="55385" y="9154"/>
                  </a:cubicBezTo>
                  <a:cubicBezTo>
                    <a:pt x="53937" y="8556"/>
                    <a:pt x="53219" y="8296"/>
                    <a:pt x="52003" y="8296"/>
                  </a:cubicBezTo>
                  <a:cubicBezTo>
                    <a:pt x="51173" y="8296"/>
                    <a:pt x="50969" y="8928"/>
                    <a:pt x="50722" y="9681"/>
                  </a:cubicBezTo>
                  <a:cubicBezTo>
                    <a:pt x="50617" y="10019"/>
                    <a:pt x="50504" y="10384"/>
                    <a:pt x="50314" y="10722"/>
                  </a:cubicBezTo>
                  <a:cubicBezTo>
                    <a:pt x="49836" y="11601"/>
                    <a:pt x="46735" y="11805"/>
                    <a:pt x="45251" y="11798"/>
                  </a:cubicBezTo>
                  <a:cubicBezTo>
                    <a:pt x="44034" y="12164"/>
                    <a:pt x="41270" y="12888"/>
                    <a:pt x="39920" y="12888"/>
                  </a:cubicBezTo>
                  <a:cubicBezTo>
                    <a:pt x="38738" y="12888"/>
                    <a:pt x="39209" y="14541"/>
                    <a:pt x="39603" y="15912"/>
                  </a:cubicBezTo>
                  <a:cubicBezTo>
                    <a:pt x="39765" y="16496"/>
                    <a:pt x="39920" y="17031"/>
                    <a:pt x="39920" y="17361"/>
                  </a:cubicBezTo>
                  <a:cubicBezTo>
                    <a:pt x="39920" y="18008"/>
                    <a:pt x="38570" y="18100"/>
                    <a:pt x="37163" y="18191"/>
                  </a:cubicBezTo>
                  <a:cubicBezTo>
                    <a:pt x="36199" y="18254"/>
                    <a:pt x="35208" y="18325"/>
                    <a:pt x="34617" y="18578"/>
                  </a:cubicBezTo>
                  <a:cubicBezTo>
                    <a:pt x="33583" y="19014"/>
                    <a:pt x="30186" y="18831"/>
                    <a:pt x="27521" y="18683"/>
                  </a:cubicBezTo>
                  <a:lnTo>
                    <a:pt x="27521" y="18683"/>
                  </a:lnTo>
                  <a:lnTo>
                    <a:pt x="27521" y="18683"/>
                  </a:lnTo>
                  <a:cubicBezTo>
                    <a:pt x="26430" y="18627"/>
                    <a:pt x="25467" y="18578"/>
                    <a:pt x="24834" y="18578"/>
                  </a:cubicBezTo>
                  <a:cubicBezTo>
                    <a:pt x="22668" y="18578"/>
                    <a:pt x="18673" y="13866"/>
                    <a:pt x="18293" y="12888"/>
                  </a:cubicBezTo>
                  <a:cubicBezTo>
                    <a:pt x="18138" y="12480"/>
                    <a:pt x="16605" y="12206"/>
                    <a:pt x="14826" y="12037"/>
                  </a:cubicBezTo>
                  <a:cubicBezTo>
                    <a:pt x="14678" y="11756"/>
                    <a:pt x="14502" y="11460"/>
                    <a:pt x="14312" y="11144"/>
                  </a:cubicBezTo>
                  <a:lnTo>
                    <a:pt x="14312" y="11144"/>
                  </a:lnTo>
                  <a:cubicBezTo>
                    <a:pt x="13869" y="10398"/>
                    <a:pt x="13356" y="9533"/>
                    <a:pt x="13067" y="8520"/>
                  </a:cubicBezTo>
                  <a:cubicBezTo>
                    <a:pt x="12878" y="7866"/>
                    <a:pt x="12491" y="7423"/>
                    <a:pt x="12041" y="708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3" name="Freihandform: Form 258">
              <a:extLst>
                <a:ext uri="{FF2B5EF4-FFF2-40B4-BE49-F238E27FC236}">
                  <a16:creationId xmlns:a16="http://schemas.microsoft.com/office/drawing/2014/main" id="{1FD92F30-9663-E045-BDDC-811EAA2C74CF}"/>
                </a:ext>
              </a:extLst>
            </p:cNvPr>
            <p:cNvSpPr/>
            <p:nvPr/>
          </p:nvSpPr>
          <p:spPr>
            <a:xfrm>
              <a:off x="6444341" y="3764973"/>
              <a:ext cx="31451" cy="34721"/>
            </a:xfrm>
            <a:custGeom>
              <a:avLst/>
              <a:gdLst>
                <a:gd name="connsiteX0" fmla="*/ 1533 w 31451"/>
                <a:gd name="connsiteY0" fmla="*/ 21148 h 34721"/>
                <a:gd name="connsiteX1" fmla="*/ 0 w 31451"/>
                <a:gd name="connsiteY1" fmla="*/ 19263 h 34721"/>
                <a:gd name="connsiteX2" fmla="*/ 999 w 31451"/>
                <a:gd name="connsiteY2" fmla="*/ 22084 h 34721"/>
                <a:gd name="connsiteX3" fmla="*/ 3087 w 31451"/>
                <a:gd name="connsiteY3" fmla="*/ 23293 h 34721"/>
                <a:gd name="connsiteX4" fmla="*/ 6189 w 31451"/>
                <a:gd name="connsiteY4" fmla="*/ 21648 h 34721"/>
                <a:gd name="connsiteX5" fmla="*/ 6189 w 31451"/>
                <a:gd name="connsiteY5" fmla="*/ 25108 h 34721"/>
                <a:gd name="connsiteX6" fmla="*/ 11872 w 31451"/>
                <a:gd name="connsiteY6" fmla="*/ 30573 h 34721"/>
                <a:gd name="connsiteX7" fmla="*/ 14178 w 31451"/>
                <a:gd name="connsiteY7" fmla="*/ 34026 h 34721"/>
                <a:gd name="connsiteX8" fmla="*/ 16345 w 31451"/>
                <a:gd name="connsiteY8" fmla="*/ 34026 h 34721"/>
                <a:gd name="connsiteX9" fmla="*/ 14671 w 31451"/>
                <a:gd name="connsiteY9" fmla="*/ 27471 h 34721"/>
                <a:gd name="connsiteX10" fmla="*/ 19425 w 31451"/>
                <a:gd name="connsiteY10" fmla="*/ 19418 h 34721"/>
                <a:gd name="connsiteX11" fmla="*/ 23758 w 31451"/>
                <a:gd name="connsiteY11" fmla="*/ 21648 h 34721"/>
                <a:gd name="connsiteX12" fmla="*/ 27415 w 31451"/>
                <a:gd name="connsiteY12" fmla="*/ 19418 h 34721"/>
                <a:gd name="connsiteX13" fmla="*/ 26697 w 31451"/>
                <a:gd name="connsiteY13" fmla="*/ 16457 h 34721"/>
                <a:gd name="connsiteX14" fmla="*/ 31452 w 31451"/>
                <a:gd name="connsiteY14" fmla="*/ 13518 h 34721"/>
                <a:gd name="connsiteX15" fmla="*/ 25902 w 31451"/>
                <a:gd name="connsiteY15" fmla="*/ 9185 h 34721"/>
                <a:gd name="connsiteX16" fmla="*/ 22091 w 31451"/>
                <a:gd name="connsiteY16" fmla="*/ 8053 h 34721"/>
                <a:gd name="connsiteX17" fmla="*/ 17477 w 31451"/>
                <a:gd name="connsiteY17" fmla="*/ 4234 h 34721"/>
                <a:gd name="connsiteX18" fmla="*/ 12589 w 31451"/>
                <a:gd name="connsiteY18" fmla="*/ 556 h 34721"/>
                <a:gd name="connsiteX19" fmla="*/ 11168 w 31451"/>
                <a:gd name="connsiteY19" fmla="*/ 0 h 34721"/>
                <a:gd name="connsiteX20" fmla="*/ 10556 w 31451"/>
                <a:gd name="connsiteY20" fmla="*/ 739 h 34721"/>
                <a:gd name="connsiteX21" fmla="*/ 10556 w 31451"/>
                <a:gd name="connsiteY21" fmla="*/ 4529 h 34721"/>
                <a:gd name="connsiteX22" fmla="*/ 6245 w 31451"/>
                <a:gd name="connsiteY22" fmla="*/ 4529 h 34721"/>
                <a:gd name="connsiteX23" fmla="*/ 5071 w 31451"/>
                <a:gd name="connsiteY23" fmla="*/ 6759 h 34721"/>
                <a:gd name="connsiteX24" fmla="*/ 4388 w 31451"/>
                <a:gd name="connsiteY24" fmla="*/ 8186 h 34721"/>
                <a:gd name="connsiteX25" fmla="*/ 3362 w 31451"/>
                <a:gd name="connsiteY25" fmla="*/ 10015 h 34721"/>
                <a:gd name="connsiteX26" fmla="*/ 1533 w 31451"/>
                <a:gd name="connsiteY26" fmla="*/ 13813 h 34721"/>
                <a:gd name="connsiteX27" fmla="*/ 3362 w 31451"/>
                <a:gd name="connsiteY27" fmla="*/ 17611 h 34721"/>
                <a:gd name="connsiteX28" fmla="*/ 1533 w 31451"/>
                <a:gd name="connsiteY28" fmla="*/ 21148 h 34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1451" h="34721">
                  <a:moveTo>
                    <a:pt x="1533" y="21148"/>
                  </a:moveTo>
                  <a:lnTo>
                    <a:pt x="0" y="19263"/>
                  </a:lnTo>
                  <a:lnTo>
                    <a:pt x="999" y="22084"/>
                  </a:lnTo>
                  <a:lnTo>
                    <a:pt x="3087" y="23293"/>
                  </a:lnTo>
                  <a:lnTo>
                    <a:pt x="6189" y="21648"/>
                  </a:lnTo>
                  <a:lnTo>
                    <a:pt x="6189" y="25108"/>
                  </a:lnTo>
                  <a:lnTo>
                    <a:pt x="11872" y="30573"/>
                  </a:lnTo>
                  <a:lnTo>
                    <a:pt x="14178" y="34026"/>
                  </a:lnTo>
                  <a:cubicBezTo>
                    <a:pt x="14727" y="34553"/>
                    <a:pt x="15930" y="35285"/>
                    <a:pt x="16345" y="34026"/>
                  </a:cubicBezTo>
                  <a:cubicBezTo>
                    <a:pt x="16759" y="32774"/>
                    <a:pt x="15402" y="29131"/>
                    <a:pt x="14671" y="27471"/>
                  </a:cubicBezTo>
                  <a:lnTo>
                    <a:pt x="19425" y="19418"/>
                  </a:lnTo>
                  <a:lnTo>
                    <a:pt x="23758" y="21648"/>
                  </a:lnTo>
                  <a:lnTo>
                    <a:pt x="27415" y="19418"/>
                  </a:lnTo>
                  <a:lnTo>
                    <a:pt x="26697" y="16457"/>
                  </a:lnTo>
                  <a:lnTo>
                    <a:pt x="31452" y="13518"/>
                  </a:lnTo>
                  <a:lnTo>
                    <a:pt x="25902" y="9185"/>
                  </a:lnTo>
                  <a:cubicBezTo>
                    <a:pt x="24777" y="8897"/>
                    <a:pt x="22435" y="8271"/>
                    <a:pt x="22091" y="8053"/>
                  </a:cubicBezTo>
                  <a:cubicBezTo>
                    <a:pt x="21648" y="7772"/>
                    <a:pt x="17857" y="4867"/>
                    <a:pt x="17477" y="4234"/>
                  </a:cubicBezTo>
                  <a:cubicBezTo>
                    <a:pt x="17175" y="3728"/>
                    <a:pt x="14094" y="1568"/>
                    <a:pt x="12589" y="556"/>
                  </a:cubicBezTo>
                  <a:lnTo>
                    <a:pt x="11168" y="0"/>
                  </a:lnTo>
                  <a:cubicBezTo>
                    <a:pt x="10718" y="274"/>
                    <a:pt x="10556" y="549"/>
                    <a:pt x="10556" y="739"/>
                  </a:cubicBezTo>
                  <a:cubicBezTo>
                    <a:pt x="11168" y="2004"/>
                    <a:pt x="12019" y="4529"/>
                    <a:pt x="10556" y="4529"/>
                  </a:cubicBezTo>
                  <a:lnTo>
                    <a:pt x="6245" y="4529"/>
                  </a:lnTo>
                  <a:cubicBezTo>
                    <a:pt x="6119" y="4797"/>
                    <a:pt x="5711" y="5612"/>
                    <a:pt x="5071" y="6759"/>
                  </a:cubicBezTo>
                  <a:cubicBezTo>
                    <a:pt x="4754" y="7335"/>
                    <a:pt x="4564" y="7779"/>
                    <a:pt x="4388" y="8186"/>
                  </a:cubicBezTo>
                  <a:cubicBezTo>
                    <a:pt x="4128" y="8791"/>
                    <a:pt x="3910" y="9305"/>
                    <a:pt x="3362" y="10015"/>
                  </a:cubicBezTo>
                  <a:cubicBezTo>
                    <a:pt x="2447" y="11211"/>
                    <a:pt x="1533" y="13159"/>
                    <a:pt x="1533" y="13813"/>
                  </a:cubicBezTo>
                  <a:cubicBezTo>
                    <a:pt x="1533" y="14340"/>
                    <a:pt x="2757" y="16563"/>
                    <a:pt x="3362" y="17611"/>
                  </a:cubicBezTo>
                  <a:lnTo>
                    <a:pt x="1533" y="2114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4" name="Freihandform: Form 259">
              <a:extLst>
                <a:ext uri="{FF2B5EF4-FFF2-40B4-BE49-F238E27FC236}">
                  <a16:creationId xmlns:a16="http://schemas.microsoft.com/office/drawing/2014/main" id="{13051B05-1823-BD46-A201-B771A27D2C5A}"/>
                </a:ext>
              </a:extLst>
            </p:cNvPr>
            <p:cNvSpPr/>
            <p:nvPr/>
          </p:nvSpPr>
          <p:spPr>
            <a:xfrm>
              <a:off x="6459012" y="3784391"/>
              <a:ext cx="26739" cy="61061"/>
            </a:xfrm>
            <a:custGeom>
              <a:avLst/>
              <a:gdLst>
                <a:gd name="connsiteX0" fmla="*/ 1737 w 26739"/>
                <a:gd name="connsiteY0" fmla="*/ 13743 h 61061"/>
                <a:gd name="connsiteX1" fmla="*/ 3594 w 26739"/>
                <a:gd name="connsiteY1" fmla="*/ 14340 h 61061"/>
                <a:gd name="connsiteX2" fmla="*/ 4874 w 26739"/>
                <a:gd name="connsiteY2" fmla="*/ 14833 h 61061"/>
                <a:gd name="connsiteX3" fmla="*/ 4902 w 26739"/>
                <a:gd name="connsiteY3" fmla="*/ 15431 h 61061"/>
                <a:gd name="connsiteX4" fmla="*/ 4874 w 26739"/>
                <a:gd name="connsiteY4" fmla="*/ 18525 h 61061"/>
                <a:gd name="connsiteX5" fmla="*/ 3460 w 26739"/>
                <a:gd name="connsiteY5" fmla="*/ 21725 h 61061"/>
                <a:gd name="connsiteX6" fmla="*/ 2898 w 26739"/>
                <a:gd name="connsiteY6" fmla="*/ 22879 h 61061"/>
                <a:gd name="connsiteX7" fmla="*/ 2152 w 26739"/>
                <a:gd name="connsiteY7" fmla="*/ 23751 h 61061"/>
                <a:gd name="connsiteX8" fmla="*/ 3460 w 26739"/>
                <a:gd name="connsiteY8" fmla="*/ 26240 h 61061"/>
                <a:gd name="connsiteX9" fmla="*/ 3608 w 26739"/>
                <a:gd name="connsiteY9" fmla="*/ 28125 h 61061"/>
                <a:gd name="connsiteX10" fmla="*/ 3460 w 26739"/>
                <a:gd name="connsiteY10" fmla="*/ 29581 h 61061"/>
                <a:gd name="connsiteX11" fmla="*/ 3460 w 26739"/>
                <a:gd name="connsiteY11" fmla="*/ 32781 h 61061"/>
                <a:gd name="connsiteX12" fmla="*/ 2862 w 26739"/>
                <a:gd name="connsiteY12" fmla="*/ 35862 h 61061"/>
                <a:gd name="connsiteX13" fmla="*/ 1885 w 26739"/>
                <a:gd name="connsiteY13" fmla="*/ 37789 h 61061"/>
                <a:gd name="connsiteX14" fmla="*/ 1435 w 26739"/>
                <a:gd name="connsiteY14" fmla="*/ 38605 h 61061"/>
                <a:gd name="connsiteX15" fmla="*/ 1435 w 26739"/>
                <a:gd name="connsiteY15" fmla="*/ 42634 h 61061"/>
                <a:gd name="connsiteX16" fmla="*/ 3460 w 26739"/>
                <a:gd name="connsiteY16" fmla="*/ 44787 h 61061"/>
                <a:gd name="connsiteX17" fmla="*/ 2862 w 26739"/>
                <a:gd name="connsiteY17" fmla="*/ 47150 h 61061"/>
                <a:gd name="connsiteX18" fmla="*/ 1435 w 26739"/>
                <a:gd name="connsiteY18" fmla="*/ 44787 h 61061"/>
                <a:gd name="connsiteX19" fmla="*/ 120 w 26739"/>
                <a:gd name="connsiteY19" fmla="*/ 45975 h 61061"/>
                <a:gd name="connsiteX20" fmla="*/ 2152 w 26739"/>
                <a:gd name="connsiteY20" fmla="*/ 48697 h 61061"/>
                <a:gd name="connsiteX21" fmla="*/ 5823 w 26739"/>
                <a:gd name="connsiteY21" fmla="*/ 52256 h 61061"/>
                <a:gd name="connsiteX22" fmla="*/ 8805 w 26739"/>
                <a:gd name="connsiteY22" fmla="*/ 54401 h 61061"/>
                <a:gd name="connsiteX23" fmla="*/ 11766 w 26739"/>
                <a:gd name="connsiteY23" fmla="*/ 57010 h 61061"/>
                <a:gd name="connsiteX24" fmla="*/ 12364 w 26739"/>
                <a:gd name="connsiteY24" fmla="*/ 61061 h 61061"/>
                <a:gd name="connsiteX25" fmla="*/ 15086 w 26739"/>
                <a:gd name="connsiteY25" fmla="*/ 60111 h 61061"/>
                <a:gd name="connsiteX26" fmla="*/ 15923 w 26739"/>
                <a:gd name="connsiteY26" fmla="*/ 58796 h 61061"/>
                <a:gd name="connsiteX27" fmla="*/ 15923 w 26739"/>
                <a:gd name="connsiteY27" fmla="*/ 57010 h 61061"/>
                <a:gd name="connsiteX28" fmla="*/ 15086 w 26739"/>
                <a:gd name="connsiteY28" fmla="*/ 54401 h 61061"/>
                <a:gd name="connsiteX29" fmla="*/ 16999 w 26739"/>
                <a:gd name="connsiteY29" fmla="*/ 54401 h 61061"/>
                <a:gd name="connsiteX30" fmla="*/ 20199 w 26739"/>
                <a:gd name="connsiteY30" fmla="*/ 52256 h 61061"/>
                <a:gd name="connsiteX31" fmla="*/ 21746 w 26739"/>
                <a:gd name="connsiteY31" fmla="*/ 49414 h 61061"/>
                <a:gd name="connsiteX32" fmla="*/ 24011 w 26739"/>
                <a:gd name="connsiteY32" fmla="*/ 45975 h 61061"/>
                <a:gd name="connsiteX33" fmla="*/ 25663 w 26739"/>
                <a:gd name="connsiteY33" fmla="*/ 44787 h 61061"/>
                <a:gd name="connsiteX34" fmla="*/ 26740 w 26739"/>
                <a:gd name="connsiteY34" fmla="*/ 42634 h 61061"/>
                <a:gd name="connsiteX35" fmla="*/ 26740 w 26739"/>
                <a:gd name="connsiteY35" fmla="*/ 40271 h 61061"/>
                <a:gd name="connsiteX36" fmla="*/ 25663 w 26739"/>
                <a:gd name="connsiteY36" fmla="*/ 37289 h 61061"/>
                <a:gd name="connsiteX37" fmla="*/ 24011 w 26739"/>
                <a:gd name="connsiteY37" fmla="*/ 34568 h 61061"/>
                <a:gd name="connsiteX38" fmla="*/ 21746 w 26739"/>
                <a:gd name="connsiteY38" fmla="*/ 32183 h 61061"/>
                <a:gd name="connsiteX39" fmla="*/ 20199 w 26739"/>
                <a:gd name="connsiteY39" fmla="*/ 28864 h 61061"/>
                <a:gd name="connsiteX40" fmla="*/ 18666 w 26739"/>
                <a:gd name="connsiteY40" fmla="*/ 23751 h 61061"/>
                <a:gd name="connsiteX41" fmla="*/ 18666 w 26739"/>
                <a:gd name="connsiteY41" fmla="*/ 20776 h 61061"/>
                <a:gd name="connsiteX42" fmla="*/ 20199 w 26739"/>
                <a:gd name="connsiteY42" fmla="*/ 16739 h 61061"/>
                <a:gd name="connsiteX43" fmla="*/ 20199 w 26739"/>
                <a:gd name="connsiteY43" fmla="*/ 12343 h 61061"/>
                <a:gd name="connsiteX44" fmla="*/ 18666 w 26739"/>
                <a:gd name="connsiteY44" fmla="*/ 7715 h 61061"/>
                <a:gd name="connsiteX45" fmla="*/ 16464 w 26739"/>
                <a:gd name="connsiteY45" fmla="*/ 6189 h 61061"/>
                <a:gd name="connsiteX46" fmla="*/ 15086 w 26739"/>
                <a:gd name="connsiteY46" fmla="*/ 5451 h 61061"/>
                <a:gd name="connsiteX47" fmla="*/ 13996 w 26739"/>
                <a:gd name="connsiteY47" fmla="*/ 3285 h 61061"/>
                <a:gd name="connsiteX48" fmla="*/ 13679 w 26739"/>
                <a:gd name="connsiteY48" fmla="*/ 2363 h 61061"/>
                <a:gd name="connsiteX49" fmla="*/ 11443 w 26739"/>
                <a:gd name="connsiteY49" fmla="*/ 795 h 61061"/>
                <a:gd name="connsiteX50" fmla="*/ 9087 w 26739"/>
                <a:gd name="connsiteY50" fmla="*/ 2230 h 61061"/>
                <a:gd name="connsiteX51" fmla="*/ 4754 w 26739"/>
                <a:gd name="connsiteY51" fmla="*/ 0 h 61061"/>
                <a:gd name="connsiteX52" fmla="*/ 0 w 26739"/>
                <a:gd name="connsiteY52" fmla="*/ 8053 h 61061"/>
                <a:gd name="connsiteX53" fmla="*/ 1737 w 26739"/>
                <a:gd name="connsiteY53" fmla="*/ 13743 h 6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6739" h="61061">
                  <a:moveTo>
                    <a:pt x="1737" y="13743"/>
                  </a:moveTo>
                  <a:cubicBezTo>
                    <a:pt x="2152" y="14017"/>
                    <a:pt x="2919" y="14193"/>
                    <a:pt x="3594" y="14340"/>
                  </a:cubicBezTo>
                  <a:cubicBezTo>
                    <a:pt x="4283" y="14502"/>
                    <a:pt x="4874" y="14629"/>
                    <a:pt x="4874" y="14833"/>
                  </a:cubicBezTo>
                  <a:cubicBezTo>
                    <a:pt x="4874" y="14945"/>
                    <a:pt x="4888" y="15156"/>
                    <a:pt x="4902" y="15431"/>
                  </a:cubicBezTo>
                  <a:cubicBezTo>
                    <a:pt x="4958" y="16282"/>
                    <a:pt x="5057" y="17709"/>
                    <a:pt x="4874" y="18525"/>
                  </a:cubicBezTo>
                  <a:cubicBezTo>
                    <a:pt x="4635" y="19601"/>
                    <a:pt x="4157" y="20776"/>
                    <a:pt x="3460" y="21725"/>
                  </a:cubicBezTo>
                  <a:cubicBezTo>
                    <a:pt x="3179" y="22119"/>
                    <a:pt x="3024" y="22527"/>
                    <a:pt x="2898" y="22879"/>
                  </a:cubicBezTo>
                  <a:cubicBezTo>
                    <a:pt x="2708" y="23378"/>
                    <a:pt x="2574" y="23751"/>
                    <a:pt x="2152" y="23751"/>
                  </a:cubicBezTo>
                  <a:cubicBezTo>
                    <a:pt x="1435" y="23751"/>
                    <a:pt x="2862" y="25523"/>
                    <a:pt x="3460" y="26240"/>
                  </a:cubicBezTo>
                  <a:cubicBezTo>
                    <a:pt x="3840" y="26698"/>
                    <a:pt x="3735" y="27345"/>
                    <a:pt x="3608" y="28125"/>
                  </a:cubicBezTo>
                  <a:cubicBezTo>
                    <a:pt x="3537" y="28568"/>
                    <a:pt x="3460" y="29061"/>
                    <a:pt x="3460" y="29581"/>
                  </a:cubicBezTo>
                  <a:lnTo>
                    <a:pt x="3460" y="32781"/>
                  </a:lnTo>
                  <a:cubicBezTo>
                    <a:pt x="3460" y="33970"/>
                    <a:pt x="3460" y="34568"/>
                    <a:pt x="2862" y="35862"/>
                  </a:cubicBezTo>
                  <a:cubicBezTo>
                    <a:pt x="2419" y="36825"/>
                    <a:pt x="2244" y="37142"/>
                    <a:pt x="1885" y="37789"/>
                  </a:cubicBezTo>
                  <a:cubicBezTo>
                    <a:pt x="1758" y="38007"/>
                    <a:pt x="1617" y="38267"/>
                    <a:pt x="1435" y="38605"/>
                  </a:cubicBezTo>
                  <a:cubicBezTo>
                    <a:pt x="858" y="39652"/>
                    <a:pt x="1196" y="41727"/>
                    <a:pt x="1435" y="42634"/>
                  </a:cubicBezTo>
                  <a:lnTo>
                    <a:pt x="3460" y="44787"/>
                  </a:lnTo>
                  <a:lnTo>
                    <a:pt x="2862" y="47150"/>
                  </a:lnTo>
                  <a:lnTo>
                    <a:pt x="1435" y="44787"/>
                  </a:lnTo>
                  <a:lnTo>
                    <a:pt x="120" y="45975"/>
                  </a:lnTo>
                  <a:lnTo>
                    <a:pt x="2152" y="48697"/>
                  </a:lnTo>
                  <a:cubicBezTo>
                    <a:pt x="3137" y="49653"/>
                    <a:pt x="5253" y="51700"/>
                    <a:pt x="5823" y="52256"/>
                  </a:cubicBezTo>
                  <a:cubicBezTo>
                    <a:pt x="6400" y="52811"/>
                    <a:pt x="8053" y="53923"/>
                    <a:pt x="8805" y="54401"/>
                  </a:cubicBezTo>
                  <a:lnTo>
                    <a:pt x="11766" y="57010"/>
                  </a:lnTo>
                  <a:lnTo>
                    <a:pt x="12364" y="61061"/>
                  </a:lnTo>
                  <a:lnTo>
                    <a:pt x="15086" y="60111"/>
                  </a:lnTo>
                  <a:lnTo>
                    <a:pt x="15923" y="58796"/>
                  </a:lnTo>
                  <a:lnTo>
                    <a:pt x="15923" y="57010"/>
                  </a:lnTo>
                  <a:lnTo>
                    <a:pt x="15086" y="54401"/>
                  </a:lnTo>
                  <a:lnTo>
                    <a:pt x="16999" y="54401"/>
                  </a:lnTo>
                  <a:lnTo>
                    <a:pt x="20199" y="52256"/>
                  </a:lnTo>
                  <a:lnTo>
                    <a:pt x="21746" y="49414"/>
                  </a:lnTo>
                  <a:lnTo>
                    <a:pt x="24011" y="45975"/>
                  </a:lnTo>
                  <a:lnTo>
                    <a:pt x="25663" y="44787"/>
                  </a:lnTo>
                  <a:lnTo>
                    <a:pt x="26740" y="42634"/>
                  </a:lnTo>
                  <a:lnTo>
                    <a:pt x="26740" y="40271"/>
                  </a:lnTo>
                  <a:lnTo>
                    <a:pt x="25663" y="37289"/>
                  </a:lnTo>
                  <a:lnTo>
                    <a:pt x="24011" y="34568"/>
                  </a:lnTo>
                  <a:lnTo>
                    <a:pt x="21746" y="32183"/>
                  </a:lnTo>
                  <a:lnTo>
                    <a:pt x="20199" y="28864"/>
                  </a:lnTo>
                  <a:cubicBezTo>
                    <a:pt x="19685" y="27359"/>
                    <a:pt x="18666" y="24229"/>
                    <a:pt x="18666" y="23751"/>
                  </a:cubicBezTo>
                  <a:lnTo>
                    <a:pt x="18666" y="20776"/>
                  </a:lnTo>
                  <a:lnTo>
                    <a:pt x="20199" y="16739"/>
                  </a:lnTo>
                  <a:lnTo>
                    <a:pt x="20199" y="12343"/>
                  </a:lnTo>
                  <a:cubicBezTo>
                    <a:pt x="20199" y="11626"/>
                    <a:pt x="19264" y="8770"/>
                    <a:pt x="18666" y="7715"/>
                  </a:cubicBezTo>
                  <a:cubicBezTo>
                    <a:pt x="18293" y="7047"/>
                    <a:pt x="17350" y="6604"/>
                    <a:pt x="16464" y="6189"/>
                  </a:cubicBezTo>
                  <a:cubicBezTo>
                    <a:pt x="15944" y="5950"/>
                    <a:pt x="15445" y="5711"/>
                    <a:pt x="15086" y="5451"/>
                  </a:cubicBezTo>
                  <a:cubicBezTo>
                    <a:pt x="14453" y="4972"/>
                    <a:pt x="14200" y="4037"/>
                    <a:pt x="13996" y="3285"/>
                  </a:cubicBezTo>
                  <a:cubicBezTo>
                    <a:pt x="13890" y="2898"/>
                    <a:pt x="13799" y="2567"/>
                    <a:pt x="13679" y="2363"/>
                  </a:cubicBezTo>
                  <a:cubicBezTo>
                    <a:pt x="13525" y="2110"/>
                    <a:pt x="12547" y="1463"/>
                    <a:pt x="11443" y="795"/>
                  </a:cubicBezTo>
                  <a:lnTo>
                    <a:pt x="9087" y="2230"/>
                  </a:lnTo>
                  <a:lnTo>
                    <a:pt x="4754" y="0"/>
                  </a:lnTo>
                  <a:lnTo>
                    <a:pt x="0" y="8053"/>
                  </a:lnTo>
                  <a:cubicBezTo>
                    <a:pt x="605" y="9417"/>
                    <a:pt x="1625" y="12132"/>
                    <a:pt x="1737" y="1374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5" name="Freihandform: Form 260">
              <a:extLst>
                <a:ext uri="{FF2B5EF4-FFF2-40B4-BE49-F238E27FC236}">
                  <a16:creationId xmlns:a16="http://schemas.microsoft.com/office/drawing/2014/main" id="{7534AD61-DFE3-0549-A8B4-A6DD0D2F7DF3}"/>
                </a:ext>
              </a:extLst>
            </p:cNvPr>
            <p:cNvSpPr/>
            <p:nvPr/>
          </p:nvSpPr>
          <p:spPr>
            <a:xfrm>
              <a:off x="6452774" y="3706675"/>
              <a:ext cx="62288" cy="84367"/>
            </a:xfrm>
            <a:custGeom>
              <a:avLst/>
              <a:gdLst>
                <a:gd name="connsiteX0" fmla="*/ 3397 w 62288"/>
                <a:gd name="connsiteY0" fmla="*/ 21585 h 84367"/>
                <a:gd name="connsiteX1" fmla="*/ 4635 w 62288"/>
                <a:gd name="connsiteY1" fmla="*/ 27289 h 84367"/>
                <a:gd name="connsiteX2" fmla="*/ 4262 w 62288"/>
                <a:gd name="connsiteY2" fmla="*/ 27844 h 84367"/>
                <a:gd name="connsiteX3" fmla="*/ 7237 w 62288"/>
                <a:gd name="connsiteY3" fmla="*/ 28541 h 84367"/>
                <a:gd name="connsiteX4" fmla="*/ 4494 w 62288"/>
                <a:gd name="connsiteY4" fmla="*/ 36650 h 84367"/>
                <a:gd name="connsiteX5" fmla="*/ 4269 w 62288"/>
                <a:gd name="connsiteY5" fmla="*/ 37817 h 84367"/>
                <a:gd name="connsiteX6" fmla="*/ 4494 w 62288"/>
                <a:gd name="connsiteY6" fmla="*/ 40848 h 84367"/>
                <a:gd name="connsiteX7" fmla="*/ 6907 w 62288"/>
                <a:gd name="connsiteY7" fmla="*/ 42353 h 84367"/>
                <a:gd name="connsiteX8" fmla="*/ 9579 w 62288"/>
                <a:gd name="connsiteY8" fmla="*/ 44245 h 84367"/>
                <a:gd name="connsiteX9" fmla="*/ 10240 w 62288"/>
                <a:gd name="connsiteY9" fmla="*/ 47903 h 84367"/>
                <a:gd name="connsiteX10" fmla="*/ 9389 w 62288"/>
                <a:gd name="connsiteY10" fmla="*/ 47825 h 84367"/>
                <a:gd name="connsiteX11" fmla="*/ 7237 w 62288"/>
                <a:gd name="connsiteY11" fmla="*/ 48697 h 84367"/>
                <a:gd name="connsiteX12" fmla="*/ 8735 w 62288"/>
                <a:gd name="connsiteY12" fmla="*/ 52460 h 84367"/>
                <a:gd name="connsiteX13" fmla="*/ 9579 w 62288"/>
                <a:gd name="connsiteY13" fmla="*/ 54324 h 84367"/>
                <a:gd name="connsiteX14" fmla="*/ 9642 w 62288"/>
                <a:gd name="connsiteY14" fmla="*/ 54774 h 84367"/>
                <a:gd name="connsiteX15" fmla="*/ 6442 w 62288"/>
                <a:gd name="connsiteY15" fmla="*/ 57461 h 84367"/>
                <a:gd name="connsiteX16" fmla="*/ 2736 w 62288"/>
                <a:gd name="connsiteY16" fmla="*/ 58297 h 84367"/>
                <a:gd name="connsiteX17" fmla="*/ 4157 w 62288"/>
                <a:gd name="connsiteY17" fmla="*/ 58853 h 84367"/>
                <a:gd name="connsiteX18" fmla="*/ 9044 w 62288"/>
                <a:gd name="connsiteY18" fmla="*/ 62531 h 84367"/>
                <a:gd name="connsiteX19" fmla="*/ 13658 w 62288"/>
                <a:gd name="connsiteY19" fmla="*/ 66350 h 84367"/>
                <a:gd name="connsiteX20" fmla="*/ 17470 w 62288"/>
                <a:gd name="connsiteY20" fmla="*/ 67483 h 84367"/>
                <a:gd name="connsiteX21" fmla="*/ 22386 w 62288"/>
                <a:gd name="connsiteY21" fmla="*/ 71323 h 84367"/>
                <a:gd name="connsiteX22" fmla="*/ 24349 w 62288"/>
                <a:gd name="connsiteY22" fmla="*/ 69839 h 84367"/>
                <a:gd name="connsiteX23" fmla="*/ 24686 w 62288"/>
                <a:gd name="connsiteY23" fmla="*/ 69389 h 84367"/>
                <a:gd name="connsiteX24" fmla="*/ 25903 w 62288"/>
                <a:gd name="connsiteY24" fmla="*/ 68348 h 84367"/>
                <a:gd name="connsiteX25" fmla="*/ 27612 w 62288"/>
                <a:gd name="connsiteY25" fmla="*/ 66927 h 84367"/>
                <a:gd name="connsiteX26" fmla="*/ 28076 w 62288"/>
                <a:gd name="connsiteY26" fmla="*/ 66414 h 84367"/>
                <a:gd name="connsiteX27" fmla="*/ 28371 w 62288"/>
                <a:gd name="connsiteY27" fmla="*/ 66125 h 84367"/>
                <a:gd name="connsiteX28" fmla="*/ 29223 w 62288"/>
                <a:gd name="connsiteY28" fmla="*/ 66090 h 84367"/>
                <a:gd name="connsiteX29" fmla="*/ 31466 w 62288"/>
                <a:gd name="connsiteY29" fmla="*/ 66146 h 84367"/>
                <a:gd name="connsiteX30" fmla="*/ 34012 w 62288"/>
                <a:gd name="connsiteY30" fmla="*/ 69185 h 84367"/>
                <a:gd name="connsiteX31" fmla="*/ 34089 w 62288"/>
                <a:gd name="connsiteY31" fmla="*/ 69389 h 84367"/>
                <a:gd name="connsiteX32" fmla="*/ 36959 w 62288"/>
                <a:gd name="connsiteY32" fmla="*/ 71913 h 84367"/>
                <a:gd name="connsiteX33" fmla="*/ 37789 w 62288"/>
                <a:gd name="connsiteY33" fmla="*/ 72469 h 84367"/>
                <a:gd name="connsiteX34" fmla="*/ 40588 w 62288"/>
                <a:gd name="connsiteY34" fmla="*/ 74818 h 84367"/>
                <a:gd name="connsiteX35" fmla="*/ 42100 w 62288"/>
                <a:gd name="connsiteY35" fmla="*/ 75866 h 84367"/>
                <a:gd name="connsiteX36" fmla="*/ 44561 w 62288"/>
                <a:gd name="connsiteY36" fmla="*/ 76780 h 84367"/>
                <a:gd name="connsiteX37" fmla="*/ 44561 w 62288"/>
                <a:gd name="connsiteY37" fmla="*/ 79404 h 84367"/>
                <a:gd name="connsiteX38" fmla="*/ 42100 w 62288"/>
                <a:gd name="connsiteY38" fmla="*/ 80339 h 84367"/>
                <a:gd name="connsiteX39" fmla="*/ 41326 w 62288"/>
                <a:gd name="connsiteY39" fmla="*/ 83419 h 84367"/>
                <a:gd name="connsiteX40" fmla="*/ 44561 w 62288"/>
                <a:gd name="connsiteY40" fmla="*/ 84355 h 84367"/>
                <a:gd name="connsiteX41" fmla="*/ 49513 w 62288"/>
                <a:gd name="connsiteY41" fmla="*/ 83419 h 84367"/>
                <a:gd name="connsiteX42" fmla="*/ 54126 w 62288"/>
                <a:gd name="connsiteY42" fmla="*/ 83419 h 84367"/>
                <a:gd name="connsiteX43" fmla="*/ 57066 w 62288"/>
                <a:gd name="connsiteY43" fmla="*/ 80339 h 84367"/>
                <a:gd name="connsiteX44" fmla="*/ 56293 w 62288"/>
                <a:gd name="connsiteY44" fmla="*/ 76780 h 84367"/>
                <a:gd name="connsiteX45" fmla="*/ 56553 w 62288"/>
                <a:gd name="connsiteY45" fmla="*/ 74973 h 84367"/>
                <a:gd name="connsiteX46" fmla="*/ 57066 w 62288"/>
                <a:gd name="connsiteY46" fmla="*/ 73566 h 84367"/>
                <a:gd name="connsiteX47" fmla="*/ 59528 w 62288"/>
                <a:gd name="connsiteY47" fmla="*/ 70162 h 84367"/>
                <a:gd name="connsiteX48" fmla="*/ 62158 w 62288"/>
                <a:gd name="connsiteY48" fmla="*/ 66927 h 84367"/>
                <a:gd name="connsiteX49" fmla="*/ 62228 w 62288"/>
                <a:gd name="connsiteY49" fmla="*/ 66069 h 84367"/>
                <a:gd name="connsiteX50" fmla="*/ 62158 w 62288"/>
                <a:gd name="connsiteY50" fmla="*/ 64620 h 84367"/>
                <a:gd name="connsiteX51" fmla="*/ 60147 w 62288"/>
                <a:gd name="connsiteY51" fmla="*/ 62700 h 84367"/>
                <a:gd name="connsiteX52" fmla="*/ 60147 w 62288"/>
                <a:gd name="connsiteY52" fmla="*/ 62700 h 84367"/>
                <a:gd name="connsiteX53" fmla="*/ 59528 w 62288"/>
                <a:gd name="connsiteY53" fmla="*/ 62292 h 84367"/>
                <a:gd name="connsiteX54" fmla="*/ 57066 w 62288"/>
                <a:gd name="connsiteY54" fmla="*/ 59373 h 84367"/>
                <a:gd name="connsiteX55" fmla="*/ 55519 w 62288"/>
                <a:gd name="connsiteY55" fmla="*/ 56131 h 84367"/>
                <a:gd name="connsiteX56" fmla="*/ 55217 w 62288"/>
                <a:gd name="connsiteY56" fmla="*/ 53002 h 84367"/>
                <a:gd name="connsiteX57" fmla="*/ 55519 w 62288"/>
                <a:gd name="connsiteY57" fmla="*/ 51820 h 84367"/>
                <a:gd name="connsiteX58" fmla="*/ 55519 w 62288"/>
                <a:gd name="connsiteY58" fmla="*/ 47804 h 84367"/>
                <a:gd name="connsiteX59" fmla="*/ 57439 w 62288"/>
                <a:gd name="connsiteY59" fmla="*/ 45800 h 84367"/>
                <a:gd name="connsiteX60" fmla="*/ 58600 w 62288"/>
                <a:gd name="connsiteY60" fmla="*/ 45181 h 84367"/>
                <a:gd name="connsiteX61" fmla="*/ 58600 w 62288"/>
                <a:gd name="connsiteY61" fmla="*/ 41939 h 84367"/>
                <a:gd name="connsiteX62" fmla="*/ 58142 w 62288"/>
                <a:gd name="connsiteY62" fmla="*/ 41601 h 84367"/>
                <a:gd name="connsiteX63" fmla="*/ 57066 w 62288"/>
                <a:gd name="connsiteY63" fmla="*/ 38563 h 84367"/>
                <a:gd name="connsiteX64" fmla="*/ 57066 w 62288"/>
                <a:gd name="connsiteY64" fmla="*/ 37170 h 84367"/>
                <a:gd name="connsiteX65" fmla="*/ 59528 w 62288"/>
                <a:gd name="connsiteY65" fmla="*/ 34385 h 84367"/>
                <a:gd name="connsiteX66" fmla="*/ 59528 w 62288"/>
                <a:gd name="connsiteY66" fmla="*/ 33154 h 84367"/>
                <a:gd name="connsiteX67" fmla="*/ 54126 w 62288"/>
                <a:gd name="connsiteY67" fmla="*/ 33154 h 84367"/>
                <a:gd name="connsiteX68" fmla="*/ 51503 w 62288"/>
                <a:gd name="connsiteY68" fmla="*/ 35778 h 84367"/>
                <a:gd name="connsiteX69" fmla="*/ 49513 w 62288"/>
                <a:gd name="connsiteY69" fmla="*/ 35778 h 84367"/>
                <a:gd name="connsiteX70" fmla="*/ 49513 w 62288"/>
                <a:gd name="connsiteY70" fmla="*/ 34385 h 84367"/>
                <a:gd name="connsiteX71" fmla="*/ 46889 w 62288"/>
                <a:gd name="connsiteY71" fmla="*/ 32381 h 84367"/>
                <a:gd name="connsiteX72" fmla="*/ 44561 w 62288"/>
                <a:gd name="connsiteY72" fmla="*/ 31304 h 84367"/>
                <a:gd name="connsiteX73" fmla="*/ 43760 w 62288"/>
                <a:gd name="connsiteY73" fmla="*/ 31389 h 84367"/>
                <a:gd name="connsiteX74" fmla="*/ 41326 w 62288"/>
                <a:gd name="connsiteY74" fmla="*/ 31304 h 84367"/>
                <a:gd name="connsiteX75" fmla="*/ 40391 w 62288"/>
                <a:gd name="connsiteY75" fmla="*/ 29996 h 84367"/>
                <a:gd name="connsiteX76" fmla="*/ 40412 w 62288"/>
                <a:gd name="connsiteY76" fmla="*/ 29617 h 84367"/>
                <a:gd name="connsiteX77" fmla="*/ 40412 w 62288"/>
                <a:gd name="connsiteY77" fmla="*/ 26374 h 84367"/>
                <a:gd name="connsiteX78" fmla="*/ 40440 w 62288"/>
                <a:gd name="connsiteY78" fmla="*/ 25481 h 84367"/>
                <a:gd name="connsiteX79" fmla="*/ 40440 w 62288"/>
                <a:gd name="connsiteY79" fmla="*/ 25481 h 84367"/>
                <a:gd name="connsiteX80" fmla="*/ 40412 w 62288"/>
                <a:gd name="connsiteY80" fmla="*/ 23273 h 84367"/>
                <a:gd name="connsiteX81" fmla="*/ 38654 w 62288"/>
                <a:gd name="connsiteY81" fmla="*/ 21142 h 84367"/>
                <a:gd name="connsiteX82" fmla="*/ 37789 w 62288"/>
                <a:gd name="connsiteY82" fmla="*/ 20516 h 84367"/>
                <a:gd name="connsiteX83" fmla="*/ 35250 w 62288"/>
                <a:gd name="connsiteY83" fmla="*/ 19369 h 84367"/>
                <a:gd name="connsiteX84" fmla="*/ 34089 w 62288"/>
                <a:gd name="connsiteY84" fmla="*/ 18962 h 84367"/>
                <a:gd name="connsiteX85" fmla="*/ 33527 w 62288"/>
                <a:gd name="connsiteY85" fmla="*/ 18694 h 84367"/>
                <a:gd name="connsiteX86" fmla="*/ 28681 w 62288"/>
                <a:gd name="connsiteY86" fmla="*/ 14805 h 84367"/>
                <a:gd name="connsiteX87" fmla="*/ 27612 w 62288"/>
                <a:gd name="connsiteY87" fmla="*/ 9558 h 84367"/>
                <a:gd name="connsiteX88" fmla="*/ 26648 w 62288"/>
                <a:gd name="connsiteY88" fmla="*/ 7146 h 84367"/>
                <a:gd name="connsiteX89" fmla="*/ 25600 w 62288"/>
                <a:gd name="connsiteY89" fmla="*/ 5866 h 84367"/>
                <a:gd name="connsiteX90" fmla="*/ 23751 w 62288"/>
                <a:gd name="connsiteY90" fmla="*/ 4073 h 84367"/>
                <a:gd name="connsiteX91" fmla="*/ 22682 w 62288"/>
                <a:gd name="connsiteY91" fmla="*/ 3081 h 84367"/>
                <a:gd name="connsiteX92" fmla="*/ 22344 w 62288"/>
                <a:gd name="connsiteY92" fmla="*/ 1646 h 84367"/>
                <a:gd name="connsiteX93" fmla="*/ 21746 w 62288"/>
                <a:gd name="connsiteY93" fmla="*/ 619 h 84367"/>
                <a:gd name="connsiteX94" fmla="*/ 20276 w 62288"/>
                <a:gd name="connsiteY94" fmla="*/ 472 h 84367"/>
                <a:gd name="connsiteX95" fmla="*/ 10655 w 62288"/>
                <a:gd name="connsiteY95" fmla="*/ 619 h 84367"/>
                <a:gd name="connsiteX96" fmla="*/ 0 w 62288"/>
                <a:gd name="connsiteY96" fmla="*/ 5866 h 84367"/>
                <a:gd name="connsiteX97" fmla="*/ 0 w 62288"/>
                <a:gd name="connsiteY97" fmla="*/ 8489 h 84367"/>
                <a:gd name="connsiteX98" fmla="*/ 1231 w 62288"/>
                <a:gd name="connsiteY98" fmla="*/ 11865 h 84367"/>
                <a:gd name="connsiteX99" fmla="*/ 2328 w 62288"/>
                <a:gd name="connsiteY99" fmla="*/ 14805 h 84367"/>
                <a:gd name="connsiteX100" fmla="*/ 2328 w 62288"/>
                <a:gd name="connsiteY100" fmla="*/ 17112 h 84367"/>
                <a:gd name="connsiteX101" fmla="*/ 6801 w 62288"/>
                <a:gd name="connsiteY101" fmla="*/ 20516 h 84367"/>
                <a:gd name="connsiteX102" fmla="*/ 3397 w 62288"/>
                <a:gd name="connsiteY102" fmla="*/ 21585 h 84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2288" h="84367">
                  <a:moveTo>
                    <a:pt x="3397" y="21585"/>
                  </a:moveTo>
                  <a:lnTo>
                    <a:pt x="4635" y="27289"/>
                  </a:lnTo>
                  <a:lnTo>
                    <a:pt x="4262" y="27844"/>
                  </a:lnTo>
                  <a:cubicBezTo>
                    <a:pt x="5317" y="28076"/>
                    <a:pt x="6499" y="28358"/>
                    <a:pt x="7237" y="28541"/>
                  </a:cubicBezTo>
                  <a:cubicBezTo>
                    <a:pt x="6323" y="30897"/>
                    <a:pt x="4494" y="35813"/>
                    <a:pt x="4494" y="36650"/>
                  </a:cubicBezTo>
                  <a:cubicBezTo>
                    <a:pt x="4494" y="36973"/>
                    <a:pt x="4382" y="37374"/>
                    <a:pt x="4269" y="37817"/>
                  </a:cubicBezTo>
                  <a:cubicBezTo>
                    <a:pt x="3995" y="38823"/>
                    <a:pt x="3678" y="40033"/>
                    <a:pt x="4494" y="40848"/>
                  </a:cubicBezTo>
                  <a:cubicBezTo>
                    <a:pt x="5008" y="41362"/>
                    <a:pt x="5964" y="41861"/>
                    <a:pt x="6907" y="42353"/>
                  </a:cubicBezTo>
                  <a:cubicBezTo>
                    <a:pt x="8095" y="42972"/>
                    <a:pt x="9284" y="43591"/>
                    <a:pt x="9579" y="44245"/>
                  </a:cubicBezTo>
                  <a:cubicBezTo>
                    <a:pt x="10121" y="45420"/>
                    <a:pt x="10894" y="47762"/>
                    <a:pt x="10240" y="47903"/>
                  </a:cubicBezTo>
                  <a:cubicBezTo>
                    <a:pt x="10057" y="47938"/>
                    <a:pt x="9741" y="47888"/>
                    <a:pt x="9389" y="47825"/>
                  </a:cubicBezTo>
                  <a:cubicBezTo>
                    <a:pt x="8461" y="47670"/>
                    <a:pt x="7237" y="47459"/>
                    <a:pt x="7237" y="48697"/>
                  </a:cubicBezTo>
                  <a:cubicBezTo>
                    <a:pt x="7237" y="49717"/>
                    <a:pt x="8067" y="51229"/>
                    <a:pt x="8735" y="52460"/>
                  </a:cubicBezTo>
                  <a:cubicBezTo>
                    <a:pt x="9192" y="53297"/>
                    <a:pt x="9579" y="54000"/>
                    <a:pt x="9579" y="54324"/>
                  </a:cubicBezTo>
                  <a:cubicBezTo>
                    <a:pt x="9579" y="54443"/>
                    <a:pt x="9607" y="54598"/>
                    <a:pt x="9642" y="54774"/>
                  </a:cubicBezTo>
                  <a:cubicBezTo>
                    <a:pt x="9811" y="55716"/>
                    <a:pt x="10093" y="57242"/>
                    <a:pt x="6442" y="57461"/>
                  </a:cubicBezTo>
                  <a:cubicBezTo>
                    <a:pt x="4466" y="57580"/>
                    <a:pt x="3334" y="57939"/>
                    <a:pt x="2736" y="58297"/>
                  </a:cubicBezTo>
                  <a:lnTo>
                    <a:pt x="4157" y="58853"/>
                  </a:lnTo>
                  <a:cubicBezTo>
                    <a:pt x="5662" y="59866"/>
                    <a:pt x="8742" y="62025"/>
                    <a:pt x="9044" y="62531"/>
                  </a:cubicBezTo>
                  <a:cubicBezTo>
                    <a:pt x="9424" y="63171"/>
                    <a:pt x="13215" y="66069"/>
                    <a:pt x="13658" y="66350"/>
                  </a:cubicBezTo>
                  <a:cubicBezTo>
                    <a:pt x="14003" y="66568"/>
                    <a:pt x="16345" y="67194"/>
                    <a:pt x="17470" y="67483"/>
                  </a:cubicBezTo>
                  <a:lnTo>
                    <a:pt x="22386" y="71323"/>
                  </a:lnTo>
                  <a:cubicBezTo>
                    <a:pt x="23223" y="71407"/>
                    <a:pt x="23856" y="70521"/>
                    <a:pt x="24349" y="69839"/>
                  </a:cubicBezTo>
                  <a:cubicBezTo>
                    <a:pt x="24468" y="69670"/>
                    <a:pt x="24581" y="69515"/>
                    <a:pt x="24686" y="69389"/>
                  </a:cubicBezTo>
                  <a:cubicBezTo>
                    <a:pt x="25003" y="69009"/>
                    <a:pt x="25418" y="68699"/>
                    <a:pt x="25903" y="68348"/>
                  </a:cubicBezTo>
                  <a:cubicBezTo>
                    <a:pt x="26402" y="67975"/>
                    <a:pt x="26986" y="67553"/>
                    <a:pt x="27612" y="66927"/>
                  </a:cubicBezTo>
                  <a:cubicBezTo>
                    <a:pt x="27830" y="66702"/>
                    <a:pt x="27970" y="66533"/>
                    <a:pt x="28076" y="66414"/>
                  </a:cubicBezTo>
                  <a:cubicBezTo>
                    <a:pt x="28203" y="66266"/>
                    <a:pt x="28273" y="66181"/>
                    <a:pt x="28371" y="66125"/>
                  </a:cubicBezTo>
                  <a:cubicBezTo>
                    <a:pt x="28519" y="66048"/>
                    <a:pt x="28716" y="66062"/>
                    <a:pt x="29223" y="66090"/>
                  </a:cubicBezTo>
                  <a:cubicBezTo>
                    <a:pt x="29666" y="66111"/>
                    <a:pt x="30355" y="66146"/>
                    <a:pt x="31466" y="66146"/>
                  </a:cubicBezTo>
                  <a:cubicBezTo>
                    <a:pt x="32971" y="66442"/>
                    <a:pt x="33147" y="66899"/>
                    <a:pt x="34012" y="69185"/>
                  </a:cubicBezTo>
                  <a:lnTo>
                    <a:pt x="34089" y="69389"/>
                  </a:lnTo>
                  <a:cubicBezTo>
                    <a:pt x="34694" y="70985"/>
                    <a:pt x="36066" y="71548"/>
                    <a:pt x="36959" y="71913"/>
                  </a:cubicBezTo>
                  <a:cubicBezTo>
                    <a:pt x="37444" y="72110"/>
                    <a:pt x="37789" y="72251"/>
                    <a:pt x="37789" y="72469"/>
                  </a:cubicBezTo>
                  <a:cubicBezTo>
                    <a:pt x="37789" y="72919"/>
                    <a:pt x="39174" y="73861"/>
                    <a:pt x="40588" y="74818"/>
                  </a:cubicBezTo>
                  <a:cubicBezTo>
                    <a:pt x="41108" y="75177"/>
                    <a:pt x="41643" y="75535"/>
                    <a:pt x="42100" y="75866"/>
                  </a:cubicBezTo>
                  <a:cubicBezTo>
                    <a:pt x="43450" y="76858"/>
                    <a:pt x="44308" y="76886"/>
                    <a:pt x="44561" y="76780"/>
                  </a:cubicBezTo>
                  <a:lnTo>
                    <a:pt x="44561" y="79404"/>
                  </a:lnTo>
                  <a:cubicBezTo>
                    <a:pt x="44561" y="80318"/>
                    <a:pt x="42873" y="80339"/>
                    <a:pt x="42100" y="80339"/>
                  </a:cubicBezTo>
                  <a:cubicBezTo>
                    <a:pt x="41481" y="80339"/>
                    <a:pt x="41326" y="82393"/>
                    <a:pt x="41326" y="83419"/>
                  </a:cubicBezTo>
                  <a:cubicBezTo>
                    <a:pt x="41840" y="83778"/>
                    <a:pt x="43211" y="84467"/>
                    <a:pt x="44561" y="84355"/>
                  </a:cubicBezTo>
                  <a:cubicBezTo>
                    <a:pt x="45919" y="84242"/>
                    <a:pt x="48430" y="83687"/>
                    <a:pt x="49513" y="83419"/>
                  </a:cubicBezTo>
                  <a:lnTo>
                    <a:pt x="54126" y="83419"/>
                  </a:lnTo>
                  <a:cubicBezTo>
                    <a:pt x="54126" y="83419"/>
                    <a:pt x="56293" y="81577"/>
                    <a:pt x="57066" y="80339"/>
                  </a:cubicBezTo>
                  <a:cubicBezTo>
                    <a:pt x="57840" y="79108"/>
                    <a:pt x="57066" y="77561"/>
                    <a:pt x="56293" y="76780"/>
                  </a:cubicBezTo>
                  <a:cubicBezTo>
                    <a:pt x="55836" y="76323"/>
                    <a:pt x="56187" y="75662"/>
                    <a:pt x="56553" y="74973"/>
                  </a:cubicBezTo>
                  <a:cubicBezTo>
                    <a:pt x="56806" y="74495"/>
                    <a:pt x="57066" y="74002"/>
                    <a:pt x="57066" y="73566"/>
                  </a:cubicBezTo>
                  <a:cubicBezTo>
                    <a:pt x="57066" y="72701"/>
                    <a:pt x="58712" y="70943"/>
                    <a:pt x="59528" y="70162"/>
                  </a:cubicBezTo>
                  <a:cubicBezTo>
                    <a:pt x="60407" y="69396"/>
                    <a:pt x="62158" y="67672"/>
                    <a:pt x="62158" y="66927"/>
                  </a:cubicBezTo>
                  <a:cubicBezTo>
                    <a:pt x="62158" y="66589"/>
                    <a:pt x="62193" y="66322"/>
                    <a:pt x="62228" y="66069"/>
                  </a:cubicBezTo>
                  <a:cubicBezTo>
                    <a:pt x="62292" y="65605"/>
                    <a:pt x="62348" y="65211"/>
                    <a:pt x="62158" y="64620"/>
                  </a:cubicBezTo>
                  <a:cubicBezTo>
                    <a:pt x="61905" y="63846"/>
                    <a:pt x="61202" y="63389"/>
                    <a:pt x="60147" y="62700"/>
                  </a:cubicBezTo>
                  <a:lnTo>
                    <a:pt x="60147" y="62700"/>
                  </a:lnTo>
                  <a:cubicBezTo>
                    <a:pt x="59957" y="62573"/>
                    <a:pt x="59746" y="62440"/>
                    <a:pt x="59528" y="62292"/>
                  </a:cubicBezTo>
                  <a:cubicBezTo>
                    <a:pt x="58142" y="61357"/>
                    <a:pt x="57066" y="60604"/>
                    <a:pt x="57066" y="59373"/>
                  </a:cubicBezTo>
                  <a:cubicBezTo>
                    <a:pt x="57066" y="58136"/>
                    <a:pt x="57066" y="57362"/>
                    <a:pt x="55519" y="56131"/>
                  </a:cubicBezTo>
                  <a:cubicBezTo>
                    <a:pt x="54436" y="55273"/>
                    <a:pt x="54865" y="54035"/>
                    <a:pt x="55217" y="53002"/>
                  </a:cubicBezTo>
                  <a:cubicBezTo>
                    <a:pt x="55371" y="52551"/>
                    <a:pt x="55519" y="52143"/>
                    <a:pt x="55519" y="51820"/>
                  </a:cubicBezTo>
                  <a:lnTo>
                    <a:pt x="55519" y="47804"/>
                  </a:lnTo>
                  <a:cubicBezTo>
                    <a:pt x="55519" y="46770"/>
                    <a:pt x="56370" y="46341"/>
                    <a:pt x="57439" y="45800"/>
                  </a:cubicBezTo>
                  <a:cubicBezTo>
                    <a:pt x="57812" y="45617"/>
                    <a:pt x="58206" y="45420"/>
                    <a:pt x="58600" y="45181"/>
                  </a:cubicBezTo>
                  <a:cubicBezTo>
                    <a:pt x="60126" y="44245"/>
                    <a:pt x="59528" y="42712"/>
                    <a:pt x="58600" y="41939"/>
                  </a:cubicBezTo>
                  <a:cubicBezTo>
                    <a:pt x="58438" y="41805"/>
                    <a:pt x="58283" y="41699"/>
                    <a:pt x="58142" y="41601"/>
                  </a:cubicBezTo>
                  <a:cubicBezTo>
                    <a:pt x="57474" y="41130"/>
                    <a:pt x="57066" y="40848"/>
                    <a:pt x="57066" y="38563"/>
                  </a:cubicBezTo>
                  <a:lnTo>
                    <a:pt x="57066" y="37170"/>
                  </a:lnTo>
                  <a:lnTo>
                    <a:pt x="59528" y="34385"/>
                  </a:lnTo>
                  <a:lnTo>
                    <a:pt x="59528" y="33154"/>
                  </a:lnTo>
                  <a:lnTo>
                    <a:pt x="54126" y="33154"/>
                  </a:lnTo>
                  <a:cubicBezTo>
                    <a:pt x="52418" y="33928"/>
                    <a:pt x="51981" y="34385"/>
                    <a:pt x="51503" y="35778"/>
                  </a:cubicBezTo>
                  <a:cubicBezTo>
                    <a:pt x="51116" y="36889"/>
                    <a:pt x="50019" y="36242"/>
                    <a:pt x="49513" y="35778"/>
                  </a:cubicBezTo>
                  <a:lnTo>
                    <a:pt x="49513" y="34385"/>
                  </a:lnTo>
                  <a:lnTo>
                    <a:pt x="46889" y="32381"/>
                  </a:lnTo>
                  <a:cubicBezTo>
                    <a:pt x="46376" y="32022"/>
                    <a:pt x="45187" y="31304"/>
                    <a:pt x="44561" y="31304"/>
                  </a:cubicBezTo>
                  <a:cubicBezTo>
                    <a:pt x="44330" y="31304"/>
                    <a:pt x="44062" y="31347"/>
                    <a:pt x="43760" y="31389"/>
                  </a:cubicBezTo>
                  <a:cubicBezTo>
                    <a:pt x="43057" y="31494"/>
                    <a:pt x="42191" y="31628"/>
                    <a:pt x="41326" y="31304"/>
                  </a:cubicBezTo>
                  <a:cubicBezTo>
                    <a:pt x="40314" y="30932"/>
                    <a:pt x="40349" y="30545"/>
                    <a:pt x="40391" y="29996"/>
                  </a:cubicBezTo>
                  <a:cubicBezTo>
                    <a:pt x="40398" y="29877"/>
                    <a:pt x="40412" y="29750"/>
                    <a:pt x="40412" y="29617"/>
                  </a:cubicBezTo>
                  <a:lnTo>
                    <a:pt x="40412" y="26374"/>
                  </a:lnTo>
                  <a:cubicBezTo>
                    <a:pt x="40412" y="26086"/>
                    <a:pt x="40426" y="25791"/>
                    <a:pt x="40440" y="25481"/>
                  </a:cubicBezTo>
                  <a:lnTo>
                    <a:pt x="40440" y="25481"/>
                  </a:lnTo>
                  <a:cubicBezTo>
                    <a:pt x="40482" y="24834"/>
                    <a:pt x="40517" y="24124"/>
                    <a:pt x="40412" y="23273"/>
                  </a:cubicBezTo>
                  <a:cubicBezTo>
                    <a:pt x="40286" y="22295"/>
                    <a:pt x="39603" y="21817"/>
                    <a:pt x="38654" y="21142"/>
                  </a:cubicBezTo>
                  <a:cubicBezTo>
                    <a:pt x="38380" y="20952"/>
                    <a:pt x="38091" y="20748"/>
                    <a:pt x="37789" y="20516"/>
                  </a:cubicBezTo>
                  <a:cubicBezTo>
                    <a:pt x="36903" y="19827"/>
                    <a:pt x="36009" y="19580"/>
                    <a:pt x="35250" y="19369"/>
                  </a:cubicBezTo>
                  <a:cubicBezTo>
                    <a:pt x="34814" y="19243"/>
                    <a:pt x="34420" y="19137"/>
                    <a:pt x="34089" y="18962"/>
                  </a:cubicBezTo>
                  <a:cubicBezTo>
                    <a:pt x="33956" y="18891"/>
                    <a:pt x="33759" y="18800"/>
                    <a:pt x="33527" y="18694"/>
                  </a:cubicBezTo>
                  <a:cubicBezTo>
                    <a:pt x="32148" y="18061"/>
                    <a:pt x="29342" y="16774"/>
                    <a:pt x="28681" y="14805"/>
                  </a:cubicBezTo>
                  <a:cubicBezTo>
                    <a:pt x="27907" y="12505"/>
                    <a:pt x="27766" y="11865"/>
                    <a:pt x="27612" y="9558"/>
                  </a:cubicBezTo>
                  <a:cubicBezTo>
                    <a:pt x="27506" y="8039"/>
                    <a:pt x="27197" y="7723"/>
                    <a:pt x="26648" y="7146"/>
                  </a:cubicBezTo>
                  <a:cubicBezTo>
                    <a:pt x="26367" y="6851"/>
                    <a:pt x="26022" y="6492"/>
                    <a:pt x="25600" y="5866"/>
                  </a:cubicBezTo>
                  <a:cubicBezTo>
                    <a:pt x="24918" y="4839"/>
                    <a:pt x="24285" y="4424"/>
                    <a:pt x="23751" y="4073"/>
                  </a:cubicBezTo>
                  <a:cubicBezTo>
                    <a:pt x="23322" y="3798"/>
                    <a:pt x="22956" y="3559"/>
                    <a:pt x="22682" y="3081"/>
                  </a:cubicBezTo>
                  <a:cubicBezTo>
                    <a:pt x="22414" y="2617"/>
                    <a:pt x="22379" y="2089"/>
                    <a:pt x="22344" y="1646"/>
                  </a:cubicBezTo>
                  <a:cubicBezTo>
                    <a:pt x="22309" y="1062"/>
                    <a:pt x="22274" y="619"/>
                    <a:pt x="21746" y="619"/>
                  </a:cubicBezTo>
                  <a:cubicBezTo>
                    <a:pt x="21549" y="619"/>
                    <a:pt x="21015" y="556"/>
                    <a:pt x="20276" y="472"/>
                  </a:cubicBezTo>
                  <a:cubicBezTo>
                    <a:pt x="17449" y="162"/>
                    <a:pt x="11633" y="-485"/>
                    <a:pt x="10655" y="619"/>
                  </a:cubicBezTo>
                  <a:cubicBezTo>
                    <a:pt x="9670" y="1731"/>
                    <a:pt x="3144" y="4579"/>
                    <a:pt x="0" y="5866"/>
                  </a:cubicBezTo>
                  <a:lnTo>
                    <a:pt x="0" y="8489"/>
                  </a:lnTo>
                  <a:lnTo>
                    <a:pt x="1231" y="11865"/>
                  </a:lnTo>
                  <a:cubicBezTo>
                    <a:pt x="1597" y="12590"/>
                    <a:pt x="2328" y="14186"/>
                    <a:pt x="2328" y="14805"/>
                  </a:cubicBezTo>
                  <a:lnTo>
                    <a:pt x="2328" y="17112"/>
                  </a:lnTo>
                  <a:lnTo>
                    <a:pt x="6801" y="20516"/>
                  </a:lnTo>
                  <a:lnTo>
                    <a:pt x="3397" y="2158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6" name="Freihandform: Form 261">
              <a:extLst>
                <a:ext uri="{FF2B5EF4-FFF2-40B4-BE49-F238E27FC236}">
                  <a16:creationId xmlns:a16="http://schemas.microsoft.com/office/drawing/2014/main" id="{BE41BEB3-CED4-8043-A873-6BC3A745FECC}"/>
                </a:ext>
              </a:extLst>
            </p:cNvPr>
            <p:cNvSpPr/>
            <p:nvPr/>
          </p:nvSpPr>
          <p:spPr>
            <a:xfrm>
              <a:off x="6470504" y="3772983"/>
              <a:ext cx="26219" cy="25762"/>
            </a:xfrm>
            <a:custGeom>
              <a:avLst/>
              <a:gdLst>
                <a:gd name="connsiteX0" fmla="*/ 18982 w 26219"/>
                <a:gd name="connsiteY0" fmla="*/ 22358 h 25762"/>
                <a:gd name="connsiteX1" fmla="*/ 24981 w 26219"/>
                <a:gd name="connsiteY1" fmla="*/ 17892 h 25762"/>
                <a:gd name="connsiteX2" fmla="*/ 23294 w 26219"/>
                <a:gd name="connsiteY2" fmla="*/ 15881 h 25762"/>
                <a:gd name="connsiteX3" fmla="*/ 24981 w 26219"/>
                <a:gd name="connsiteY3" fmla="*/ 14333 h 25762"/>
                <a:gd name="connsiteX4" fmla="*/ 26219 w 26219"/>
                <a:gd name="connsiteY4" fmla="*/ 12484 h 25762"/>
                <a:gd name="connsiteX5" fmla="*/ 26219 w 26219"/>
                <a:gd name="connsiteY5" fmla="*/ 9720 h 25762"/>
                <a:gd name="connsiteX6" fmla="*/ 24981 w 26219"/>
                <a:gd name="connsiteY6" fmla="*/ 9720 h 25762"/>
                <a:gd name="connsiteX7" fmla="*/ 20832 w 26219"/>
                <a:gd name="connsiteY7" fmla="*/ 7096 h 25762"/>
                <a:gd name="connsiteX8" fmla="*/ 17892 w 26219"/>
                <a:gd name="connsiteY8" fmla="*/ 5247 h 25762"/>
                <a:gd name="connsiteX9" fmla="*/ 15881 w 26219"/>
                <a:gd name="connsiteY9" fmla="*/ 2307 h 25762"/>
                <a:gd name="connsiteX10" fmla="*/ 14193 w 26219"/>
                <a:gd name="connsiteY10" fmla="*/ 0 h 25762"/>
                <a:gd name="connsiteX11" fmla="*/ 11408 w 26219"/>
                <a:gd name="connsiteY11" fmla="*/ 0 h 25762"/>
                <a:gd name="connsiteX12" fmla="*/ 7870 w 26219"/>
                <a:gd name="connsiteY12" fmla="*/ 2307 h 25762"/>
                <a:gd name="connsiteX13" fmla="*/ 5563 w 26219"/>
                <a:gd name="connsiteY13" fmla="*/ 5247 h 25762"/>
                <a:gd name="connsiteX14" fmla="*/ 2483 w 26219"/>
                <a:gd name="connsiteY14" fmla="*/ 7096 h 25762"/>
                <a:gd name="connsiteX15" fmla="*/ 0 w 26219"/>
                <a:gd name="connsiteY15" fmla="*/ 8946 h 25762"/>
                <a:gd name="connsiteX16" fmla="*/ 2483 w 26219"/>
                <a:gd name="connsiteY16" fmla="*/ 15881 h 25762"/>
                <a:gd name="connsiteX17" fmla="*/ 5563 w 26219"/>
                <a:gd name="connsiteY17" fmla="*/ 18806 h 25762"/>
                <a:gd name="connsiteX18" fmla="*/ 7870 w 26219"/>
                <a:gd name="connsiteY18" fmla="*/ 20811 h 25762"/>
                <a:gd name="connsiteX19" fmla="*/ 8805 w 26219"/>
                <a:gd name="connsiteY19" fmla="*/ 25762 h 25762"/>
                <a:gd name="connsiteX20" fmla="*/ 11408 w 26219"/>
                <a:gd name="connsiteY20" fmla="*/ 25762 h 25762"/>
                <a:gd name="connsiteX21" fmla="*/ 13117 w 26219"/>
                <a:gd name="connsiteY21" fmla="*/ 22358 h 25762"/>
                <a:gd name="connsiteX22" fmla="*/ 15881 w 26219"/>
                <a:gd name="connsiteY22" fmla="*/ 20811 h 25762"/>
                <a:gd name="connsiteX23" fmla="*/ 18982 w 26219"/>
                <a:gd name="connsiteY23" fmla="*/ 22358 h 2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219" h="25762">
                  <a:moveTo>
                    <a:pt x="18982" y="22358"/>
                  </a:moveTo>
                  <a:lnTo>
                    <a:pt x="24981" y="17892"/>
                  </a:lnTo>
                  <a:lnTo>
                    <a:pt x="23294" y="15881"/>
                  </a:lnTo>
                  <a:lnTo>
                    <a:pt x="24981" y="14333"/>
                  </a:lnTo>
                  <a:lnTo>
                    <a:pt x="26219" y="12484"/>
                  </a:lnTo>
                  <a:lnTo>
                    <a:pt x="26219" y="9720"/>
                  </a:lnTo>
                  <a:lnTo>
                    <a:pt x="24981" y="9720"/>
                  </a:lnTo>
                  <a:lnTo>
                    <a:pt x="20832" y="7096"/>
                  </a:lnTo>
                  <a:cubicBezTo>
                    <a:pt x="20213" y="6477"/>
                    <a:pt x="18764" y="5247"/>
                    <a:pt x="17892" y="5247"/>
                  </a:cubicBezTo>
                  <a:cubicBezTo>
                    <a:pt x="17013" y="5247"/>
                    <a:pt x="16183" y="3285"/>
                    <a:pt x="15881" y="2307"/>
                  </a:cubicBezTo>
                  <a:cubicBezTo>
                    <a:pt x="15578" y="1540"/>
                    <a:pt x="14812" y="0"/>
                    <a:pt x="14193" y="0"/>
                  </a:cubicBezTo>
                  <a:lnTo>
                    <a:pt x="11408" y="0"/>
                  </a:lnTo>
                  <a:lnTo>
                    <a:pt x="7870" y="2307"/>
                  </a:lnTo>
                  <a:lnTo>
                    <a:pt x="5563" y="5247"/>
                  </a:lnTo>
                  <a:lnTo>
                    <a:pt x="2483" y="7096"/>
                  </a:lnTo>
                  <a:lnTo>
                    <a:pt x="0" y="8946"/>
                  </a:lnTo>
                  <a:lnTo>
                    <a:pt x="2483" y="15881"/>
                  </a:lnTo>
                  <a:lnTo>
                    <a:pt x="5563" y="18806"/>
                  </a:lnTo>
                  <a:lnTo>
                    <a:pt x="7870" y="20811"/>
                  </a:lnTo>
                  <a:lnTo>
                    <a:pt x="8805" y="25762"/>
                  </a:lnTo>
                  <a:lnTo>
                    <a:pt x="11408" y="25762"/>
                  </a:lnTo>
                  <a:lnTo>
                    <a:pt x="13117" y="22358"/>
                  </a:lnTo>
                  <a:lnTo>
                    <a:pt x="15881" y="20811"/>
                  </a:lnTo>
                  <a:lnTo>
                    <a:pt x="18982" y="2235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7" name="Freihandform: Form 262">
              <a:extLst>
                <a:ext uri="{FF2B5EF4-FFF2-40B4-BE49-F238E27FC236}">
                  <a16:creationId xmlns:a16="http://schemas.microsoft.com/office/drawing/2014/main" id="{DC334167-3316-3F47-AC83-875F2167AB27}"/>
                </a:ext>
              </a:extLst>
            </p:cNvPr>
            <p:cNvSpPr/>
            <p:nvPr/>
          </p:nvSpPr>
          <p:spPr>
            <a:xfrm>
              <a:off x="6477605" y="3790154"/>
              <a:ext cx="39170" cy="30766"/>
            </a:xfrm>
            <a:custGeom>
              <a:avLst/>
              <a:gdLst>
                <a:gd name="connsiteX0" fmla="*/ 32636 w 39170"/>
                <a:gd name="connsiteY0" fmla="*/ 3837 h 30766"/>
                <a:gd name="connsiteX1" fmla="*/ 30604 w 39170"/>
                <a:gd name="connsiteY1" fmla="*/ 1178 h 30766"/>
                <a:gd name="connsiteX2" fmla="*/ 18563 w 39170"/>
                <a:gd name="connsiteY2" fmla="*/ 1178 h 30766"/>
                <a:gd name="connsiteX3" fmla="*/ 11404 w 39170"/>
                <a:gd name="connsiteY3" fmla="*/ 5468 h 30766"/>
                <a:gd name="connsiteX4" fmla="*/ 8344 w 39170"/>
                <a:gd name="connsiteY4" fmla="*/ 3837 h 30766"/>
                <a:gd name="connsiteX5" fmla="*/ 6101 w 39170"/>
                <a:gd name="connsiteY5" fmla="*/ 6699 h 30766"/>
                <a:gd name="connsiteX6" fmla="*/ 1192 w 39170"/>
                <a:gd name="connsiteY6" fmla="*/ 9759 h 30766"/>
                <a:gd name="connsiteX7" fmla="*/ 1192 w 39170"/>
                <a:gd name="connsiteY7" fmla="*/ 20175 h 30766"/>
                <a:gd name="connsiteX8" fmla="*/ 6101 w 39170"/>
                <a:gd name="connsiteY8" fmla="*/ 28945 h 30766"/>
                <a:gd name="connsiteX9" fmla="*/ 16510 w 39170"/>
                <a:gd name="connsiteY9" fmla="*/ 30576 h 30766"/>
                <a:gd name="connsiteX10" fmla="*/ 24267 w 39170"/>
                <a:gd name="connsiteY10" fmla="*/ 25069 h 30766"/>
                <a:gd name="connsiteX11" fmla="*/ 35914 w 39170"/>
                <a:gd name="connsiteY11" fmla="*/ 23438 h 30766"/>
                <a:gd name="connsiteX12" fmla="*/ 39170 w 39170"/>
                <a:gd name="connsiteY12" fmla="*/ 20175 h 30766"/>
                <a:gd name="connsiteX13" fmla="*/ 39170 w 39170"/>
                <a:gd name="connsiteY13" fmla="*/ 15265 h 30766"/>
                <a:gd name="connsiteX14" fmla="*/ 37546 w 39170"/>
                <a:gd name="connsiteY14" fmla="*/ 8331 h 30766"/>
                <a:gd name="connsiteX15" fmla="*/ 32636 w 39170"/>
                <a:gd name="connsiteY15" fmla="*/ 3837 h 30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170" h="30766">
                  <a:moveTo>
                    <a:pt x="32636" y="3837"/>
                  </a:moveTo>
                  <a:cubicBezTo>
                    <a:pt x="30836" y="2697"/>
                    <a:pt x="30534" y="1586"/>
                    <a:pt x="30604" y="1178"/>
                  </a:cubicBezTo>
                  <a:cubicBezTo>
                    <a:pt x="30604" y="-953"/>
                    <a:pt x="22572" y="285"/>
                    <a:pt x="18563" y="1178"/>
                  </a:cubicBezTo>
                  <a:lnTo>
                    <a:pt x="11404" y="5468"/>
                  </a:lnTo>
                  <a:lnTo>
                    <a:pt x="8344" y="3837"/>
                  </a:lnTo>
                  <a:cubicBezTo>
                    <a:pt x="7592" y="3837"/>
                    <a:pt x="6101" y="4413"/>
                    <a:pt x="6101" y="6699"/>
                  </a:cubicBezTo>
                  <a:cubicBezTo>
                    <a:pt x="6101" y="9562"/>
                    <a:pt x="3653" y="8331"/>
                    <a:pt x="1192" y="9759"/>
                  </a:cubicBezTo>
                  <a:cubicBezTo>
                    <a:pt x="-1277" y="11193"/>
                    <a:pt x="791" y="18332"/>
                    <a:pt x="1192" y="20175"/>
                  </a:cubicBezTo>
                  <a:cubicBezTo>
                    <a:pt x="1586" y="22024"/>
                    <a:pt x="2422" y="26300"/>
                    <a:pt x="6101" y="28945"/>
                  </a:cubicBezTo>
                  <a:cubicBezTo>
                    <a:pt x="9772" y="31589"/>
                    <a:pt x="12023" y="30576"/>
                    <a:pt x="16510" y="30576"/>
                  </a:cubicBezTo>
                  <a:cubicBezTo>
                    <a:pt x="20104" y="30576"/>
                    <a:pt x="23177" y="26905"/>
                    <a:pt x="24267" y="25069"/>
                  </a:cubicBezTo>
                  <a:cubicBezTo>
                    <a:pt x="28072" y="25337"/>
                    <a:pt x="35738" y="25393"/>
                    <a:pt x="35914" y="23438"/>
                  </a:cubicBezTo>
                  <a:cubicBezTo>
                    <a:pt x="36090" y="21483"/>
                    <a:pt x="38157" y="20449"/>
                    <a:pt x="39170" y="20175"/>
                  </a:cubicBezTo>
                  <a:lnTo>
                    <a:pt x="39170" y="15265"/>
                  </a:lnTo>
                  <a:cubicBezTo>
                    <a:pt x="38629" y="13360"/>
                    <a:pt x="37546" y="9301"/>
                    <a:pt x="37546" y="8331"/>
                  </a:cubicBezTo>
                  <a:cubicBezTo>
                    <a:pt x="37546" y="7121"/>
                    <a:pt x="34880" y="5272"/>
                    <a:pt x="32636" y="3837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8" name="Freihandform: Form 263">
              <a:extLst>
                <a:ext uri="{FF2B5EF4-FFF2-40B4-BE49-F238E27FC236}">
                  <a16:creationId xmlns:a16="http://schemas.microsoft.com/office/drawing/2014/main" id="{BE99CFF5-6CDD-464B-A62E-DC51362A0DED}"/>
                </a:ext>
              </a:extLst>
            </p:cNvPr>
            <p:cNvSpPr/>
            <p:nvPr/>
          </p:nvSpPr>
          <p:spPr>
            <a:xfrm>
              <a:off x="6463942" y="3658531"/>
              <a:ext cx="157920" cy="102739"/>
            </a:xfrm>
            <a:custGeom>
              <a:avLst/>
              <a:gdLst>
                <a:gd name="connsiteX0" fmla="*/ 38168 w 157920"/>
                <a:gd name="connsiteY0" fmla="*/ 7296 h 102739"/>
                <a:gd name="connsiteX1" fmla="*/ 54302 w 157920"/>
                <a:gd name="connsiteY1" fmla="*/ 5348 h 102739"/>
                <a:gd name="connsiteX2" fmla="*/ 58684 w 157920"/>
                <a:gd name="connsiteY2" fmla="*/ 4940 h 102739"/>
                <a:gd name="connsiteX3" fmla="*/ 61940 w 157920"/>
                <a:gd name="connsiteY3" fmla="*/ 5348 h 102739"/>
                <a:gd name="connsiteX4" fmla="*/ 71695 w 157920"/>
                <a:gd name="connsiteY4" fmla="*/ 7296 h 102739"/>
                <a:gd name="connsiteX5" fmla="*/ 77026 w 157920"/>
                <a:gd name="connsiteY5" fmla="*/ 7296 h 102739"/>
                <a:gd name="connsiteX6" fmla="*/ 79867 w 157920"/>
                <a:gd name="connsiteY6" fmla="*/ 9027 h 102739"/>
                <a:gd name="connsiteX7" fmla="*/ 83940 w 157920"/>
                <a:gd name="connsiteY7" fmla="*/ 11551 h 102739"/>
                <a:gd name="connsiteX8" fmla="*/ 86900 w 157920"/>
                <a:gd name="connsiteY8" fmla="*/ 9427 h 102739"/>
                <a:gd name="connsiteX9" fmla="*/ 90143 w 157920"/>
                <a:gd name="connsiteY9" fmla="*/ 7296 h 102739"/>
                <a:gd name="connsiteX10" fmla="*/ 90916 w 157920"/>
                <a:gd name="connsiteY10" fmla="*/ 7296 h 102739"/>
                <a:gd name="connsiteX11" fmla="*/ 102922 w 157920"/>
                <a:gd name="connsiteY11" fmla="*/ 6403 h 102739"/>
                <a:gd name="connsiteX12" fmla="*/ 104209 w 157920"/>
                <a:gd name="connsiteY12" fmla="*/ 3794 h 102739"/>
                <a:gd name="connsiteX13" fmla="*/ 105053 w 157920"/>
                <a:gd name="connsiteY13" fmla="*/ 1790 h 102739"/>
                <a:gd name="connsiteX14" fmla="*/ 111094 w 157920"/>
                <a:gd name="connsiteY14" fmla="*/ 24 h 102739"/>
                <a:gd name="connsiteX15" fmla="*/ 116756 w 157920"/>
                <a:gd name="connsiteY15" fmla="*/ 4455 h 102739"/>
                <a:gd name="connsiteX16" fmla="*/ 129001 w 157920"/>
                <a:gd name="connsiteY16" fmla="*/ 25203 h 102739"/>
                <a:gd name="connsiteX17" fmla="*/ 135225 w 157920"/>
                <a:gd name="connsiteY17" fmla="*/ 37630 h 102739"/>
                <a:gd name="connsiteX18" fmla="*/ 133255 w 157920"/>
                <a:gd name="connsiteY18" fmla="*/ 49333 h 102739"/>
                <a:gd name="connsiteX19" fmla="*/ 133255 w 157920"/>
                <a:gd name="connsiteY19" fmla="*/ 58223 h 102739"/>
                <a:gd name="connsiteX20" fmla="*/ 133234 w 157920"/>
                <a:gd name="connsiteY20" fmla="*/ 59257 h 102739"/>
                <a:gd name="connsiteX21" fmla="*/ 135225 w 157920"/>
                <a:gd name="connsiteY21" fmla="*/ 65495 h 102739"/>
                <a:gd name="connsiteX22" fmla="*/ 137468 w 157920"/>
                <a:gd name="connsiteY22" fmla="*/ 66852 h 102739"/>
                <a:gd name="connsiteX23" fmla="*/ 142138 w 157920"/>
                <a:gd name="connsiteY23" fmla="*/ 68498 h 102739"/>
                <a:gd name="connsiteX24" fmla="*/ 144339 w 157920"/>
                <a:gd name="connsiteY24" fmla="*/ 67879 h 102739"/>
                <a:gd name="connsiteX25" fmla="*/ 150472 w 157920"/>
                <a:gd name="connsiteY25" fmla="*/ 65495 h 102739"/>
                <a:gd name="connsiteX26" fmla="*/ 150711 w 157920"/>
                <a:gd name="connsiteY26" fmla="*/ 65150 h 102739"/>
                <a:gd name="connsiteX27" fmla="*/ 154207 w 157920"/>
                <a:gd name="connsiteY27" fmla="*/ 64243 h 102739"/>
                <a:gd name="connsiteX28" fmla="*/ 157920 w 157920"/>
                <a:gd name="connsiteY28" fmla="*/ 69567 h 102739"/>
                <a:gd name="connsiteX29" fmla="*/ 155262 w 157920"/>
                <a:gd name="connsiteY29" fmla="*/ 78260 h 102739"/>
                <a:gd name="connsiteX30" fmla="*/ 153475 w 157920"/>
                <a:gd name="connsiteY30" fmla="*/ 78337 h 102739"/>
                <a:gd name="connsiteX31" fmla="*/ 148876 w 157920"/>
                <a:gd name="connsiteY31" fmla="*/ 79329 h 102739"/>
                <a:gd name="connsiteX32" fmla="*/ 147849 w 157920"/>
                <a:gd name="connsiteY32" fmla="*/ 80560 h 102739"/>
                <a:gd name="connsiteX33" fmla="*/ 145676 w 157920"/>
                <a:gd name="connsiteY33" fmla="*/ 83760 h 102739"/>
                <a:gd name="connsiteX34" fmla="*/ 143686 w 157920"/>
                <a:gd name="connsiteY34" fmla="*/ 86826 h 102739"/>
                <a:gd name="connsiteX35" fmla="*/ 142138 w 157920"/>
                <a:gd name="connsiteY35" fmla="*/ 89449 h 102739"/>
                <a:gd name="connsiteX36" fmla="*/ 140711 w 157920"/>
                <a:gd name="connsiteY36" fmla="*/ 100794 h 102739"/>
                <a:gd name="connsiteX37" fmla="*/ 133255 w 157920"/>
                <a:gd name="connsiteY37" fmla="*/ 99563 h 102739"/>
                <a:gd name="connsiteX38" fmla="*/ 131786 w 157920"/>
                <a:gd name="connsiteY38" fmla="*/ 98100 h 102739"/>
                <a:gd name="connsiteX39" fmla="*/ 129001 w 157920"/>
                <a:gd name="connsiteY39" fmla="*/ 96722 h 102739"/>
                <a:gd name="connsiteX40" fmla="*/ 121370 w 157920"/>
                <a:gd name="connsiteY40" fmla="*/ 94598 h 102739"/>
                <a:gd name="connsiteX41" fmla="*/ 116756 w 157920"/>
                <a:gd name="connsiteY41" fmla="*/ 93346 h 102739"/>
                <a:gd name="connsiteX42" fmla="*/ 106642 w 157920"/>
                <a:gd name="connsiteY42" fmla="*/ 94598 h 102739"/>
                <a:gd name="connsiteX43" fmla="*/ 101009 w 157920"/>
                <a:gd name="connsiteY43" fmla="*/ 98220 h 102739"/>
                <a:gd name="connsiteX44" fmla="*/ 99363 w 157920"/>
                <a:gd name="connsiteY44" fmla="*/ 99563 h 102739"/>
                <a:gd name="connsiteX45" fmla="*/ 98161 w 157920"/>
                <a:gd name="connsiteY45" fmla="*/ 100604 h 102739"/>
                <a:gd name="connsiteX46" fmla="*/ 92267 w 157920"/>
                <a:gd name="connsiteY46" fmla="*/ 102566 h 102739"/>
                <a:gd name="connsiteX47" fmla="*/ 80922 w 157920"/>
                <a:gd name="connsiteY47" fmla="*/ 100794 h 102739"/>
                <a:gd name="connsiteX48" fmla="*/ 73467 w 157920"/>
                <a:gd name="connsiteY48" fmla="*/ 100794 h 102739"/>
                <a:gd name="connsiteX49" fmla="*/ 67468 w 157920"/>
                <a:gd name="connsiteY49" fmla="*/ 99612 h 102739"/>
                <a:gd name="connsiteX50" fmla="*/ 63171 w 157920"/>
                <a:gd name="connsiteY50" fmla="*/ 98670 h 102739"/>
                <a:gd name="connsiteX51" fmla="*/ 58621 w 157920"/>
                <a:gd name="connsiteY51" fmla="*/ 98635 h 102739"/>
                <a:gd name="connsiteX52" fmla="*/ 56968 w 157920"/>
                <a:gd name="connsiteY52" fmla="*/ 98670 h 102739"/>
                <a:gd name="connsiteX53" fmla="*/ 51644 w 157920"/>
                <a:gd name="connsiteY53" fmla="*/ 98670 h 102739"/>
                <a:gd name="connsiteX54" fmla="*/ 51975 w 157920"/>
                <a:gd name="connsiteY54" fmla="*/ 97270 h 102739"/>
                <a:gd name="connsiteX55" fmla="*/ 52713 w 157920"/>
                <a:gd name="connsiteY55" fmla="*/ 94598 h 102739"/>
                <a:gd name="connsiteX56" fmla="*/ 47431 w 157920"/>
                <a:gd name="connsiteY56" fmla="*/ 90082 h 102739"/>
                <a:gd name="connsiteX57" fmla="*/ 46974 w 157920"/>
                <a:gd name="connsiteY57" fmla="*/ 89745 h 102739"/>
                <a:gd name="connsiteX58" fmla="*/ 45898 w 157920"/>
                <a:gd name="connsiteY58" fmla="*/ 86707 h 102739"/>
                <a:gd name="connsiteX59" fmla="*/ 45898 w 157920"/>
                <a:gd name="connsiteY59" fmla="*/ 85314 h 102739"/>
                <a:gd name="connsiteX60" fmla="*/ 48366 w 157920"/>
                <a:gd name="connsiteY60" fmla="*/ 82529 h 102739"/>
                <a:gd name="connsiteX61" fmla="*/ 48366 w 157920"/>
                <a:gd name="connsiteY61" fmla="*/ 81298 h 102739"/>
                <a:gd name="connsiteX62" fmla="*/ 42958 w 157920"/>
                <a:gd name="connsiteY62" fmla="*/ 81298 h 102739"/>
                <a:gd name="connsiteX63" fmla="*/ 40335 w 157920"/>
                <a:gd name="connsiteY63" fmla="*/ 83922 h 102739"/>
                <a:gd name="connsiteX64" fmla="*/ 38344 w 157920"/>
                <a:gd name="connsiteY64" fmla="*/ 83922 h 102739"/>
                <a:gd name="connsiteX65" fmla="*/ 38344 w 157920"/>
                <a:gd name="connsiteY65" fmla="*/ 82529 h 102739"/>
                <a:gd name="connsiteX66" fmla="*/ 35721 w 157920"/>
                <a:gd name="connsiteY66" fmla="*/ 80525 h 102739"/>
                <a:gd name="connsiteX67" fmla="*/ 33393 w 157920"/>
                <a:gd name="connsiteY67" fmla="*/ 79448 h 102739"/>
                <a:gd name="connsiteX68" fmla="*/ 32591 w 157920"/>
                <a:gd name="connsiteY68" fmla="*/ 79533 h 102739"/>
                <a:gd name="connsiteX69" fmla="*/ 30158 w 157920"/>
                <a:gd name="connsiteY69" fmla="*/ 79448 h 102739"/>
                <a:gd name="connsiteX70" fmla="*/ 29223 w 157920"/>
                <a:gd name="connsiteY70" fmla="*/ 78140 h 102739"/>
                <a:gd name="connsiteX71" fmla="*/ 29243 w 157920"/>
                <a:gd name="connsiteY71" fmla="*/ 77761 h 102739"/>
                <a:gd name="connsiteX72" fmla="*/ 29243 w 157920"/>
                <a:gd name="connsiteY72" fmla="*/ 74518 h 102739"/>
                <a:gd name="connsiteX73" fmla="*/ 29272 w 157920"/>
                <a:gd name="connsiteY73" fmla="*/ 73625 h 102739"/>
                <a:gd name="connsiteX74" fmla="*/ 29243 w 157920"/>
                <a:gd name="connsiteY74" fmla="*/ 71417 h 102739"/>
                <a:gd name="connsiteX75" fmla="*/ 27485 w 157920"/>
                <a:gd name="connsiteY75" fmla="*/ 69286 h 102739"/>
                <a:gd name="connsiteX76" fmla="*/ 27485 w 157920"/>
                <a:gd name="connsiteY76" fmla="*/ 69286 h 102739"/>
                <a:gd name="connsiteX77" fmla="*/ 26620 w 157920"/>
                <a:gd name="connsiteY77" fmla="*/ 68660 h 102739"/>
                <a:gd name="connsiteX78" fmla="*/ 24081 w 157920"/>
                <a:gd name="connsiteY78" fmla="*/ 67513 h 102739"/>
                <a:gd name="connsiteX79" fmla="*/ 24081 w 157920"/>
                <a:gd name="connsiteY79" fmla="*/ 67513 h 102739"/>
                <a:gd name="connsiteX80" fmla="*/ 22921 w 157920"/>
                <a:gd name="connsiteY80" fmla="*/ 67106 h 102739"/>
                <a:gd name="connsiteX81" fmla="*/ 22358 w 157920"/>
                <a:gd name="connsiteY81" fmla="*/ 66838 h 102739"/>
                <a:gd name="connsiteX82" fmla="*/ 22358 w 157920"/>
                <a:gd name="connsiteY82" fmla="*/ 66838 h 102739"/>
                <a:gd name="connsiteX83" fmla="*/ 17513 w 157920"/>
                <a:gd name="connsiteY83" fmla="*/ 62949 h 102739"/>
                <a:gd name="connsiteX84" fmla="*/ 16444 w 157920"/>
                <a:gd name="connsiteY84" fmla="*/ 57702 h 102739"/>
                <a:gd name="connsiteX85" fmla="*/ 15480 w 157920"/>
                <a:gd name="connsiteY85" fmla="*/ 55290 h 102739"/>
                <a:gd name="connsiteX86" fmla="*/ 14432 w 157920"/>
                <a:gd name="connsiteY86" fmla="*/ 54010 h 102739"/>
                <a:gd name="connsiteX87" fmla="*/ 12582 w 157920"/>
                <a:gd name="connsiteY87" fmla="*/ 52216 h 102739"/>
                <a:gd name="connsiteX88" fmla="*/ 11513 w 157920"/>
                <a:gd name="connsiteY88" fmla="*/ 51225 h 102739"/>
                <a:gd name="connsiteX89" fmla="*/ 11176 w 157920"/>
                <a:gd name="connsiteY89" fmla="*/ 49790 h 102739"/>
                <a:gd name="connsiteX90" fmla="*/ 10578 w 157920"/>
                <a:gd name="connsiteY90" fmla="*/ 48763 h 102739"/>
                <a:gd name="connsiteX91" fmla="*/ 9115 w 157920"/>
                <a:gd name="connsiteY91" fmla="*/ 48616 h 102739"/>
                <a:gd name="connsiteX92" fmla="*/ 3517 w 157920"/>
                <a:gd name="connsiteY92" fmla="*/ 48151 h 102739"/>
                <a:gd name="connsiteX93" fmla="*/ 0 w 157920"/>
                <a:gd name="connsiteY93" fmla="*/ 37630 h 102739"/>
                <a:gd name="connsiteX94" fmla="*/ 38168 w 157920"/>
                <a:gd name="connsiteY94" fmla="*/ 7296 h 10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57920" h="102739">
                  <a:moveTo>
                    <a:pt x="38168" y="7296"/>
                  </a:moveTo>
                  <a:cubicBezTo>
                    <a:pt x="42838" y="7184"/>
                    <a:pt x="52607" y="6635"/>
                    <a:pt x="54302" y="5348"/>
                  </a:cubicBezTo>
                  <a:cubicBezTo>
                    <a:pt x="55653" y="4329"/>
                    <a:pt x="57010" y="4603"/>
                    <a:pt x="58684" y="4940"/>
                  </a:cubicBezTo>
                  <a:cubicBezTo>
                    <a:pt x="59641" y="5130"/>
                    <a:pt x="60710" y="5348"/>
                    <a:pt x="61940" y="5348"/>
                  </a:cubicBezTo>
                  <a:cubicBezTo>
                    <a:pt x="64627" y="5348"/>
                    <a:pt x="69564" y="6649"/>
                    <a:pt x="71695" y="7296"/>
                  </a:cubicBezTo>
                  <a:cubicBezTo>
                    <a:pt x="73123" y="7592"/>
                    <a:pt x="76182" y="8014"/>
                    <a:pt x="77026" y="7296"/>
                  </a:cubicBezTo>
                  <a:cubicBezTo>
                    <a:pt x="77525" y="6874"/>
                    <a:pt x="78623" y="7880"/>
                    <a:pt x="79867" y="9027"/>
                  </a:cubicBezTo>
                  <a:cubicBezTo>
                    <a:pt x="81253" y="10300"/>
                    <a:pt x="82821" y="11741"/>
                    <a:pt x="83940" y="11551"/>
                  </a:cubicBezTo>
                  <a:cubicBezTo>
                    <a:pt x="84960" y="11383"/>
                    <a:pt x="85930" y="10405"/>
                    <a:pt x="86900" y="9427"/>
                  </a:cubicBezTo>
                  <a:cubicBezTo>
                    <a:pt x="87970" y="8365"/>
                    <a:pt x="89032" y="7296"/>
                    <a:pt x="90143" y="7296"/>
                  </a:cubicBezTo>
                  <a:cubicBezTo>
                    <a:pt x="90340" y="7296"/>
                    <a:pt x="90607" y="7296"/>
                    <a:pt x="90916" y="7296"/>
                  </a:cubicBezTo>
                  <a:cubicBezTo>
                    <a:pt x="93962" y="7318"/>
                    <a:pt x="101803" y="7360"/>
                    <a:pt x="102922" y="6403"/>
                  </a:cubicBezTo>
                  <a:cubicBezTo>
                    <a:pt x="103611" y="5812"/>
                    <a:pt x="103913" y="4779"/>
                    <a:pt x="104209" y="3794"/>
                  </a:cubicBezTo>
                  <a:cubicBezTo>
                    <a:pt x="104434" y="3013"/>
                    <a:pt x="104659" y="2268"/>
                    <a:pt x="105053" y="1790"/>
                  </a:cubicBezTo>
                  <a:cubicBezTo>
                    <a:pt x="105946" y="720"/>
                    <a:pt x="108963" y="-159"/>
                    <a:pt x="111094" y="24"/>
                  </a:cubicBezTo>
                  <a:cubicBezTo>
                    <a:pt x="113218" y="200"/>
                    <a:pt x="115863" y="2507"/>
                    <a:pt x="116756" y="4455"/>
                  </a:cubicBezTo>
                  <a:cubicBezTo>
                    <a:pt x="117656" y="6403"/>
                    <a:pt x="125800" y="22002"/>
                    <a:pt x="129001" y="25203"/>
                  </a:cubicBezTo>
                  <a:cubicBezTo>
                    <a:pt x="131560" y="27763"/>
                    <a:pt x="134219" y="34557"/>
                    <a:pt x="135225" y="37630"/>
                  </a:cubicBezTo>
                  <a:cubicBezTo>
                    <a:pt x="134571" y="40816"/>
                    <a:pt x="133255" y="47617"/>
                    <a:pt x="133255" y="49333"/>
                  </a:cubicBezTo>
                  <a:lnTo>
                    <a:pt x="133255" y="58223"/>
                  </a:lnTo>
                  <a:cubicBezTo>
                    <a:pt x="133255" y="58546"/>
                    <a:pt x="133248" y="58891"/>
                    <a:pt x="133234" y="59257"/>
                  </a:cubicBezTo>
                  <a:cubicBezTo>
                    <a:pt x="133171" y="61521"/>
                    <a:pt x="133086" y="64433"/>
                    <a:pt x="135225" y="65495"/>
                  </a:cubicBezTo>
                  <a:cubicBezTo>
                    <a:pt x="135991" y="65875"/>
                    <a:pt x="136737" y="66367"/>
                    <a:pt x="137468" y="66852"/>
                  </a:cubicBezTo>
                  <a:cubicBezTo>
                    <a:pt x="139107" y="67942"/>
                    <a:pt x="140668" y="68976"/>
                    <a:pt x="142138" y="68498"/>
                  </a:cubicBezTo>
                  <a:cubicBezTo>
                    <a:pt x="142701" y="68315"/>
                    <a:pt x="143474" y="68104"/>
                    <a:pt x="144339" y="67879"/>
                  </a:cubicBezTo>
                  <a:cubicBezTo>
                    <a:pt x="146752" y="67232"/>
                    <a:pt x="149811" y="66416"/>
                    <a:pt x="150472" y="65495"/>
                  </a:cubicBezTo>
                  <a:cubicBezTo>
                    <a:pt x="150550" y="65382"/>
                    <a:pt x="150634" y="65263"/>
                    <a:pt x="150711" y="65150"/>
                  </a:cubicBezTo>
                  <a:cubicBezTo>
                    <a:pt x="151478" y="64032"/>
                    <a:pt x="152118" y="63111"/>
                    <a:pt x="154207" y="64243"/>
                  </a:cubicBezTo>
                  <a:cubicBezTo>
                    <a:pt x="156050" y="65249"/>
                    <a:pt x="157449" y="68210"/>
                    <a:pt x="157920" y="69567"/>
                  </a:cubicBezTo>
                  <a:cubicBezTo>
                    <a:pt x="157920" y="72408"/>
                    <a:pt x="157393" y="78112"/>
                    <a:pt x="155262" y="78260"/>
                  </a:cubicBezTo>
                  <a:cubicBezTo>
                    <a:pt x="154678" y="78295"/>
                    <a:pt x="154073" y="78316"/>
                    <a:pt x="153475" y="78337"/>
                  </a:cubicBezTo>
                  <a:cubicBezTo>
                    <a:pt x="151331" y="78415"/>
                    <a:pt x="149298" y="78492"/>
                    <a:pt x="148876" y="79329"/>
                  </a:cubicBezTo>
                  <a:cubicBezTo>
                    <a:pt x="148686" y="79723"/>
                    <a:pt x="148292" y="80110"/>
                    <a:pt x="147849" y="80560"/>
                  </a:cubicBezTo>
                  <a:cubicBezTo>
                    <a:pt x="147075" y="81340"/>
                    <a:pt x="146119" y="82297"/>
                    <a:pt x="145676" y="83760"/>
                  </a:cubicBezTo>
                  <a:cubicBezTo>
                    <a:pt x="145338" y="84899"/>
                    <a:pt x="144473" y="85905"/>
                    <a:pt x="143686" y="86826"/>
                  </a:cubicBezTo>
                  <a:cubicBezTo>
                    <a:pt x="142877" y="87783"/>
                    <a:pt x="142138" y="88641"/>
                    <a:pt x="142138" y="89449"/>
                  </a:cubicBezTo>
                  <a:cubicBezTo>
                    <a:pt x="142138" y="91039"/>
                    <a:pt x="142124" y="100083"/>
                    <a:pt x="140711" y="100794"/>
                  </a:cubicBezTo>
                  <a:cubicBezTo>
                    <a:pt x="139297" y="101511"/>
                    <a:pt x="135562" y="100998"/>
                    <a:pt x="133255" y="99563"/>
                  </a:cubicBezTo>
                  <a:cubicBezTo>
                    <a:pt x="132334" y="98993"/>
                    <a:pt x="132039" y="98508"/>
                    <a:pt x="131786" y="98100"/>
                  </a:cubicBezTo>
                  <a:cubicBezTo>
                    <a:pt x="131406" y="97488"/>
                    <a:pt x="131125" y="97045"/>
                    <a:pt x="129001" y="96722"/>
                  </a:cubicBezTo>
                  <a:cubicBezTo>
                    <a:pt x="125463" y="96187"/>
                    <a:pt x="122959" y="95491"/>
                    <a:pt x="121370" y="94598"/>
                  </a:cubicBezTo>
                  <a:cubicBezTo>
                    <a:pt x="119780" y="93697"/>
                    <a:pt x="118887" y="93346"/>
                    <a:pt x="116756" y="93346"/>
                  </a:cubicBezTo>
                  <a:cubicBezTo>
                    <a:pt x="114632" y="93346"/>
                    <a:pt x="110180" y="93360"/>
                    <a:pt x="106642" y="94598"/>
                  </a:cubicBezTo>
                  <a:cubicBezTo>
                    <a:pt x="104139" y="95470"/>
                    <a:pt x="102423" y="96975"/>
                    <a:pt x="101009" y="98220"/>
                  </a:cubicBezTo>
                  <a:cubicBezTo>
                    <a:pt x="100418" y="98733"/>
                    <a:pt x="99883" y="99204"/>
                    <a:pt x="99363" y="99563"/>
                  </a:cubicBezTo>
                  <a:cubicBezTo>
                    <a:pt x="98948" y="99851"/>
                    <a:pt x="98561" y="100224"/>
                    <a:pt x="98161" y="100604"/>
                  </a:cubicBezTo>
                  <a:cubicBezTo>
                    <a:pt x="96852" y="101842"/>
                    <a:pt x="95390" y="103234"/>
                    <a:pt x="92267" y="102566"/>
                  </a:cubicBezTo>
                  <a:cubicBezTo>
                    <a:pt x="88195" y="101694"/>
                    <a:pt x="82871" y="100794"/>
                    <a:pt x="80922" y="100794"/>
                  </a:cubicBezTo>
                  <a:lnTo>
                    <a:pt x="73467" y="100794"/>
                  </a:lnTo>
                  <a:cubicBezTo>
                    <a:pt x="71969" y="100794"/>
                    <a:pt x="69634" y="100182"/>
                    <a:pt x="67468" y="99612"/>
                  </a:cubicBezTo>
                  <a:cubicBezTo>
                    <a:pt x="65773" y="99169"/>
                    <a:pt x="64184" y="98747"/>
                    <a:pt x="63171" y="98670"/>
                  </a:cubicBezTo>
                  <a:cubicBezTo>
                    <a:pt x="61575" y="98543"/>
                    <a:pt x="59985" y="98592"/>
                    <a:pt x="58621" y="98635"/>
                  </a:cubicBezTo>
                  <a:cubicBezTo>
                    <a:pt x="58023" y="98656"/>
                    <a:pt x="57460" y="98670"/>
                    <a:pt x="56968" y="98670"/>
                  </a:cubicBezTo>
                  <a:lnTo>
                    <a:pt x="51644" y="98670"/>
                  </a:lnTo>
                  <a:cubicBezTo>
                    <a:pt x="51391" y="98670"/>
                    <a:pt x="51651" y="98058"/>
                    <a:pt x="51975" y="97270"/>
                  </a:cubicBezTo>
                  <a:cubicBezTo>
                    <a:pt x="52347" y="96377"/>
                    <a:pt x="52811" y="95266"/>
                    <a:pt x="52713" y="94598"/>
                  </a:cubicBezTo>
                  <a:cubicBezTo>
                    <a:pt x="52607" y="93831"/>
                    <a:pt x="50188" y="91679"/>
                    <a:pt x="47431" y="90082"/>
                  </a:cubicBezTo>
                  <a:cubicBezTo>
                    <a:pt x="47269" y="89949"/>
                    <a:pt x="47115" y="89843"/>
                    <a:pt x="46974" y="89745"/>
                  </a:cubicBezTo>
                  <a:cubicBezTo>
                    <a:pt x="46306" y="89274"/>
                    <a:pt x="45898" y="88992"/>
                    <a:pt x="45898" y="86707"/>
                  </a:cubicBezTo>
                  <a:lnTo>
                    <a:pt x="45898" y="85314"/>
                  </a:lnTo>
                  <a:lnTo>
                    <a:pt x="48366" y="82529"/>
                  </a:lnTo>
                  <a:lnTo>
                    <a:pt x="48366" y="81298"/>
                  </a:lnTo>
                  <a:lnTo>
                    <a:pt x="42958" y="81298"/>
                  </a:lnTo>
                  <a:cubicBezTo>
                    <a:pt x="41249" y="82072"/>
                    <a:pt x="40813" y="82529"/>
                    <a:pt x="40335" y="83922"/>
                  </a:cubicBezTo>
                  <a:cubicBezTo>
                    <a:pt x="39955" y="85033"/>
                    <a:pt x="38851" y="84386"/>
                    <a:pt x="38344" y="83922"/>
                  </a:cubicBezTo>
                  <a:lnTo>
                    <a:pt x="38344" y="82529"/>
                  </a:lnTo>
                  <a:lnTo>
                    <a:pt x="35721" y="80525"/>
                  </a:lnTo>
                  <a:cubicBezTo>
                    <a:pt x="35208" y="80166"/>
                    <a:pt x="34019" y="79448"/>
                    <a:pt x="33393" y="79448"/>
                  </a:cubicBezTo>
                  <a:cubicBezTo>
                    <a:pt x="33168" y="79448"/>
                    <a:pt x="32894" y="79491"/>
                    <a:pt x="32591" y="79533"/>
                  </a:cubicBezTo>
                  <a:cubicBezTo>
                    <a:pt x="31888" y="79638"/>
                    <a:pt x="31023" y="79772"/>
                    <a:pt x="30158" y="79448"/>
                  </a:cubicBezTo>
                  <a:cubicBezTo>
                    <a:pt x="29145" y="79076"/>
                    <a:pt x="29180" y="78689"/>
                    <a:pt x="29223" y="78140"/>
                  </a:cubicBezTo>
                  <a:cubicBezTo>
                    <a:pt x="29229" y="78021"/>
                    <a:pt x="29243" y="77894"/>
                    <a:pt x="29243" y="77761"/>
                  </a:cubicBezTo>
                  <a:lnTo>
                    <a:pt x="29243" y="74518"/>
                  </a:lnTo>
                  <a:cubicBezTo>
                    <a:pt x="29243" y="74230"/>
                    <a:pt x="29258" y="73935"/>
                    <a:pt x="29272" y="73625"/>
                  </a:cubicBezTo>
                  <a:cubicBezTo>
                    <a:pt x="29314" y="72978"/>
                    <a:pt x="29349" y="72268"/>
                    <a:pt x="29243" y="71417"/>
                  </a:cubicBezTo>
                  <a:cubicBezTo>
                    <a:pt x="29117" y="70439"/>
                    <a:pt x="28435" y="69961"/>
                    <a:pt x="27485" y="69286"/>
                  </a:cubicBezTo>
                  <a:lnTo>
                    <a:pt x="27485" y="69286"/>
                  </a:lnTo>
                  <a:cubicBezTo>
                    <a:pt x="27211" y="69096"/>
                    <a:pt x="26923" y="68892"/>
                    <a:pt x="26620" y="68660"/>
                  </a:cubicBezTo>
                  <a:cubicBezTo>
                    <a:pt x="25734" y="67971"/>
                    <a:pt x="24848" y="67724"/>
                    <a:pt x="24081" y="67513"/>
                  </a:cubicBezTo>
                  <a:lnTo>
                    <a:pt x="24081" y="67513"/>
                  </a:lnTo>
                  <a:cubicBezTo>
                    <a:pt x="23645" y="67387"/>
                    <a:pt x="23251" y="67281"/>
                    <a:pt x="22921" y="67106"/>
                  </a:cubicBezTo>
                  <a:cubicBezTo>
                    <a:pt x="22787" y="67035"/>
                    <a:pt x="22590" y="66951"/>
                    <a:pt x="22358" y="66838"/>
                  </a:cubicBezTo>
                  <a:lnTo>
                    <a:pt x="22358" y="66838"/>
                  </a:lnTo>
                  <a:cubicBezTo>
                    <a:pt x="20980" y="66205"/>
                    <a:pt x="18174" y="64918"/>
                    <a:pt x="17513" y="62949"/>
                  </a:cubicBezTo>
                  <a:cubicBezTo>
                    <a:pt x="16739" y="60649"/>
                    <a:pt x="16598" y="60009"/>
                    <a:pt x="16444" y="57702"/>
                  </a:cubicBezTo>
                  <a:cubicBezTo>
                    <a:pt x="16338" y="56183"/>
                    <a:pt x="16028" y="55867"/>
                    <a:pt x="15480" y="55290"/>
                  </a:cubicBezTo>
                  <a:cubicBezTo>
                    <a:pt x="15199" y="54994"/>
                    <a:pt x="14854" y="54636"/>
                    <a:pt x="14432" y="54010"/>
                  </a:cubicBezTo>
                  <a:cubicBezTo>
                    <a:pt x="13750" y="52983"/>
                    <a:pt x="13117" y="52568"/>
                    <a:pt x="12582" y="52216"/>
                  </a:cubicBezTo>
                  <a:cubicBezTo>
                    <a:pt x="12153" y="51942"/>
                    <a:pt x="11788" y="51703"/>
                    <a:pt x="11513" y="51225"/>
                  </a:cubicBezTo>
                  <a:cubicBezTo>
                    <a:pt x="11246" y="50761"/>
                    <a:pt x="11211" y="50240"/>
                    <a:pt x="11176" y="49790"/>
                  </a:cubicBezTo>
                  <a:cubicBezTo>
                    <a:pt x="11141" y="49206"/>
                    <a:pt x="11105" y="48763"/>
                    <a:pt x="10578" y="48763"/>
                  </a:cubicBezTo>
                  <a:cubicBezTo>
                    <a:pt x="10388" y="48763"/>
                    <a:pt x="9846" y="48700"/>
                    <a:pt x="9115" y="48616"/>
                  </a:cubicBezTo>
                  <a:cubicBezTo>
                    <a:pt x="7673" y="48461"/>
                    <a:pt x="5465" y="48215"/>
                    <a:pt x="3517" y="48151"/>
                  </a:cubicBezTo>
                  <a:lnTo>
                    <a:pt x="0" y="37630"/>
                  </a:lnTo>
                  <a:lnTo>
                    <a:pt x="38168" y="729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9" name="Freihandform: Form 264">
              <a:extLst>
                <a:ext uri="{FF2B5EF4-FFF2-40B4-BE49-F238E27FC236}">
                  <a16:creationId xmlns:a16="http://schemas.microsoft.com/office/drawing/2014/main" id="{9DE8C7FE-EDD8-6E4F-982E-12C8EE0828D6}"/>
                </a:ext>
              </a:extLst>
            </p:cNvPr>
            <p:cNvSpPr/>
            <p:nvPr/>
          </p:nvSpPr>
          <p:spPr>
            <a:xfrm>
              <a:off x="6411012" y="3651188"/>
              <a:ext cx="104032" cy="64249"/>
            </a:xfrm>
            <a:custGeom>
              <a:avLst/>
              <a:gdLst>
                <a:gd name="connsiteX0" fmla="*/ 12033 w 104032"/>
                <a:gd name="connsiteY0" fmla="*/ 7086 h 64249"/>
                <a:gd name="connsiteX1" fmla="*/ 12033 w 104032"/>
                <a:gd name="connsiteY1" fmla="*/ 7086 h 64249"/>
                <a:gd name="connsiteX2" fmla="*/ 12941 w 104032"/>
                <a:gd name="connsiteY2" fmla="*/ 8190 h 64249"/>
                <a:gd name="connsiteX3" fmla="*/ 12033 w 104032"/>
                <a:gd name="connsiteY3" fmla="*/ 7086 h 64249"/>
                <a:gd name="connsiteX4" fmla="*/ 13377 w 104032"/>
                <a:gd name="connsiteY4" fmla="*/ 9400 h 64249"/>
                <a:gd name="connsiteX5" fmla="*/ 14305 w 104032"/>
                <a:gd name="connsiteY5" fmla="*/ 11144 h 64249"/>
                <a:gd name="connsiteX6" fmla="*/ 14305 w 104032"/>
                <a:gd name="connsiteY6" fmla="*/ 11144 h 64249"/>
                <a:gd name="connsiteX7" fmla="*/ 14629 w 104032"/>
                <a:gd name="connsiteY7" fmla="*/ 14182 h 64249"/>
                <a:gd name="connsiteX8" fmla="*/ 14277 w 104032"/>
                <a:gd name="connsiteY8" fmla="*/ 16911 h 64249"/>
                <a:gd name="connsiteX9" fmla="*/ 13060 w 104032"/>
                <a:gd name="connsiteY9" fmla="*/ 20027 h 64249"/>
                <a:gd name="connsiteX10" fmla="*/ 10050 w 104032"/>
                <a:gd name="connsiteY10" fmla="*/ 19661 h 64249"/>
                <a:gd name="connsiteX11" fmla="*/ 10050 w 104032"/>
                <a:gd name="connsiteY11" fmla="*/ 19661 h 64249"/>
                <a:gd name="connsiteX12" fmla="*/ 7596 w 104032"/>
                <a:gd name="connsiteY12" fmla="*/ 19056 h 64249"/>
                <a:gd name="connsiteX13" fmla="*/ 6041 w 104032"/>
                <a:gd name="connsiteY13" fmla="*/ 21975 h 64249"/>
                <a:gd name="connsiteX14" fmla="*/ 5155 w 104032"/>
                <a:gd name="connsiteY14" fmla="*/ 26138 h 64249"/>
                <a:gd name="connsiteX15" fmla="*/ 4093 w 104032"/>
                <a:gd name="connsiteY15" fmla="*/ 28016 h 64249"/>
                <a:gd name="connsiteX16" fmla="*/ 3896 w 104032"/>
                <a:gd name="connsiteY16" fmla="*/ 31687 h 64249"/>
                <a:gd name="connsiteX17" fmla="*/ 4093 w 104032"/>
                <a:gd name="connsiteY17" fmla="*/ 34458 h 64249"/>
                <a:gd name="connsiteX18" fmla="*/ 0 w 104032"/>
                <a:gd name="connsiteY18" fmla="*/ 38003 h 64249"/>
                <a:gd name="connsiteX19" fmla="*/ 63 w 104032"/>
                <a:gd name="connsiteY19" fmla="*/ 38235 h 64249"/>
                <a:gd name="connsiteX20" fmla="*/ 3622 w 104032"/>
                <a:gd name="connsiteY20" fmla="*/ 46042 h 64249"/>
                <a:gd name="connsiteX21" fmla="*/ 7047 w 104032"/>
                <a:gd name="connsiteY21" fmla="*/ 49439 h 64249"/>
                <a:gd name="connsiteX22" fmla="*/ 10177 w 104032"/>
                <a:gd name="connsiteY22" fmla="*/ 52245 h 64249"/>
                <a:gd name="connsiteX23" fmla="*/ 30235 w 104032"/>
                <a:gd name="connsiteY23" fmla="*/ 64131 h 64249"/>
                <a:gd name="connsiteX24" fmla="*/ 51700 w 104032"/>
                <a:gd name="connsiteY24" fmla="*/ 56163 h 64249"/>
                <a:gd name="connsiteX25" fmla="*/ 58550 w 104032"/>
                <a:gd name="connsiteY25" fmla="*/ 55663 h 64249"/>
                <a:gd name="connsiteX26" fmla="*/ 70148 w 104032"/>
                <a:gd name="connsiteY26" fmla="*/ 54911 h 64249"/>
                <a:gd name="connsiteX27" fmla="*/ 81675 w 104032"/>
                <a:gd name="connsiteY27" fmla="*/ 44094 h 64249"/>
                <a:gd name="connsiteX28" fmla="*/ 83918 w 104032"/>
                <a:gd name="connsiteY28" fmla="*/ 39396 h 64249"/>
                <a:gd name="connsiteX29" fmla="*/ 83918 w 104032"/>
                <a:gd name="connsiteY29" fmla="*/ 39396 h 64249"/>
                <a:gd name="connsiteX30" fmla="*/ 86999 w 104032"/>
                <a:gd name="connsiteY30" fmla="*/ 33087 h 64249"/>
                <a:gd name="connsiteX31" fmla="*/ 91254 w 104032"/>
                <a:gd name="connsiteY31" fmla="*/ 24218 h 64249"/>
                <a:gd name="connsiteX32" fmla="*/ 92189 w 104032"/>
                <a:gd name="connsiteY32" fmla="*/ 22966 h 64249"/>
                <a:gd name="connsiteX33" fmla="*/ 97119 w 104032"/>
                <a:gd name="connsiteY33" fmla="*/ 18894 h 64249"/>
                <a:gd name="connsiteX34" fmla="*/ 99039 w 104032"/>
                <a:gd name="connsiteY34" fmla="*/ 18803 h 64249"/>
                <a:gd name="connsiteX35" fmla="*/ 101550 w 104032"/>
                <a:gd name="connsiteY35" fmla="*/ 17481 h 64249"/>
                <a:gd name="connsiteX36" fmla="*/ 104033 w 104032"/>
                <a:gd name="connsiteY36" fmla="*/ 13212 h 64249"/>
                <a:gd name="connsiteX37" fmla="*/ 98196 w 104032"/>
                <a:gd name="connsiteY37" fmla="*/ 7881 h 64249"/>
                <a:gd name="connsiteX38" fmla="*/ 92597 w 104032"/>
                <a:gd name="connsiteY38" fmla="*/ 2374 h 64249"/>
                <a:gd name="connsiteX39" fmla="*/ 92569 w 104032"/>
                <a:gd name="connsiteY39" fmla="*/ 2613 h 64249"/>
                <a:gd name="connsiteX40" fmla="*/ 90164 w 104032"/>
                <a:gd name="connsiteY40" fmla="*/ 4441 h 64249"/>
                <a:gd name="connsiteX41" fmla="*/ 88307 w 104032"/>
                <a:gd name="connsiteY41" fmla="*/ 4111 h 64249"/>
                <a:gd name="connsiteX42" fmla="*/ 85213 w 104032"/>
                <a:gd name="connsiteY42" fmla="*/ 3590 h 64249"/>
                <a:gd name="connsiteX43" fmla="*/ 83679 w 104032"/>
                <a:gd name="connsiteY43" fmla="*/ 2184 h 64249"/>
                <a:gd name="connsiteX44" fmla="*/ 83145 w 104032"/>
                <a:gd name="connsiteY44" fmla="*/ 1544 h 64249"/>
                <a:gd name="connsiteX45" fmla="*/ 82610 w 104032"/>
                <a:gd name="connsiteY45" fmla="*/ 1185 h 64249"/>
                <a:gd name="connsiteX46" fmla="*/ 80859 w 104032"/>
                <a:gd name="connsiteY46" fmla="*/ 327 h 64249"/>
                <a:gd name="connsiteX47" fmla="*/ 78672 w 104032"/>
                <a:gd name="connsiteY47" fmla="*/ 890 h 64249"/>
                <a:gd name="connsiteX48" fmla="*/ 76745 w 104032"/>
                <a:gd name="connsiteY48" fmla="*/ 1544 h 64249"/>
                <a:gd name="connsiteX49" fmla="*/ 74072 w 104032"/>
                <a:gd name="connsiteY49" fmla="*/ 475 h 64249"/>
                <a:gd name="connsiteX50" fmla="*/ 74072 w 104032"/>
                <a:gd name="connsiteY50" fmla="*/ 475 h 64249"/>
                <a:gd name="connsiteX51" fmla="*/ 74072 w 104032"/>
                <a:gd name="connsiteY51" fmla="*/ 475 h 64249"/>
                <a:gd name="connsiteX52" fmla="*/ 74072 w 104032"/>
                <a:gd name="connsiteY52" fmla="*/ 475 h 64249"/>
                <a:gd name="connsiteX53" fmla="*/ 73981 w 104032"/>
                <a:gd name="connsiteY53" fmla="*/ 327 h 64249"/>
                <a:gd name="connsiteX54" fmla="*/ 71083 w 104032"/>
                <a:gd name="connsiteY54" fmla="*/ 158 h 64249"/>
                <a:gd name="connsiteX55" fmla="*/ 69149 w 104032"/>
                <a:gd name="connsiteY55" fmla="*/ 327 h 64249"/>
                <a:gd name="connsiteX56" fmla="*/ 66913 w 104032"/>
                <a:gd name="connsiteY56" fmla="*/ 2824 h 64249"/>
                <a:gd name="connsiteX57" fmla="*/ 66913 w 104032"/>
                <a:gd name="connsiteY57" fmla="*/ 2824 h 64249"/>
                <a:gd name="connsiteX58" fmla="*/ 66610 w 104032"/>
                <a:gd name="connsiteY58" fmla="*/ 3590 h 64249"/>
                <a:gd name="connsiteX59" fmla="*/ 64577 w 104032"/>
                <a:gd name="connsiteY59" fmla="*/ 5890 h 64249"/>
                <a:gd name="connsiteX60" fmla="*/ 64577 w 104032"/>
                <a:gd name="connsiteY60" fmla="*/ 5890 h 64249"/>
                <a:gd name="connsiteX61" fmla="*/ 63705 w 104032"/>
                <a:gd name="connsiteY61" fmla="*/ 6727 h 64249"/>
                <a:gd name="connsiteX62" fmla="*/ 61124 w 104032"/>
                <a:gd name="connsiteY62" fmla="*/ 8197 h 64249"/>
                <a:gd name="connsiteX63" fmla="*/ 61124 w 104032"/>
                <a:gd name="connsiteY63" fmla="*/ 8197 h 64249"/>
                <a:gd name="connsiteX64" fmla="*/ 61124 w 104032"/>
                <a:gd name="connsiteY64" fmla="*/ 8197 h 64249"/>
                <a:gd name="connsiteX65" fmla="*/ 59232 w 104032"/>
                <a:gd name="connsiteY65" fmla="*/ 9154 h 64249"/>
                <a:gd name="connsiteX66" fmla="*/ 55378 w 104032"/>
                <a:gd name="connsiteY66" fmla="*/ 9154 h 64249"/>
                <a:gd name="connsiteX67" fmla="*/ 51995 w 104032"/>
                <a:gd name="connsiteY67" fmla="*/ 8296 h 64249"/>
                <a:gd name="connsiteX68" fmla="*/ 50715 w 104032"/>
                <a:gd name="connsiteY68" fmla="*/ 9681 h 64249"/>
                <a:gd name="connsiteX69" fmla="*/ 50307 w 104032"/>
                <a:gd name="connsiteY69" fmla="*/ 10722 h 64249"/>
                <a:gd name="connsiteX70" fmla="*/ 45244 w 104032"/>
                <a:gd name="connsiteY70" fmla="*/ 11798 h 64249"/>
                <a:gd name="connsiteX71" fmla="*/ 39913 w 104032"/>
                <a:gd name="connsiteY71" fmla="*/ 12888 h 64249"/>
                <a:gd name="connsiteX72" fmla="*/ 39596 w 104032"/>
                <a:gd name="connsiteY72" fmla="*/ 15912 h 64249"/>
                <a:gd name="connsiteX73" fmla="*/ 39913 w 104032"/>
                <a:gd name="connsiteY73" fmla="*/ 17361 h 64249"/>
                <a:gd name="connsiteX74" fmla="*/ 37156 w 104032"/>
                <a:gd name="connsiteY74" fmla="*/ 18191 h 64249"/>
                <a:gd name="connsiteX75" fmla="*/ 34610 w 104032"/>
                <a:gd name="connsiteY75" fmla="*/ 18578 h 64249"/>
                <a:gd name="connsiteX76" fmla="*/ 27513 w 104032"/>
                <a:gd name="connsiteY76" fmla="*/ 18683 h 64249"/>
                <a:gd name="connsiteX77" fmla="*/ 27513 w 104032"/>
                <a:gd name="connsiteY77" fmla="*/ 18683 h 64249"/>
                <a:gd name="connsiteX78" fmla="*/ 27513 w 104032"/>
                <a:gd name="connsiteY78" fmla="*/ 18683 h 64249"/>
                <a:gd name="connsiteX79" fmla="*/ 24827 w 104032"/>
                <a:gd name="connsiteY79" fmla="*/ 18578 h 64249"/>
                <a:gd name="connsiteX80" fmla="*/ 18286 w 104032"/>
                <a:gd name="connsiteY80" fmla="*/ 12888 h 64249"/>
                <a:gd name="connsiteX81" fmla="*/ 14819 w 104032"/>
                <a:gd name="connsiteY81" fmla="*/ 12037 h 64249"/>
                <a:gd name="connsiteX82" fmla="*/ 14305 w 104032"/>
                <a:gd name="connsiteY82" fmla="*/ 11144 h 64249"/>
                <a:gd name="connsiteX83" fmla="*/ 14305 w 104032"/>
                <a:gd name="connsiteY83" fmla="*/ 11144 h 64249"/>
                <a:gd name="connsiteX84" fmla="*/ 13377 w 104032"/>
                <a:gd name="connsiteY84" fmla="*/ 9400 h 6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104032" h="64249">
                  <a:moveTo>
                    <a:pt x="12033" y="7086"/>
                  </a:moveTo>
                  <a:lnTo>
                    <a:pt x="12033" y="7086"/>
                  </a:lnTo>
                  <a:cubicBezTo>
                    <a:pt x="12406" y="7360"/>
                    <a:pt x="12730" y="7712"/>
                    <a:pt x="12941" y="8190"/>
                  </a:cubicBezTo>
                  <a:cubicBezTo>
                    <a:pt x="12737" y="7712"/>
                    <a:pt x="12406" y="7360"/>
                    <a:pt x="12033" y="7086"/>
                  </a:cubicBezTo>
                  <a:close/>
                  <a:moveTo>
                    <a:pt x="13377" y="9400"/>
                  </a:moveTo>
                  <a:cubicBezTo>
                    <a:pt x="13651" y="10047"/>
                    <a:pt x="13996" y="10624"/>
                    <a:pt x="14305" y="11144"/>
                  </a:cubicBezTo>
                  <a:lnTo>
                    <a:pt x="14305" y="11144"/>
                  </a:lnTo>
                  <a:cubicBezTo>
                    <a:pt x="15051" y="12396"/>
                    <a:pt x="15614" y="13338"/>
                    <a:pt x="14629" y="14182"/>
                  </a:cubicBezTo>
                  <a:cubicBezTo>
                    <a:pt x="13947" y="14773"/>
                    <a:pt x="14115" y="15842"/>
                    <a:pt x="14277" y="16911"/>
                  </a:cubicBezTo>
                  <a:cubicBezTo>
                    <a:pt x="14495" y="18311"/>
                    <a:pt x="14713" y="19703"/>
                    <a:pt x="13060" y="20027"/>
                  </a:cubicBezTo>
                  <a:cubicBezTo>
                    <a:pt x="11450" y="20343"/>
                    <a:pt x="10782" y="20020"/>
                    <a:pt x="10050" y="19661"/>
                  </a:cubicBezTo>
                  <a:lnTo>
                    <a:pt x="10050" y="19661"/>
                  </a:lnTo>
                  <a:cubicBezTo>
                    <a:pt x="9452" y="19366"/>
                    <a:pt x="8819" y="19056"/>
                    <a:pt x="7596" y="19056"/>
                  </a:cubicBezTo>
                  <a:cubicBezTo>
                    <a:pt x="4874" y="19056"/>
                    <a:pt x="4494" y="20428"/>
                    <a:pt x="6041" y="21975"/>
                  </a:cubicBezTo>
                  <a:cubicBezTo>
                    <a:pt x="7124" y="23058"/>
                    <a:pt x="6126" y="24626"/>
                    <a:pt x="5155" y="26138"/>
                  </a:cubicBezTo>
                  <a:cubicBezTo>
                    <a:pt x="4740" y="26793"/>
                    <a:pt x="4332" y="27432"/>
                    <a:pt x="4093" y="28016"/>
                  </a:cubicBezTo>
                  <a:cubicBezTo>
                    <a:pt x="3608" y="29247"/>
                    <a:pt x="3735" y="30323"/>
                    <a:pt x="3896" y="31687"/>
                  </a:cubicBezTo>
                  <a:cubicBezTo>
                    <a:pt x="3988" y="32482"/>
                    <a:pt x="4093" y="33375"/>
                    <a:pt x="4093" y="34458"/>
                  </a:cubicBezTo>
                  <a:cubicBezTo>
                    <a:pt x="4093" y="36041"/>
                    <a:pt x="2040" y="37047"/>
                    <a:pt x="0" y="38003"/>
                  </a:cubicBezTo>
                  <a:lnTo>
                    <a:pt x="63" y="38235"/>
                  </a:lnTo>
                  <a:cubicBezTo>
                    <a:pt x="1245" y="40366"/>
                    <a:pt x="3622" y="44917"/>
                    <a:pt x="3622" y="46042"/>
                  </a:cubicBezTo>
                  <a:cubicBezTo>
                    <a:pt x="3622" y="46823"/>
                    <a:pt x="5345" y="48145"/>
                    <a:pt x="7047" y="49439"/>
                  </a:cubicBezTo>
                  <a:cubicBezTo>
                    <a:pt x="8418" y="50487"/>
                    <a:pt x="9776" y="51528"/>
                    <a:pt x="10177" y="52245"/>
                  </a:cubicBezTo>
                  <a:cubicBezTo>
                    <a:pt x="11070" y="53856"/>
                    <a:pt x="23139" y="65545"/>
                    <a:pt x="30235" y="64131"/>
                  </a:cubicBezTo>
                  <a:cubicBezTo>
                    <a:pt x="37332" y="62724"/>
                    <a:pt x="49217" y="59187"/>
                    <a:pt x="51700" y="56163"/>
                  </a:cubicBezTo>
                  <a:cubicBezTo>
                    <a:pt x="52839" y="54777"/>
                    <a:pt x="55434" y="55178"/>
                    <a:pt x="58550" y="55663"/>
                  </a:cubicBezTo>
                  <a:cubicBezTo>
                    <a:pt x="62214" y="56240"/>
                    <a:pt x="66596" y="56922"/>
                    <a:pt x="70148" y="54911"/>
                  </a:cubicBezTo>
                  <a:cubicBezTo>
                    <a:pt x="76703" y="51190"/>
                    <a:pt x="81316" y="46063"/>
                    <a:pt x="81675" y="44094"/>
                  </a:cubicBezTo>
                  <a:cubicBezTo>
                    <a:pt x="81851" y="43137"/>
                    <a:pt x="82821" y="41379"/>
                    <a:pt x="83918" y="39396"/>
                  </a:cubicBezTo>
                  <a:lnTo>
                    <a:pt x="83918" y="39396"/>
                  </a:lnTo>
                  <a:cubicBezTo>
                    <a:pt x="85072" y="37314"/>
                    <a:pt x="86359" y="34986"/>
                    <a:pt x="86999" y="33087"/>
                  </a:cubicBezTo>
                  <a:cubicBezTo>
                    <a:pt x="88251" y="29367"/>
                    <a:pt x="89467" y="26525"/>
                    <a:pt x="91254" y="24218"/>
                  </a:cubicBezTo>
                  <a:cubicBezTo>
                    <a:pt x="91577" y="23811"/>
                    <a:pt x="91880" y="23381"/>
                    <a:pt x="92189" y="22966"/>
                  </a:cubicBezTo>
                  <a:cubicBezTo>
                    <a:pt x="93589" y="21032"/>
                    <a:pt x="94932" y="19190"/>
                    <a:pt x="97119" y="18894"/>
                  </a:cubicBezTo>
                  <a:cubicBezTo>
                    <a:pt x="97949" y="18782"/>
                    <a:pt x="98554" y="18796"/>
                    <a:pt x="99039" y="18803"/>
                  </a:cubicBezTo>
                  <a:cubicBezTo>
                    <a:pt x="100102" y="18824"/>
                    <a:pt x="100565" y="18838"/>
                    <a:pt x="101550" y="17481"/>
                  </a:cubicBezTo>
                  <a:cubicBezTo>
                    <a:pt x="102697" y="15905"/>
                    <a:pt x="103681" y="13978"/>
                    <a:pt x="104033" y="13212"/>
                  </a:cubicBezTo>
                  <a:cubicBezTo>
                    <a:pt x="102444" y="12023"/>
                    <a:pt x="99053" y="9294"/>
                    <a:pt x="98196" y="7881"/>
                  </a:cubicBezTo>
                  <a:cubicBezTo>
                    <a:pt x="97774" y="7191"/>
                    <a:pt x="95417" y="4948"/>
                    <a:pt x="92597" y="2374"/>
                  </a:cubicBezTo>
                  <a:cubicBezTo>
                    <a:pt x="92590" y="2458"/>
                    <a:pt x="92576" y="2536"/>
                    <a:pt x="92569" y="2613"/>
                  </a:cubicBezTo>
                  <a:cubicBezTo>
                    <a:pt x="92428" y="3689"/>
                    <a:pt x="90761" y="4441"/>
                    <a:pt x="90164" y="4441"/>
                  </a:cubicBezTo>
                  <a:cubicBezTo>
                    <a:pt x="89910" y="4441"/>
                    <a:pt x="89165" y="4287"/>
                    <a:pt x="88307" y="4111"/>
                  </a:cubicBezTo>
                  <a:cubicBezTo>
                    <a:pt x="87168" y="3872"/>
                    <a:pt x="85824" y="3590"/>
                    <a:pt x="85213" y="3590"/>
                  </a:cubicBezTo>
                  <a:cubicBezTo>
                    <a:pt x="84537" y="3590"/>
                    <a:pt x="84045" y="2782"/>
                    <a:pt x="83679" y="2184"/>
                  </a:cubicBezTo>
                  <a:cubicBezTo>
                    <a:pt x="83461" y="1825"/>
                    <a:pt x="83285" y="1544"/>
                    <a:pt x="83145" y="1544"/>
                  </a:cubicBezTo>
                  <a:cubicBezTo>
                    <a:pt x="83011" y="1544"/>
                    <a:pt x="82835" y="1382"/>
                    <a:pt x="82610" y="1185"/>
                  </a:cubicBezTo>
                  <a:cubicBezTo>
                    <a:pt x="82202" y="826"/>
                    <a:pt x="81640" y="327"/>
                    <a:pt x="80859" y="327"/>
                  </a:cubicBezTo>
                  <a:cubicBezTo>
                    <a:pt x="80142" y="327"/>
                    <a:pt x="79480" y="587"/>
                    <a:pt x="78672" y="890"/>
                  </a:cubicBezTo>
                  <a:cubicBezTo>
                    <a:pt x="78116" y="1108"/>
                    <a:pt x="77497" y="1347"/>
                    <a:pt x="76745" y="1544"/>
                  </a:cubicBezTo>
                  <a:cubicBezTo>
                    <a:pt x="75036" y="1987"/>
                    <a:pt x="74522" y="1178"/>
                    <a:pt x="74072" y="475"/>
                  </a:cubicBezTo>
                  <a:lnTo>
                    <a:pt x="74072" y="475"/>
                  </a:lnTo>
                  <a:lnTo>
                    <a:pt x="74072" y="475"/>
                  </a:lnTo>
                  <a:lnTo>
                    <a:pt x="74072" y="475"/>
                  </a:lnTo>
                  <a:cubicBezTo>
                    <a:pt x="74044" y="426"/>
                    <a:pt x="74016" y="376"/>
                    <a:pt x="73981" y="327"/>
                  </a:cubicBezTo>
                  <a:cubicBezTo>
                    <a:pt x="73664" y="-158"/>
                    <a:pt x="72398" y="-3"/>
                    <a:pt x="71083" y="158"/>
                  </a:cubicBezTo>
                  <a:cubicBezTo>
                    <a:pt x="70408" y="243"/>
                    <a:pt x="69726" y="327"/>
                    <a:pt x="69149" y="327"/>
                  </a:cubicBezTo>
                  <a:cubicBezTo>
                    <a:pt x="67820" y="327"/>
                    <a:pt x="67306" y="1748"/>
                    <a:pt x="66913" y="2824"/>
                  </a:cubicBezTo>
                  <a:lnTo>
                    <a:pt x="66913" y="2824"/>
                  </a:lnTo>
                  <a:cubicBezTo>
                    <a:pt x="66807" y="3119"/>
                    <a:pt x="66709" y="3379"/>
                    <a:pt x="66610" y="3590"/>
                  </a:cubicBezTo>
                  <a:cubicBezTo>
                    <a:pt x="66252" y="4308"/>
                    <a:pt x="65428" y="5088"/>
                    <a:pt x="64577" y="5890"/>
                  </a:cubicBezTo>
                  <a:lnTo>
                    <a:pt x="64577" y="5890"/>
                  </a:lnTo>
                  <a:cubicBezTo>
                    <a:pt x="64282" y="6165"/>
                    <a:pt x="63987" y="6446"/>
                    <a:pt x="63705" y="6727"/>
                  </a:cubicBezTo>
                  <a:cubicBezTo>
                    <a:pt x="63073" y="7360"/>
                    <a:pt x="62088" y="7789"/>
                    <a:pt x="61124" y="8197"/>
                  </a:cubicBezTo>
                  <a:lnTo>
                    <a:pt x="61124" y="8197"/>
                  </a:lnTo>
                  <a:lnTo>
                    <a:pt x="61124" y="8197"/>
                  </a:lnTo>
                  <a:cubicBezTo>
                    <a:pt x="60428" y="8500"/>
                    <a:pt x="59746" y="8795"/>
                    <a:pt x="59232" y="9154"/>
                  </a:cubicBezTo>
                  <a:cubicBezTo>
                    <a:pt x="58023" y="10005"/>
                    <a:pt x="56827" y="9751"/>
                    <a:pt x="55378" y="9154"/>
                  </a:cubicBezTo>
                  <a:cubicBezTo>
                    <a:pt x="53930" y="8556"/>
                    <a:pt x="53212" y="8296"/>
                    <a:pt x="51995" y="8296"/>
                  </a:cubicBezTo>
                  <a:cubicBezTo>
                    <a:pt x="51165" y="8296"/>
                    <a:pt x="50961" y="8928"/>
                    <a:pt x="50715" y="9681"/>
                  </a:cubicBezTo>
                  <a:cubicBezTo>
                    <a:pt x="50610" y="10019"/>
                    <a:pt x="50497" y="10384"/>
                    <a:pt x="50307" y="10722"/>
                  </a:cubicBezTo>
                  <a:cubicBezTo>
                    <a:pt x="49829" y="11601"/>
                    <a:pt x="46735" y="11805"/>
                    <a:pt x="45244" y="11798"/>
                  </a:cubicBezTo>
                  <a:cubicBezTo>
                    <a:pt x="44027" y="12164"/>
                    <a:pt x="41263" y="12888"/>
                    <a:pt x="39913" y="12888"/>
                  </a:cubicBezTo>
                  <a:cubicBezTo>
                    <a:pt x="38731" y="12888"/>
                    <a:pt x="39202" y="14541"/>
                    <a:pt x="39596" y="15912"/>
                  </a:cubicBezTo>
                  <a:cubicBezTo>
                    <a:pt x="39758" y="16496"/>
                    <a:pt x="39913" y="17031"/>
                    <a:pt x="39913" y="17361"/>
                  </a:cubicBezTo>
                  <a:cubicBezTo>
                    <a:pt x="39913" y="18008"/>
                    <a:pt x="38562" y="18100"/>
                    <a:pt x="37156" y="18191"/>
                  </a:cubicBezTo>
                  <a:cubicBezTo>
                    <a:pt x="36192" y="18254"/>
                    <a:pt x="35200" y="18325"/>
                    <a:pt x="34610" y="18578"/>
                  </a:cubicBezTo>
                  <a:cubicBezTo>
                    <a:pt x="33576" y="19014"/>
                    <a:pt x="30179" y="18831"/>
                    <a:pt x="27513" y="18683"/>
                  </a:cubicBezTo>
                  <a:lnTo>
                    <a:pt x="27513" y="18683"/>
                  </a:lnTo>
                  <a:lnTo>
                    <a:pt x="27513" y="18683"/>
                  </a:lnTo>
                  <a:cubicBezTo>
                    <a:pt x="26423" y="18627"/>
                    <a:pt x="25460" y="18578"/>
                    <a:pt x="24827" y="18578"/>
                  </a:cubicBezTo>
                  <a:cubicBezTo>
                    <a:pt x="22660" y="18578"/>
                    <a:pt x="18666" y="13866"/>
                    <a:pt x="18286" y="12888"/>
                  </a:cubicBezTo>
                  <a:cubicBezTo>
                    <a:pt x="18131" y="12480"/>
                    <a:pt x="16598" y="12206"/>
                    <a:pt x="14819" y="12037"/>
                  </a:cubicBezTo>
                  <a:cubicBezTo>
                    <a:pt x="14671" y="11756"/>
                    <a:pt x="14495" y="11460"/>
                    <a:pt x="14305" y="11144"/>
                  </a:cubicBezTo>
                  <a:lnTo>
                    <a:pt x="14305" y="11144"/>
                  </a:lnTo>
                  <a:cubicBezTo>
                    <a:pt x="13996" y="10624"/>
                    <a:pt x="13651" y="10047"/>
                    <a:pt x="13377" y="940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0" name="Freihandform: Form 265">
              <a:extLst>
                <a:ext uri="{FF2B5EF4-FFF2-40B4-BE49-F238E27FC236}">
                  <a16:creationId xmlns:a16="http://schemas.microsoft.com/office/drawing/2014/main" id="{AFF0B684-5159-F244-A486-8B8622404DE2}"/>
                </a:ext>
              </a:extLst>
            </p:cNvPr>
            <p:cNvSpPr/>
            <p:nvPr/>
          </p:nvSpPr>
          <p:spPr>
            <a:xfrm>
              <a:off x="6504664" y="3739829"/>
              <a:ext cx="100931" cy="72914"/>
            </a:xfrm>
            <a:custGeom>
              <a:avLst/>
              <a:gdLst>
                <a:gd name="connsiteX0" fmla="*/ 14 w 100931"/>
                <a:gd name="connsiteY0" fmla="*/ 50329 h 72914"/>
                <a:gd name="connsiteX1" fmla="*/ 0 w 100931"/>
                <a:gd name="connsiteY1" fmla="*/ 50265 h 72914"/>
                <a:gd name="connsiteX2" fmla="*/ 2236 w 100931"/>
                <a:gd name="connsiteY2" fmla="*/ 50265 h 72914"/>
                <a:gd name="connsiteX3" fmla="*/ 5176 w 100931"/>
                <a:gd name="connsiteY3" fmla="*/ 47185 h 72914"/>
                <a:gd name="connsiteX4" fmla="*/ 4403 w 100931"/>
                <a:gd name="connsiteY4" fmla="*/ 43626 h 72914"/>
                <a:gd name="connsiteX5" fmla="*/ 4663 w 100931"/>
                <a:gd name="connsiteY5" fmla="*/ 41819 h 72914"/>
                <a:gd name="connsiteX6" fmla="*/ 5176 w 100931"/>
                <a:gd name="connsiteY6" fmla="*/ 40412 h 72914"/>
                <a:gd name="connsiteX7" fmla="*/ 7638 w 100931"/>
                <a:gd name="connsiteY7" fmla="*/ 37008 h 72914"/>
                <a:gd name="connsiteX8" fmla="*/ 10268 w 100931"/>
                <a:gd name="connsiteY8" fmla="*/ 33773 h 72914"/>
                <a:gd name="connsiteX9" fmla="*/ 10338 w 100931"/>
                <a:gd name="connsiteY9" fmla="*/ 32915 h 72914"/>
                <a:gd name="connsiteX10" fmla="*/ 10268 w 100931"/>
                <a:gd name="connsiteY10" fmla="*/ 31466 h 72914"/>
                <a:gd name="connsiteX11" fmla="*/ 8264 w 100931"/>
                <a:gd name="connsiteY11" fmla="*/ 29546 h 72914"/>
                <a:gd name="connsiteX12" fmla="*/ 8264 w 100931"/>
                <a:gd name="connsiteY12" fmla="*/ 29546 h 72914"/>
                <a:gd name="connsiteX13" fmla="*/ 8257 w 100931"/>
                <a:gd name="connsiteY13" fmla="*/ 29546 h 72914"/>
                <a:gd name="connsiteX14" fmla="*/ 7638 w 100931"/>
                <a:gd name="connsiteY14" fmla="*/ 29138 h 72914"/>
                <a:gd name="connsiteX15" fmla="*/ 5176 w 100931"/>
                <a:gd name="connsiteY15" fmla="*/ 26219 h 72914"/>
                <a:gd name="connsiteX16" fmla="*/ 3629 w 100931"/>
                <a:gd name="connsiteY16" fmla="*/ 22977 h 72914"/>
                <a:gd name="connsiteX17" fmla="*/ 3327 w 100931"/>
                <a:gd name="connsiteY17" fmla="*/ 19847 h 72914"/>
                <a:gd name="connsiteX18" fmla="*/ 3629 w 100931"/>
                <a:gd name="connsiteY18" fmla="*/ 18666 h 72914"/>
                <a:gd name="connsiteX19" fmla="*/ 3629 w 100931"/>
                <a:gd name="connsiteY19" fmla="*/ 14650 h 72914"/>
                <a:gd name="connsiteX20" fmla="*/ 5549 w 100931"/>
                <a:gd name="connsiteY20" fmla="*/ 12645 h 72914"/>
                <a:gd name="connsiteX21" fmla="*/ 5549 w 100931"/>
                <a:gd name="connsiteY21" fmla="*/ 12645 h 72914"/>
                <a:gd name="connsiteX22" fmla="*/ 5549 w 100931"/>
                <a:gd name="connsiteY22" fmla="*/ 12645 h 72914"/>
                <a:gd name="connsiteX23" fmla="*/ 6710 w 100931"/>
                <a:gd name="connsiteY23" fmla="*/ 12026 h 72914"/>
                <a:gd name="connsiteX24" fmla="*/ 6710 w 100931"/>
                <a:gd name="connsiteY24" fmla="*/ 8784 h 72914"/>
                <a:gd name="connsiteX25" fmla="*/ 6252 w 100931"/>
                <a:gd name="connsiteY25" fmla="*/ 8447 h 72914"/>
                <a:gd name="connsiteX26" fmla="*/ 5211 w 100931"/>
                <a:gd name="connsiteY26" fmla="*/ 6407 h 72914"/>
                <a:gd name="connsiteX27" fmla="*/ 6252 w 100931"/>
                <a:gd name="connsiteY27" fmla="*/ 8447 h 72914"/>
                <a:gd name="connsiteX28" fmla="*/ 6252 w 100931"/>
                <a:gd name="connsiteY28" fmla="*/ 8447 h 72914"/>
                <a:gd name="connsiteX29" fmla="*/ 6710 w 100931"/>
                <a:gd name="connsiteY29" fmla="*/ 8784 h 72914"/>
                <a:gd name="connsiteX30" fmla="*/ 6710 w 100931"/>
                <a:gd name="connsiteY30" fmla="*/ 8784 h 72914"/>
                <a:gd name="connsiteX31" fmla="*/ 11991 w 100931"/>
                <a:gd name="connsiteY31" fmla="*/ 13299 h 72914"/>
                <a:gd name="connsiteX32" fmla="*/ 11253 w 100931"/>
                <a:gd name="connsiteY32" fmla="*/ 15972 h 72914"/>
                <a:gd name="connsiteX33" fmla="*/ 11253 w 100931"/>
                <a:gd name="connsiteY33" fmla="*/ 15972 h 72914"/>
                <a:gd name="connsiteX34" fmla="*/ 11253 w 100931"/>
                <a:gd name="connsiteY34" fmla="*/ 15972 h 72914"/>
                <a:gd name="connsiteX35" fmla="*/ 10922 w 100931"/>
                <a:gd name="connsiteY35" fmla="*/ 17372 h 72914"/>
                <a:gd name="connsiteX36" fmla="*/ 16246 w 100931"/>
                <a:gd name="connsiteY36" fmla="*/ 17372 h 72914"/>
                <a:gd name="connsiteX37" fmla="*/ 17899 w 100931"/>
                <a:gd name="connsiteY37" fmla="*/ 17336 h 72914"/>
                <a:gd name="connsiteX38" fmla="*/ 17899 w 100931"/>
                <a:gd name="connsiteY38" fmla="*/ 17336 h 72914"/>
                <a:gd name="connsiteX39" fmla="*/ 22449 w 100931"/>
                <a:gd name="connsiteY39" fmla="*/ 17372 h 72914"/>
                <a:gd name="connsiteX40" fmla="*/ 26747 w 100931"/>
                <a:gd name="connsiteY40" fmla="*/ 18314 h 72914"/>
                <a:gd name="connsiteX41" fmla="*/ 26747 w 100931"/>
                <a:gd name="connsiteY41" fmla="*/ 18314 h 72914"/>
                <a:gd name="connsiteX42" fmla="*/ 26747 w 100931"/>
                <a:gd name="connsiteY42" fmla="*/ 18314 h 72914"/>
                <a:gd name="connsiteX43" fmla="*/ 32746 w 100931"/>
                <a:gd name="connsiteY43" fmla="*/ 19496 h 72914"/>
                <a:gd name="connsiteX44" fmla="*/ 40201 w 100931"/>
                <a:gd name="connsiteY44" fmla="*/ 19496 h 72914"/>
                <a:gd name="connsiteX45" fmla="*/ 51545 w 100931"/>
                <a:gd name="connsiteY45" fmla="*/ 21268 h 72914"/>
                <a:gd name="connsiteX46" fmla="*/ 57439 w 100931"/>
                <a:gd name="connsiteY46" fmla="*/ 19306 h 72914"/>
                <a:gd name="connsiteX47" fmla="*/ 58642 w 100931"/>
                <a:gd name="connsiteY47" fmla="*/ 18265 h 72914"/>
                <a:gd name="connsiteX48" fmla="*/ 60287 w 100931"/>
                <a:gd name="connsiteY48" fmla="*/ 16922 h 72914"/>
                <a:gd name="connsiteX49" fmla="*/ 65921 w 100931"/>
                <a:gd name="connsiteY49" fmla="*/ 13299 h 72914"/>
                <a:gd name="connsiteX50" fmla="*/ 76034 w 100931"/>
                <a:gd name="connsiteY50" fmla="*/ 12048 h 72914"/>
                <a:gd name="connsiteX51" fmla="*/ 80648 w 100931"/>
                <a:gd name="connsiteY51" fmla="*/ 13299 h 72914"/>
                <a:gd name="connsiteX52" fmla="*/ 88279 w 100931"/>
                <a:gd name="connsiteY52" fmla="*/ 15423 h 72914"/>
                <a:gd name="connsiteX53" fmla="*/ 91064 w 100931"/>
                <a:gd name="connsiteY53" fmla="*/ 16802 h 72914"/>
                <a:gd name="connsiteX54" fmla="*/ 92534 w 100931"/>
                <a:gd name="connsiteY54" fmla="*/ 18265 h 72914"/>
                <a:gd name="connsiteX55" fmla="*/ 99088 w 100931"/>
                <a:gd name="connsiteY55" fmla="*/ 19756 h 72914"/>
                <a:gd name="connsiteX56" fmla="*/ 100924 w 100931"/>
                <a:gd name="connsiteY56" fmla="*/ 23652 h 72914"/>
                <a:gd name="connsiteX57" fmla="*/ 100854 w 100931"/>
                <a:gd name="connsiteY57" fmla="*/ 24165 h 72914"/>
                <a:gd name="connsiteX58" fmla="*/ 98716 w 100931"/>
                <a:gd name="connsiteY58" fmla="*/ 28287 h 72914"/>
                <a:gd name="connsiteX59" fmla="*/ 97450 w 100931"/>
                <a:gd name="connsiteY59" fmla="*/ 28090 h 72914"/>
                <a:gd name="connsiteX60" fmla="*/ 91880 w 100931"/>
                <a:gd name="connsiteY60" fmla="*/ 28287 h 72914"/>
                <a:gd name="connsiteX61" fmla="*/ 91106 w 100931"/>
                <a:gd name="connsiteY61" fmla="*/ 30404 h 72914"/>
                <a:gd name="connsiteX62" fmla="*/ 89453 w 100931"/>
                <a:gd name="connsiteY62" fmla="*/ 36213 h 72914"/>
                <a:gd name="connsiteX63" fmla="*/ 89453 w 100931"/>
                <a:gd name="connsiteY63" fmla="*/ 41720 h 72914"/>
                <a:gd name="connsiteX64" fmla="*/ 83074 w 100931"/>
                <a:gd name="connsiteY64" fmla="*/ 46573 h 72914"/>
                <a:gd name="connsiteX65" fmla="*/ 85114 w 100931"/>
                <a:gd name="connsiteY65" fmla="*/ 47937 h 72914"/>
                <a:gd name="connsiteX66" fmla="*/ 86591 w 100931"/>
                <a:gd name="connsiteY66" fmla="*/ 48556 h 72914"/>
                <a:gd name="connsiteX67" fmla="*/ 91880 w 100931"/>
                <a:gd name="connsiteY67" fmla="*/ 56947 h 72914"/>
                <a:gd name="connsiteX68" fmla="*/ 84601 w 100931"/>
                <a:gd name="connsiteY68" fmla="*/ 58916 h 72914"/>
                <a:gd name="connsiteX69" fmla="*/ 82667 w 100931"/>
                <a:gd name="connsiteY69" fmla="*/ 57439 h 72914"/>
                <a:gd name="connsiteX70" fmla="*/ 79537 w 100931"/>
                <a:gd name="connsiteY70" fmla="*/ 55617 h 72914"/>
                <a:gd name="connsiteX71" fmla="*/ 68305 w 100931"/>
                <a:gd name="connsiteY71" fmla="*/ 58916 h 72914"/>
                <a:gd name="connsiteX72" fmla="*/ 60808 w 100931"/>
                <a:gd name="connsiteY72" fmla="*/ 63326 h 72914"/>
                <a:gd name="connsiteX73" fmla="*/ 57270 w 100931"/>
                <a:gd name="connsiteY73" fmla="*/ 71934 h 72914"/>
                <a:gd name="connsiteX74" fmla="*/ 49843 w 100931"/>
                <a:gd name="connsiteY74" fmla="*/ 72588 h 72914"/>
                <a:gd name="connsiteX75" fmla="*/ 44491 w 100931"/>
                <a:gd name="connsiteY75" fmla="*/ 71934 h 72914"/>
                <a:gd name="connsiteX76" fmla="*/ 37437 w 100931"/>
                <a:gd name="connsiteY76" fmla="*/ 68396 h 72914"/>
                <a:gd name="connsiteX77" fmla="*/ 33815 w 100931"/>
                <a:gd name="connsiteY77" fmla="*/ 68108 h 72914"/>
                <a:gd name="connsiteX78" fmla="*/ 20916 w 100931"/>
                <a:gd name="connsiteY78" fmla="*/ 68396 h 72914"/>
                <a:gd name="connsiteX79" fmla="*/ 11253 w 100931"/>
                <a:gd name="connsiteY79" fmla="*/ 70830 h 72914"/>
                <a:gd name="connsiteX80" fmla="*/ 12111 w 100931"/>
                <a:gd name="connsiteY80" fmla="*/ 70499 h 72914"/>
                <a:gd name="connsiteX81" fmla="*/ 12111 w 100931"/>
                <a:gd name="connsiteY81" fmla="*/ 65590 h 72914"/>
                <a:gd name="connsiteX82" fmla="*/ 10486 w 100931"/>
                <a:gd name="connsiteY82" fmla="*/ 58656 h 72914"/>
                <a:gd name="connsiteX83" fmla="*/ 5577 w 100931"/>
                <a:gd name="connsiteY83" fmla="*/ 54162 h 72914"/>
                <a:gd name="connsiteX84" fmla="*/ 3545 w 100931"/>
                <a:gd name="connsiteY84" fmla="*/ 51503 h 72914"/>
                <a:gd name="connsiteX85" fmla="*/ 14 w 100931"/>
                <a:gd name="connsiteY85" fmla="*/ 50329 h 72914"/>
                <a:gd name="connsiteX86" fmla="*/ 7638 w 100931"/>
                <a:gd name="connsiteY86" fmla="*/ 0 h 72914"/>
                <a:gd name="connsiteX87" fmla="*/ 7638 w 100931"/>
                <a:gd name="connsiteY87" fmla="*/ 0 h 72914"/>
                <a:gd name="connsiteX88" fmla="*/ 2236 w 100931"/>
                <a:gd name="connsiteY88" fmla="*/ 0 h 72914"/>
                <a:gd name="connsiteX89" fmla="*/ 499 w 100931"/>
                <a:gd name="connsiteY89" fmla="*/ 1041 h 72914"/>
                <a:gd name="connsiteX90" fmla="*/ 499 w 100931"/>
                <a:gd name="connsiteY90" fmla="*/ 1041 h 72914"/>
                <a:gd name="connsiteX91" fmla="*/ 2236 w 100931"/>
                <a:gd name="connsiteY91" fmla="*/ 0 h 72914"/>
                <a:gd name="connsiteX92" fmla="*/ 7638 w 100931"/>
                <a:gd name="connsiteY92" fmla="*/ 0 h 7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00931" h="72914">
                  <a:moveTo>
                    <a:pt x="14" y="50329"/>
                  </a:moveTo>
                  <a:lnTo>
                    <a:pt x="0" y="50265"/>
                  </a:lnTo>
                  <a:lnTo>
                    <a:pt x="2236" y="50265"/>
                  </a:lnTo>
                  <a:cubicBezTo>
                    <a:pt x="2236" y="50265"/>
                    <a:pt x="4403" y="48422"/>
                    <a:pt x="5176" y="47185"/>
                  </a:cubicBezTo>
                  <a:cubicBezTo>
                    <a:pt x="5950" y="45954"/>
                    <a:pt x="5176" y="44407"/>
                    <a:pt x="4403" y="43626"/>
                  </a:cubicBezTo>
                  <a:cubicBezTo>
                    <a:pt x="3945" y="43169"/>
                    <a:pt x="4297" y="42508"/>
                    <a:pt x="4663" y="41819"/>
                  </a:cubicBezTo>
                  <a:cubicBezTo>
                    <a:pt x="4916" y="41340"/>
                    <a:pt x="5176" y="40848"/>
                    <a:pt x="5176" y="40412"/>
                  </a:cubicBezTo>
                  <a:cubicBezTo>
                    <a:pt x="5176" y="39554"/>
                    <a:pt x="6822" y="37789"/>
                    <a:pt x="7638" y="37008"/>
                  </a:cubicBezTo>
                  <a:cubicBezTo>
                    <a:pt x="8517" y="36241"/>
                    <a:pt x="10268" y="34518"/>
                    <a:pt x="10268" y="33773"/>
                  </a:cubicBezTo>
                  <a:cubicBezTo>
                    <a:pt x="10268" y="33435"/>
                    <a:pt x="10303" y="33168"/>
                    <a:pt x="10338" y="32915"/>
                  </a:cubicBezTo>
                  <a:cubicBezTo>
                    <a:pt x="10402" y="32450"/>
                    <a:pt x="10458" y="32057"/>
                    <a:pt x="10268" y="31466"/>
                  </a:cubicBezTo>
                  <a:cubicBezTo>
                    <a:pt x="10015" y="30692"/>
                    <a:pt x="9312" y="30235"/>
                    <a:pt x="8264" y="29546"/>
                  </a:cubicBezTo>
                  <a:lnTo>
                    <a:pt x="8264" y="29546"/>
                  </a:lnTo>
                  <a:lnTo>
                    <a:pt x="8257" y="29546"/>
                  </a:lnTo>
                  <a:cubicBezTo>
                    <a:pt x="8067" y="29419"/>
                    <a:pt x="7856" y="29286"/>
                    <a:pt x="7638" y="29138"/>
                  </a:cubicBezTo>
                  <a:cubicBezTo>
                    <a:pt x="6252" y="28202"/>
                    <a:pt x="5176" y="27450"/>
                    <a:pt x="5176" y="26219"/>
                  </a:cubicBezTo>
                  <a:cubicBezTo>
                    <a:pt x="5176" y="24988"/>
                    <a:pt x="5176" y="24208"/>
                    <a:pt x="3629" y="22977"/>
                  </a:cubicBezTo>
                  <a:cubicBezTo>
                    <a:pt x="2546" y="22119"/>
                    <a:pt x="2975" y="20881"/>
                    <a:pt x="3327" y="19847"/>
                  </a:cubicBezTo>
                  <a:cubicBezTo>
                    <a:pt x="3481" y="19397"/>
                    <a:pt x="3629" y="18989"/>
                    <a:pt x="3629" y="18666"/>
                  </a:cubicBezTo>
                  <a:lnTo>
                    <a:pt x="3629" y="14650"/>
                  </a:lnTo>
                  <a:cubicBezTo>
                    <a:pt x="3629" y="13616"/>
                    <a:pt x="4480" y="13187"/>
                    <a:pt x="5549" y="12645"/>
                  </a:cubicBezTo>
                  <a:lnTo>
                    <a:pt x="5549" y="12645"/>
                  </a:lnTo>
                  <a:lnTo>
                    <a:pt x="5549" y="12645"/>
                  </a:lnTo>
                  <a:cubicBezTo>
                    <a:pt x="5922" y="12463"/>
                    <a:pt x="6316" y="12266"/>
                    <a:pt x="6710" y="12026"/>
                  </a:cubicBezTo>
                  <a:cubicBezTo>
                    <a:pt x="8236" y="11091"/>
                    <a:pt x="7638" y="9558"/>
                    <a:pt x="6710" y="8784"/>
                  </a:cubicBezTo>
                  <a:cubicBezTo>
                    <a:pt x="6547" y="8651"/>
                    <a:pt x="6393" y="8545"/>
                    <a:pt x="6252" y="8447"/>
                  </a:cubicBezTo>
                  <a:cubicBezTo>
                    <a:pt x="5696" y="8060"/>
                    <a:pt x="5324" y="7793"/>
                    <a:pt x="5211" y="6407"/>
                  </a:cubicBezTo>
                  <a:cubicBezTo>
                    <a:pt x="5324" y="7793"/>
                    <a:pt x="5696" y="8060"/>
                    <a:pt x="6252" y="8447"/>
                  </a:cubicBezTo>
                  <a:lnTo>
                    <a:pt x="6252" y="8447"/>
                  </a:lnTo>
                  <a:cubicBezTo>
                    <a:pt x="6393" y="8545"/>
                    <a:pt x="6547" y="8651"/>
                    <a:pt x="6710" y="8784"/>
                  </a:cubicBezTo>
                  <a:lnTo>
                    <a:pt x="6710" y="8784"/>
                  </a:lnTo>
                  <a:cubicBezTo>
                    <a:pt x="9466" y="10388"/>
                    <a:pt x="11886" y="12533"/>
                    <a:pt x="11991" y="13299"/>
                  </a:cubicBezTo>
                  <a:cubicBezTo>
                    <a:pt x="12090" y="13968"/>
                    <a:pt x="11625" y="15079"/>
                    <a:pt x="11253" y="15972"/>
                  </a:cubicBezTo>
                  <a:lnTo>
                    <a:pt x="11253" y="15972"/>
                  </a:lnTo>
                  <a:lnTo>
                    <a:pt x="11253" y="15972"/>
                  </a:lnTo>
                  <a:cubicBezTo>
                    <a:pt x="10929" y="16760"/>
                    <a:pt x="10669" y="17372"/>
                    <a:pt x="10922" y="17372"/>
                  </a:cubicBezTo>
                  <a:lnTo>
                    <a:pt x="16246" y="17372"/>
                  </a:lnTo>
                  <a:cubicBezTo>
                    <a:pt x="16739" y="17372"/>
                    <a:pt x="17301" y="17358"/>
                    <a:pt x="17899" y="17336"/>
                  </a:cubicBezTo>
                  <a:lnTo>
                    <a:pt x="17899" y="17336"/>
                  </a:lnTo>
                  <a:cubicBezTo>
                    <a:pt x="19263" y="17294"/>
                    <a:pt x="20853" y="17245"/>
                    <a:pt x="22449" y="17372"/>
                  </a:cubicBezTo>
                  <a:cubicBezTo>
                    <a:pt x="23462" y="17449"/>
                    <a:pt x="25051" y="17871"/>
                    <a:pt x="26747" y="18314"/>
                  </a:cubicBezTo>
                  <a:lnTo>
                    <a:pt x="26747" y="18314"/>
                  </a:lnTo>
                  <a:lnTo>
                    <a:pt x="26747" y="18314"/>
                  </a:lnTo>
                  <a:cubicBezTo>
                    <a:pt x="28913" y="18884"/>
                    <a:pt x="31248" y="19496"/>
                    <a:pt x="32746" y="19496"/>
                  </a:cubicBezTo>
                  <a:lnTo>
                    <a:pt x="40201" y="19496"/>
                  </a:lnTo>
                  <a:cubicBezTo>
                    <a:pt x="42149" y="19496"/>
                    <a:pt x="47473" y="20396"/>
                    <a:pt x="51545" y="21268"/>
                  </a:cubicBezTo>
                  <a:cubicBezTo>
                    <a:pt x="54668" y="21936"/>
                    <a:pt x="56131" y="20544"/>
                    <a:pt x="57439" y="19306"/>
                  </a:cubicBezTo>
                  <a:cubicBezTo>
                    <a:pt x="57840" y="18926"/>
                    <a:pt x="58227" y="18553"/>
                    <a:pt x="58642" y="18265"/>
                  </a:cubicBezTo>
                  <a:cubicBezTo>
                    <a:pt x="59162" y="17906"/>
                    <a:pt x="59696" y="17435"/>
                    <a:pt x="60287" y="16922"/>
                  </a:cubicBezTo>
                  <a:cubicBezTo>
                    <a:pt x="61701" y="15677"/>
                    <a:pt x="63417" y="14172"/>
                    <a:pt x="65921" y="13299"/>
                  </a:cubicBezTo>
                  <a:cubicBezTo>
                    <a:pt x="69458" y="12062"/>
                    <a:pt x="73910" y="12048"/>
                    <a:pt x="76034" y="12048"/>
                  </a:cubicBezTo>
                  <a:cubicBezTo>
                    <a:pt x="78165" y="12048"/>
                    <a:pt x="79058" y="12406"/>
                    <a:pt x="80648" y="13299"/>
                  </a:cubicBezTo>
                  <a:cubicBezTo>
                    <a:pt x="82237" y="14193"/>
                    <a:pt x="84741" y="14889"/>
                    <a:pt x="88279" y="15423"/>
                  </a:cubicBezTo>
                  <a:cubicBezTo>
                    <a:pt x="90403" y="15747"/>
                    <a:pt x="90684" y="16190"/>
                    <a:pt x="91064" y="16802"/>
                  </a:cubicBezTo>
                  <a:cubicBezTo>
                    <a:pt x="91317" y="17210"/>
                    <a:pt x="91612" y="17695"/>
                    <a:pt x="92534" y="18265"/>
                  </a:cubicBezTo>
                  <a:cubicBezTo>
                    <a:pt x="94447" y="19453"/>
                    <a:pt x="97351" y="20016"/>
                    <a:pt x="99088" y="19756"/>
                  </a:cubicBezTo>
                  <a:cubicBezTo>
                    <a:pt x="100129" y="21324"/>
                    <a:pt x="101023" y="22928"/>
                    <a:pt x="100924" y="23652"/>
                  </a:cubicBezTo>
                  <a:cubicBezTo>
                    <a:pt x="100903" y="23807"/>
                    <a:pt x="100875" y="23983"/>
                    <a:pt x="100854" y="24165"/>
                  </a:cubicBezTo>
                  <a:cubicBezTo>
                    <a:pt x="100643" y="25825"/>
                    <a:pt x="100305" y="28484"/>
                    <a:pt x="98716" y="28287"/>
                  </a:cubicBezTo>
                  <a:cubicBezTo>
                    <a:pt x="98385" y="28245"/>
                    <a:pt x="97949" y="28174"/>
                    <a:pt x="97450" y="28090"/>
                  </a:cubicBezTo>
                  <a:cubicBezTo>
                    <a:pt x="95291" y="27731"/>
                    <a:pt x="92055" y="27204"/>
                    <a:pt x="91880" y="28287"/>
                  </a:cubicBezTo>
                  <a:cubicBezTo>
                    <a:pt x="91802" y="28744"/>
                    <a:pt x="91486" y="29497"/>
                    <a:pt x="91106" y="30404"/>
                  </a:cubicBezTo>
                  <a:cubicBezTo>
                    <a:pt x="90396" y="32106"/>
                    <a:pt x="89453" y="34349"/>
                    <a:pt x="89453" y="36213"/>
                  </a:cubicBezTo>
                  <a:lnTo>
                    <a:pt x="89453" y="41720"/>
                  </a:lnTo>
                  <a:cubicBezTo>
                    <a:pt x="87252" y="42677"/>
                    <a:pt x="82898" y="44983"/>
                    <a:pt x="83074" y="46573"/>
                  </a:cubicBezTo>
                  <a:cubicBezTo>
                    <a:pt x="83201" y="47719"/>
                    <a:pt x="84200" y="47832"/>
                    <a:pt x="85114" y="47937"/>
                  </a:cubicBezTo>
                  <a:cubicBezTo>
                    <a:pt x="85782" y="48015"/>
                    <a:pt x="86408" y="48085"/>
                    <a:pt x="86591" y="48556"/>
                  </a:cubicBezTo>
                  <a:cubicBezTo>
                    <a:pt x="86942" y="49449"/>
                    <a:pt x="90262" y="54520"/>
                    <a:pt x="91880" y="56947"/>
                  </a:cubicBezTo>
                  <a:cubicBezTo>
                    <a:pt x="89967" y="57748"/>
                    <a:pt x="85831" y="59268"/>
                    <a:pt x="84601" y="58916"/>
                  </a:cubicBezTo>
                  <a:cubicBezTo>
                    <a:pt x="83975" y="58733"/>
                    <a:pt x="83334" y="58100"/>
                    <a:pt x="82667" y="57439"/>
                  </a:cubicBezTo>
                  <a:cubicBezTo>
                    <a:pt x="81717" y="56496"/>
                    <a:pt x="80704" y="55484"/>
                    <a:pt x="79537" y="55617"/>
                  </a:cubicBezTo>
                  <a:cubicBezTo>
                    <a:pt x="77546" y="55835"/>
                    <a:pt x="68741" y="56925"/>
                    <a:pt x="68305" y="58916"/>
                  </a:cubicBezTo>
                  <a:cubicBezTo>
                    <a:pt x="67953" y="60505"/>
                    <a:pt x="63164" y="62517"/>
                    <a:pt x="60808" y="63326"/>
                  </a:cubicBezTo>
                  <a:cubicBezTo>
                    <a:pt x="62200" y="66195"/>
                    <a:pt x="63445" y="71934"/>
                    <a:pt x="57270" y="71934"/>
                  </a:cubicBezTo>
                  <a:cubicBezTo>
                    <a:pt x="54126" y="71934"/>
                    <a:pt x="51714" y="72300"/>
                    <a:pt x="49843" y="72588"/>
                  </a:cubicBezTo>
                  <a:cubicBezTo>
                    <a:pt x="47121" y="72996"/>
                    <a:pt x="45539" y="73242"/>
                    <a:pt x="44491" y="71934"/>
                  </a:cubicBezTo>
                  <a:cubicBezTo>
                    <a:pt x="42726" y="69726"/>
                    <a:pt x="40517" y="68396"/>
                    <a:pt x="37437" y="68396"/>
                  </a:cubicBezTo>
                  <a:cubicBezTo>
                    <a:pt x="36593" y="68396"/>
                    <a:pt x="35320" y="68263"/>
                    <a:pt x="33815" y="68108"/>
                  </a:cubicBezTo>
                  <a:cubicBezTo>
                    <a:pt x="29841" y="67693"/>
                    <a:pt x="24278" y="67109"/>
                    <a:pt x="20916" y="68396"/>
                  </a:cubicBezTo>
                  <a:cubicBezTo>
                    <a:pt x="18708" y="69240"/>
                    <a:pt x="14825" y="70127"/>
                    <a:pt x="11253" y="70830"/>
                  </a:cubicBezTo>
                  <a:cubicBezTo>
                    <a:pt x="11569" y="70675"/>
                    <a:pt x="11872" y="70570"/>
                    <a:pt x="12111" y="70499"/>
                  </a:cubicBezTo>
                  <a:lnTo>
                    <a:pt x="12111" y="65590"/>
                  </a:lnTo>
                  <a:cubicBezTo>
                    <a:pt x="11569" y="63684"/>
                    <a:pt x="10486" y="59626"/>
                    <a:pt x="10486" y="58656"/>
                  </a:cubicBezTo>
                  <a:cubicBezTo>
                    <a:pt x="10486" y="57446"/>
                    <a:pt x="7820" y="55596"/>
                    <a:pt x="5577" y="54162"/>
                  </a:cubicBezTo>
                  <a:cubicBezTo>
                    <a:pt x="3776" y="53022"/>
                    <a:pt x="3474" y="51911"/>
                    <a:pt x="3545" y="51503"/>
                  </a:cubicBezTo>
                  <a:cubicBezTo>
                    <a:pt x="3545" y="50575"/>
                    <a:pt x="2040" y="50286"/>
                    <a:pt x="14" y="50329"/>
                  </a:cubicBezTo>
                  <a:close/>
                  <a:moveTo>
                    <a:pt x="7638" y="0"/>
                  </a:moveTo>
                  <a:lnTo>
                    <a:pt x="7638" y="0"/>
                  </a:lnTo>
                  <a:lnTo>
                    <a:pt x="2236" y="0"/>
                  </a:lnTo>
                  <a:cubicBezTo>
                    <a:pt x="1407" y="373"/>
                    <a:pt x="879" y="675"/>
                    <a:pt x="499" y="1041"/>
                  </a:cubicBezTo>
                  <a:lnTo>
                    <a:pt x="499" y="1041"/>
                  </a:lnTo>
                  <a:cubicBezTo>
                    <a:pt x="879" y="675"/>
                    <a:pt x="1407" y="373"/>
                    <a:pt x="2236" y="0"/>
                  </a:cubicBezTo>
                  <a:lnTo>
                    <a:pt x="7638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1" name="Freihandform: Form 266">
              <a:extLst>
                <a:ext uri="{FF2B5EF4-FFF2-40B4-BE49-F238E27FC236}">
                  <a16:creationId xmlns:a16="http://schemas.microsoft.com/office/drawing/2014/main" id="{51A0DE77-2DDE-9244-A9E6-D681B49B37B2}"/>
                </a:ext>
              </a:extLst>
            </p:cNvPr>
            <p:cNvSpPr/>
            <p:nvPr/>
          </p:nvSpPr>
          <p:spPr>
            <a:xfrm>
              <a:off x="6471299" y="3794968"/>
              <a:ext cx="102443" cy="90557"/>
            </a:xfrm>
            <a:custGeom>
              <a:avLst/>
              <a:gdLst>
                <a:gd name="connsiteX0" fmla="*/ 14 w 102443"/>
                <a:gd name="connsiteY0" fmla="*/ 50040 h 90557"/>
                <a:gd name="connsiteX1" fmla="*/ 78 w 102443"/>
                <a:gd name="connsiteY1" fmla="*/ 50483 h 90557"/>
                <a:gd name="connsiteX2" fmla="*/ 2806 w 102443"/>
                <a:gd name="connsiteY2" fmla="*/ 49534 h 90557"/>
                <a:gd name="connsiteX3" fmla="*/ 3636 w 102443"/>
                <a:gd name="connsiteY3" fmla="*/ 48219 h 90557"/>
                <a:gd name="connsiteX4" fmla="*/ 3636 w 102443"/>
                <a:gd name="connsiteY4" fmla="*/ 46432 h 90557"/>
                <a:gd name="connsiteX5" fmla="*/ 2806 w 102443"/>
                <a:gd name="connsiteY5" fmla="*/ 43823 h 90557"/>
                <a:gd name="connsiteX6" fmla="*/ 4712 w 102443"/>
                <a:gd name="connsiteY6" fmla="*/ 43823 h 90557"/>
                <a:gd name="connsiteX7" fmla="*/ 7912 w 102443"/>
                <a:gd name="connsiteY7" fmla="*/ 41678 h 90557"/>
                <a:gd name="connsiteX8" fmla="*/ 9460 w 102443"/>
                <a:gd name="connsiteY8" fmla="*/ 38837 h 90557"/>
                <a:gd name="connsiteX9" fmla="*/ 11731 w 102443"/>
                <a:gd name="connsiteY9" fmla="*/ 35397 h 90557"/>
                <a:gd name="connsiteX10" fmla="*/ 13377 w 102443"/>
                <a:gd name="connsiteY10" fmla="*/ 34209 h 90557"/>
                <a:gd name="connsiteX11" fmla="*/ 14453 w 102443"/>
                <a:gd name="connsiteY11" fmla="*/ 32057 h 90557"/>
                <a:gd name="connsiteX12" fmla="*/ 14453 w 102443"/>
                <a:gd name="connsiteY12" fmla="*/ 29694 h 90557"/>
                <a:gd name="connsiteX13" fmla="*/ 13377 w 102443"/>
                <a:gd name="connsiteY13" fmla="*/ 26712 h 90557"/>
                <a:gd name="connsiteX14" fmla="*/ 11731 w 102443"/>
                <a:gd name="connsiteY14" fmla="*/ 23990 h 90557"/>
                <a:gd name="connsiteX15" fmla="*/ 9460 w 102443"/>
                <a:gd name="connsiteY15" fmla="*/ 21606 h 90557"/>
                <a:gd name="connsiteX16" fmla="*/ 7912 w 102443"/>
                <a:gd name="connsiteY16" fmla="*/ 18286 h 90557"/>
                <a:gd name="connsiteX17" fmla="*/ 7420 w 102443"/>
                <a:gd name="connsiteY17" fmla="*/ 16802 h 90557"/>
                <a:gd name="connsiteX18" fmla="*/ 7793 w 102443"/>
                <a:gd name="connsiteY18" fmla="*/ 16675 h 90557"/>
                <a:gd name="connsiteX19" fmla="*/ 12406 w 102443"/>
                <a:gd name="connsiteY19" fmla="*/ 24130 h 90557"/>
                <a:gd name="connsiteX20" fmla="*/ 19981 w 102443"/>
                <a:gd name="connsiteY20" fmla="*/ 25868 h 90557"/>
                <a:gd name="connsiteX21" fmla="*/ 19981 w 102443"/>
                <a:gd name="connsiteY21" fmla="*/ 25868 h 90557"/>
                <a:gd name="connsiteX22" fmla="*/ 22822 w 102443"/>
                <a:gd name="connsiteY22" fmla="*/ 25755 h 90557"/>
                <a:gd name="connsiteX23" fmla="*/ 30573 w 102443"/>
                <a:gd name="connsiteY23" fmla="*/ 20255 h 90557"/>
                <a:gd name="connsiteX24" fmla="*/ 42220 w 102443"/>
                <a:gd name="connsiteY24" fmla="*/ 18624 h 90557"/>
                <a:gd name="connsiteX25" fmla="*/ 45476 w 102443"/>
                <a:gd name="connsiteY25" fmla="*/ 15360 h 90557"/>
                <a:gd name="connsiteX26" fmla="*/ 45476 w 102443"/>
                <a:gd name="connsiteY26" fmla="*/ 10451 h 90557"/>
                <a:gd name="connsiteX27" fmla="*/ 43957 w 102443"/>
                <a:gd name="connsiteY27" fmla="*/ 4360 h 90557"/>
                <a:gd name="connsiteX28" fmla="*/ 56771 w 102443"/>
                <a:gd name="connsiteY28" fmla="*/ 0 h 90557"/>
                <a:gd name="connsiteX29" fmla="*/ 95924 w 102443"/>
                <a:gd name="connsiteY29" fmla="*/ 0 h 90557"/>
                <a:gd name="connsiteX30" fmla="*/ 98371 w 102443"/>
                <a:gd name="connsiteY30" fmla="*/ 6041 h 90557"/>
                <a:gd name="connsiteX31" fmla="*/ 101311 w 102443"/>
                <a:gd name="connsiteY31" fmla="*/ 9959 h 90557"/>
                <a:gd name="connsiteX32" fmla="*/ 102444 w 102443"/>
                <a:gd name="connsiteY32" fmla="*/ 13377 h 90557"/>
                <a:gd name="connsiteX33" fmla="*/ 101311 w 102443"/>
                <a:gd name="connsiteY33" fmla="*/ 15838 h 90557"/>
                <a:gd name="connsiteX34" fmla="*/ 100995 w 102443"/>
                <a:gd name="connsiteY34" fmla="*/ 16654 h 90557"/>
                <a:gd name="connsiteX35" fmla="*/ 99363 w 102443"/>
                <a:gd name="connsiteY35" fmla="*/ 18602 h 90557"/>
                <a:gd name="connsiteX36" fmla="*/ 98371 w 102443"/>
                <a:gd name="connsiteY36" fmla="*/ 22021 h 90557"/>
                <a:gd name="connsiteX37" fmla="*/ 98371 w 102443"/>
                <a:gd name="connsiteY37" fmla="*/ 24806 h 90557"/>
                <a:gd name="connsiteX38" fmla="*/ 96740 w 102443"/>
                <a:gd name="connsiteY38" fmla="*/ 26930 h 90557"/>
                <a:gd name="connsiteX39" fmla="*/ 93800 w 102443"/>
                <a:gd name="connsiteY39" fmla="*/ 26930 h 90557"/>
                <a:gd name="connsiteX40" fmla="*/ 88589 w 102443"/>
                <a:gd name="connsiteY40" fmla="*/ 26930 h 90557"/>
                <a:gd name="connsiteX41" fmla="*/ 83328 w 102443"/>
                <a:gd name="connsiteY41" fmla="*/ 25530 h 90557"/>
                <a:gd name="connsiteX42" fmla="*/ 80915 w 102443"/>
                <a:gd name="connsiteY42" fmla="*/ 24806 h 90557"/>
                <a:gd name="connsiteX43" fmla="*/ 78953 w 102443"/>
                <a:gd name="connsiteY43" fmla="*/ 23491 h 90557"/>
                <a:gd name="connsiteX44" fmla="*/ 73404 w 102443"/>
                <a:gd name="connsiteY44" fmla="*/ 26114 h 90557"/>
                <a:gd name="connsiteX45" fmla="*/ 72363 w 102443"/>
                <a:gd name="connsiteY45" fmla="*/ 25579 h 90557"/>
                <a:gd name="connsiteX46" fmla="*/ 70303 w 102443"/>
                <a:gd name="connsiteY46" fmla="*/ 24806 h 90557"/>
                <a:gd name="connsiteX47" fmla="*/ 66069 w 102443"/>
                <a:gd name="connsiteY47" fmla="*/ 26930 h 90557"/>
                <a:gd name="connsiteX48" fmla="*/ 62158 w 102443"/>
                <a:gd name="connsiteY48" fmla="*/ 28224 h 90557"/>
                <a:gd name="connsiteX49" fmla="*/ 58775 w 102443"/>
                <a:gd name="connsiteY49" fmla="*/ 28167 h 90557"/>
                <a:gd name="connsiteX50" fmla="*/ 58775 w 102443"/>
                <a:gd name="connsiteY50" fmla="*/ 28167 h 90557"/>
                <a:gd name="connsiteX51" fmla="*/ 57741 w 102443"/>
                <a:gd name="connsiteY51" fmla="*/ 28224 h 90557"/>
                <a:gd name="connsiteX52" fmla="*/ 57741 w 102443"/>
                <a:gd name="connsiteY52" fmla="*/ 31164 h 90557"/>
                <a:gd name="connsiteX53" fmla="*/ 59212 w 102443"/>
                <a:gd name="connsiteY53" fmla="*/ 34265 h 90557"/>
                <a:gd name="connsiteX54" fmla="*/ 67539 w 102443"/>
                <a:gd name="connsiteY54" fmla="*/ 40785 h 90557"/>
                <a:gd name="connsiteX55" fmla="*/ 64423 w 102443"/>
                <a:gd name="connsiteY55" fmla="*/ 39371 h 90557"/>
                <a:gd name="connsiteX56" fmla="*/ 59212 w 102443"/>
                <a:gd name="connsiteY56" fmla="*/ 36234 h 90557"/>
                <a:gd name="connsiteX57" fmla="*/ 60323 w 102443"/>
                <a:gd name="connsiteY57" fmla="*/ 41650 h 90557"/>
                <a:gd name="connsiteX58" fmla="*/ 60681 w 102443"/>
                <a:gd name="connsiteY58" fmla="*/ 44386 h 90557"/>
                <a:gd name="connsiteX59" fmla="*/ 55456 w 102443"/>
                <a:gd name="connsiteY59" fmla="*/ 37866 h 90557"/>
                <a:gd name="connsiteX60" fmla="*/ 51876 w 102443"/>
                <a:gd name="connsiteY60" fmla="*/ 38837 h 90557"/>
                <a:gd name="connsiteX61" fmla="*/ 53353 w 102443"/>
                <a:gd name="connsiteY61" fmla="*/ 42909 h 90557"/>
                <a:gd name="connsiteX62" fmla="*/ 54640 w 102443"/>
                <a:gd name="connsiteY62" fmla="*/ 45194 h 90557"/>
                <a:gd name="connsiteX63" fmla="*/ 50251 w 102443"/>
                <a:gd name="connsiteY63" fmla="*/ 38837 h 90557"/>
                <a:gd name="connsiteX64" fmla="*/ 44048 w 102443"/>
                <a:gd name="connsiteY64" fmla="*/ 35236 h 90557"/>
                <a:gd name="connsiteX65" fmla="*/ 45181 w 102443"/>
                <a:gd name="connsiteY65" fmla="*/ 31164 h 90557"/>
                <a:gd name="connsiteX66" fmla="*/ 39315 w 102443"/>
                <a:gd name="connsiteY66" fmla="*/ 37866 h 90557"/>
                <a:gd name="connsiteX67" fmla="*/ 44048 w 102443"/>
                <a:gd name="connsiteY67" fmla="*/ 50427 h 90557"/>
                <a:gd name="connsiteX68" fmla="*/ 49435 w 102443"/>
                <a:gd name="connsiteY68" fmla="*/ 58100 h 90557"/>
                <a:gd name="connsiteX69" fmla="*/ 56771 w 102443"/>
                <a:gd name="connsiteY69" fmla="*/ 64936 h 90557"/>
                <a:gd name="connsiteX70" fmla="*/ 62158 w 102443"/>
                <a:gd name="connsiteY70" fmla="*/ 70000 h 90557"/>
                <a:gd name="connsiteX71" fmla="*/ 64282 w 102443"/>
                <a:gd name="connsiteY71" fmla="*/ 74895 h 90557"/>
                <a:gd name="connsiteX72" fmla="*/ 66069 w 102443"/>
                <a:gd name="connsiteY72" fmla="*/ 79945 h 90557"/>
                <a:gd name="connsiteX73" fmla="*/ 70303 w 102443"/>
                <a:gd name="connsiteY73" fmla="*/ 81907 h 90557"/>
                <a:gd name="connsiteX74" fmla="*/ 70303 w 102443"/>
                <a:gd name="connsiteY74" fmla="*/ 83539 h 90557"/>
                <a:gd name="connsiteX75" fmla="*/ 67539 w 102443"/>
                <a:gd name="connsiteY75" fmla="*/ 83539 h 90557"/>
                <a:gd name="connsiteX76" fmla="*/ 60681 w 102443"/>
                <a:gd name="connsiteY76" fmla="*/ 74895 h 90557"/>
                <a:gd name="connsiteX77" fmla="*/ 55456 w 102443"/>
                <a:gd name="connsiteY77" fmla="*/ 70000 h 90557"/>
                <a:gd name="connsiteX78" fmla="*/ 49435 w 102443"/>
                <a:gd name="connsiteY78" fmla="*/ 61835 h 90557"/>
                <a:gd name="connsiteX79" fmla="*/ 45181 w 102443"/>
                <a:gd name="connsiteY79" fmla="*/ 61835 h 90557"/>
                <a:gd name="connsiteX80" fmla="*/ 50406 w 102443"/>
                <a:gd name="connsiteY80" fmla="*/ 69191 h 90557"/>
                <a:gd name="connsiteX81" fmla="*/ 55456 w 102443"/>
                <a:gd name="connsiteY81" fmla="*/ 76365 h 90557"/>
                <a:gd name="connsiteX82" fmla="*/ 56771 w 102443"/>
                <a:gd name="connsiteY82" fmla="*/ 77997 h 90557"/>
                <a:gd name="connsiteX83" fmla="*/ 60681 w 102443"/>
                <a:gd name="connsiteY83" fmla="*/ 77997 h 90557"/>
                <a:gd name="connsiteX84" fmla="*/ 62158 w 102443"/>
                <a:gd name="connsiteY84" fmla="*/ 81907 h 90557"/>
                <a:gd name="connsiteX85" fmla="*/ 63291 w 102443"/>
                <a:gd name="connsiteY85" fmla="*/ 87140 h 90557"/>
                <a:gd name="connsiteX86" fmla="*/ 62158 w 102443"/>
                <a:gd name="connsiteY86" fmla="*/ 90558 h 90557"/>
                <a:gd name="connsiteX87" fmla="*/ 56771 w 102443"/>
                <a:gd name="connsiteY87" fmla="*/ 85986 h 90557"/>
                <a:gd name="connsiteX88" fmla="*/ 54640 w 102443"/>
                <a:gd name="connsiteY88" fmla="*/ 83539 h 90557"/>
                <a:gd name="connsiteX89" fmla="*/ 49435 w 102443"/>
                <a:gd name="connsiteY89" fmla="*/ 84692 h 90557"/>
                <a:gd name="connsiteX90" fmla="*/ 45835 w 102443"/>
                <a:gd name="connsiteY90" fmla="*/ 83039 h 90557"/>
                <a:gd name="connsiteX91" fmla="*/ 49435 w 102443"/>
                <a:gd name="connsiteY91" fmla="*/ 81907 h 90557"/>
                <a:gd name="connsiteX92" fmla="*/ 45835 w 102443"/>
                <a:gd name="connsiteY92" fmla="*/ 79945 h 90557"/>
                <a:gd name="connsiteX93" fmla="*/ 41263 w 102443"/>
                <a:gd name="connsiteY93" fmla="*/ 76365 h 90557"/>
                <a:gd name="connsiteX94" fmla="*/ 39315 w 102443"/>
                <a:gd name="connsiteY94" fmla="*/ 74895 h 90557"/>
                <a:gd name="connsiteX95" fmla="*/ 36537 w 102443"/>
                <a:gd name="connsiteY95" fmla="*/ 74895 h 90557"/>
                <a:gd name="connsiteX96" fmla="*/ 34905 w 102443"/>
                <a:gd name="connsiteY96" fmla="*/ 76365 h 90557"/>
                <a:gd name="connsiteX97" fmla="*/ 32458 w 102443"/>
                <a:gd name="connsiteY97" fmla="*/ 76365 h 90557"/>
                <a:gd name="connsiteX98" fmla="*/ 30510 w 102443"/>
                <a:gd name="connsiteY98" fmla="*/ 74895 h 90557"/>
                <a:gd name="connsiteX99" fmla="*/ 26254 w 102443"/>
                <a:gd name="connsiteY99" fmla="*/ 76365 h 90557"/>
                <a:gd name="connsiteX100" fmla="*/ 24468 w 102443"/>
                <a:gd name="connsiteY100" fmla="*/ 76365 h 90557"/>
                <a:gd name="connsiteX101" fmla="*/ 22836 w 102443"/>
                <a:gd name="connsiteY101" fmla="*/ 77997 h 90557"/>
                <a:gd name="connsiteX102" fmla="*/ 20551 w 102443"/>
                <a:gd name="connsiteY102" fmla="*/ 76365 h 90557"/>
                <a:gd name="connsiteX103" fmla="*/ 17449 w 102443"/>
                <a:gd name="connsiteY103" fmla="*/ 77997 h 90557"/>
                <a:gd name="connsiteX104" fmla="*/ 16141 w 102443"/>
                <a:gd name="connsiteY104" fmla="*/ 73580 h 90557"/>
                <a:gd name="connsiteX105" fmla="*/ 14031 w 102443"/>
                <a:gd name="connsiteY105" fmla="*/ 70000 h 90557"/>
                <a:gd name="connsiteX106" fmla="*/ 14031 w 102443"/>
                <a:gd name="connsiteY106" fmla="*/ 66406 h 90557"/>
                <a:gd name="connsiteX107" fmla="*/ 14031 w 102443"/>
                <a:gd name="connsiteY107" fmla="*/ 64936 h 90557"/>
                <a:gd name="connsiteX108" fmla="*/ 13215 w 102443"/>
                <a:gd name="connsiteY108" fmla="*/ 61518 h 90557"/>
                <a:gd name="connsiteX109" fmla="*/ 10592 w 102443"/>
                <a:gd name="connsiteY109" fmla="*/ 59232 h 90557"/>
                <a:gd name="connsiteX110" fmla="*/ 7596 w 102443"/>
                <a:gd name="connsiteY110" fmla="*/ 57256 h 90557"/>
                <a:gd name="connsiteX111" fmla="*/ 5866 w 102443"/>
                <a:gd name="connsiteY111" fmla="*/ 56286 h 90557"/>
                <a:gd name="connsiteX112" fmla="*/ 3742 w 102443"/>
                <a:gd name="connsiteY112" fmla="*/ 55238 h 90557"/>
                <a:gd name="connsiteX113" fmla="*/ 3742 w 102443"/>
                <a:gd name="connsiteY113" fmla="*/ 55238 h 90557"/>
                <a:gd name="connsiteX114" fmla="*/ 3742 w 102443"/>
                <a:gd name="connsiteY114" fmla="*/ 55238 h 90557"/>
                <a:gd name="connsiteX115" fmla="*/ 3742 w 102443"/>
                <a:gd name="connsiteY115" fmla="*/ 55238 h 90557"/>
                <a:gd name="connsiteX116" fmla="*/ 1948 w 102443"/>
                <a:gd name="connsiteY116" fmla="*/ 54337 h 90557"/>
                <a:gd name="connsiteX117" fmla="*/ 0 w 102443"/>
                <a:gd name="connsiteY117" fmla="*/ 50427 h 90557"/>
                <a:gd name="connsiteX118" fmla="*/ 14 w 102443"/>
                <a:gd name="connsiteY118" fmla="*/ 50040 h 90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2443" h="90557">
                  <a:moveTo>
                    <a:pt x="14" y="50040"/>
                  </a:moveTo>
                  <a:lnTo>
                    <a:pt x="78" y="50483"/>
                  </a:lnTo>
                  <a:lnTo>
                    <a:pt x="2806" y="49534"/>
                  </a:lnTo>
                  <a:lnTo>
                    <a:pt x="3636" y="48219"/>
                  </a:lnTo>
                  <a:lnTo>
                    <a:pt x="3636" y="46432"/>
                  </a:lnTo>
                  <a:lnTo>
                    <a:pt x="2806" y="43823"/>
                  </a:lnTo>
                  <a:lnTo>
                    <a:pt x="4712" y="43823"/>
                  </a:lnTo>
                  <a:lnTo>
                    <a:pt x="7912" y="41678"/>
                  </a:lnTo>
                  <a:lnTo>
                    <a:pt x="9460" y="38837"/>
                  </a:lnTo>
                  <a:lnTo>
                    <a:pt x="11731" y="35397"/>
                  </a:lnTo>
                  <a:lnTo>
                    <a:pt x="13377" y="34209"/>
                  </a:lnTo>
                  <a:lnTo>
                    <a:pt x="14453" y="32057"/>
                  </a:lnTo>
                  <a:lnTo>
                    <a:pt x="14453" y="29694"/>
                  </a:lnTo>
                  <a:lnTo>
                    <a:pt x="13377" y="26712"/>
                  </a:lnTo>
                  <a:lnTo>
                    <a:pt x="11731" y="23990"/>
                  </a:lnTo>
                  <a:lnTo>
                    <a:pt x="9460" y="21606"/>
                  </a:lnTo>
                  <a:lnTo>
                    <a:pt x="7912" y="18286"/>
                  </a:lnTo>
                  <a:cubicBezTo>
                    <a:pt x="7772" y="17878"/>
                    <a:pt x="7603" y="17358"/>
                    <a:pt x="7420" y="16802"/>
                  </a:cubicBezTo>
                  <a:lnTo>
                    <a:pt x="7793" y="16675"/>
                  </a:lnTo>
                  <a:cubicBezTo>
                    <a:pt x="8320" y="18799"/>
                    <a:pt x="9439" y="21992"/>
                    <a:pt x="12406" y="24130"/>
                  </a:cubicBezTo>
                  <a:cubicBezTo>
                    <a:pt x="15220" y="26149"/>
                    <a:pt x="17196" y="26029"/>
                    <a:pt x="19981" y="25868"/>
                  </a:cubicBezTo>
                  <a:lnTo>
                    <a:pt x="19981" y="25868"/>
                  </a:lnTo>
                  <a:cubicBezTo>
                    <a:pt x="20832" y="25811"/>
                    <a:pt x="21767" y="25755"/>
                    <a:pt x="22822" y="25755"/>
                  </a:cubicBezTo>
                  <a:cubicBezTo>
                    <a:pt x="26416" y="25755"/>
                    <a:pt x="29483" y="22091"/>
                    <a:pt x="30573" y="20255"/>
                  </a:cubicBezTo>
                  <a:cubicBezTo>
                    <a:pt x="34378" y="20522"/>
                    <a:pt x="42044" y="20579"/>
                    <a:pt x="42220" y="18624"/>
                  </a:cubicBezTo>
                  <a:cubicBezTo>
                    <a:pt x="42395" y="16668"/>
                    <a:pt x="44463" y="15634"/>
                    <a:pt x="45476" y="15360"/>
                  </a:cubicBezTo>
                  <a:lnTo>
                    <a:pt x="45476" y="10451"/>
                  </a:lnTo>
                  <a:cubicBezTo>
                    <a:pt x="45040" y="8904"/>
                    <a:pt x="44238" y="5943"/>
                    <a:pt x="43957" y="4360"/>
                  </a:cubicBezTo>
                  <a:lnTo>
                    <a:pt x="56771" y="0"/>
                  </a:lnTo>
                  <a:lnTo>
                    <a:pt x="95924" y="0"/>
                  </a:lnTo>
                  <a:lnTo>
                    <a:pt x="98371" y="6041"/>
                  </a:lnTo>
                  <a:lnTo>
                    <a:pt x="101311" y="9959"/>
                  </a:lnTo>
                  <a:lnTo>
                    <a:pt x="102444" y="13377"/>
                  </a:lnTo>
                  <a:lnTo>
                    <a:pt x="101311" y="15838"/>
                  </a:lnTo>
                  <a:lnTo>
                    <a:pt x="100995" y="16654"/>
                  </a:lnTo>
                  <a:lnTo>
                    <a:pt x="99363" y="18602"/>
                  </a:lnTo>
                  <a:lnTo>
                    <a:pt x="98371" y="22021"/>
                  </a:lnTo>
                  <a:lnTo>
                    <a:pt x="98371" y="24806"/>
                  </a:lnTo>
                  <a:lnTo>
                    <a:pt x="96740" y="26930"/>
                  </a:lnTo>
                  <a:lnTo>
                    <a:pt x="93800" y="26930"/>
                  </a:lnTo>
                  <a:lnTo>
                    <a:pt x="88589" y="26930"/>
                  </a:lnTo>
                  <a:cubicBezTo>
                    <a:pt x="87393" y="26930"/>
                    <a:pt x="85114" y="26142"/>
                    <a:pt x="83328" y="25530"/>
                  </a:cubicBezTo>
                  <a:cubicBezTo>
                    <a:pt x="82181" y="25129"/>
                    <a:pt x="81239" y="24806"/>
                    <a:pt x="80915" y="24806"/>
                  </a:cubicBezTo>
                  <a:cubicBezTo>
                    <a:pt x="80269" y="24806"/>
                    <a:pt x="79333" y="23926"/>
                    <a:pt x="78953" y="23491"/>
                  </a:cubicBezTo>
                  <a:cubicBezTo>
                    <a:pt x="77427" y="24426"/>
                    <a:pt x="74185" y="26261"/>
                    <a:pt x="73404" y="26114"/>
                  </a:cubicBezTo>
                  <a:cubicBezTo>
                    <a:pt x="73017" y="26043"/>
                    <a:pt x="72701" y="25818"/>
                    <a:pt x="72363" y="25579"/>
                  </a:cubicBezTo>
                  <a:cubicBezTo>
                    <a:pt x="71850" y="25214"/>
                    <a:pt x="71280" y="24806"/>
                    <a:pt x="70303" y="24806"/>
                  </a:cubicBezTo>
                  <a:cubicBezTo>
                    <a:pt x="68678" y="24806"/>
                    <a:pt x="67384" y="25460"/>
                    <a:pt x="66069" y="26930"/>
                  </a:cubicBezTo>
                  <a:cubicBezTo>
                    <a:pt x="64760" y="28400"/>
                    <a:pt x="63783" y="28540"/>
                    <a:pt x="62158" y="28224"/>
                  </a:cubicBezTo>
                  <a:cubicBezTo>
                    <a:pt x="60998" y="27999"/>
                    <a:pt x="59753" y="28090"/>
                    <a:pt x="58775" y="28167"/>
                  </a:cubicBezTo>
                  <a:lnTo>
                    <a:pt x="58775" y="28167"/>
                  </a:lnTo>
                  <a:cubicBezTo>
                    <a:pt x="58382" y="28196"/>
                    <a:pt x="58023" y="28224"/>
                    <a:pt x="57741" y="28224"/>
                  </a:cubicBezTo>
                  <a:cubicBezTo>
                    <a:pt x="56771" y="28224"/>
                    <a:pt x="56588" y="30348"/>
                    <a:pt x="57741" y="31164"/>
                  </a:cubicBezTo>
                  <a:cubicBezTo>
                    <a:pt x="58663" y="31818"/>
                    <a:pt x="59106" y="33506"/>
                    <a:pt x="59212" y="34265"/>
                  </a:cubicBezTo>
                  <a:cubicBezTo>
                    <a:pt x="62046" y="35461"/>
                    <a:pt x="67672" y="38429"/>
                    <a:pt x="67539" y="40785"/>
                  </a:cubicBezTo>
                  <a:cubicBezTo>
                    <a:pt x="67461" y="42219"/>
                    <a:pt x="66104" y="40939"/>
                    <a:pt x="64423" y="39371"/>
                  </a:cubicBezTo>
                  <a:cubicBezTo>
                    <a:pt x="62658" y="37711"/>
                    <a:pt x="60548" y="35735"/>
                    <a:pt x="59212" y="36234"/>
                  </a:cubicBezTo>
                  <a:cubicBezTo>
                    <a:pt x="57812" y="36755"/>
                    <a:pt x="59204" y="39470"/>
                    <a:pt x="60323" y="41650"/>
                  </a:cubicBezTo>
                  <a:cubicBezTo>
                    <a:pt x="61279" y="43514"/>
                    <a:pt x="62039" y="44983"/>
                    <a:pt x="60681" y="44386"/>
                  </a:cubicBezTo>
                  <a:cubicBezTo>
                    <a:pt x="58332" y="43331"/>
                    <a:pt x="56215" y="39596"/>
                    <a:pt x="55456" y="37866"/>
                  </a:cubicBezTo>
                  <a:lnTo>
                    <a:pt x="51876" y="38837"/>
                  </a:lnTo>
                  <a:cubicBezTo>
                    <a:pt x="51989" y="40194"/>
                    <a:pt x="52446" y="42909"/>
                    <a:pt x="53353" y="42909"/>
                  </a:cubicBezTo>
                  <a:cubicBezTo>
                    <a:pt x="54485" y="42909"/>
                    <a:pt x="57404" y="46010"/>
                    <a:pt x="54640" y="45194"/>
                  </a:cubicBezTo>
                  <a:cubicBezTo>
                    <a:pt x="52432" y="44547"/>
                    <a:pt x="50793" y="40686"/>
                    <a:pt x="50251" y="38837"/>
                  </a:cubicBezTo>
                  <a:cubicBezTo>
                    <a:pt x="48184" y="37964"/>
                    <a:pt x="44048" y="36016"/>
                    <a:pt x="44048" y="35236"/>
                  </a:cubicBezTo>
                  <a:cubicBezTo>
                    <a:pt x="44048" y="34462"/>
                    <a:pt x="44801" y="32197"/>
                    <a:pt x="45181" y="31164"/>
                  </a:cubicBezTo>
                  <a:cubicBezTo>
                    <a:pt x="43064" y="32422"/>
                    <a:pt x="38935" y="35524"/>
                    <a:pt x="39315" y="37866"/>
                  </a:cubicBezTo>
                  <a:cubicBezTo>
                    <a:pt x="39702" y="40201"/>
                    <a:pt x="42628" y="47213"/>
                    <a:pt x="44048" y="50427"/>
                  </a:cubicBezTo>
                  <a:lnTo>
                    <a:pt x="49435" y="58100"/>
                  </a:lnTo>
                  <a:lnTo>
                    <a:pt x="56771" y="64936"/>
                  </a:lnTo>
                  <a:lnTo>
                    <a:pt x="62158" y="70000"/>
                  </a:lnTo>
                  <a:lnTo>
                    <a:pt x="64282" y="74895"/>
                  </a:lnTo>
                  <a:lnTo>
                    <a:pt x="66069" y="79945"/>
                  </a:lnTo>
                  <a:lnTo>
                    <a:pt x="70303" y="81907"/>
                  </a:lnTo>
                  <a:lnTo>
                    <a:pt x="70303" y="83539"/>
                  </a:lnTo>
                  <a:lnTo>
                    <a:pt x="67539" y="83539"/>
                  </a:lnTo>
                  <a:lnTo>
                    <a:pt x="60681" y="74895"/>
                  </a:lnTo>
                  <a:lnTo>
                    <a:pt x="55456" y="70000"/>
                  </a:lnTo>
                  <a:lnTo>
                    <a:pt x="49435" y="61835"/>
                  </a:lnTo>
                  <a:lnTo>
                    <a:pt x="45181" y="61835"/>
                  </a:lnTo>
                  <a:lnTo>
                    <a:pt x="50406" y="69191"/>
                  </a:lnTo>
                  <a:lnTo>
                    <a:pt x="55456" y="76365"/>
                  </a:lnTo>
                  <a:lnTo>
                    <a:pt x="56771" y="77997"/>
                  </a:lnTo>
                  <a:lnTo>
                    <a:pt x="60681" y="77997"/>
                  </a:lnTo>
                  <a:lnTo>
                    <a:pt x="62158" y="81907"/>
                  </a:lnTo>
                  <a:lnTo>
                    <a:pt x="63291" y="87140"/>
                  </a:lnTo>
                  <a:lnTo>
                    <a:pt x="62158" y="90558"/>
                  </a:lnTo>
                  <a:lnTo>
                    <a:pt x="56771" y="85986"/>
                  </a:lnTo>
                  <a:lnTo>
                    <a:pt x="54640" y="83539"/>
                  </a:lnTo>
                  <a:lnTo>
                    <a:pt x="49435" y="84692"/>
                  </a:lnTo>
                  <a:lnTo>
                    <a:pt x="45835" y="83039"/>
                  </a:lnTo>
                  <a:lnTo>
                    <a:pt x="49435" y="81907"/>
                  </a:lnTo>
                  <a:lnTo>
                    <a:pt x="45835" y="79945"/>
                  </a:lnTo>
                  <a:lnTo>
                    <a:pt x="41263" y="76365"/>
                  </a:lnTo>
                  <a:lnTo>
                    <a:pt x="39315" y="74895"/>
                  </a:lnTo>
                  <a:lnTo>
                    <a:pt x="36537" y="74895"/>
                  </a:lnTo>
                  <a:lnTo>
                    <a:pt x="34905" y="76365"/>
                  </a:lnTo>
                  <a:lnTo>
                    <a:pt x="32458" y="76365"/>
                  </a:lnTo>
                  <a:lnTo>
                    <a:pt x="30510" y="74895"/>
                  </a:lnTo>
                  <a:lnTo>
                    <a:pt x="26254" y="76365"/>
                  </a:lnTo>
                  <a:lnTo>
                    <a:pt x="24468" y="76365"/>
                  </a:lnTo>
                  <a:lnTo>
                    <a:pt x="22836" y="77997"/>
                  </a:lnTo>
                  <a:lnTo>
                    <a:pt x="20551" y="76365"/>
                  </a:lnTo>
                  <a:lnTo>
                    <a:pt x="17449" y="77997"/>
                  </a:lnTo>
                  <a:lnTo>
                    <a:pt x="16141" y="73580"/>
                  </a:lnTo>
                  <a:lnTo>
                    <a:pt x="14031" y="70000"/>
                  </a:lnTo>
                  <a:lnTo>
                    <a:pt x="14031" y="66406"/>
                  </a:lnTo>
                  <a:lnTo>
                    <a:pt x="14031" y="64936"/>
                  </a:lnTo>
                  <a:lnTo>
                    <a:pt x="13215" y="61518"/>
                  </a:lnTo>
                  <a:cubicBezTo>
                    <a:pt x="12618" y="61131"/>
                    <a:pt x="11246" y="60140"/>
                    <a:pt x="10592" y="59232"/>
                  </a:cubicBezTo>
                  <a:cubicBezTo>
                    <a:pt x="10078" y="58515"/>
                    <a:pt x="8770" y="57854"/>
                    <a:pt x="7596" y="57256"/>
                  </a:cubicBezTo>
                  <a:cubicBezTo>
                    <a:pt x="6914" y="56912"/>
                    <a:pt x="6281" y="56588"/>
                    <a:pt x="5866" y="56286"/>
                  </a:cubicBezTo>
                  <a:cubicBezTo>
                    <a:pt x="5289" y="55871"/>
                    <a:pt x="4487" y="55547"/>
                    <a:pt x="3742" y="55238"/>
                  </a:cubicBezTo>
                  <a:lnTo>
                    <a:pt x="3742" y="55238"/>
                  </a:lnTo>
                  <a:lnTo>
                    <a:pt x="3742" y="55238"/>
                  </a:lnTo>
                  <a:lnTo>
                    <a:pt x="3742" y="55238"/>
                  </a:lnTo>
                  <a:cubicBezTo>
                    <a:pt x="3024" y="54942"/>
                    <a:pt x="2349" y="54661"/>
                    <a:pt x="1948" y="54337"/>
                  </a:cubicBezTo>
                  <a:cubicBezTo>
                    <a:pt x="1294" y="53817"/>
                    <a:pt x="380" y="51510"/>
                    <a:pt x="0" y="50427"/>
                  </a:cubicBezTo>
                  <a:lnTo>
                    <a:pt x="14" y="5004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2" name="Freihandform: Form 267">
              <a:extLst>
                <a:ext uri="{FF2B5EF4-FFF2-40B4-BE49-F238E27FC236}">
                  <a16:creationId xmlns:a16="http://schemas.microsoft.com/office/drawing/2014/main" id="{6CC316F8-1184-0441-8199-51E43FB49FED}"/>
                </a:ext>
              </a:extLst>
            </p:cNvPr>
            <p:cNvSpPr/>
            <p:nvPr/>
          </p:nvSpPr>
          <p:spPr>
            <a:xfrm>
              <a:off x="6488692" y="3873239"/>
              <a:ext cx="35917" cy="33512"/>
            </a:xfrm>
            <a:custGeom>
              <a:avLst/>
              <a:gdLst>
                <a:gd name="connsiteX0" fmla="*/ 21901 w 35917"/>
                <a:gd name="connsiteY0" fmla="*/ 3939 h 33512"/>
                <a:gd name="connsiteX1" fmla="*/ 14354 w 35917"/>
                <a:gd name="connsiteY1" fmla="*/ 661 h 33512"/>
                <a:gd name="connsiteX2" fmla="*/ 13018 w 35917"/>
                <a:gd name="connsiteY2" fmla="*/ 0 h 33512"/>
                <a:gd name="connsiteX3" fmla="*/ 11049 w 35917"/>
                <a:gd name="connsiteY3" fmla="*/ 661 h 33512"/>
                <a:gd name="connsiteX4" fmla="*/ 8643 w 35917"/>
                <a:gd name="connsiteY4" fmla="*/ 2068 h 33512"/>
                <a:gd name="connsiteX5" fmla="*/ 5029 w 35917"/>
                <a:gd name="connsiteY5" fmla="*/ 2623 h 33512"/>
                <a:gd name="connsiteX6" fmla="*/ 3277 w 35917"/>
                <a:gd name="connsiteY6" fmla="*/ 2068 h 33512"/>
                <a:gd name="connsiteX7" fmla="*/ 2286 w 35917"/>
                <a:gd name="connsiteY7" fmla="*/ 4712 h 33512"/>
                <a:gd name="connsiteX8" fmla="*/ 977 w 35917"/>
                <a:gd name="connsiteY8" fmla="*/ 6245 h 33512"/>
                <a:gd name="connsiteX9" fmla="*/ 0 w 35917"/>
                <a:gd name="connsiteY9" fmla="*/ 6998 h 33512"/>
                <a:gd name="connsiteX10" fmla="*/ 0 w 35917"/>
                <a:gd name="connsiteY10" fmla="*/ 8967 h 33512"/>
                <a:gd name="connsiteX11" fmla="*/ 1632 w 35917"/>
                <a:gd name="connsiteY11" fmla="*/ 10514 h 33512"/>
                <a:gd name="connsiteX12" fmla="*/ 3277 w 35917"/>
                <a:gd name="connsiteY12" fmla="*/ 12266 h 33512"/>
                <a:gd name="connsiteX13" fmla="*/ 5029 w 35917"/>
                <a:gd name="connsiteY13" fmla="*/ 14671 h 33512"/>
                <a:gd name="connsiteX14" fmla="*/ 7335 w 35917"/>
                <a:gd name="connsiteY14" fmla="*/ 16204 h 33512"/>
                <a:gd name="connsiteX15" fmla="*/ 8643 w 35917"/>
                <a:gd name="connsiteY15" fmla="*/ 18729 h 33512"/>
                <a:gd name="connsiteX16" fmla="*/ 9206 w 35917"/>
                <a:gd name="connsiteY16" fmla="*/ 20375 h 33512"/>
                <a:gd name="connsiteX17" fmla="*/ 9206 w 35917"/>
                <a:gd name="connsiteY17" fmla="*/ 23216 h 33512"/>
                <a:gd name="connsiteX18" fmla="*/ 11049 w 35917"/>
                <a:gd name="connsiteY18" fmla="*/ 28027 h 33512"/>
                <a:gd name="connsiteX19" fmla="*/ 12048 w 35917"/>
                <a:gd name="connsiteY19" fmla="*/ 28582 h 33512"/>
                <a:gd name="connsiteX20" fmla="*/ 14354 w 35917"/>
                <a:gd name="connsiteY20" fmla="*/ 28582 h 33512"/>
                <a:gd name="connsiteX21" fmla="*/ 15325 w 35917"/>
                <a:gd name="connsiteY21" fmla="*/ 27056 h 33512"/>
                <a:gd name="connsiteX22" fmla="*/ 17196 w 35917"/>
                <a:gd name="connsiteY22" fmla="*/ 26276 h 33512"/>
                <a:gd name="connsiteX23" fmla="*/ 19045 w 35917"/>
                <a:gd name="connsiteY23" fmla="*/ 26276 h 33512"/>
                <a:gd name="connsiteX24" fmla="*/ 20473 w 35917"/>
                <a:gd name="connsiteY24" fmla="*/ 28027 h 33512"/>
                <a:gd name="connsiteX25" fmla="*/ 21901 w 35917"/>
                <a:gd name="connsiteY25" fmla="*/ 32204 h 33512"/>
                <a:gd name="connsiteX26" fmla="*/ 23096 w 35917"/>
                <a:gd name="connsiteY26" fmla="*/ 33512 h 33512"/>
                <a:gd name="connsiteX27" fmla="*/ 25185 w 35917"/>
                <a:gd name="connsiteY27" fmla="*/ 33512 h 33512"/>
                <a:gd name="connsiteX28" fmla="*/ 24088 w 35917"/>
                <a:gd name="connsiteY28" fmla="*/ 31424 h 33512"/>
                <a:gd name="connsiteX29" fmla="*/ 24088 w 35917"/>
                <a:gd name="connsiteY29" fmla="*/ 28582 h 33512"/>
                <a:gd name="connsiteX30" fmla="*/ 26057 w 35917"/>
                <a:gd name="connsiteY30" fmla="*/ 29461 h 33512"/>
                <a:gd name="connsiteX31" fmla="*/ 28463 w 35917"/>
                <a:gd name="connsiteY31" fmla="*/ 32204 h 33512"/>
                <a:gd name="connsiteX32" fmla="*/ 30017 w 35917"/>
                <a:gd name="connsiteY32" fmla="*/ 33512 h 33512"/>
                <a:gd name="connsiteX33" fmla="*/ 29454 w 35917"/>
                <a:gd name="connsiteY33" fmla="*/ 31424 h 33512"/>
                <a:gd name="connsiteX34" fmla="*/ 29454 w 35917"/>
                <a:gd name="connsiteY34" fmla="*/ 28582 h 33512"/>
                <a:gd name="connsiteX35" fmla="*/ 28463 w 35917"/>
                <a:gd name="connsiteY35" fmla="*/ 24531 h 33512"/>
                <a:gd name="connsiteX36" fmla="*/ 26831 w 35917"/>
                <a:gd name="connsiteY36" fmla="*/ 21690 h 33512"/>
                <a:gd name="connsiteX37" fmla="*/ 24088 w 35917"/>
                <a:gd name="connsiteY37" fmla="*/ 16204 h 33512"/>
                <a:gd name="connsiteX38" fmla="*/ 24088 w 35917"/>
                <a:gd name="connsiteY38" fmla="*/ 14671 h 33512"/>
                <a:gd name="connsiteX39" fmla="*/ 25185 w 35917"/>
                <a:gd name="connsiteY39" fmla="*/ 14671 h 33512"/>
                <a:gd name="connsiteX40" fmla="*/ 30017 w 35917"/>
                <a:gd name="connsiteY40" fmla="*/ 15325 h 33512"/>
                <a:gd name="connsiteX41" fmla="*/ 31423 w 35917"/>
                <a:gd name="connsiteY41" fmla="*/ 18166 h 33512"/>
                <a:gd name="connsiteX42" fmla="*/ 35918 w 35917"/>
                <a:gd name="connsiteY42" fmla="*/ 16204 h 33512"/>
                <a:gd name="connsiteX43" fmla="*/ 33175 w 35917"/>
                <a:gd name="connsiteY43" fmla="*/ 15325 h 33512"/>
                <a:gd name="connsiteX44" fmla="*/ 30671 w 35917"/>
                <a:gd name="connsiteY44" fmla="*/ 11710 h 33512"/>
                <a:gd name="connsiteX45" fmla="*/ 30017 w 35917"/>
                <a:gd name="connsiteY45" fmla="*/ 8967 h 33512"/>
                <a:gd name="connsiteX46" fmla="*/ 26831 w 35917"/>
                <a:gd name="connsiteY46" fmla="*/ 6998 h 33512"/>
                <a:gd name="connsiteX47" fmla="*/ 21901 w 35917"/>
                <a:gd name="connsiteY47" fmla="*/ 3939 h 3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5917" h="33512">
                  <a:moveTo>
                    <a:pt x="21901" y="3939"/>
                  </a:moveTo>
                  <a:cubicBezTo>
                    <a:pt x="20114" y="3313"/>
                    <a:pt x="16098" y="1786"/>
                    <a:pt x="14354" y="661"/>
                  </a:cubicBezTo>
                  <a:lnTo>
                    <a:pt x="13018" y="0"/>
                  </a:lnTo>
                  <a:lnTo>
                    <a:pt x="11049" y="661"/>
                  </a:lnTo>
                  <a:lnTo>
                    <a:pt x="8643" y="2068"/>
                  </a:lnTo>
                  <a:lnTo>
                    <a:pt x="5029" y="2623"/>
                  </a:lnTo>
                  <a:lnTo>
                    <a:pt x="3277" y="2068"/>
                  </a:lnTo>
                  <a:lnTo>
                    <a:pt x="2286" y="4712"/>
                  </a:lnTo>
                  <a:lnTo>
                    <a:pt x="977" y="6245"/>
                  </a:lnTo>
                  <a:lnTo>
                    <a:pt x="0" y="6998"/>
                  </a:lnTo>
                  <a:lnTo>
                    <a:pt x="0" y="8967"/>
                  </a:lnTo>
                  <a:cubicBezTo>
                    <a:pt x="401" y="9340"/>
                    <a:pt x="1280" y="10170"/>
                    <a:pt x="1632" y="10514"/>
                  </a:cubicBezTo>
                  <a:cubicBezTo>
                    <a:pt x="2068" y="10951"/>
                    <a:pt x="2841" y="11710"/>
                    <a:pt x="3277" y="12266"/>
                  </a:cubicBezTo>
                  <a:cubicBezTo>
                    <a:pt x="3629" y="12709"/>
                    <a:pt x="4592" y="14052"/>
                    <a:pt x="5029" y="14671"/>
                  </a:cubicBezTo>
                  <a:cubicBezTo>
                    <a:pt x="5654" y="14889"/>
                    <a:pt x="6984" y="15501"/>
                    <a:pt x="7335" y="16204"/>
                  </a:cubicBezTo>
                  <a:cubicBezTo>
                    <a:pt x="7771" y="17076"/>
                    <a:pt x="8426" y="18166"/>
                    <a:pt x="8643" y="18729"/>
                  </a:cubicBezTo>
                  <a:cubicBezTo>
                    <a:pt x="8861" y="19285"/>
                    <a:pt x="9206" y="19601"/>
                    <a:pt x="9206" y="20375"/>
                  </a:cubicBezTo>
                  <a:lnTo>
                    <a:pt x="9206" y="23216"/>
                  </a:lnTo>
                  <a:cubicBezTo>
                    <a:pt x="9818" y="24236"/>
                    <a:pt x="11049" y="26627"/>
                    <a:pt x="11049" y="28027"/>
                  </a:cubicBezTo>
                  <a:cubicBezTo>
                    <a:pt x="11225" y="28807"/>
                    <a:pt x="11787" y="28723"/>
                    <a:pt x="12048" y="28582"/>
                  </a:cubicBezTo>
                  <a:lnTo>
                    <a:pt x="14354" y="28582"/>
                  </a:lnTo>
                  <a:lnTo>
                    <a:pt x="15325" y="27056"/>
                  </a:lnTo>
                  <a:lnTo>
                    <a:pt x="17196" y="26276"/>
                  </a:lnTo>
                  <a:lnTo>
                    <a:pt x="19045" y="26276"/>
                  </a:lnTo>
                  <a:lnTo>
                    <a:pt x="20473" y="28027"/>
                  </a:lnTo>
                  <a:cubicBezTo>
                    <a:pt x="20951" y="29159"/>
                    <a:pt x="21901" y="31585"/>
                    <a:pt x="21901" y="32204"/>
                  </a:cubicBezTo>
                  <a:cubicBezTo>
                    <a:pt x="21901" y="32823"/>
                    <a:pt x="22703" y="33337"/>
                    <a:pt x="23096" y="33512"/>
                  </a:cubicBezTo>
                  <a:lnTo>
                    <a:pt x="25185" y="33512"/>
                  </a:lnTo>
                  <a:lnTo>
                    <a:pt x="24088" y="31424"/>
                  </a:lnTo>
                  <a:lnTo>
                    <a:pt x="24088" y="28582"/>
                  </a:lnTo>
                  <a:lnTo>
                    <a:pt x="26057" y="29461"/>
                  </a:lnTo>
                  <a:lnTo>
                    <a:pt x="28463" y="32204"/>
                  </a:lnTo>
                  <a:lnTo>
                    <a:pt x="30017" y="33512"/>
                  </a:lnTo>
                  <a:lnTo>
                    <a:pt x="29454" y="31424"/>
                  </a:lnTo>
                  <a:lnTo>
                    <a:pt x="29454" y="28582"/>
                  </a:lnTo>
                  <a:lnTo>
                    <a:pt x="28463" y="24531"/>
                  </a:lnTo>
                  <a:lnTo>
                    <a:pt x="26831" y="21690"/>
                  </a:lnTo>
                  <a:lnTo>
                    <a:pt x="24088" y="16204"/>
                  </a:lnTo>
                  <a:lnTo>
                    <a:pt x="24088" y="14671"/>
                  </a:lnTo>
                  <a:lnTo>
                    <a:pt x="25185" y="14671"/>
                  </a:lnTo>
                  <a:lnTo>
                    <a:pt x="30017" y="15325"/>
                  </a:lnTo>
                  <a:lnTo>
                    <a:pt x="31423" y="18166"/>
                  </a:lnTo>
                  <a:lnTo>
                    <a:pt x="35918" y="16204"/>
                  </a:lnTo>
                  <a:lnTo>
                    <a:pt x="33175" y="15325"/>
                  </a:lnTo>
                  <a:lnTo>
                    <a:pt x="30671" y="11710"/>
                  </a:lnTo>
                  <a:lnTo>
                    <a:pt x="30017" y="8967"/>
                  </a:lnTo>
                  <a:lnTo>
                    <a:pt x="26831" y="6998"/>
                  </a:lnTo>
                  <a:lnTo>
                    <a:pt x="21901" y="393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3" name="Freihandform: Form 268">
              <a:extLst>
                <a:ext uri="{FF2B5EF4-FFF2-40B4-BE49-F238E27FC236}">
                  <a16:creationId xmlns:a16="http://schemas.microsoft.com/office/drawing/2014/main" id="{B284C932-FA43-3B42-B488-B0BCF009F7CA}"/>
                </a:ext>
              </a:extLst>
            </p:cNvPr>
            <p:cNvSpPr/>
            <p:nvPr/>
          </p:nvSpPr>
          <p:spPr>
            <a:xfrm>
              <a:off x="6575058" y="3653433"/>
              <a:ext cx="51190" cy="68433"/>
            </a:xfrm>
            <a:custGeom>
              <a:avLst/>
              <a:gdLst>
                <a:gd name="connsiteX0" fmla="*/ 0 w 51190"/>
                <a:gd name="connsiteY0" fmla="*/ 5122 h 68433"/>
                <a:gd name="connsiteX1" fmla="*/ 2644 w 51190"/>
                <a:gd name="connsiteY1" fmla="*/ 2140 h 68433"/>
                <a:gd name="connsiteX2" fmla="*/ 4234 w 51190"/>
                <a:gd name="connsiteY2" fmla="*/ 2401 h 68433"/>
                <a:gd name="connsiteX3" fmla="*/ 10015 w 51190"/>
                <a:gd name="connsiteY3" fmla="*/ 2140 h 68433"/>
                <a:gd name="connsiteX4" fmla="*/ 16436 w 51190"/>
                <a:gd name="connsiteY4" fmla="*/ 607 h 68433"/>
                <a:gd name="connsiteX5" fmla="*/ 20473 w 51190"/>
                <a:gd name="connsiteY5" fmla="*/ 3807 h 68433"/>
                <a:gd name="connsiteX6" fmla="*/ 23251 w 51190"/>
                <a:gd name="connsiteY6" fmla="*/ 5615 h 68433"/>
                <a:gd name="connsiteX7" fmla="*/ 25896 w 51190"/>
                <a:gd name="connsiteY7" fmla="*/ 6733 h 68433"/>
                <a:gd name="connsiteX8" fmla="*/ 27288 w 51190"/>
                <a:gd name="connsiteY8" fmla="*/ 8400 h 68433"/>
                <a:gd name="connsiteX9" fmla="*/ 32732 w 51190"/>
                <a:gd name="connsiteY9" fmla="*/ 8400 h 68433"/>
                <a:gd name="connsiteX10" fmla="*/ 37324 w 51190"/>
                <a:gd name="connsiteY10" fmla="*/ 11895 h 68433"/>
                <a:gd name="connsiteX11" fmla="*/ 39413 w 51190"/>
                <a:gd name="connsiteY11" fmla="*/ 17325 h 68433"/>
                <a:gd name="connsiteX12" fmla="*/ 38576 w 51190"/>
                <a:gd name="connsiteY12" fmla="*/ 22332 h 68433"/>
                <a:gd name="connsiteX13" fmla="*/ 39596 w 51190"/>
                <a:gd name="connsiteY13" fmla="*/ 23556 h 68433"/>
                <a:gd name="connsiteX14" fmla="*/ 42894 w 51190"/>
                <a:gd name="connsiteY14" fmla="*/ 26665 h 68433"/>
                <a:gd name="connsiteX15" fmla="*/ 44997 w 51190"/>
                <a:gd name="connsiteY15" fmla="*/ 30842 h 68433"/>
                <a:gd name="connsiteX16" fmla="*/ 46531 w 51190"/>
                <a:gd name="connsiteY16" fmla="*/ 36405 h 68433"/>
                <a:gd name="connsiteX17" fmla="*/ 46615 w 51190"/>
                <a:gd name="connsiteY17" fmla="*/ 36426 h 68433"/>
                <a:gd name="connsiteX18" fmla="*/ 50005 w 51190"/>
                <a:gd name="connsiteY18" fmla="*/ 38234 h 68433"/>
                <a:gd name="connsiteX19" fmla="*/ 50378 w 51190"/>
                <a:gd name="connsiteY19" fmla="*/ 40027 h 68433"/>
                <a:gd name="connsiteX20" fmla="*/ 51123 w 51190"/>
                <a:gd name="connsiteY20" fmla="*/ 45049 h 68433"/>
                <a:gd name="connsiteX21" fmla="*/ 51130 w 51190"/>
                <a:gd name="connsiteY21" fmla="*/ 46449 h 68433"/>
                <a:gd name="connsiteX22" fmla="*/ 50005 w 51190"/>
                <a:gd name="connsiteY22" fmla="*/ 48116 h 68433"/>
                <a:gd name="connsiteX23" fmla="*/ 44027 w 51190"/>
                <a:gd name="connsiteY23" fmla="*/ 47138 h 68433"/>
                <a:gd name="connsiteX24" fmla="*/ 37324 w 51190"/>
                <a:gd name="connsiteY24" fmla="*/ 46027 h 68433"/>
                <a:gd name="connsiteX25" fmla="*/ 35798 w 51190"/>
                <a:gd name="connsiteY25" fmla="*/ 48116 h 68433"/>
                <a:gd name="connsiteX26" fmla="*/ 35763 w 51190"/>
                <a:gd name="connsiteY26" fmla="*/ 50584 h 68433"/>
                <a:gd name="connsiteX27" fmla="*/ 35798 w 51190"/>
                <a:gd name="connsiteY27" fmla="*/ 52026 h 68433"/>
                <a:gd name="connsiteX28" fmla="*/ 35826 w 51190"/>
                <a:gd name="connsiteY28" fmla="*/ 52919 h 68433"/>
                <a:gd name="connsiteX29" fmla="*/ 34961 w 51190"/>
                <a:gd name="connsiteY29" fmla="*/ 57737 h 68433"/>
                <a:gd name="connsiteX30" fmla="*/ 33597 w 51190"/>
                <a:gd name="connsiteY30" fmla="*/ 58679 h 68433"/>
                <a:gd name="connsiteX31" fmla="*/ 31065 w 51190"/>
                <a:gd name="connsiteY31" fmla="*/ 60796 h 68433"/>
                <a:gd name="connsiteX32" fmla="*/ 29933 w 51190"/>
                <a:gd name="connsiteY32" fmla="*/ 62364 h 68433"/>
                <a:gd name="connsiteX33" fmla="*/ 27985 w 51190"/>
                <a:gd name="connsiteY33" fmla="*/ 65248 h 68433"/>
                <a:gd name="connsiteX34" fmla="*/ 23251 w 51190"/>
                <a:gd name="connsiteY34" fmla="*/ 68328 h 68433"/>
                <a:gd name="connsiteX35" fmla="*/ 22414 w 51190"/>
                <a:gd name="connsiteY35" fmla="*/ 68434 h 68433"/>
                <a:gd name="connsiteX36" fmla="*/ 22119 w 51190"/>
                <a:gd name="connsiteY36" fmla="*/ 64355 h 68433"/>
                <a:gd name="connsiteX37" fmla="*/ 22140 w 51190"/>
                <a:gd name="connsiteY37" fmla="*/ 63321 h 68433"/>
                <a:gd name="connsiteX38" fmla="*/ 22140 w 51190"/>
                <a:gd name="connsiteY38" fmla="*/ 54431 h 68433"/>
                <a:gd name="connsiteX39" fmla="*/ 24109 w 51190"/>
                <a:gd name="connsiteY39" fmla="*/ 42728 h 68433"/>
                <a:gd name="connsiteX40" fmla="*/ 17885 w 51190"/>
                <a:gd name="connsiteY40" fmla="*/ 30301 h 68433"/>
                <a:gd name="connsiteX41" fmla="*/ 5641 w 51190"/>
                <a:gd name="connsiteY41" fmla="*/ 9553 h 68433"/>
                <a:gd name="connsiteX42" fmla="*/ 0 w 51190"/>
                <a:gd name="connsiteY42" fmla="*/ 5122 h 6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1190" h="68433">
                  <a:moveTo>
                    <a:pt x="0" y="5122"/>
                  </a:moveTo>
                  <a:cubicBezTo>
                    <a:pt x="675" y="3462"/>
                    <a:pt x="1589" y="2007"/>
                    <a:pt x="2644" y="2140"/>
                  </a:cubicBezTo>
                  <a:cubicBezTo>
                    <a:pt x="3123" y="2197"/>
                    <a:pt x="3664" y="2295"/>
                    <a:pt x="4234" y="2401"/>
                  </a:cubicBezTo>
                  <a:cubicBezTo>
                    <a:pt x="6330" y="2780"/>
                    <a:pt x="8812" y="3231"/>
                    <a:pt x="10015" y="2140"/>
                  </a:cubicBezTo>
                  <a:cubicBezTo>
                    <a:pt x="11548" y="748"/>
                    <a:pt x="14347" y="-919"/>
                    <a:pt x="16436" y="607"/>
                  </a:cubicBezTo>
                  <a:cubicBezTo>
                    <a:pt x="18103" y="1831"/>
                    <a:pt x="19819" y="3252"/>
                    <a:pt x="20473" y="3807"/>
                  </a:cubicBezTo>
                  <a:lnTo>
                    <a:pt x="23251" y="5615"/>
                  </a:lnTo>
                  <a:lnTo>
                    <a:pt x="25896" y="6733"/>
                  </a:lnTo>
                  <a:lnTo>
                    <a:pt x="27288" y="8400"/>
                  </a:lnTo>
                  <a:cubicBezTo>
                    <a:pt x="28688" y="7696"/>
                    <a:pt x="31733" y="6712"/>
                    <a:pt x="32732" y="8400"/>
                  </a:cubicBezTo>
                  <a:cubicBezTo>
                    <a:pt x="33991" y="10510"/>
                    <a:pt x="34680" y="11621"/>
                    <a:pt x="37324" y="11895"/>
                  </a:cubicBezTo>
                  <a:cubicBezTo>
                    <a:pt x="39969" y="12177"/>
                    <a:pt x="39969" y="16073"/>
                    <a:pt x="39413" y="17325"/>
                  </a:cubicBezTo>
                  <a:cubicBezTo>
                    <a:pt x="38858" y="18577"/>
                    <a:pt x="37746" y="21777"/>
                    <a:pt x="38576" y="22332"/>
                  </a:cubicBezTo>
                  <a:cubicBezTo>
                    <a:pt x="38864" y="22522"/>
                    <a:pt x="39195" y="22986"/>
                    <a:pt x="39596" y="23556"/>
                  </a:cubicBezTo>
                  <a:cubicBezTo>
                    <a:pt x="40370" y="24646"/>
                    <a:pt x="41411" y="26116"/>
                    <a:pt x="42894" y="26665"/>
                  </a:cubicBezTo>
                  <a:cubicBezTo>
                    <a:pt x="45138" y="27502"/>
                    <a:pt x="45420" y="29168"/>
                    <a:pt x="44997" y="30842"/>
                  </a:cubicBezTo>
                  <a:cubicBezTo>
                    <a:pt x="44583" y="32509"/>
                    <a:pt x="45279" y="36131"/>
                    <a:pt x="46531" y="36405"/>
                  </a:cubicBezTo>
                  <a:cubicBezTo>
                    <a:pt x="46559" y="36412"/>
                    <a:pt x="46587" y="36419"/>
                    <a:pt x="46615" y="36426"/>
                  </a:cubicBezTo>
                  <a:cubicBezTo>
                    <a:pt x="47874" y="36708"/>
                    <a:pt x="49871" y="37144"/>
                    <a:pt x="50005" y="38234"/>
                  </a:cubicBezTo>
                  <a:cubicBezTo>
                    <a:pt x="50054" y="38579"/>
                    <a:pt x="50202" y="39240"/>
                    <a:pt x="50378" y="40027"/>
                  </a:cubicBezTo>
                  <a:cubicBezTo>
                    <a:pt x="50772" y="41793"/>
                    <a:pt x="51313" y="44184"/>
                    <a:pt x="51123" y="45049"/>
                  </a:cubicBezTo>
                  <a:cubicBezTo>
                    <a:pt x="51032" y="45450"/>
                    <a:pt x="51081" y="45956"/>
                    <a:pt x="51130" y="46449"/>
                  </a:cubicBezTo>
                  <a:cubicBezTo>
                    <a:pt x="51243" y="47511"/>
                    <a:pt x="51341" y="48495"/>
                    <a:pt x="50005" y="48116"/>
                  </a:cubicBezTo>
                  <a:cubicBezTo>
                    <a:pt x="48057" y="47560"/>
                    <a:pt x="46411" y="47278"/>
                    <a:pt x="44027" y="47138"/>
                  </a:cubicBezTo>
                  <a:cubicBezTo>
                    <a:pt x="42114" y="47025"/>
                    <a:pt x="38766" y="46350"/>
                    <a:pt x="37324" y="46027"/>
                  </a:cubicBezTo>
                  <a:cubicBezTo>
                    <a:pt x="36860" y="46399"/>
                    <a:pt x="35911" y="47335"/>
                    <a:pt x="35798" y="48116"/>
                  </a:cubicBezTo>
                  <a:cubicBezTo>
                    <a:pt x="35707" y="48755"/>
                    <a:pt x="35735" y="49649"/>
                    <a:pt x="35763" y="50584"/>
                  </a:cubicBezTo>
                  <a:cubicBezTo>
                    <a:pt x="35777" y="51062"/>
                    <a:pt x="35798" y="51555"/>
                    <a:pt x="35798" y="52026"/>
                  </a:cubicBezTo>
                  <a:cubicBezTo>
                    <a:pt x="35798" y="52272"/>
                    <a:pt x="35812" y="52581"/>
                    <a:pt x="35826" y="52919"/>
                  </a:cubicBezTo>
                  <a:cubicBezTo>
                    <a:pt x="35890" y="54523"/>
                    <a:pt x="35995" y="56928"/>
                    <a:pt x="34961" y="57737"/>
                  </a:cubicBezTo>
                  <a:cubicBezTo>
                    <a:pt x="34561" y="58046"/>
                    <a:pt x="34082" y="58363"/>
                    <a:pt x="33597" y="58679"/>
                  </a:cubicBezTo>
                  <a:cubicBezTo>
                    <a:pt x="32584" y="59347"/>
                    <a:pt x="31536" y="60044"/>
                    <a:pt x="31065" y="60796"/>
                  </a:cubicBezTo>
                  <a:cubicBezTo>
                    <a:pt x="30798" y="61225"/>
                    <a:pt x="30383" y="61774"/>
                    <a:pt x="29933" y="62364"/>
                  </a:cubicBezTo>
                  <a:cubicBezTo>
                    <a:pt x="29215" y="63314"/>
                    <a:pt x="28413" y="64383"/>
                    <a:pt x="27985" y="65248"/>
                  </a:cubicBezTo>
                  <a:cubicBezTo>
                    <a:pt x="27288" y="66662"/>
                    <a:pt x="26036" y="67632"/>
                    <a:pt x="23251" y="68328"/>
                  </a:cubicBezTo>
                  <a:cubicBezTo>
                    <a:pt x="23019" y="68385"/>
                    <a:pt x="22738" y="68420"/>
                    <a:pt x="22414" y="68434"/>
                  </a:cubicBezTo>
                  <a:cubicBezTo>
                    <a:pt x="22041" y="67175"/>
                    <a:pt x="22084" y="65663"/>
                    <a:pt x="22119" y="64355"/>
                  </a:cubicBezTo>
                  <a:cubicBezTo>
                    <a:pt x="22133" y="63989"/>
                    <a:pt x="22140" y="63644"/>
                    <a:pt x="22140" y="63321"/>
                  </a:cubicBezTo>
                  <a:lnTo>
                    <a:pt x="22140" y="54431"/>
                  </a:lnTo>
                  <a:cubicBezTo>
                    <a:pt x="22140" y="52715"/>
                    <a:pt x="23455" y="45914"/>
                    <a:pt x="24109" y="42728"/>
                  </a:cubicBezTo>
                  <a:cubicBezTo>
                    <a:pt x="23104" y="39655"/>
                    <a:pt x="20445" y="32861"/>
                    <a:pt x="17885" y="30301"/>
                  </a:cubicBezTo>
                  <a:cubicBezTo>
                    <a:pt x="14685" y="27101"/>
                    <a:pt x="6541" y="11501"/>
                    <a:pt x="5641" y="9553"/>
                  </a:cubicBezTo>
                  <a:cubicBezTo>
                    <a:pt x="4754" y="7612"/>
                    <a:pt x="2124" y="5319"/>
                    <a:pt x="0" y="512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4" name="Freihandform: Form 269">
              <a:extLst>
                <a:ext uri="{FF2B5EF4-FFF2-40B4-BE49-F238E27FC236}">
                  <a16:creationId xmlns:a16="http://schemas.microsoft.com/office/drawing/2014/main" id="{3E55D54E-A1FA-DB42-9279-994A60160C5C}"/>
                </a:ext>
              </a:extLst>
            </p:cNvPr>
            <p:cNvSpPr/>
            <p:nvPr/>
          </p:nvSpPr>
          <p:spPr>
            <a:xfrm>
              <a:off x="6560844" y="3785903"/>
              <a:ext cx="51622" cy="42415"/>
            </a:xfrm>
            <a:custGeom>
              <a:avLst/>
              <a:gdLst>
                <a:gd name="connsiteX0" fmla="*/ 35060 w 51622"/>
                <a:gd name="connsiteY0" fmla="*/ 12540 h 42415"/>
                <a:gd name="connsiteX1" fmla="*/ 30411 w 51622"/>
                <a:gd name="connsiteY1" fmla="*/ 9044 h 42415"/>
                <a:gd name="connsiteX2" fmla="*/ 13496 w 51622"/>
                <a:gd name="connsiteY2" fmla="*/ 0 h 42415"/>
                <a:gd name="connsiteX3" fmla="*/ 0 w 51622"/>
                <a:gd name="connsiteY3" fmla="*/ 5444 h 42415"/>
                <a:gd name="connsiteX4" fmla="*/ 3052 w 51622"/>
                <a:gd name="connsiteY4" fmla="*/ 25614 h 42415"/>
                <a:gd name="connsiteX5" fmla="*/ 4628 w 51622"/>
                <a:gd name="connsiteY5" fmla="*/ 17252 h 42415"/>
                <a:gd name="connsiteX6" fmla="*/ 9038 w 51622"/>
                <a:gd name="connsiteY6" fmla="*/ 15388 h 42415"/>
                <a:gd name="connsiteX7" fmla="*/ 11766 w 51622"/>
                <a:gd name="connsiteY7" fmla="*/ 19024 h 42415"/>
                <a:gd name="connsiteX8" fmla="*/ 12899 w 51622"/>
                <a:gd name="connsiteY8" fmla="*/ 22442 h 42415"/>
                <a:gd name="connsiteX9" fmla="*/ 11766 w 51622"/>
                <a:gd name="connsiteY9" fmla="*/ 24904 h 42415"/>
                <a:gd name="connsiteX10" fmla="*/ 11450 w 51622"/>
                <a:gd name="connsiteY10" fmla="*/ 25720 h 42415"/>
                <a:gd name="connsiteX11" fmla="*/ 9818 w 51622"/>
                <a:gd name="connsiteY11" fmla="*/ 27668 h 42415"/>
                <a:gd name="connsiteX12" fmla="*/ 8826 w 51622"/>
                <a:gd name="connsiteY12" fmla="*/ 31086 h 42415"/>
                <a:gd name="connsiteX13" fmla="*/ 8826 w 51622"/>
                <a:gd name="connsiteY13" fmla="*/ 33871 h 42415"/>
                <a:gd name="connsiteX14" fmla="*/ 7195 w 51622"/>
                <a:gd name="connsiteY14" fmla="*/ 35995 h 42415"/>
                <a:gd name="connsiteX15" fmla="*/ 4255 w 51622"/>
                <a:gd name="connsiteY15" fmla="*/ 35995 h 42415"/>
                <a:gd name="connsiteX16" fmla="*/ 4234 w 51622"/>
                <a:gd name="connsiteY16" fmla="*/ 35995 h 42415"/>
                <a:gd name="connsiteX17" fmla="*/ 4114 w 51622"/>
                <a:gd name="connsiteY17" fmla="*/ 37507 h 42415"/>
                <a:gd name="connsiteX18" fmla="*/ 5345 w 51622"/>
                <a:gd name="connsiteY18" fmla="*/ 40925 h 42415"/>
                <a:gd name="connsiteX19" fmla="*/ 12702 w 51622"/>
                <a:gd name="connsiteY19" fmla="*/ 39716 h 42415"/>
                <a:gd name="connsiteX20" fmla="*/ 16556 w 51622"/>
                <a:gd name="connsiteY20" fmla="*/ 40306 h 42415"/>
                <a:gd name="connsiteX21" fmla="*/ 12702 w 51622"/>
                <a:gd name="connsiteY21" fmla="*/ 42339 h 42415"/>
                <a:gd name="connsiteX22" fmla="*/ 16556 w 51622"/>
                <a:gd name="connsiteY22" fmla="*/ 42339 h 42415"/>
                <a:gd name="connsiteX23" fmla="*/ 23575 w 51622"/>
                <a:gd name="connsiteY23" fmla="*/ 38126 h 42415"/>
                <a:gd name="connsiteX24" fmla="*/ 28744 w 51622"/>
                <a:gd name="connsiteY24" fmla="*/ 32619 h 42415"/>
                <a:gd name="connsiteX25" fmla="*/ 33632 w 51622"/>
                <a:gd name="connsiteY25" fmla="*/ 31832 h 42415"/>
                <a:gd name="connsiteX26" fmla="*/ 35060 w 51622"/>
                <a:gd name="connsiteY26" fmla="*/ 31726 h 42415"/>
                <a:gd name="connsiteX27" fmla="*/ 35397 w 51622"/>
                <a:gd name="connsiteY27" fmla="*/ 31635 h 42415"/>
                <a:gd name="connsiteX28" fmla="*/ 35397 w 51622"/>
                <a:gd name="connsiteY28" fmla="*/ 31635 h 42415"/>
                <a:gd name="connsiteX29" fmla="*/ 38738 w 51622"/>
                <a:gd name="connsiteY29" fmla="*/ 30945 h 42415"/>
                <a:gd name="connsiteX30" fmla="*/ 44343 w 51622"/>
                <a:gd name="connsiteY30" fmla="*/ 32619 h 42415"/>
                <a:gd name="connsiteX31" fmla="*/ 49688 w 51622"/>
                <a:gd name="connsiteY31" fmla="*/ 32619 h 42415"/>
                <a:gd name="connsiteX32" fmla="*/ 51623 w 51622"/>
                <a:gd name="connsiteY32" fmla="*/ 27267 h 42415"/>
                <a:gd name="connsiteX33" fmla="*/ 39258 w 51622"/>
                <a:gd name="connsiteY33" fmla="*/ 22442 h 42415"/>
                <a:gd name="connsiteX34" fmla="*/ 35060 w 51622"/>
                <a:gd name="connsiteY34" fmla="*/ 12540 h 42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1622" h="42415">
                  <a:moveTo>
                    <a:pt x="35060" y="12540"/>
                  </a:moveTo>
                  <a:lnTo>
                    <a:pt x="30411" y="9044"/>
                  </a:lnTo>
                  <a:lnTo>
                    <a:pt x="13496" y="0"/>
                  </a:lnTo>
                  <a:lnTo>
                    <a:pt x="0" y="5444"/>
                  </a:lnTo>
                  <a:lnTo>
                    <a:pt x="3052" y="25614"/>
                  </a:lnTo>
                  <a:cubicBezTo>
                    <a:pt x="6956" y="24482"/>
                    <a:pt x="5851" y="19770"/>
                    <a:pt x="4628" y="17252"/>
                  </a:cubicBezTo>
                  <a:cubicBezTo>
                    <a:pt x="5781" y="16858"/>
                    <a:pt x="7518" y="16169"/>
                    <a:pt x="9038" y="15388"/>
                  </a:cubicBezTo>
                  <a:lnTo>
                    <a:pt x="11766" y="19024"/>
                  </a:lnTo>
                  <a:lnTo>
                    <a:pt x="12899" y="22442"/>
                  </a:lnTo>
                  <a:lnTo>
                    <a:pt x="11766" y="24904"/>
                  </a:lnTo>
                  <a:lnTo>
                    <a:pt x="11450" y="25720"/>
                  </a:lnTo>
                  <a:lnTo>
                    <a:pt x="9818" y="27668"/>
                  </a:lnTo>
                  <a:lnTo>
                    <a:pt x="8826" y="31086"/>
                  </a:lnTo>
                  <a:lnTo>
                    <a:pt x="8826" y="33871"/>
                  </a:lnTo>
                  <a:lnTo>
                    <a:pt x="7195" y="35995"/>
                  </a:lnTo>
                  <a:lnTo>
                    <a:pt x="4255" y="35995"/>
                  </a:lnTo>
                  <a:lnTo>
                    <a:pt x="4234" y="35995"/>
                  </a:lnTo>
                  <a:cubicBezTo>
                    <a:pt x="4234" y="36691"/>
                    <a:pt x="4199" y="37268"/>
                    <a:pt x="4114" y="37507"/>
                  </a:cubicBezTo>
                  <a:cubicBezTo>
                    <a:pt x="3889" y="38126"/>
                    <a:pt x="4846" y="40046"/>
                    <a:pt x="5345" y="40925"/>
                  </a:cubicBezTo>
                  <a:lnTo>
                    <a:pt x="12702" y="39716"/>
                  </a:lnTo>
                  <a:lnTo>
                    <a:pt x="16556" y="40306"/>
                  </a:lnTo>
                  <a:lnTo>
                    <a:pt x="12702" y="42339"/>
                  </a:lnTo>
                  <a:cubicBezTo>
                    <a:pt x="13729" y="42395"/>
                    <a:pt x="15937" y="42480"/>
                    <a:pt x="16556" y="42339"/>
                  </a:cubicBezTo>
                  <a:cubicBezTo>
                    <a:pt x="17330" y="42156"/>
                    <a:pt x="22878" y="39097"/>
                    <a:pt x="23575" y="38126"/>
                  </a:cubicBezTo>
                  <a:cubicBezTo>
                    <a:pt x="24271" y="37148"/>
                    <a:pt x="27506" y="33491"/>
                    <a:pt x="28744" y="32619"/>
                  </a:cubicBezTo>
                  <a:cubicBezTo>
                    <a:pt x="29609" y="32000"/>
                    <a:pt x="32021" y="31902"/>
                    <a:pt x="33632" y="31832"/>
                  </a:cubicBezTo>
                  <a:cubicBezTo>
                    <a:pt x="34314" y="31796"/>
                    <a:pt x="34849" y="31775"/>
                    <a:pt x="35060" y="31726"/>
                  </a:cubicBezTo>
                  <a:cubicBezTo>
                    <a:pt x="35158" y="31698"/>
                    <a:pt x="35271" y="31670"/>
                    <a:pt x="35397" y="31635"/>
                  </a:cubicBezTo>
                  <a:lnTo>
                    <a:pt x="35397" y="31635"/>
                  </a:lnTo>
                  <a:cubicBezTo>
                    <a:pt x="36262" y="31417"/>
                    <a:pt x="37824" y="31016"/>
                    <a:pt x="38738" y="30945"/>
                  </a:cubicBezTo>
                  <a:cubicBezTo>
                    <a:pt x="39793" y="30868"/>
                    <a:pt x="43471" y="31825"/>
                    <a:pt x="44343" y="32619"/>
                  </a:cubicBezTo>
                  <a:cubicBezTo>
                    <a:pt x="45047" y="33252"/>
                    <a:pt x="48197" y="32880"/>
                    <a:pt x="49688" y="32619"/>
                  </a:cubicBezTo>
                  <a:lnTo>
                    <a:pt x="51623" y="27267"/>
                  </a:lnTo>
                  <a:cubicBezTo>
                    <a:pt x="49344" y="26712"/>
                    <a:pt x="43675" y="24967"/>
                    <a:pt x="39258" y="22442"/>
                  </a:cubicBezTo>
                  <a:cubicBezTo>
                    <a:pt x="34835" y="19911"/>
                    <a:pt x="34617" y="14791"/>
                    <a:pt x="35060" y="1254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5" name="Freihandform: Form 270">
              <a:extLst>
                <a:ext uri="{FF2B5EF4-FFF2-40B4-BE49-F238E27FC236}">
                  <a16:creationId xmlns:a16="http://schemas.microsoft.com/office/drawing/2014/main" id="{E494DF7B-1E9A-6E40-BB32-5138594B780D}"/>
                </a:ext>
              </a:extLst>
            </p:cNvPr>
            <p:cNvSpPr/>
            <p:nvPr/>
          </p:nvSpPr>
          <p:spPr>
            <a:xfrm>
              <a:off x="6513167" y="3453661"/>
              <a:ext cx="155296" cy="132497"/>
            </a:xfrm>
            <a:custGeom>
              <a:avLst/>
              <a:gdLst>
                <a:gd name="connsiteX0" fmla="*/ 0 w 155296"/>
                <a:gd name="connsiteY0" fmla="*/ 50877 h 132497"/>
                <a:gd name="connsiteX1" fmla="*/ 1287 w 155296"/>
                <a:gd name="connsiteY1" fmla="*/ 49583 h 132497"/>
                <a:gd name="connsiteX2" fmla="*/ 3256 w 155296"/>
                <a:gd name="connsiteY2" fmla="*/ 50708 h 132497"/>
                <a:gd name="connsiteX3" fmla="*/ 0 w 155296"/>
                <a:gd name="connsiteY3" fmla="*/ 50877 h 132497"/>
                <a:gd name="connsiteX4" fmla="*/ 13447 w 155296"/>
                <a:gd name="connsiteY4" fmla="*/ 120821 h 132497"/>
                <a:gd name="connsiteX5" fmla="*/ 23371 w 155296"/>
                <a:gd name="connsiteY5" fmla="*/ 119899 h 132497"/>
                <a:gd name="connsiteX6" fmla="*/ 24644 w 155296"/>
                <a:gd name="connsiteY6" fmla="*/ 115666 h 132497"/>
                <a:gd name="connsiteX7" fmla="*/ 31002 w 155296"/>
                <a:gd name="connsiteY7" fmla="*/ 115666 h 132497"/>
                <a:gd name="connsiteX8" fmla="*/ 36291 w 155296"/>
                <a:gd name="connsiteY8" fmla="*/ 115666 h 132497"/>
                <a:gd name="connsiteX9" fmla="*/ 45173 w 155296"/>
                <a:gd name="connsiteY9" fmla="*/ 115666 h 132497"/>
                <a:gd name="connsiteX10" fmla="*/ 51313 w 155296"/>
                <a:gd name="connsiteY10" fmla="*/ 115666 h 132497"/>
                <a:gd name="connsiteX11" fmla="*/ 55428 w 155296"/>
                <a:gd name="connsiteY11" fmla="*/ 116946 h 132497"/>
                <a:gd name="connsiteX12" fmla="*/ 55428 w 155296"/>
                <a:gd name="connsiteY12" fmla="*/ 116946 h 132497"/>
                <a:gd name="connsiteX13" fmla="*/ 58508 w 155296"/>
                <a:gd name="connsiteY13" fmla="*/ 117994 h 132497"/>
                <a:gd name="connsiteX14" fmla="*/ 61581 w 155296"/>
                <a:gd name="connsiteY14" fmla="*/ 118943 h 132497"/>
                <a:gd name="connsiteX15" fmla="*/ 64655 w 155296"/>
                <a:gd name="connsiteY15" fmla="*/ 119899 h 132497"/>
                <a:gd name="connsiteX16" fmla="*/ 64718 w 155296"/>
                <a:gd name="connsiteY16" fmla="*/ 119907 h 132497"/>
                <a:gd name="connsiteX17" fmla="*/ 68249 w 155296"/>
                <a:gd name="connsiteY17" fmla="*/ 122009 h 132497"/>
                <a:gd name="connsiteX18" fmla="*/ 70499 w 155296"/>
                <a:gd name="connsiteY18" fmla="*/ 122424 h 132497"/>
                <a:gd name="connsiteX19" fmla="*/ 72286 w 155296"/>
                <a:gd name="connsiteY19" fmla="*/ 122009 h 132497"/>
                <a:gd name="connsiteX20" fmla="*/ 74761 w 155296"/>
                <a:gd name="connsiteY20" fmla="*/ 123254 h 132497"/>
                <a:gd name="connsiteX21" fmla="*/ 76301 w 155296"/>
                <a:gd name="connsiteY21" fmla="*/ 124133 h 132497"/>
                <a:gd name="connsiteX22" fmla="*/ 80114 w 155296"/>
                <a:gd name="connsiteY22" fmla="*/ 124133 h 132497"/>
                <a:gd name="connsiteX23" fmla="*/ 83932 w 155296"/>
                <a:gd name="connsiteY23" fmla="*/ 122009 h 132497"/>
                <a:gd name="connsiteX24" fmla="*/ 86260 w 155296"/>
                <a:gd name="connsiteY24" fmla="*/ 124133 h 132497"/>
                <a:gd name="connsiteX25" fmla="*/ 88616 w 155296"/>
                <a:gd name="connsiteY25" fmla="*/ 124626 h 132497"/>
                <a:gd name="connsiteX26" fmla="*/ 90276 w 155296"/>
                <a:gd name="connsiteY26" fmla="*/ 124133 h 132497"/>
                <a:gd name="connsiteX27" fmla="*/ 92618 w 155296"/>
                <a:gd name="connsiteY27" fmla="*/ 127094 h 132497"/>
                <a:gd name="connsiteX28" fmla="*/ 96001 w 155296"/>
                <a:gd name="connsiteY28" fmla="*/ 124133 h 132497"/>
                <a:gd name="connsiteX29" fmla="*/ 101086 w 155296"/>
                <a:gd name="connsiteY29" fmla="*/ 124133 h 132497"/>
                <a:gd name="connsiteX30" fmla="*/ 104047 w 155296"/>
                <a:gd name="connsiteY30" fmla="*/ 129000 h 132497"/>
                <a:gd name="connsiteX31" fmla="*/ 108703 w 155296"/>
                <a:gd name="connsiteY31" fmla="*/ 127094 h 132497"/>
                <a:gd name="connsiteX32" fmla="*/ 115694 w 155296"/>
                <a:gd name="connsiteY32" fmla="*/ 127094 h 132497"/>
                <a:gd name="connsiteX33" fmla="*/ 119787 w 155296"/>
                <a:gd name="connsiteY33" fmla="*/ 130822 h 132497"/>
                <a:gd name="connsiteX34" fmla="*/ 119787 w 155296"/>
                <a:gd name="connsiteY34" fmla="*/ 130822 h 132497"/>
                <a:gd name="connsiteX35" fmla="*/ 120350 w 155296"/>
                <a:gd name="connsiteY35" fmla="*/ 131743 h 132497"/>
                <a:gd name="connsiteX36" fmla="*/ 122889 w 155296"/>
                <a:gd name="connsiteY36" fmla="*/ 129000 h 132497"/>
                <a:gd name="connsiteX37" fmla="*/ 122889 w 155296"/>
                <a:gd name="connsiteY37" fmla="*/ 122009 h 132497"/>
                <a:gd name="connsiteX38" fmla="*/ 127545 w 155296"/>
                <a:gd name="connsiteY38" fmla="*/ 112705 h 132497"/>
                <a:gd name="connsiteX39" fmla="*/ 133804 w 155296"/>
                <a:gd name="connsiteY39" fmla="*/ 110574 h 132497"/>
                <a:gd name="connsiteX40" fmla="*/ 135808 w 155296"/>
                <a:gd name="connsiteY40" fmla="*/ 109941 h 132497"/>
                <a:gd name="connsiteX41" fmla="*/ 141519 w 155296"/>
                <a:gd name="connsiteY41" fmla="*/ 109941 h 132497"/>
                <a:gd name="connsiteX42" fmla="*/ 138551 w 155296"/>
                <a:gd name="connsiteY42" fmla="*/ 102113 h 132497"/>
                <a:gd name="connsiteX43" fmla="*/ 137693 w 155296"/>
                <a:gd name="connsiteY43" fmla="*/ 99771 h 132497"/>
                <a:gd name="connsiteX44" fmla="*/ 137081 w 155296"/>
                <a:gd name="connsiteY44" fmla="*/ 98097 h 132497"/>
                <a:gd name="connsiteX45" fmla="*/ 137081 w 155296"/>
                <a:gd name="connsiteY45" fmla="*/ 92590 h 132497"/>
                <a:gd name="connsiteX46" fmla="*/ 136096 w 155296"/>
                <a:gd name="connsiteY46" fmla="*/ 90755 h 132497"/>
                <a:gd name="connsiteX47" fmla="*/ 136096 w 155296"/>
                <a:gd name="connsiteY47" fmla="*/ 90755 h 132497"/>
                <a:gd name="connsiteX48" fmla="*/ 134317 w 155296"/>
                <a:gd name="connsiteY48" fmla="*/ 88335 h 132497"/>
                <a:gd name="connsiteX49" fmla="*/ 137081 w 155296"/>
                <a:gd name="connsiteY49" fmla="*/ 84101 h 132497"/>
                <a:gd name="connsiteX50" fmla="*/ 141519 w 155296"/>
                <a:gd name="connsiteY50" fmla="*/ 84101 h 132497"/>
                <a:gd name="connsiteX51" fmla="*/ 147237 w 155296"/>
                <a:gd name="connsiteY51" fmla="*/ 85592 h 132497"/>
                <a:gd name="connsiteX52" fmla="*/ 151253 w 155296"/>
                <a:gd name="connsiteY52" fmla="*/ 79867 h 132497"/>
                <a:gd name="connsiteX53" fmla="*/ 153286 w 155296"/>
                <a:gd name="connsiteY53" fmla="*/ 77898 h 132497"/>
                <a:gd name="connsiteX54" fmla="*/ 155290 w 155296"/>
                <a:gd name="connsiteY54" fmla="*/ 75852 h 132497"/>
                <a:gd name="connsiteX55" fmla="*/ 152744 w 155296"/>
                <a:gd name="connsiteY55" fmla="*/ 73728 h 132497"/>
                <a:gd name="connsiteX56" fmla="*/ 151253 w 155296"/>
                <a:gd name="connsiteY56" fmla="*/ 69712 h 132497"/>
                <a:gd name="connsiteX57" fmla="*/ 147237 w 155296"/>
                <a:gd name="connsiteY57" fmla="*/ 66969 h 132497"/>
                <a:gd name="connsiteX58" fmla="*/ 141519 w 155296"/>
                <a:gd name="connsiteY58" fmla="*/ 66969 h 132497"/>
                <a:gd name="connsiteX59" fmla="*/ 141519 w 155296"/>
                <a:gd name="connsiteY59" fmla="*/ 58698 h 132497"/>
                <a:gd name="connsiteX60" fmla="*/ 139022 w 155296"/>
                <a:gd name="connsiteY60" fmla="*/ 57277 h 132497"/>
                <a:gd name="connsiteX61" fmla="*/ 134317 w 155296"/>
                <a:gd name="connsiteY61" fmla="*/ 53613 h 132497"/>
                <a:gd name="connsiteX62" fmla="*/ 133593 w 155296"/>
                <a:gd name="connsiteY62" fmla="*/ 51665 h 132497"/>
                <a:gd name="connsiteX63" fmla="*/ 131138 w 155296"/>
                <a:gd name="connsiteY63" fmla="*/ 47909 h 132497"/>
                <a:gd name="connsiteX64" fmla="*/ 129253 w 155296"/>
                <a:gd name="connsiteY64" fmla="*/ 46812 h 132497"/>
                <a:gd name="connsiteX65" fmla="*/ 126271 w 155296"/>
                <a:gd name="connsiteY65" fmla="*/ 44505 h 132497"/>
                <a:gd name="connsiteX66" fmla="*/ 124759 w 155296"/>
                <a:gd name="connsiteY66" fmla="*/ 42402 h 132497"/>
                <a:gd name="connsiteX67" fmla="*/ 124759 w 155296"/>
                <a:gd name="connsiteY67" fmla="*/ 42402 h 132497"/>
                <a:gd name="connsiteX68" fmla="*/ 122889 w 155296"/>
                <a:gd name="connsiteY68" fmla="*/ 39638 h 132497"/>
                <a:gd name="connsiteX69" fmla="*/ 121109 w 155296"/>
                <a:gd name="connsiteY69" fmla="*/ 38710 h 132497"/>
                <a:gd name="connsiteX70" fmla="*/ 117389 w 155296"/>
                <a:gd name="connsiteY70" fmla="*/ 36255 h 132497"/>
                <a:gd name="connsiteX71" fmla="*/ 117037 w 155296"/>
                <a:gd name="connsiteY71" fmla="*/ 33330 h 132497"/>
                <a:gd name="connsiteX72" fmla="*/ 117389 w 155296"/>
                <a:gd name="connsiteY72" fmla="*/ 32662 h 132497"/>
                <a:gd name="connsiteX73" fmla="*/ 118676 w 155296"/>
                <a:gd name="connsiteY73" fmla="*/ 29975 h 132497"/>
                <a:gd name="connsiteX74" fmla="*/ 120350 w 155296"/>
                <a:gd name="connsiteY74" fmla="*/ 26304 h 132497"/>
                <a:gd name="connsiteX75" fmla="*/ 119006 w 155296"/>
                <a:gd name="connsiteY75" fmla="*/ 24553 h 132497"/>
                <a:gd name="connsiteX76" fmla="*/ 117389 w 155296"/>
                <a:gd name="connsiteY76" fmla="*/ 22288 h 132497"/>
                <a:gd name="connsiteX77" fmla="*/ 119147 w 155296"/>
                <a:gd name="connsiteY77" fmla="*/ 18666 h 132497"/>
                <a:gd name="connsiteX78" fmla="*/ 120350 w 155296"/>
                <a:gd name="connsiteY78" fmla="*/ 16563 h 132497"/>
                <a:gd name="connsiteX79" fmla="*/ 118556 w 155296"/>
                <a:gd name="connsiteY79" fmla="*/ 15030 h 132497"/>
                <a:gd name="connsiteX80" fmla="*/ 115694 w 155296"/>
                <a:gd name="connsiteY80" fmla="*/ 13602 h 132497"/>
                <a:gd name="connsiteX81" fmla="*/ 113429 w 155296"/>
                <a:gd name="connsiteY81" fmla="*/ 11506 h 132497"/>
                <a:gd name="connsiteX82" fmla="*/ 112100 w 155296"/>
                <a:gd name="connsiteY82" fmla="*/ 10634 h 132497"/>
                <a:gd name="connsiteX83" fmla="*/ 109364 w 155296"/>
                <a:gd name="connsiteY83" fmla="*/ 9256 h 132497"/>
                <a:gd name="connsiteX84" fmla="*/ 106157 w 155296"/>
                <a:gd name="connsiteY84" fmla="*/ 7673 h 132497"/>
                <a:gd name="connsiteX85" fmla="*/ 101353 w 155296"/>
                <a:gd name="connsiteY85" fmla="*/ 9087 h 132497"/>
                <a:gd name="connsiteX86" fmla="*/ 96001 w 155296"/>
                <a:gd name="connsiteY86" fmla="*/ 10634 h 132497"/>
                <a:gd name="connsiteX87" fmla="*/ 94862 w 155296"/>
                <a:gd name="connsiteY87" fmla="*/ 7153 h 132497"/>
                <a:gd name="connsiteX88" fmla="*/ 94088 w 155296"/>
                <a:gd name="connsiteY88" fmla="*/ 3439 h 132497"/>
                <a:gd name="connsiteX89" fmla="*/ 86732 w 155296"/>
                <a:gd name="connsiteY89" fmla="*/ 4227 h 132497"/>
                <a:gd name="connsiteX90" fmla="*/ 83932 w 155296"/>
                <a:gd name="connsiteY90" fmla="*/ 4916 h 132497"/>
                <a:gd name="connsiteX91" fmla="*/ 83932 w 155296"/>
                <a:gd name="connsiteY91" fmla="*/ 1315 h 132497"/>
                <a:gd name="connsiteX92" fmla="*/ 78847 w 155296"/>
                <a:gd name="connsiteY92" fmla="*/ 1315 h 132497"/>
                <a:gd name="connsiteX93" fmla="*/ 76323 w 155296"/>
                <a:gd name="connsiteY93" fmla="*/ 0 h 132497"/>
                <a:gd name="connsiteX94" fmla="*/ 73495 w 155296"/>
                <a:gd name="connsiteY94" fmla="*/ 1653 h 132497"/>
                <a:gd name="connsiteX95" fmla="*/ 69684 w 155296"/>
                <a:gd name="connsiteY95" fmla="*/ 6681 h 132497"/>
                <a:gd name="connsiteX96" fmla="*/ 65168 w 155296"/>
                <a:gd name="connsiteY96" fmla="*/ 8770 h 132497"/>
                <a:gd name="connsiteX97" fmla="*/ 63129 w 155296"/>
                <a:gd name="connsiteY97" fmla="*/ 8348 h 132497"/>
                <a:gd name="connsiteX98" fmla="*/ 59464 w 155296"/>
                <a:gd name="connsiteY98" fmla="*/ 8770 h 132497"/>
                <a:gd name="connsiteX99" fmla="*/ 54773 w 155296"/>
                <a:gd name="connsiteY99" fmla="*/ 11710 h 132497"/>
                <a:gd name="connsiteX100" fmla="*/ 50638 w 155296"/>
                <a:gd name="connsiteY100" fmla="*/ 12807 h 132497"/>
                <a:gd name="connsiteX101" fmla="*/ 50877 w 155296"/>
                <a:gd name="connsiteY101" fmla="*/ 12906 h 132497"/>
                <a:gd name="connsiteX102" fmla="*/ 50877 w 155296"/>
                <a:gd name="connsiteY102" fmla="*/ 21170 h 132497"/>
                <a:gd name="connsiteX103" fmla="*/ 55034 w 155296"/>
                <a:gd name="connsiteY103" fmla="*/ 22879 h 132497"/>
                <a:gd name="connsiteX104" fmla="*/ 50877 w 155296"/>
                <a:gd name="connsiteY104" fmla="*/ 27513 h 132497"/>
                <a:gd name="connsiteX105" fmla="*/ 47621 w 155296"/>
                <a:gd name="connsiteY105" fmla="*/ 28941 h 132497"/>
                <a:gd name="connsiteX106" fmla="*/ 47621 w 155296"/>
                <a:gd name="connsiteY106" fmla="*/ 28941 h 132497"/>
                <a:gd name="connsiteX107" fmla="*/ 46503 w 155296"/>
                <a:gd name="connsiteY107" fmla="*/ 30193 h 132497"/>
                <a:gd name="connsiteX108" fmla="*/ 43359 w 155296"/>
                <a:gd name="connsiteY108" fmla="*/ 31494 h 132497"/>
                <a:gd name="connsiteX109" fmla="*/ 39688 w 155296"/>
                <a:gd name="connsiteY109" fmla="*/ 33850 h 132497"/>
                <a:gd name="connsiteX110" fmla="*/ 43584 w 155296"/>
                <a:gd name="connsiteY110" fmla="*/ 47487 h 132497"/>
                <a:gd name="connsiteX111" fmla="*/ 42353 w 155296"/>
                <a:gd name="connsiteY111" fmla="*/ 53093 h 132497"/>
                <a:gd name="connsiteX112" fmla="*/ 39533 w 155296"/>
                <a:gd name="connsiteY112" fmla="*/ 54056 h 132497"/>
                <a:gd name="connsiteX113" fmla="*/ 34800 w 155296"/>
                <a:gd name="connsiteY113" fmla="*/ 56271 h 132497"/>
                <a:gd name="connsiteX114" fmla="*/ 32134 w 155296"/>
                <a:gd name="connsiteY114" fmla="*/ 61385 h 132497"/>
                <a:gd name="connsiteX115" fmla="*/ 25298 w 155296"/>
                <a:gd name="connsiteY115" fmla="*/ 64303 h 132497"/>
                <a:gd name="connsiteX116" fmla="*/ 19953 w 155296"/>
                <a:gd name="connsiteY116" fmla="*/ 62594 h 132497"/>
                <a:gd name="connsiteX117" fmla="*/ 12097 w 155296"/>
                <a:gd name="connsiteY117" fmla="*/ 63945 h 132497"/>
                <a:gd name="connsiteX118" fmla="*/ 12097 w 155296"/>
                <a:gd name="connsiteY118" fmla="*/ 64085 h 132497"/>
                <a:gd name="connsiteX119" fmla="*/ 15993 w 155296"/>
                <a:gd name="connsiteY119" fmla="*/ 80008 h 132497"/>
                <a:gd name="connsiteX120" fmla="*/ 18356 w 155296"/>
                <a:gd name="connsiteY120" fmla="*/ 94911 h 132497"/>
                <a:gd name="connsiteX121" fmla="*/ 10908 w 155296"/>
                <a:gd name="connsiteY121" fmla="*/ 99328 h 132497"/>
                <a:gd name="connsiteX122" fmla="*/ 8025 w 155296"/>
                <a:gd name="connsiteY122" fmla="*/ 107120 h 132497"/>
                <a:gd name="connsiteX123" fmla="*/ 14643 w 155296"/>
                <a:gd name="connsiteY123" fmla="*/ 112705 h 132497"/>
                <a:gd name="connsiteX124" fmla="*/ 13447 w 155296"/>
                <a:gd name="connsiteY124" fmla="*/ 118985 h 132497"/>
                <a:gd name="connsiteX125" fmla="*/ 13447 w 155296"/>
                <a:gd name="connsiteY125" fmla="*/ 120821 h 132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55296" h="132497">
                  <a:moveTo>
                    <a:pt x="0" y="50877"/>
                  </a:moveTo>
                  <a:lnTo>
                    <a:pt x="1287" y="49583"/>
                  </a:lnTo>
                  <a:cubicBezTo>
                    <a:pt x="2152" y="50153"/>
                    <a:pt x="2919" y="50617"/>
                    <a:pt x="3256" y="50708"/>
                  </a:cubicBezTo>
                  <a:cubicBezTo>
                    <a:pt x="3418" y="50758"/>
                    <a:pt x="2180" y="50821"/>
                    <a:pt x="0" y="50877"/>
                  </a:cubicBezTo>
                  <a:close/>
                  <a:moveTo>
                    <a:pt x="13447" y="120821"/>
                  </a:moveTo>
                  <a:cubicBezTo>
                    <a:pt x="17386" y="120877"/>
                    <a:pt x="21134" y="120666"/>
                    <a:pt x="23371" y="119899"/>
                  </a:cubicBezTo>
                  <a:cubicBezTo>
                    <a:pt x="26071" y="118212"/>
                    <a:pt x="25340" y="116376"/>
                    <a:pt x="24644" y="115666"/>
                  </a:cubicBezTo>
                  <a:lnTo>
                    <a:pt x="31002" y="115666"/>
                  </a:lnTo>
                  <a:lnTo>
                    <a:pt x="36291" y="115666"/>
                  </a:lnTo>
                  <a:lnTo>
                    <a:pt x="45173" y="115666"/>
                  </a:lnTo>
                  <a:lnTo>
                    <a:pt x="51313" y="115666"/>
                  </a:lnTo>
                  <a:cubicBezTo>
                    <a:pt x="52136" y="115666"/>
                    <a:pt x="53831" y="116327"/>
                    <a:pt x="55428" y="116946"/>
                  </a:cubicBezTo>
                  <a:lnTo>
                    <a:pt x="55428" y="116946"/>
                  </a:lnTo>
                  <a:cubicBezTo>
                    <a:pt x="56679" y="117431"/>
                    <a:pt x="57861" y="117895"/>
                    <a:pt x="58508" y="117994"/>
                  </a:cubicBezTo>
                  <a:cubicBezTo>
                    <a:pt x="59246" y="118099"/>
                    <a:pt x="60414" y="118521"/>
                    <a:pt x="61581" y="118943"/>
                  </a:cubicBezTo>
                  <a:cubicBezTo>
                    <a:pt x="62749" y="119365"/>
                    <a:pt x="63916" y="119787"/>
                    <a:pt x="64655" y="119899"/>
                  </a:cubicBezTo>
                  <a:lnTo>
                    <a:pt x="64718" y="119907"/>
                  </a:lnTo>
                  <a:cubicBezTo>
                    <a:pt x="66174" y="120125"/>
                    <a:pt x="67644" y="120343"/>
                    <a:pt x="68249" y="122009"/>
                  </a:cubicBezTo>
                  <a:cubicBezTo>
                    <a:pt x="68643" y="123085"/>
                    <a:pt x="69494" y="122783"/>
                    <a:pt x="70499" y="122424"/>
                  </a:cubicBezTo>
                  <a:cubicBezTo>
                    <a:pt x="71062" y="122227"/>
                    <a:pt x="71681" y="122009"/>
                    <a:pt x="72286" y="122009"/>
                  </a:cubicBezTo>
                  <a:cubicBezTo>
                    <a:pt x="73228" y="122009"/>
                    <a:pt x="74044" y="122671"/>
                    <a:pt x="74761" y="123254"/>
                  </a:cubicBezTo>
                  <a:cubicBezTo>
                    <a:pt x="75331" y="123719"/>
                    <a:pt x="75837" y="124133"/>
                    <a:pt x="76301" y="124133"/>
                  </a:cubicBezTo>
                  <a:lnTo>
                    <a:pt x="80114" y="124133"/>
                  </a:lnTo>
                  <a:cubicBezTo>
                    <a:pt x="81133" y="124133"/>
                    <a:pt x="83081" y="122713"/>
                    <a:pt x="83932" y="122009"/>
                  </a:cubicBezTo>
                  <a:cubicBezTo>
                    <a:pt x="84572" y="122009"/>
                    <a:pt x="85923" y="122431"/>
                    <a:pt x="86260" y="124133"/>
                  </a:cubicBezTo>
                  <a:cubicBezTo>
                    <a:pt x="86535" y="125526"/>
                    <a:pt x="87540" y="125090"/>
                    <a:pt x="88616" y="124626"/>
                  </a:cubicBezTo>
                  <a:cubicBezTo>
                    <a:pt x="89186" y="124387"/>
                    <a:pt x="89770" y="124133"/>
                    <a:pt x="90276" y="124133"/>
                  </a:cubicBezTo>
                  <a:cubicBezTo>
                    <a:pt x="91451" y="124133"/>
                    <a:pt x="92330" y="126110"/>
                    <a:pt x="92618" y="127094"/>
                  </a:cubicBezTo>
                  <a:lnTo>
                    <a:pt x="96001" y="124133"/>
                  </a:lnTo>
                  <a:cubicBezTo>
                    <a:pt x="97696" y="123423"/>
                    <a:pt x="101086" y="122431"/>
                    <a:pt x="101086" y="124133"/>
                  </a:cubicBezTo>
                  <a:cubicBezTo>
                    <a:pt x="101086" y="125836"/>
                    <a:pt x="103062" y="128086"/>
                    <a:pt x="104047" y="129000"/>
                  </a:cubicBezTo>
                  <a:lnTo>
                    <a:pt x="108703" y="127094"/>
                  </a:lnTo>
                  <a:cubicBezTo>
                    <a:pt x="110250" y="126954"/>
                    <a:pt x="113823" y="126764"/>
                    <a:pt x="115694" y="127094"/>
                  </a:cubicBezTo>
                  <a:cubicBezTo>
                    <a:pt x="117761" y="127460"/>
                    <a:pt x="118486" y="128663"/>
                    <a:pt x="119787" y="130822"/>
                  </a:cubicBezTo>
                  <a:lnTo>
                    <a:pt x="119787" y="130822"/>
                  </a:lnTo>
                  <a:cubicBezTo>
                    <a:pt x="119963" y="131110"/>
                    <a:pt x="120146" y="131420"/>
                    <a:pt x="120350" y="131743"/>
                  </a:cubicBezTo>
                  <a:cubicBezTo>
                    <a:pt x="121700" y="133938"/>
                    <a:pt x="122607" y="130829"/>
                    <a:pt x="122889" y="129000"/>
                  </a:cubicBezTo>
                  <a:lnTo>
                    <a:pt x="122889" y="122009"/>
                  </a:lnTo>
                  <a:cubicBezTo>
                    <a:pt x="122889" y="119822"/>
                    <a:pt x="123824" y="114899"/>
                    <a:pt x="127545" y="112705"/>
                  </a:cubicBezTo>
                  <a:cubicBezTo>
                    <a:pt x="130351" y="111045"/>
                    <a:pt x="132390" y="110771"/>
                    <a:pt x="133804" y="110574"/>
                  </a:cubicBezTo>
                  <a:cubicBezTo>
                    <a:pt x="134732" y="110447"/>
                    <a:pt x="135386" y="110356"/>
                    <a:pt x="135808" y="109941"/>
                  </a:cubicBezTo>
                  <a:cubicBezTo>
                    <a:pt x="136673" y="109097"/>
                    <a:pt x="139972" y="109589"/>
                    <a:pt x="141519" y="109941"/>
                  </a:cubicBezTo>
                  <a:cubicBezTo>
                    <a:pt x="140605" y="107894"/>
                    <a:pt x="138727" y="103463"/>
                    <a:pt x="138551" y="102113"/>
                  </a:cubicBezTo>
                  <a:cubicBezTo>
                    <a:pt x="138439" y="101227"/>
                    <a:pt x="138045" y="100460"/>
                    <a:pt x="137693" y="99771"/>
                  </a:cubicBezTo>
                  <a:cubicBezTo>
                    <a:pt x="137370" y="99152"/>
                    <a:pt x="137081" y="98597"/>
                    <a:pt x="137081" y="98097"/>
                  </a:cubicBezTo>
                  <a:lnTo>
                    <a:pt x="137081" y="92590"/>
                  </a:lnTo>
                  <a:cubicBezTo>
                    <a:pt x="137081" y="91894"/>
                    <a:pt x="136694" y="91451"/>
                    <a:pt x="136096" y="90755"/>
                  </a:cubicBezTo>
                  <a:lnTo>
                    <a:pt x="136096" y="90755"/>
                  </a:lnTo>
                  <a:cubicBezTo>
                    <a:pt x="135611" y="90192"/>
                    <a:pt x="134986" y="89474"/>
                    <a:pt x="134317" y="88335"/>
                  </a:cubicBezTo>
                  <a:cubicBezTo>
                    <a:pt x="132826" y="85789"/>
                    <a:pt x="135590" y="84101"/>
                    <a:pt x="137081" y="84101"/>
                  </a:cubicBezTo>
                  <a:lnTo>
                    <a:pt x="141519" y="84101"/>
                  </a:lnTo>
                  <a:cubicBezTo>
                    <a:pt x="142785" y="84601"/>
                    <a:pt x="145711" y="85592"/>
                    <a:pt x="147237" y="85592"/>
                  </a:cubicBezTo>
                  <a:cubicBezTo>
                    <a:pt x="149150" y="85592"/>
                    <a:pt x="151253" y="81358"/>
                    <a:pt x="151253" y="79867"/>
                  </a:cubicBezTo>
                  <a:cubicBezTo>
                    <a:pt x="151253" y="79136"/>
                    <a:pt x="152273" y="78517"/>
                    <a:pt x="153286" y="77898"/>
                  </a:cubicBezTo>
                  <a:cubicBezTo>
                    <a:pt x="154341" y="77251"/>
                    <a:pt x="155388" y="76611"/>
                    <a:pt x="155290" y="75852"/>
                  </a:cubicBezTo>
                  <a:cubicBezTo>
                    <a:pt x="155128" y="74663"/>
                    <a:pt x="153525" y="73939"/>
                    <a:pt x="152744" y="73728"/>
                  </a:cubicBezTo>
                  <a:cubicBezTo>
                    <a:pt x="152322" y="73024"/>
                    <a:pt x="151429" y="71238"/>
                    <a:pt x="151253" y="69712"/>
                  </a:cubicBezTo>
                  <a:cubicBezTo>
                    <a:pt x="151035" y="67806"/>
                    <a:pt x="149980" y="66969"/>
                    <a:pt x="147237" y="66969"/>
                  </a:cubicBezTo>
                  <a:lnTo>
                    <a:pt x="141519" y="66969"/>
                  </a:lnTo>
                  <a:cubicBezTo>
                    <a:pt x="141941" y="64711"/>
                    <a:pt x="142532" y="59894"/>
                    <a:pt x="141519" y="58698"/>
                  </a:cubicBezTo>
                  <a:cubicBezTo>
                    <a:pt x="141041" y="58142"/>
                    <a:pt x="140091" y="57734"/>
                    <a:pt x="139022" y="57277"/>
                  </a:cubicBezTo>
                  <a:cubicBezTo>
                    <a:pt x="137236" y="56511"/>
                    <a:pt x="135119" y="55596"/>
                    <a:pt x="134317" y="53613"/>
                  </a:cubicBezTo>
                  <a:cubicBezTo>
                    <a:pt x="134022" y="52861"/>
                    <a:pt x="133790" y="52220"/>
                    <a:pt x="133593" y="51665"/>
                  </a:cubicBezTo>
                  <a:cubicBezTo>
                    <a:pt x="132946" y="49843"/>
                    <a:pt x="132601" y="48880"/>
                    <a:pt x="131138" y="47909"/>
                  </a:cubicBezTo>
                  <a:cubicBezTo>
                    <a:pt x="130519" y="47487"/>
                    <a:pt x="129872" y="47143"/>
                    <a:pt x="129253" y="46812"/>
                  </a:cubicBezTo>
                  <a:cubicBezTo>
                    <a:pt x="127988" y="46130"/>
                    <a:pt x="126848" y="45511"/>
                    <a:pt x="126271" y="44505"/>
                  </a:cubicBezTo>
                  <a:cubicBezTo>
                    <a:pt x="125899" y="43858"/>
                    <a:pt x="125336" y="43141"/>
                    <a:pt x="124759" y="42402"/>
                  </a:cubicBezTo>
                  <a:lnTo>
                    <a:pt x="124759" y="42402"/>
                  </a:lnTo>
                  <a:cubicBezTo>
                    <a:pt x="124014" y="41453"/>
                    <a:pt x="123254" y="40482"/>
                    <a:pt x="122889" y="39638"/>
                  </a:cubicBezTo>
                  <a:cubicBezTo>
                    <a:pt x="122628" y="39026"/>
                    <a:pt x="121946" y="38886"/>
                    <a:pt x="121109" y="38710"/>
                  </a:cubicBezTo>
                  <a:cubicBezTo>
                    <a:pt x="119899" y="38457"/>
                    <a:pt x="118380" y="38140"/>
                    <a:pt x="117389" y="36255"/>
                  </a:cubicBezTo>
                  <a:cubicBezTo>
                    <a:pt x="116235" y="34096"/>
                    <a:pt x="116650" y="33695"/>
                    <a:pt x="117037" y="33330"/>
                  </a:cubicBezTo>
                  <a:cubicBezTo>
                    <a:pt x="117213" y="33161"/>
                    <a:pt x="117389" y="32999"/>
                    <a:pt x="117389" y="32662"/>
                  </a:cubicBezTo>
                  <a:cubicBezTo>
                    <a:pt x="117389" y="32176"/>
                    <a:pt x="118000" y="31121"/>
                    <a:pt x="118676" y="29975"/>
                  </a:cubicBezTo>
                  <a:cubicBezTo>
                    <a:pt x="119471" y="28604"/>
                    <a:pt x="120350" y="27112"/>
                    <a:pt x="120350" y="26304"/>
                  </a:cubicBezTo>
                  <a:cubicBezTo>
                    <a:pt x="120350" y="25600"/>
                    <a:pt x="119696" y="25094"/>
                    <a:pt x="119006" y="24553"/>
                  </a:cubicBezTo>
                  <a:cubicBezTo>
                    <a:pt x="118219" y="23948"/>
                    <a:pt x="117389" y="23301"/>
                    <a:pt x="117389" y="22288"/>
                  </a:cubicBezTo>
                  <a:cubicBezTo>
                    <a:pt x="117389" y="21170"/>
                    <a:pt x="118324" y="19833"/>
                    <a:pt x="119147" y="18666"/>
                  </a:cubicBezTo>
                  <a:cubicBezTo>
                    <a:pt x="119731" y="17836"/>
                    <a:pt x="120258" y="17090"/>
                    <a:pt x="120350" y="16563"/>
                  </a:cubicBezTo>
                  <a:cubicBezTo>
                    <a:pt x="120476" y="15810"/>
                    <a:pt x="119716" y="15501"/>
                    <a:pt x="118556" y="15030"/>
                  </a:cubicBezTo>
                  <a:cubicBezTo>
                    <a:pt x="117747" y="14699"/>
                    <a:pt x="116741" y="14291"/>
                    <a:pt x="115694" y="13602"/>
                  </a:cubicBezTo>
                  <a:cubicBezTo>
                    <a:pt x="114442" y="12765"/>
                    <a:pt x="113851" y="12034"/>
                    <a:pt x="113429" y="11506"/>
                  </a:cubicBezTo>
                  <a:cubicBezTo>
                    <a:pt x="112993" y="10965"/>
                    <a:pt x="112733" y="10634"/>
                    <a:pt x="112100" y="10634"/>
                  </a:cubicBezTo>
                  <a:cubicBezTo>
                    <a:pt x="111502" y="10634"/>
                    <a:pt x="110454" y="9959"/>
                    <a:pt x="109364" y="9256"/>
                  </a:cubicBezTo>
                  <a:cubicBezTo>
                    <a:pt x="108175" y="8482"/>
                    <a:pt x="106931" y="7673"/>
                    <a:pt x="106157" y="7673"/>
                  </a:cubicBezTo>
                  <a:cubicBezTo>
                    <a:pt x="105433" y="7673"/>
                    <a:pt x="103421" y="8369"/>
                    <a:pt x="101353" y="9087"/>
                  </a:cubicBezTo>
                  <a:cubicBezTo>
                    <a:pt x="99145" y="9853"/>
                    <a:pt x="96866" y="10634"/>
                    <a:pt x="96001" y="10634"/>
                  </a:cubicBezTo>
                  <a:cubicBezTo>
                    <a:pt x="95080" y="10634"/>
                    <a:pt x="94974" y="8939"/>
                    <a:pt x="94862" y="7153"/>
                  </a:cubicBezTo>
                  <a:cubicBezTo>
                    <a:pt x="94763" y="5662"/>
                    <a:pt x="94672" y="4114"/>
                    <a:pt x="94088" y="3439"/>
                  </a:cubicBezTo>
                  <a:cubicBezTo>
                    <a:pt x="93202" y="2412"/>
                    <a:pt x="89517" y="3446"/>
                    <a:pt x="86732" y="4227"/>
                  </a:cubicBezTo>
                  <a:cubicBezTo>
                    <a:pt x="85536" y="4564"/>
                    <a:pt x="84509" y="4853"/>
                    <a:pt x="83932" y="4916"/>
                  </a:cubicBezTo>
                  <a:cubicBezTo>
                    <a:pt x="82406" y="5071"/>
                    <a:pt x="83299" y="2581"/>
                    <a:pt x="83932" y="1315"/>
                  </a:cubicBezTo>
                  <a:lnTo>
                    <a:pt x="78847" y="1315"/>
                  </a:lnTo>
                  <a:cubicBezTo>
                    <a:pt x="78236" y="1315"/>
                    <a:pt x="77272" y="724"/>
                    <a:pt x="76323" y="0"/>
                  </a:cubicBezTo>
                  <a:cubicBezTo>
                    <a:pt x="75050" y="556"/>
                    <a:pt x="73938" y="1308"/>
                    <a:pt x="73495" y="1653"/>
                  </a:cubicBezTo>
                  <a:cubicBezTo>
                    <a:pt x="72455" y="3038"/>
                    <a:pt x="70239" y="5985"/>
                    <a:pt x="69684" y="6681"/>
                  </a:cubicBezTo>
                  <a:cubicBezTo>
                    <a:pt x="68987" y="7553"/>
                    <a:pt x="67060" y="8770"/>
                    <a:pt x="65168" y="8770"/>
                  </a:cubicBezTo>
                  <a:cubicBezTo>
                    <a:pt x="64542" y="8770"/>
                    <a:pt x="63832" y="8559"/>
                    <a:pt x="63129" y="8348"/>
                  </a:cubicBezTo>
                  <a:cubicBezTo>
                    <a:pt x="61701" y="7919"/>
                    <a:pt x="60273" y="7497"/>
                    <a:pt x="59464" y="8770"/>
                  </a:cubicBezTo>
                  <a:cubicBezTo>
                    <a:pt x="58255" y="10676"/>
                    <a:pt x="57537" y="11014"/>
                    <a:pt x="54773" y="11710"/>
                  </a:cubicBezTo>
                  <a:cubicBezTo>
                    <a:pt x="53761" y="11970"/>
                    <a:pt x="52213" y="12378"/>
                    <a:pt x="50638" y="12807"/>
                  </a:cubicBezTo>
                  <a:cubicBezTo>
                    <a:pt x="50729" y="12849"/>
                    <a:pt x="50807" y="12885"/>
                    <a:pt x="50877" y="12906"/>
                  </a:cubicBezTo>
                  <a:cubicBezTo>
                    <a:pt x="52249" y="13286"/>
                    <a:pt x="51447" y="18574"/>
                    <a:pt x="50877" y="21170"/>
                  </a:cubicBezTo>
                  <a:lnTo>
                    <a:pt x="55034" y="22879"/>
                  </a:lnTo>
                  <a:cubicBezTo>
                    <a:pt x="54703" y="24426"/>
                    <a:pt x="53409" y="27513"/>
                    <a:pt x="50877" y="27513"/>
                  </a:cubicBezTo>
                  <a:cubicBezTo>
                    <a:pt x="48690" y="27513"/>
                    <a:pt x="48254" y="28097"/>
                    <a:pt x="47621" y="28941"/>
                  </a:cubicBezTo>
                  <a:lnTo>
                    <a:pt x="47621" y="28941"/>
                  </a:lnTo>
                  <a:cubicBezTo>
                    <a:pt x="47346" y="29321"/>
                    <a:pt x="47030" y="29743"/>
                    <a:pt x="46503" y="30193"/>
                  </a:cubicBezTo>
                  <a:cubicBezTo>
                    <a:pt x="45820" y="30784"/>
                    <a:pt x="44589" y="31142"/>
                    <a:pt x="43359" y="31494"/>
                  </a:cubicBezTo>
                  <a:cubicBezTo>
                    <a:pt x="41523" y="32022"/>
                    <a:pt x="39688" y="32542"/>
                    <a:pt x="39688" y="33850"/>
                  </a:cubicBezTo>
                  <a:cubicBezTo>
                    <a:pt x="39688" y="36037"/>
                    <a:pt x="42135" y="45047"/>
                    <a:pt x="43584" y="47487"/>
                  </a:cubicBezTo>
                  <a:cubicBezTo>
                    <a:pt x="45032" y="49935"/>
                    <a:pt x="45012" y="51862"/>
                    <a:pt x="42353" y="53093"/>
                  </a:cubicBezTo>
                  <a:cubicBezTo>
                    <a:pt x="41368" y="53550"/>
                    <a:pt x="40440" y="53803"/>
                    <a:pt x="39533" y="54056"/>
                  </a:cubicBezTo>
                  <a:cubicBezTo>
                    <a:pt x="37985" y="54478"/>
                    <a:pt x="36481" y="54893"/>
                    <a:pt x="34800" y="56271"/>
                  </a:cubicBezTo>
                  <a:cubicBezTo>
                    <a:pt x="32134" y="58459"/>
                    <a:pt x="32134" y="60407"/>
                    <a:pt x="32134" y="61385"/>
                  </a:cubicBezTo>
                  <a:cubicBezTo>
                    <a:pt x="32134" y="62355"/>
                    <a:pt x="25298" y="65520"/>
                    <a:pt x="25298" y="64303"/>
                  </a:cubicBezTo>
                  <a:cubicBezTo>
                    <a:pt x="25298" y="63094"/>
                    <a:pt x="21662" y="61863"/>
                    <a:pt x="19953" y="62594"/>
                  </a:cubicBezTo>
                  <a:cubicBezTo>
                    <a:pt x="18954" y="63023"/>
                    <a:pt x="15241" y="63558"/>
                    <a:pt x="12097" y="63945"/>
                  </a:cubicBezTo>
                  <a:cubicBezTo>
                    <a:pt x="12097" y="63994"/>
                    <a:pt x="12097" y="64036"/>
                    <a:pt x="12097" y="64085"/>
                  </a:cubicBezTo>
                  <a:cubicBezTo>
                    <a:pt x="12097" y="67644"/>
                    <a:pt x="14643" y="76112"/>
                    <a:pt x="15993" y="80008"/>
                  </a:cubicBezTo>
                  <a:cubicBezTo>
                    <a:pt x="17344" y="83904"/>
                    <a:pt x="18356" y="92710"/>
                    <a:pt x="18356" y="94911"/>
                  </a:cubicBezTo>
                  <a:cubicBezTo>
                    <a:pt x="18356" y="97119"/>
                    <a:pt x="14643" y="98315"/>
                    <a:pt x="10908" y="99328"/>
                  </a:cubicBezTo>
                  <a:cubicBezTo>
                    <a:pt x="7167" y="100341"/>
                    <a:pt x="5992" y="106600"/>
                    <a:pt x="8025" y="107120"/>
                  </a:cubicBezTo>
                  <a:cubicBezTo>
                    <a:pt x="10050" y="107634"/>
                    <a:pt x="14643" y="111017"/>
                    <a:pt x="14643" y="112705"/>
                  </a:cubicBezTo>
                  <a:moveTo>
                    <a:pt x="13447" y="118985"/>
                  </a:moveTo>
                  <a:lnTo>
                    <a:pt x="13447" y="12082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6" name="Freihandform: Form 271">
              <a:extLst>
                <a:ext uri="{FF2B5EF4-FFF2-40B4-BE49-F238E27FC236}">
                  <a16:creationId xmlns:a16="http://schemas.microsoft.com/office/drawing/2014/main" id="{A025FF9F-666F-124F-AC93-F7FA7C5A7FE1}"/>
                </a:ext>
              </a:extLst>
            </p:cNvPr>
            <p:cNvSpPr/>
            <p:nvPr/>
          </p:nvSpPr>
          <p:spPr>
            <a:xfrm>
              <a:off x="6503953" y="3557856"/>
              <a:ext cx="281835" cy="169208"/>
            </a:xfrm>
            <a:custGeom>
              <a:avLst/>
              <a:gdLst>
                <a:gd name="connsiteX0" fmla="*/ 152160 w 281835"/>
                <a:gd name="connsiteY0" fmla="*/ 7314 h 169208"/>
                <a:gd name="connsiteX1" fmla="*/ 160129 w 281835"/>
                <a:gd name="connsiteY1" fmla="*/ 956 h 169208"/>
                <a:gd name="connsiteX2" fmla="*/ 168737 w 281835"/>
                <a:gd name="connsiteY2" fmla="*/ 2426 h 169208"/>
                <a:gd name="connsiteX3" fmla="*/ 172950 w 281835"/>
                <a:gd name="connsiteY3" fmla="*/ 0 h 169208"/>
                <a:gd name="connsiteX4" fmla="*/ 175693 w 281835"/>
                <a:gd name="connsiteY4" fmla="*/ 956 h 169208"/>
                <a:gd name="connsiteX5" fmla="*/ 179568 w 281835"/>
                <a:gd name="connsiteY5" fmla="*/ 956 h 169208"/>
                <a:gd name="connsiteX6" fmla="*/ 183302 w 281835"/>
                <a:gd name="connsiteY6" fmla="*/ 956 h 169208"/>
                <a:gd name="connsiteX7" fmla="*/ 185237 w 281835"/>
                <a:gd name="connsiteY7" fmla="*/ 3559 h 169208"/>
                <a:gd name="connsiteX8" fmla="*/ 186707 w 281835"/>
                <a:gd name="connsiteY8" fmla="*/ 9600 h 169208"/>
                <a:gd name="connsiteX9" fmla="*/ 192192 w 281835"/>
                <a:gd name="connsiteY9" fmla="*/ 13996 h 169208"/>
                <a:gd name="connsiteX10" fmla="*/ 186707 w 281835"/>
                <a:gd name="connsiteY10" fmla="*/ 17730 h 169208"/>
                <a:gd name="connsiteX11" fmla="*/ 188156 w 281835"/>
                <a:gd name="connsiteY11" fmla="*/ 20515 h 169208"/>
                <a:gd name="connsiteX12" fmla="*/ 188156 w 281835"/>
                <a:gd name="connsiteY12" fmla="*/ 24151 h 169208"/>
                <a:gd name="connsiteX13" fmla="*/ 188156 w 281835"/>
                <a:gd name="connsiteY13" fmla="*/ 26655 h 169208"/>
                <a:gd name="connsiteX14" fmla="*/ 192192 w 281835"/>
                <a:gd name="connsiteY14" fmla="*/ 27668 h 169208"/>
                <a:gd name="connsiteX15" fmla="*/ 195428 w 281835"/>
                <a:gd name="connsiteY15" fmla="*/ 29279 h 169208"/>
                <a:gd name="connsiteX16" fmla="*/ 196567 w 281835"/>
                <a:gd name="connsiteY16" fmla="*/ 30411 h 169208"/>
                <a:gd name="connsiteX17" fmla="*/ 201574 w 281835"/>
                <a:gd name="connsiteY17" fmla="*/ 29279 h 169208"/>
                <a:gd name="connsiteX18" fmla="*/ 203522 w 281835"/>
                <a:gd name="connsiteY18" fmla="*/ 31388 h 169208"/>
                <a:gd name="connsiteX19" fmla="*/ 206441 w 281835"/>
                <a:gd name="connsiteY19" fmla="*/ 36895 h 169208"/>
                <a:gd name="connsiteX20" fmla="*/ 208214 w 281835"/>
                <a:gd name="connsiteY20" fmla="*/ 40292 h 169208"/>
                <a:gd name="connsiteX21" fmla="*/ 208214 w 281835"/>
                <a:gd name="connsiteY21" fmla="*/ 43035 h 169208"/>
                <a:gd name="connsiteX22" fmla="*/ 208214 w 281835"/>
                <a:gd name="connsiteY22" fmla="*/ 47248 h 169208"/>
                <a:gd name="connsiteX23" fmla="*/ 212581 w 281835"/>
                <a:gd name="connsiteY23" fmla="*/ 49674 h 169208"/>
                <a:gd name="connsiteX24" fmla="*/ 215007 w 281835"/>
                <a:gd name="connsiteY24" fmla="*/ 48380 h 169208"/>
                <a:gd name="connsiteX25" fmla="*/ 218883 w 281835"/>
                <a:gd name="connsiteY25" fmla="*/ 48380 h 169208"/>
                <a:gd name="connsiteX26" fmla="*/ 220514 w 281835"/>
                <a:gd name="connsiteY26" fmla="*/ 50807 h 169208"/>
                <a:gd name="connsiteX27" fmla="*/ 222779 w 281835"/>
                <a:gd name="connsiteY27" fmla="*/ 50807 h 169208"/>
                <a:gd name="connsiteX28" fmla="*/ 225838 w 281835"/>
                <a:gd name="connsiteY28" fmla="*/ 53233 h 169208"/>
                <a:gd name="connsiteX29" fmla="*/ 229896 w 281835"/>
                <a:gd name="connsiteY29" fmla="*/ 50807 h 169208"/>
                <a:gd name="connsiteX30" fmla="*/ 236198 w 281835"/>
                <a:gd name="connsiteY30" fmla="*/ 49674 h 169208"/>
                <a:gd name="connsiteX31" fmla="*/ 239440 w 281835"/>
                <a:gd name="connsiteY31" fmla="*/ 49674 h 169208"/>
                <a:gd name="connsiteX32" fmla="*/ 241705 w 281835"/>
                <a:gd name="connsiteY32" fmla="*/ 53233 h 169208"/>
                <a:gd name="connsiteX33" fmla="*/ 242676 w 281835"/>
                <a:gd name="connsiteY33" fmla="*/ 56630 h 169208"/>
                <a:gd name="connsiteX34" fmla="*/ 248344 w 281835"/>
                <a:gd name="connsiteY34" fmla="*/ 61321 h 169208"/>
                <a:gd name="connsiteX35" fmla="*/ 251579 w 281835"/>
                <a:gd name="connsiteY35" fmla="*/ 57446 h 169208"/>
                <a:gd name="connsiteX36" fmla="*/ 254006 w 281835"/>
                <a:gd name="connsiteY36" fmla="*/ 59711 h 169208"/>
                <a:gd name="connsiteX37" fmla="*/ 257227 w 281835"/>
                <a:gd name="connsiteY37" fmla="*/ 59711 h 169208"/>
                <a:gd name="connsiteX38" fmla="*/ 259991 w 281835"/>
                <a:gd name="connsiteY38" fmla="*/ 61321 h 169208"/>
                <a:gd name="connsiteX39" fmla="*/ 263550 w 281835"/>
                <a:gd name="connsiteY39" fmla="*/ 62932 h 169208"/>
                <a:gd name="connsiteX40" fmla="*/ 266947 w 281835"/>
                <a:gd name="connsiteY40" fmla="*/ 62932 h 169208"/>
                <a:gd name="connsiteX41" fmla="*/ 269057 w 281835"/>
                <a:gd name="connsiteY41" fmla="*/ 65358 h 169208"/>
                <a:gd name="connsiteX42" fmla="*/ 272932 w 281835"/>
                <a:gd name="connsiteY42" fmla="*/ 65358 h 169208"/>
                <a:gd name="connsiteX43" fmla="*/ 274380 w 281835"/>
                <a:gd name="connsiteY43" fmla="*/ 68755 h 169208"/>
                <a:gd name="connsiteX44" fmla="*/ 278755 w 281835"/>
                <a:gd name="connsiteY44" fmla="*/ 69726 h 169208"/>
                <a:gd name="connsiteX45" fmla="*/ 281836 w 281835"/>
                <a:gd name="connsiteY45" fmla="*/ 76210 h 169208"/>
                <a:gd name="connsiteX46" fmla="*/ 274380 w 281835"/>
                <a:gd name="connsiteY46" fmla="*/ 83644 h 169208"/>
                <a:gd name="connsiteX47" fmla="*/ 280042 w 281835"/>
                <a:gd name="connsiteY47" fmla="*/ 88173 h 169208"/>
                <a:gd name="connsiteX48" fmla="*/ 276167 w 281835"/>
                <a:gd name="connsiteY48" fmla="*/ 88173 h 169208"/>
                <a:gd name="connsiteX49" fmla="*/ 274380 w 281835"/>
                <a:gd name="connsiteY49" fmla="*/ 91254 h 169208"/>
                <a:gd name="connsiteX50" fmla="*/ 278755 w 281835"/>
                <a:gd name="connsiteY50" fmla="*/ 97935 h 169208"/>
                <a:gd name="connsiteX51" fmla="*/ 277299 w 281835"/>
                <a:gd name="connsiteY51" fmla="*/ 99504 h 169208"/>
                <a:gd name="connsiteX52" fmla="*/ 278755 w 281835"/>
                <a:gd name="connsiteY52" fmla="*/ 101628 h 169208"/>
                <a:gd name="connsiteX53" fmla="*/ 276167 w 281835"/>
                <a:gd name="connsiteY53" fmla="*/ 106881 h 169208"/>
                <a:gd name="connsiteX54" fmla="*/ 272932 w 281835"/>
                <a:gd name="connsiteY54" fmla="*/ 110834 h 169208"/>
                <a:gd name="connsiteX55" fmla="*/ 261285 w 281835"/>
                <a:gd name="connsiteY55" fmla="*/ 109821 h 169208"/>
                <a:gd name="connsiteX56" fmla="*/ 258697 w 281835"/>
                <a:gd name="connsiteY56" fmla="*/ 114772 h 169208"/>
                <a:gd name="connsiteX57" fmla="*/ 252536 w 281835"/>
                <a:gd name="connsiteY57" fmla="*/ 116657 h 169208"/>
                <a:gd name="connsiteX58" fmla="*/ 252536 w 281835"/>
                <a:gd name="connsiteY58" fmla="*/ 127010 h 169208"/>
                <a:gd name="connsiteX59" fmla="*/ 250271 w 281835"/>
                <a:gd name="connsiteY59" fmla="*/ 127010 h 169208"/>
                <a:gd name="connsiteX60" fmla="*/ 241705 w 281835"/>
                <a:gd name="connsiteY60" fmla="*/ 128086 h 169208"/>
                <a:gd name="connsiteX61" fmla="*/ 237830 w 281835"/>
                <a:gd name="connsiteY61" fmla="*/ 132299 h 169208"/>
                <a:gd name="connsiteX62" fmla="*/ 235066 w 281835"/>
                <a:gd name="connsiteY62" fmla="*/ 132299 h 169208"/>
                <a:gd name="connsiteX63" fmla="*/ 231824 w 281835"/>
                <a:gd name="connsiteY63" fmla="*/ 133094 h 169208"/>
                <a:gd name="connsiteX64" fmla="*/ 227133 w 281835"/>
                <a:gd name="connsiteY64" fmla="*/ 134767 h 169208"/>
                <a:gd name="connsiteX65" fmla="*/ 221808 w 281835"/>
                <a:gd name="connsiteY65" fmla="*/ 138305 h 169208"/>
                <a:gd name="connsiteX66" fmla="*/ 215823 w 281835"/>
                <a:gd name="connsiteY66" fmla="*/ 137369 h 169208"/>
                <a:gd name="connsiteX67" fmla="*/ 205844 w 281835"/>
                <a:gd name="connsiteY67" fmla="*/ 143889 h 169208"/>
                <a:gd name="connsiteX68" fmla="*/ 203895 w 281835"/>
                <a:gd name="connsiteY68" fmla="*/ 143889 h 169208"/>
                <a:gd name="connsiteX69" fmla="*/ 200660 w 281835"/>
                <a:gd name="connsiteY69" fmla="*/ 146653 h 169208"/>
                <a:gd name="connsiteX70" fmla="*/ 197298 w 281835"/>
                <a:gd name="connsiteY70" fmla="*/ 148855 h 169208"/>
                <a:gd name="connsiteX71" fmla="*/ 190279 w 281835"/>
                <a:gd name="connsiteY71" fmla="*/ 147567 h 169208"/>
                <a:gd name="connsiteX72" fmla="*/ 184955 w 281835"/>
                <a:gd name="connsiteY72" fmla="*/ 148855 h 169208"/>
                <a:gd name="connsiteX73" fmla="*/ 179645 w 281835"/>
                <a:gd name="connsiteY73" fmla="*/ 149635 h 169208"/>
                <a:gd name="connsiteX74" fmla="*/ 176009 w 281835"/>
                <a:gd name="connsiteY74" fmla="*/ 151246 h 169208"/>
                <a:gd name="connsiteX75" fmla="*/ 173147 w 281835"/>
                <a:gd name="connsiteY75" fmla="*/ 148855 h 169208"/>
                <a:gd name="connsiteX76" fmla="*/ 168737 w 281835"/>
                <a:gd name="connsiteY76" fmla="*/ 149635 h 169208"/>
                <a:gd name="connsiteX77" fmla="*/ 162773 w 281835"/>
                <a:gd name="connsiteY77" fmla="*/ 151246 h 169208"/>
                <a:gd name="connsiteX78" fmla="*/ 158757 w 281835"/>
                <a:gd name="connsiteY78" fmla="*/ 149635 h 169208"/>
                <a:gd name="connsiteX79" fmla="*/ 152399 w 281835"/>
                <a:gd name="connsiteY79" fmla="*/ 145880 h 169208"/>
                <a:gd name="connsiteX80" fmla="*/ 155634 w 281835"/>
                <a:gd name="connsiteY80" fmla="*/ 141526 h 169208"/>
                <a:gd name="connsiteX81" fmla="*/ 158757 w 281835"/>
                <a:gd name="connsiteY81" fmla="*/ 139916 h 169208"/>
                <a:gd name="connsiteX82" fmla="*/ 154467 w 281835"/>
                <a:gd name="connsiteY82" fmla="*/ 138305 h 169208"/>
                <a:gd name="connsiteX83" fmla="*/ 144986 w 281835"/>
                <a:gd name="connsiteY83" fmla="*/ 138305 h 169208"/>
                <a:gd name="connsiteX84" fmla="*/ 134746 w 281835"/>
                <a:gd name="connsiteY84" fmla="*/ 139916 h 169208"/>
                <a:gd name="connsiteX85" fmla="*/ 134746 w 281835"/>
                <a:gd name="connsiteY85" fmla="*/ 143594 h 169208"/>
                <a:gd name="connsiteX86" fmla="*/ 130076 w 281835"/>
                <a:gd name="connsiteY86" fmla="*/ 151246 h 169208"/>
                <a:gd name="connsiteX87" fmla="*/ 117593 w 281835"/>
                <a:gd name="connsiteY87" fmla="*/ 162710 h 169208"/>
                <a:gd name="connsiteX88" fmla="*/ 113260 w 281835"/>
                <a:gd name="connsiteY88" fmla="*/ 164165 h 169208"/>
                <a:gd name="connsiteX89" fmla="*/ 110693 w 281835"/>
                <a:gd name="connsiteY89" fmla="*/ 165952 h 169208"/>
                <a:gd name="connsiteX90" fmla="*/ 107416 w 281835"/>
                <a:gd name="connsiteY90" fmla="*/ 167802 h 169208"/>
                <a:gd name="connsiteX91" fmla="*/ 103942 w 281835"/>
                <a:gd name="connsiteY91" fmla="*/ 168737 h 169208"/>
                <a:gd name="connsiteX92" fmla="*/ 100341 w 281835"/>
                <a:gd name="connsiteY92" fmla="*/ 169208 h 169208"/>
                <a:gd name="connsiteX93" fmla="*/ 96107 w 281835"/>
                <a:gd name="connsiteY93" fmla="*/ 167063 h 169208"/>
                <a:gd name="connsiteX94" fmla="*/ 93526 w 281835"/>
                <a:gd name="connsiteY94" fmla="*/ 164165 h 169208"/>
                <a:gd name="connsiteX95" fmla="*/ 95115 w 281835"/>
                <a:gd name="connsiteY95" fmla="*/ 163722 h 169208"/>
                <a:gd name="connsiteX96" fmla="*/ 97739 w 281835"/>
                <a:gd name="connsiteY96" fmla="*/ 162351 h 169208"/>
                <a:gd name="connsiteX97" fmla="*/ 99229 w 281835"/>
                <a:gd name="connsiteY97" fmla="*/ 160290 h 169208"/>
                <a:gd name="connsiteX98" fmla="*/ 101691 w 281835"/>
                <a:gd name="connsiteY98" fmla="*/ 156612 h 169208"/>
                <a:gd name="connsiteX99" fmla="*/ 105869 w 281835"/>
                <a:gd name="connsiteY99" fmla="*/ 153609 h 169208"/>
                <a:gd name="connsiteX100" fmla="*/ 106804 w 281835"/>
                <a:gd name="connsiteY100" fmla="*/ 151246 h 169208"/>
                <a:gd name="connsiteX101" fmla="*/ 106804 w 281835"/>
                <a:gd name="connsiteY101" fmla="*/ 143594 h 169208"/>
                <a:gd name="connsiteX102" fmla="*/ 108548 w 281835"/>
                <a:gd name="connsiteY102" fmla="*/ 141526 h 169208"/>
                <a:gd name="connsiteX103" fmla="*/ 117593 w 281835"/>
                <a:gd name="connsiteY103" fmla="*/ 142933 h 169208"/>
                <a:gd name="connsiteX104" fmla="*/ 122066 w 281835"/>
                <a:gd name="connsiteY104" fmla="*/ 143889 h 169208"/>
                <a:gd name="connsiteX105" fmla="*/ 122066 w 281835"/>
                <a:gd name="connsiteY105" fmla="*/ 141526 h 169208"/>
                <a:gd name="connsiteX106" fmla="*/ 122066 w 281835"/>
                <a:gd name="connsiteY106" fmla="*/ 138305 h 169208"/>
                <a:gd name="connsiteX107" fmla="*/ 120976 w 281835"/>
                <a:gd name="connsiteY107" fmla="*/ 133094 h 169208"/>
                <a:gd name="connsiteX108" fmla="*/ 117593 w 281835"/>
                <a:gd name="connsiteY108" fmla="*/ 132299 h 169208"/>
                <a:gd name="connsiteX109" fmla="*/ 116123 w 281835"/>
                <a:gd name="connsiteY109" fmla="*/ 128086 h 169208"/>
                <a:gd name="connsiteX110" fmla="*/ 115708 w 281835"/>
                <a:gd name="connsiteY110" fmla="*/ 123557 h 169208"/>
                <a:gd name="connsiteX111" fmla="*/ 113120 w 281835"/>
                <a:gd name="connsiteY111" fmla="*/ 121883 h 169208"/>
                <a:gd name="connsiteX112" fmla="*/ 109702 w 281835"/>
                <a:gd name="connsiteY112" fmla="*/ 118148 h 169208"/>
                <a:gd name="connsiteX113" fmla="*/ 110018 w 281835"/>
                <a:gd name="connsiteY113" fmla="*/ 114772 h 169208"/>
                <a:gd name="connsiteX114" fmla="*/ 110440 w 281835"/>
                <a:gd name="connsiteY114" fmla="*/ 109821 h 169208"/>
                <a:gd name="connsiteX115" fmla="*/ 108548 w 281835"/>
                <a:gd name="connsiteY115" fmla="*/ 107556 h 169208"/>
                <a:gd name="connsiteX116" fmla="*/ 105784 w 281835"/>
                <a:gd name="connsiteY116" fmla="*/ 106881 h 169208"/>
                <a:gd name="connsiteX117" fmla="*/ 102092 w 281835"/>
                <a:gd name="connsiteY117" fmla="*/ 102985 h 169208"/>
                <a:gd name="connsiteX118" fmla="*/ 98470 w 281835"/>
                <a:gd name="connsiteY118" fmla="*/ 104117 h 169208"/>
                <a:gd name="connsiteX119" fmla="*/ 97042 w 281835"/>
                <a:gd name="connsiteY119" fmla="*/ 102387 h 169208"/>
                <a:gd name="connsiteX120" fmla="*/ 92949 w 281835"/>
                <a:gd name="connsiteY120" fmla="*/ 100418 h 169208"/>
                <a:gd name="connsiteX121" fmla="*/ 89489 w 281835"/>
                <a:gd name="connsiteY121" fmla="*/ 97935 h 169208"/>
                <a:gd name="connsiteX122" fmla="*/ 86605 w 281835"/>
                <a:gd name="connsiteY122" fmla="*/ 95889 h 169208"/>
                <a:gd name="connsiteX123" fmla="*/ 84502 w 281835"/>
                <a:gd name="connsiteY123" fmla="*/ 95889 h 169208"/>
                <a:gd name="connsiteX124" fmla="*/ 81696 w 281835"/>
                <a:gd name="connsiteY124" fmla="*/ 97260 h 169208"/>
                <a:gd name="connsiteX125" fmla="*/ 78616 w 281835"/>
                <a:gd name="connsiteY125" fmla="*/ 98688 h 169208"/>
                <a:gd name="connsiteX126" fmla="*/ 73249 w 281835"/>
                <a:gd name="connsiteY126" fmla="*/ 97935 h 169208"/>
                <a:gd name="connsiteX127" fmla="*/ 72117 w 281835"/>
                <a:gd name="connsiteY127" fmla="*/ 98688 h 169208"/>
                <a:gd name="connsiteX128" fmla="*/ 70310 w 281835"/>
                <a:gd name="connsiteY128" fmla="*/ 100875 h 169208"/>
                <a:gd name="connsiteX129" fmla="*/ 66294 w 281835"/>
                <a:gd name="connsiteY129" fmla="*/ 101628 h 169208"/>
                <a:gd name="connsiteX130" fmla="*/ 64564 w 281835"/>
                <a:gd name="connsiteY130" fmla="*/ 104117 h 169208"/>
                <a:gd name="connsiteX131" fmla="*/ 62833 w 281835"/>
                <a:gd name="connsiteY131" fmla="*/ 106881 h 169208"/>
                <a:gd name="connsiteX132" fmla="*/ 57087 w 281835"/>
                <a:gd name="connsiteY132" fmla="*/ 107676 h 169208"/>
                <a:gd name="connsiteX133" fmla="*/ 49991 w 281835"/>
                <a:gd name="connsiteY133" fmla="*/ 107676 h 169208"/>
                <a:gd name="connsiteX134" fmla="*/ 47649 w 281835"/>
                <a:gd name="connsiteY134" fmla="*/ 109519 h 169208"/>
                <a:gd name="connsiteX135" fmla="*/ 43232 w 281835"/>
                <a:gd name="connsiteY135" fmla="*/ 112065 h 169208"/>
                <a:gd name="connsiteX136" fmla="*/ 37550 w 281835"/>
                <a:gd name="connsiteY136" fmla="*/ 107676 h 169208"/>
                <a:gd name="connsiteX137" fmla="*/ 34610 w 281835"/>
                <a:gd name="connsiteY137" fmla="*/ 108647 h 169208"/>
                <a:gd name="connsiteX138" fmla="*/ 30094 w 281835"/>
                <a:gd name="connsiteY138" fmla="*/ 107676 h 169208"/>
                <a:gd name="connsiteX139" fmla="*/ 24053 w 281835"/>
                <a:gd name="connsiteY139" fmla="*/ 106101 h 169208"/>
                <a:gd name="connsiteX140" fmla="*/ 20297 w 281835"/>
                <a:gd name="connsiteY140" fmla="*/ 106101 h 169208"/>
                <a:gd name="connsiteX141" fmla="*/ 16563 w 281835"/>
                <a:gd name="connsiteY141" fmla="*/ 105404 h 169208"/>
                <a:gd name="connsiteX142" fmla="*/ 15008 w 281835"/>
                <a:gd name="connsiteY142" fmla="*/ 106101 h 169208"/>
                <a:gd name="connsiteX143" fmla="*/ 11471 w 281835"/>
                <a:gd name="connsiteY143" fmla="*/ 106881 h 169208"/>
                <a:gd name="connsiteX144" fmla="*/ 4220 w 281835"/>
                <a:gd name="connsiteY144" fmla="*/ 100319 h 169208"/>
                <a:gd name="connsiteX145" fmla="*/ 0 w 281835"/>
                <a:gd name="connsiteY145" fmla="*/ 96205 h 169208"/>
                <a:gd name="connsiteX146" fmla="*/ 0 w 281835"/>
                <a:gd name="connsiteY146" fmla="*/ 93940 h 169208"/>
                <a:gd name="connsiteX147" fmla="*/ 3341 w 281835"/>
                <a:gd name="connsiteY147" fmla="*/ 89151 h 169208"/>
                <a:gd name="connsiteX148" fmla="*/ 4810 w 281835"/>
                <a:gd name="connsiteY148" fmla="*/ 84242 h 169208"/>
                <a:gd name="connsiteX149" fmla="*/ 5690 w 281835"/>
                <a:gd name="connsiteY149" fmla="*/ 80128 h 169208"/>
                <a:gd name="connsiteX150" fmla="*/ 9030 w 281835"/>
                <a:gd name="connsiteY150" fmla="*/ 80718 h 169208"/>
                <a:gd name="connsiteX151" fmla="*/ 9030 w 281835"/>
                <a:gd name="connsiteY151" fmla="*/ 77483 h 169208"/>
                <a:gd name="connsiteX152" fmla="*/ 9030 w 281835"/>
                <a:gd name="connsiteY152" fmla="*/ 71892 h 169208"/>
                <a:gd name="connsiteX153" fmla="*/ 9030 w 281835"/>
                <a:gd name="connsiteY153" fmla="*/ 68256 h 169208"/>
                <a:gd name="connsiteX154" fmla="*/ 15008 w 281835"/>
                <a:gd name="connsiteY154" fmla="*/ 61005 h 169208"/>
                <a:gd name="connsiteX155" fmla="*/ 19404 w 281835"/>
                <a:gd name="connsiteY155" fmla="*/ 54942 h 169208"/>
                <a:gd name="connsiteX156" fmla="*/ 24053 w 281835"/>
                <a:gd name="connsiteY156" fmla="*/ 50132 h 169208"/>
                <a:gd name="connsiteX157" fmla="*/ 29497 w 281835"/>
                <a:gd name="connsiteY157" fmla="*/ 47586 h 169208"/>
                <a:gd name="connsiteX158" fmla="*/ 30094 w 281835"/>
                <a:gd name="connsiteY158" fmla="*/ 40630 h 169208"/>
                <a:gd name="connsiteX159" fmla="*/ 27492 w 281835"/>
                <a:gd name="connsiteY159" fmla="*/ 33991 h 169208"/>
                <a:gd name="connsiteX160" fmla="*/ 24053 w 281835"/>
                <a:gd name="connsiteY160" fmla="*/ 26655 h 169208"/>
                <a:gd name="connsiteX161" fmla="*/ 22407 w 281835"/>
                <a:gd name="connsiteY161" fmla="*/ 19861 h 169208"/>
                <a:gd name="connsiteX162" fmla="*/ 22407 w 281835"/>
                <a:gd name="connsiteY162" fmla="*/ 16879 h 169208"/>
                <a:gd name="connsiteX163" fmla="*/ 28744 w 281835"/>
                <a:gd name="connsiteY163" fmla="*/ 16021 h 169208"/>
                <a:gd name="connsiteX164" fmla="*/ 33836 w 281835"/>
                <a:gd name="connsiteY164" fmla="*/ 13996 h 169208"/>
                <a:gd name="connsiteX165" fmla="*/ 31768 w 281835"/>
                <a:gd name="connsiteY165" fmla="*/ 11253 h 169208"/>
                <a:gd name="connsiteX166" fmla="*/ 61406 w 281835"/>
                <a:gd name="connsiteY166" fmla="*/ 11253 h 169208"/>
                <a:gd name="connsiteX167" fmla="*/ 68558 w 281835"/>
                <a:gd name="connsiteY167" fmla="*/ 13996 h 169208"/>
                <a:gd name="connsiteX168" fmla="*/ 76210 w 281835"/>
                <a:gd name="connsiteY168" fmla="*/ 16021 h 169208"/>
                <a:gd name="connsiteX169" fmla="*/ 77898 w 281835"/>
                <a:gd name="connsiteY169" fmla="*/ 18624 h 169208"/>
                <a:gd name="connsiteX170" fmla="*/ 81619 w 281835"/>
                <a:gd name="connsiteY170" fmla="*/ 17730 h 169208"/>
                <a:gd name="connsiteX171" fmla="*/ 85114 w 281835"/>
                <a:gd name="connsiteY171" fmla="*/ 19861 h 169208"/>
                <a:gd name="connsiteX172" fmla="*/ 90304 w 281835"/>
                <a:gd name="connsiteY172" fmla="*/ 19861 h 169208"/>
                <a:gd name="connsiteX173" fmla="*/ 93800 w 281835"/>
                <a:gd name="connsiteY173" fmla="*/ 17730 h 169208"/>
                <a:gd name="connsiteX174" fmla="*/ 96388 w 281835"/>
                <a:gd name="connsiteY174" fmla="*/ 20515 h 169208"/>
                <a:gd name="connsiteX175" fmla="*/ 99328 w 281835"/>
                <a:gd name="connsiteY175" fmla="*/ 19861 h 169208"/>
                <a:gd name="connsiteX176" fmla="*/ 101909 w 281835"/>
                <a:gd name="connsiteY176" fmla="*/ 22921 h 169208"/>
                <a:gd name="connsiteX177" fmla="*/ 105411 w 281835"/>
                <a:gd name="connsiteY177" fmla="*/ 19861 h 169208"/>
                <a:gd name="connsiteX178" fmla="*/ 110299 w 281835"/>
                <a:gd name="connsiteY178" fmla="*/ 20515 h 169208"/>
                <a:gd name="connsiteX179" fmla="*/ 113260 w 281835"/>
                <a:gd name="connsiteY179" fmla="*/ 24151 h 169208"/>
                <a:gd name="connsiteX180" fmla="*/ 126918 w 281835"/>
                <a:gd name="connsiteY180" fmla="*/ 24151 h 169208"/>
                <a:gd name="connsiteX181" fmla="*/ 131469 w 281835"/>
                <a:gd name="connsiteY181" fmla="*/ 26655 h 169208"/>
                <a:gd name="connsiteX182" fmla="*/ 132819 w 281835"/>
                <a:gd name="connsiteY182" fmla="*/ 16879 h 169208"/>
                <a:gd name="connsiteX183" fmla="*/ 135562 w 281835"/>
                <a:gd name="connsiteY183" fmla="*/ 9600 h 169208"/>
                <a:gd name="connsiteX184" fmla="*/ 152160 w 281835"/>
                <a:gd name="connsiteY184" fmla="*/ 7314 h 169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281835" h="169208">
                  <a:moveTo>
                    <a:pt x="152160" y="7314"/>
                  </a:moveTo>
                  <a:cubicBezTo>
                    <a:pt x="159074" y="9495"/>
                    <a:pt x="160354" y="3981"/>
                    <a:pt x="160129" y="956"/>
                  </a:cubicBezTo>
                  <a:cubicBezTo>
                    <a:pt x="162182" y="1716"/>
                    <a:pt x="166719" y="2258"/>
                    <a:pt x="168737" y="2426"/>
                  </a:cubicBezTo>
                  <a:lnTo>
                    <a:pt x="172950" y="0"/>
                  </a:lnTo>
                  <a:lnTo>
                    <a:pt x="175693" y="956"/>
                  </a:lnTo>
                  <a:lnTo>
                    <a:pt x="179568" y="956"/>
                  </a:lnTo>
                  <a:lnTo>
                    <a:pt x="183302" y="956"/>
                  </a:lnTo>
                  <a:lnTo>
                    <a:pt x="185237" y="3559"/>
                  </a:lnTo>
                  <a:cubicBezTo>
                    <a:pt x="185722" y="4810"/>
                    <a:pt x="186707" y="7772"/>
                    <a:pt x="186707" y="9600"/>
                  </a:cubicBezTo>
                  <a:cubicBezTo>
                    <a:pt x="186707" y="11429"/>
                    <a:pt x="190364" y="13292"/>
                    <a:pt x="192192" y="13996"/>
                  </a:cubicBezTo>
                  <a:lnTo>
                    <a:pt x="186707" y="17730"/>
                  </a:lnTo>
                  <a:lnTo>
                    <a:pt x="188156" y="20515"/>
                  </a:lnTo>
                  <a:lnTo>
                    <a:pt x="188156" y="24151"/>
                  </a:lnTo>
                  <a:lnTo>
                    <a:pt x="188156" y="26655"/>
                  </a:lnTo>
                  <a:lnTo>
                    <a:pt x="192192" y="27668"/>
                  </a:lnTo>
                  <a:lnTo>
                    <a:pt x="195428" y="29279"/>
                  </a:lnTo>
                  <a:lnTo>
                    <a:pt x="196567" y="30411"/>
                  </a:lnTo>
                  <a:lnTo>
                    <a:pt x="201574" y="29279"/>
                  </a:lnTo>
                  <a:lnTo>
                    <a:pt x="203522" y="31388"/>
                  </a:lnTo>
                  <a:lnTo>
                    <a:pt x="206441" y="36895"/>
                  </a:lnTo>
                  <a:lnTo>
                    <a:pt x="208214" y="40292"/>
                  </a:lnTo>
                  <a:lnTo>
                    <a:pt x="208214" y="43035"/>
                  </a:lnTo>
                  <a:lnTo>
                    <a:pt x="208214" y="47248"/>
                  </a:lnTo>
                  <a:lnTo>
                    <a:pt x="212581" y="49674"/>
                  </a:lnTo>
                  <a:lnTo>
                    <a:pt x="215007" y="48380"/>
                  </a:lnTo>
                  <a:lnTo>
                    <a:pt x="218883" y="48380"/>
                  </a:lnTo>
                  <a:lnTo>
                    <a:pt x="220514" y="50807"/>
                  </a:lnTo>
                  <a:lnTo>
                    <a:pt x="222779" y="50807"/>
                  </a:lnTo>
                  <a:lnTo>
                    <a:pt x="225838" y="53233"/>
                  </a:lnTo>
                  <a:lnTo>
                    <a:pt x="229896" y="50807"/>
                  </a:lnTo>
                  <a:cubicBezTo>
                    <a:pt x="231134" y="50856"/>
                    <a:pt x="234130" y="50708"/>
                    <a:pt x="236198" y="49674"/>
                  </a:cubicBezTo>
                  <a:cubicBezTo>
                    <a:pt x="238266" y="48641"/>
                    <a:pt x="239222" y="49245"/>
                    <a:pt x="239440" y="49674"/>
                  </a:cubicBezTo>
                  <a:lnTo>
                    <a:pt x="241705" y="53233"/>
                  </a:lnTo>
                  <a:lnTo>
                    <a:pt x="242676" y="56630"/>
                  </a:lnTo>
                  <a:cubicBezTo>
                    <a:pt x="244188" y="57657"/>
                    <a:pt x="247437" y="60034"/>
                    <a:pt x="248344" y="61321"/>
                  </a:cubicBezTo>
                  <a:cubicBezTo>
                    <a:pt x="249251" y="62608"/>
                    <a:pt x="250883" y="59275"/>
                    <a:pt x="251579" y="57446"/>
                  </a:cubicBezTo>
                  <a:lnTo>
                    <a:pt x="254006" y="59711"/>
                  </a:lnTo>
                  <a:lnTo>
                    <a:pt x="257227" y="59711"/>
                  </a:lnTo>
                  <a:lnTo>
                    <a:pt x="259991" y="61321"/>
                  </a:lnTo>
                  <a:lnTo>
                    <a:pt x="263550" y="62932"/>
                  </a:lnTo>
                  <a:lnTo>
                    <a:pt x="266947" y="62932"/>
                  </a:lnTo>
                  <a:lnTo>
                    <a:pt x="269057" y="65358"/>
                  </a:lnTo>
                  <a:lnTo>
                    <a:pt x="272932" y="65358"/>
                  </a:lnTo>
                  <a:lnTo>
                    <a:pt x="274380" y="68755"/>
                  </a:lnTo>
                  <a:cubicBezTo>
                    <a:pt x="275358" y="68924"/>
                    <a:pt x="277595" y="69346"/>
                    <a:pt x="278755" y="69726"/>
                  </a:cubicBezTo>
                  <a:cubicBezTo>
                    <a:pt x="280204" y="70204"/>
                    <a:pt x="281836" y="73945"/>
                    <a:pt x="281836" y="76210"/>
                  </a:cubicBezTo>
                  <a:cubicBezTo>
                    <a:pt x="281836" y="78475"/>
                    <a:pt x="275196" y="81379"/>
                    <a:pt x="274380" y="83644"/>
                  </a:cubicBezTo>
                  <a:cubicBezTo>
                    <a:pt x="273727" y="85459"/>
                    <a:pt x="277883" y="87421"/>
                    <a:pt x="280042" y="88173"/>
                  </a:cubicBezTo>
                  <a:cubicBezTo>
                    <a:pt x="279128" y="88019"/>
                    <a:pt x="277074" y="87793"/>
                    <a:pt x="276167" y="88173"/>
                  </a:cubicBezTo>
                  <a:cubicBezTo>
                    <a:pt x="275267" y="88553"/>
                    <a:pt x="274599" y="90389"/>
                    <a:pt x="274380" y="91254"/>
                  </a:cubicBezTo>
                  <a:lnTo>
                    <a:pt x="278755" y="97935"/>
                  </a:lnTo>
                  <a:lnTo>
                    <a:pt x="277299" y="99504"/>
                  </a:lnTo>
                  <a:lnTo>
                    <a:pt x="278755" y="101628"/>
                  </a:lnTo>
                  <a:cubicBezTo>
                    <a:pt x="277890" y="103076"/>
                    <a:pt x="276167" y="106150"/>
                    <a:pt x="276167" y="106881"/>
                  </a:cubicBezTo>
                  <a:cubicBezTo>
                    <a:pt x="276167" y="107796"/>
                    <a:pt x="274380" y="109821"/>
                    <a:pt x="272932" y="110834"/>
                  </a:cubicBezTo>
                  <a:cubicBezTo>
                    <a:pt x="271476" y="111847"/>
                    <a:pt x="263050" y="109821"/>
                    <a:pt x="261285" y="109821"/>
                  </a:cubicBezTo>
                  <a:cubicBezTo>
                    <a:pt x="259513" y="109821"/>
                    <a:pt x="259829" y="112923"/>
                    <a:pt x="258697" y="114772"/>
                  </a:cubicBezTo>
                  <a:cubicBezTo>
                    <a:pt x="257565" y="116615"/>
                    <a:pt x="253668" y="115687"/>
                    <a:pt x="252536" y="116657"/>
                  </a:cubicBezTo>
                  <a:cubicBezTo>
                    <a:pt x="251629" y="117438"/>
                    <a:pt x="252156" y="123887"/>
                    <a:pt x="252536" y="127010"/>
                  </a:cubicBezTo>
                  <a:lnTo>
                    <a:pt x="250271" y="127010"/>
                  </a:lnTo>
                  <a:lnTo>
                    <a:pt x="241705" y="128086"/>
                  </a:lnTo>
                  <a:lnTo>
                    <a:pt x="237830" y="132299"/>
                  </a:lnTo>
                  <a:lnTo>
                    <a:pt x="235066" y="132299"/>
                  </a:lnTo>
                  <a:lnTo>
                    <a:pt x="231824" y="133094"/>
                  </a:lnTo>
                  <a:cubicBezTo>
                    <a:pt x="230965" y="133980"/>
                    <a:pt x="228820" y="135541"/>
                    <a:pt x="227133" y="134767"/>
                  </a:cubicBezTo>
                  <a:cubicBezTo>
                    <a:pt x="225452" y="133987"/>
                    <a:pt x="222877" y="136800"/>
                    <a:pt x="221808" y="138305"/>
                  </a:cubicBezTo>
                  <a:cubicBezTo>
                    <a:pt x="220402" y="138305"/>
                    <a:pt x="217237" y="138115"/>
                    <a:pt x="215823" y="137369"/>
                  </a:cubicBezTo>
                  <a:cubicBezTo>
                    <a:pt x="214410" y="136624"/>
                    <a:pt x="208579" y="141407"/>
                    <a:pt x="205844" y="143889"/>
                  </a:cubicBezTo>
                  <a:lnTo>
                    <a:pt x="203895" y="143889"/>
                  </a:lnTo>
                  <a:cubicBezTo>
                    <a:pt x="203122" y="144550"/>
                    <a:pt x="201392" y="146034"/>
                    <a:pt x="200660" y="146653"/>
                  </a:cubicBezTo>
                  <a:cubicBezTo>
                    <a:pt x="199929" y="147272"/>
                    <a:pt x="198114" y="148383"/>
                    <a:pt x="197298" y="148855"/>
                  </a:cubicBezTo>
                  <a:lnTo>
                    <a:pt x="190279" y="147567"/>
                  </a:lnTo>
                  <a:cubicBezTo>
                    <a:pt x="188767" y="147997"/>
                    <a:pt x="185574" y="148855"/>
                    <a:pt x="184955" y="148855"/>
                  </a:cubicBezTo>
                  <a:cubicBezTo>
                    <a:pt x="184336" y="148855"/>
                    <a:pt x="181157" y="149375"/>
                    <a:pt x="179645" y="149635"/>
                  </a:cubicBezTo>
                  <a:lnTo>
                    <a:pt x="176009" y="151246"/>
                  </a:lnTo>
                  <a:lnTo>
                    <a:pt x="173147" y="148855"/>
                  </a:lnTo>
                  <a:lnTo>
                    <a:pt x="168737" y="149635"/>
                  </a:lnTo>
                  <a:lnTo>
                    <a:pt x="162773" y="151246"/>
                  </a:lnTo>
                  <a:lnTo>
                    <a:pt x="158757" y="149635"/>
                  </a:lnTo>
                  <a:lnTo>
                    <a:pt x="152399" y="145880"/>
                  </a:lnTo>
                  <a:cubicBezTo>
                    <a:pt x="152350" y="144424"/>
                    <a:pt x="152934" y="141526"/>
                    <a:pt x="155634" y="141526"/>
                  </a:cubicBezTo>
                  <a:cubicBezTo>
                    <a:pt x="158342" y="141526"/>
                    <a:pt x="158842" y="140450"/>
                    <a:pt x="158757" y="139916"/>
                  </a:cubicBezTo>
                  <a:cubicBezTo>
                    <a:pt x="157977" y="139655"/>
                    <a:pt x="156021" y="138973"/>
                    <a:pt x="154467" y="138305"/>
                  </a:cubicBezTo>
                  <a:cubicBezTo>
                    <a:pt x="152519" y="137468"/>
                    <a:pt x="146034" y="138305"/>
                    <a:pt x="144986" y="138305"/>
                  </a:cubicBezTo>
                  <a:cubicBezTo>
                    <a:pt x="144143" y="138305"/>
                    <a:pt x="137806" y="139374"/>
                    <a:pt x="134746" y="139916"/>
                  </a:cubicBezTo>
                  <a:cubicBezTo>
                    <a:pt x="134831" y="140689"/>
                    <a:pt x="134957" y="142511"/>
                    <a:pt x="134746" y="143594"/>
                  </a:cubicBezTo>
                  <a:cubicBezTo>
                    <a:pt x="134486" y="144944"/>
                    <a:pt x="130709" y="149255"/>
                    <a:pt x="130076" y="151246"/>
                  </a:cubicBezTo>
                  <a:cubicBezTo>
                    <a:pt x="129444" y="153229"/>
                    <a:pt x="119583" y="161162"/>
                    <a:pt x="117593" y="162710"/>
                  </a:cubicBezTo>
                  <a:cubicBezTo>
                    <a:pt x="116003" y="163954"/>
                    <a:pt x="114041" y="164194"/>
                    <a:pt x="113260" y="164165"/>
                  </a:cubicBezTo>
                  <a:cubicBezTo>
                    <a:pt x="112557" y="164637"/>
                    <a:pt x="111059" y="165650"/>
                    <a:pt x="110693" y="165952"/>
                  </a:cubicBezTo>
                  <a:cubicBezTo>
                    <a:pt x="110328" y="166254"/>
                    <a:pt x="108358" y="167309"/>
                    <a:pt x="107416" y="167802"/>
                  </a:cubicBezTo>
                  <a:cubicBezTo>
                    <a:pt x="106417" y="167977"/>
                    <a:pt x="104321" y="168413"/>
                    <a:pt x="103942" y="168737"/>
                  </a:cubicBezTo>
                  <a:cubicBezTo>
                    <a:pt x="103555" y="169053"/>
                    <a:pt x="101381" y="169187"/>
                    <a:pt x="100341" y="169208"/>
                  </a:cubicBezTo>
                  <a:cubicBezTo>
                    <a:pt x="99475" y="168772"/>
                    <a:pt x="97408" y="167731"/>
                    <a:pt x="96107" y="167063"/>
                  </a:cubicBezTo>
                  <a:cubicBezTo>
                    <a:pt x="94806" y="166395"/>
                    <a:pt x="93842" y="164855"/>
                    <a:pt x="93526" y="164165"/>
                  </a:cubicBezTo>
                  <a:lnTo>
                    <a:pt x="95115" y="163722"/>
                  </a:lnTo>
                  <a:lnTo>
                    <a:pt x="97739" y="162351"/>
                  </a:lnTo>
                  <a:lnTo>
                    <a:pt x="99229" y="160290"/>
                  </a:lnTo>
                  <a:cubicBezTo>
                    <a:pt x="100010" y="159235"/>
                    <a:pt x="101599" y="157020"/>
                    <a:pt x="101691" y="156612"/>
                  </a:cubicBezTo>
                  <a:cubicBezTo>
                    <a:pt x="101811" y="156092"/>
                    <a:pt x="104912" y="154087"/>
                    <a:pt x="105869" y="153609"/>
                  </a:cubicBezTo>
                  <a:cubicBezTo>
                    <a:pt x="106628" y="153229"/>
                    <a:pt x="106804" y="151872"/>
                    <a:pt x="106804" y="151246"/>
                  </a:cubicBezTo>
                  <a:lnTo>
                    <a:pt x="106804" y="143594"/>
                  </a:lnTo>
                  <a:cubicBezTo>
                    <a:pt x="106804" y="142813"/>
                    <a:pt x="107965" y="141885"/>
                    <a:pt x="108548" y="141526"/>
                  </a:cubicBezTo>
                  <a:cubicBezTo>
                    <a:pt x="111284" y="142047"/>
                    <a:pt x="116925" y="143059"/>
                    <a:pt x="117593" y="142933"/>
                  </a:cubicBezTo>
                  <a:cubicBezTo>
                    <a:pt x="118261" y="142806"/>
                    <a:pt x="120856" y="143517"/>
                    <a:pt x="122066" y="143889"/>
                  </a:cubicBezTo>
                  <a:lnTo>
                    <a:pt x="122066" y="141526"/>
                  </a:lnTo>
                  <a:lnTo>
                    <a:pt x="122066" y="138305"/>
                  </a:lnTo>
                  <a:cubicBezTo>
                    <a:pt x="121700" y="136687"/>
                    <a:pt x="120976" y="133382"/>
                    <a:pt x="120976" y="133094"/>
                  </a:cubicBezTo>
                  <a:cubicBezTo>
                    <a:pt x="120976" y="132735"/>
                    <a:pt x="118549" y="132460"/>
                    <a:pt x="117593" y="132299"/>
                  </a:cubicBezTo>
                  <a:cubicBezTo>
                    <a:pt x="116636" y="132144"/>
                    <a:pt x="116067" y="130034"/>
                    <a:pt x="116123" y="128086"/>
                  </a:cubicBezTo>
                  <a:cubicBezTo>
                    <a:pt x="116179" y="126138"/>
                    <a:pt x="116123" y="124155"/>
                    <a:pt x="115708" y="123557"/>
                  </a:cubicBezTo>
                  <a:cubicBezTo>
                    <a:pt x="115286" y="122959"/>
                    <a:pt x="113795" y="122305"/>
                    <a:pt x="113120" y="121883"/>
                  </a:cubicBezTo>
                  <a:cubicBezTo>
                    <a:pt x="112444" y="121468"/>
                    <a:pt x="110018" y="118922"/>
                    <a:pt x="109702" y="118148"/>
                  </a:cubicBezTo>
                  <a:cubicBezTo>
                    <a:pt x="109385" y="117375"/>
                    <a:pt x="109385" y="115919"/>
                    <a:pt x="110018" y="114772"/>
                  </a:cubicBezTo>
                  <a:cubicBezTo>
                    <a:pt x="110658" y="113619"/>
                    <a:pt x="110595" y="111129"/>
                    <a:pt x="110440" y="109821"/>
                  </a:cubicBezTo>
                  <a:cubicBezTo>
                    <a:pt x="110279" y="108506"/>
                    <a:pt x="109322" y="107556"/>
                    <a:pt x="108548" y="107556"/>
                  </a:cubicBezTo>
                  <a:cubicBezTo>
                    <a:pt x="107775" y="107556"/>
                    <a:pt x="106621" y="106881"/>
                    <a:pt x="105784" y="106881"/>
                  </a:cubicBezTo>
                  <a:cubicBezTo>
                    <a:pt x="104954" y="106881"/>
                    <a:pt x="103083" y="103224"/>
                    <a:pt x="102092" y="102985"/>
                  </a:cubicBezTo>
                  <a:cubicBezTo>
                    <a:pt x="101297" y="102795"/>
                    <a:pt x="99349" y="103660"/>
                    <a:pt x="98470" y="104117"/>
                  </a:cubicBezTo>
                  <a:lnTo>
                    <a:pt x="97042" y="102387"/>
                  </a:lnTo>
                  <a:lnTo>
                    <a:pt x="92949" y="100418"/>
                  </a:lnTo>
                  <a:lnTo>
                    <a:pt x="89489" y="97935"/>
                  </a:lnTo>
                  <a:lnTo>
                    <a:pt x="86605" y="95889"/>
                  </a:lnTo>
                  <a:lnTo>
                    <a:pt x="84502" y="95889"/>
                  </a:lnTo>
                  <a:lnTo>
                    <a:pt x="81696" y="97260"/>
                  </a:lnTo>
                  <a:lnTo>
                    <a:pt x="78616" y="98688"/>
                  </a:lnTo>
                  <a:lnTo>
                    <a:pt x="73249" y="97935"/>
                  </a:lnTo>
                  <a:lnTo>
                    <a:pt x="72117" y="98688"/>
                  </a:lnTo>
                  <a:lnTo>
                    <a:pt x="70310" y="100875"/>
                  </a:lnTo>
                  <a:lnTo>
                    <a:pt x="66294" y="101628"/>
                  </a:lnTo>
                  <a:lnTo>
                    <a:pt x="64564" y="104117"/>
                  </a:lnTo>
                  <a:lnTo>
                    <a:pt x="62833" y="106881"/>
                  </a:lnTo>
                  <a:lnTo>
                    <a:pt x="57087" y="107676"/>
                  </a:lnTo>
                  <a:lnTo>
                    <a:pt x="49991" y="107676"/>
                  </a:lnTo>
                  <a:cubicBezTo>
                    <a:pt x="49133" y="107676"/>
                    <a:pt x="48071" y="108907"/>
                    <a:pt x="47649" y="109519"/>
                  </a:cubicBezTo>
                  <a:cubicBezTo>
                    <a:pt x="46699" y="110370"/>
                    <a:pt x="44491" y="112065"/>
                    <a:pt x="43232" y="112065"/>
                  </a:cubicBezTo>
                  <a:cubicBezTo>
                    <a:pt x="41980" y="112065"/>
                    <a:pt x="38921" y="109139"/>
                    <a:pt x="37550" y="107676"/>
                  </a:cubicBezTo>
                  <a:lnTo>
                    <a:pt x="34610" y="108647"/>
                  </a:lnTo>
                  <a:lnTo>
                    <a:pt x="30094" y="107676"/>
                  </a:lnTo>
                  <a:lnTo>
                    <a:pt x="24053" y="106101"/>
                  </a:lnTo>
                  <a:lnTo>
                    <a:pt x="20297" y="106101"/>
                  </a:lnTo>
                  <a:lnTo>
                    <a:pt x="16563" y="105404"/>
                  </a:lnTo>
                  <a:cubicBezTo>
                    <a:pt x="16042" y="105510"/>
                    <a:pt x="15008" y="105784"/>
                    <a:pt x="15008" y="106101"/>
                  </a:cubicBezTo>
                  <a:cubicBezTo>
                    <a:pt x="15008" y="106424"/>
                    <a:pt x="12653" y="106755"/>
                    <a:pt x="11471" y="106881"/>
                  </a:cubicBezTo>
                  <a:lnTo>
                    <a:pt x="4220" y="100319"/>
                  </a:lnTo>
                  <a:lnTo>
                    <a:pt x="0" y="96205"/>
                  </a:lnTo>
                  <a:lnTo>
                    <a:pt x="0" y="93940"/>
                  </a:lnTo>
                  <a:lnTo>
                    <a:pt x="3341" y="89151"/>
                  </a:lnTo>
                  <a:lnTo>
                    <a:pt x="4810" y="84242"/>
                  </a:lnTo>
                  <a:lnTo>
                    <a:pt x="5690" y="80128"/>
                  </a:lnTo>
                  <a:lnTo>
                    <a:pt x="9030" y="80718"/>
                  </a:lnTo>
                  <a:lnTo>
                    <a:pt x="9030" y="77483"/>
                  </a:lnTo>
                  <a:cubicBezTo>
                    <a:pt x="9256" y="76112"/>
                    <a:pt x="9565" y="73073"/>
                    <a:pt x="9030" y="71892"/>
                  </a:cubicBezTo>
                  <a:cubicBezTo>
                    <a:pt x="8489" y="70717"/>
                    <a:pt x="8799" y="68980"/>
                    <a:pt x="9030" y="68256"/>
                  </a:cubicBezTo>
                  <a:lnTo>
                    <a:pt x="15008" y="61005"/>
                  </a:lnTo>
                  <a:lnTo>
                    <a:pt x="19404" y="54942"/>
                  </a:lnTo>
                  <a:lnTo>
                    <a:pt x="24053" y="50132"/>
                  </a:lnTo>
                  <a:cubicBezTo>
                    <a:pt x="25614" y="49506"/>
                    <a:pt x="28899" y="48127"/>
                    <a:pt x="29497" y="47586"/>
                  </a:cubicBezTo>
                  <a:cubicBezTo>
                    <a:pt x="30256" y="46910"/>
                    <a:pt x="30094" y="42578"/>
                    <a:pt x="30094" y="40630"/>
                  </a:cubicBezTo>
                  <a:cubicBezTo>
                    <a:pt x="30094" y="39069"/>
                    <a:pt x="28357" y="35552"/>
                    <a:pt x="27492" y="33991"/>
                  </a:cubicBezTo>
                  <a:cubicBezTo>
                    <a:pt x="26852" y="32289"/>
                    <a:pt x="25263" y="28435"/>
                    <a:pt x="24053" y="26655"/>
                  </a:cubicBezTo>
                  <a:cubicBezTo>
                    <a:pt x="22843" y="24876"/>
                    <a:pt x="22449" y="21380"/>
                    <a:pt x="22407" y="19861"/>
                  </a:cubicBezTo>
                  <a:lnTo>
                    <a:pt x="22407" y="16879"/>
                  </a:lnTo>
                  <a:cubicBezTo>
                    <a:pt x="23554" y="16591"/>
                    <a:pt x="26423" y="16021"/>
                    <a:pt x="28744" y="16021"/>
                  </a:cubicBezTo>
                  <a:cubicBezTo>
                    <a:pt x="31649" y="16021"/>
                    <a:pt x="33140" y="15107"/>
                    <a:pt x="33836" y="13996"/>
                  </a:cubicBezTo>
                  <a:cubicBezTo>
                    <a:pt x="34392" y="13102"/>
                    <a:pt x="32690" y="11794"/>
                    <a:pt x="31768" y="11253"/>
                  </a:cubicBezTo>
                  <a:lnTo>
                    <a:pt x="61406" y="11253"/>
                  </a:lnTo>
                  <a:lnTo>
                    <a:pt x="68558" y="13996"/>
                  </a:lnTo>
                  <a:cubicBezTo>
                    <a:pt x="70619" y="14636"/>
                    <a:pt x="75036" y="15944"/>
                    <a:pt x="76210" y="16021"/>
                  </a:cubicBezTo>
                  <a:cubicBezTo>
                    <a:pt x="77385" y="16099"/>
                    <a:pt x="77828" y="17794"/>
                    <a:pt x="77898" y="18624"/>
                  </a:cubicBezTo>
                  <a:cubicBezTo>
                    <a:pt x="78798" y="18328"/>
                    <a:pt x="80803" y="17730"/>
                    <a:pt x="81619" y="17730"/>
                  </a:cubicBezTo>
                  <a:cubicBezTo>
                    <a:pt x="82428" y="17730"/>
                    <a:pt x="84284" y="19151"/>
                    <a:pt x="85114" y="19861"/>
                  </a:cubicBezTo>
                  <a:lnTo>
                    <a:pt x="90304" y="19861"/>
                  </a:lnTo>
                  <a:cubicBezTo>
                    <a:pt x="91993" y="19861"/>
                    <a:pt x="93005" y="17948"/>
                    <a:pt x="93800" y="17730"/>
                  </a:cubicBezTo>
                  <a:cubicBezTo>
                    <a:pt x="94595" y="17512"/>
                    <a:pt x="95488" y="19861"/>
                    <a:pt x="96388" y="20515"/>
                  </a:cubicBezTo>
                  <a:cubicBezTo>
                    <a:pt x="97281" y="21169"/>
                    <a:pt x="98435" y="19861"/>
                    <a:pt x="99328" y="19861"/>
                  </a:cubicBezTo>
                  <a:cubicBezTo>
                    <a:pt x="100045" y="19861"/>
                    <a:pt x="101346" y="21901"/>
                    <a:pt x="101909" y="22921"/>
                  </a:cubicBezTo>
                  <a:cubicBezTo>
                    <a:pt x="102176" y="22611"/>
                    <a:pt x="103245" y="21577"/>
                    <a:pt x="105411" y="19861"/>
                  </a:cubicBezTo>
                  <a:cubicBezTo>
                    <a:pt x="108112" y="17709"/>
                    <a:pt x="110081" y="19383"/>
                    <a:pt x="110299" y="20515"/>
                  </a:cubicBezTo>
                  <a:cubicBezTo>
                    <a:pt x="110475" y="21423"/>
                    <a:pt x="112346" y="23315"/>
                    <a:pt x="113260" y="24151"/>
                  </a:cubicBezTo>
                  <a:cubicBezTo>
                    <a:pt x="116601" y="23089"/>
                    <a:pt x="124007" y="21606"/>
                    <a:pt x="126918" y="24151"/>
                  </a:cubicBezTo>
                  <a:cubicBezTo>
                    <a:pt x="130555" y="27330"/>
                    <a:pt x="130555" y="27788"/>
                    <a:pt x="131469" y="26655"/>
                  </a:cubicBezTo>
                  <a:cubicBezTo>
                    <a:pt x="132383" y="25523"/>
                    <a:pt x="132819" y="19601"/>
                    <a:pt x="132819" y="16879"/>
                  </a:cubicBezTo>
                  <a:cubicBezTo>
                    <a:pt x="132819" y="14699"/>
                    <a:pt x="134648" y="11119"/>
                    <a:pt x="135562" y="9600"/>
                  </a:cubicBezTo>
                  <a:cubicBezTo>
                    <a:pt x="138214" y="7933"/>
                    <a:pt x="145240" y="5134"/>
                    <a:pt x="152160" y="731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7" name="Freihandform: Form 272">
              <a:extLst>
                <a:ext uri="{FF2B5EF4-FFF2-40B4-BE49-F238E27FC236}">
                  <a16:creationId xmlns:a16="http://schemas.microsoft.com/office/drawing/2014/main" id="{917E8115-B9FD-F44B-A755-605F5049D09D}"/>
                </a:ext>
              </a:extLst>
            </p:cNvPr>
            <p:cNvSpPr/>
            <p:nvPr/>
          </p:nvSpPr>
          <p:spPr>
            <a:xfrm>
              <a:off x="6665890" y="3706711"/>
              <a:ext cx="64247" cy="39139"/>
            </a:xfrm>
            <a:custGeom>
              <a:avLst/>
              <a:gdLst>
                <a:gd name="connsiteX0" fmla="*/ 24771 w 64247"/>
                <a:gd name="connsiteY0" fmla="*/ 0 h 39139"/>
                <a:gd name="connsiteX1" fmla="*/ 17154 w 64247"/>
                <a:gd name="connsiteY1" fmla="*/ 1456 h 39139"/>
                <a:gd name="connsiteX2" fmla="*/ 17970 w 64247"/>
                <a:gd name="connsiteY2" fmla="*/ 4037 h 39139"/>
                <a:gd name="connsiteX3" fmla="*/ 19425 w 64247"/>
                <a:gd name="connsiteY3" fmla="*/ 5493 h 39139"/>
                <a:gd name="connsiteX4" fmla="*/ 19425 w 64247"/>
                <a:gd name="connsiteY4" fmla="*/ 6302 h 39139"/>
                <a:gd name="connsiteX5" fmla="*/ 17970 w 64247"/>
                <a:gd name="connsiteY5" fmla="*/ 7434 h 39139"/>
                <a:gd name="connsiteX6" fmla="*/ 14073 w 64247"/>
                <a:gd name="connsiteY6" fmla="*/ 7434 h 39139"/>
                <a:gd name="connsiteX7" fmla="*/ 12146 w 64247"/>
                <a:gd name="connsiteY7" fmla="*/ 8412 h 39139"/>
                <a:gd name="connsiteX8" fmla="*/ 10676 w 64247"/>
                <a:gd name="connsiteY8" fmla="*/ 9544 h 39139"/>
                <a:gd name="connsiteX9" fmla="*/ 8587 w 64247"/>
                <a:gd name="connsiteY9" fmla="*/ 11316 h 39139"/>
                <a:gd name="connsiteX10" fmla="*/ 5824 w 64247"/>
                <a:gd name="connsiteY10" fmla="*/ 11316 h 39139"/>
                <a:gd name="connsiteX11" fmla="*/ 4058 w 64247"/>
                <a:gd name="connsiteY11" fmla="*/ 13264 h 39139"/>
                <a:gd name="connsiteX12" fmla="*/ 2272 w 64247"/>
                <a:gd name="connsiteY12" fmla="*/ 15684 h 39139"/>
                <a:gd name="connsiteX13" fmla="*/ 0 w 64247"/>
                <a:gd name="connsiteY13" fmla="*/ 18110 h 39139"/>
                <a:gd name="connsiteX14" fmla="*/ 2272 w 64247"/>
                <a:gd name="connsiteY14" fmla="*/ 18110 h 39139"/>
                <a:gd name="connsiteX15" fmla="*/ 5824 w 64247"/>
                <a:gd name="connsiteY15" fmla="*/ 18110 h 39139"/>
                <a:gd name="connsiteX16" fmla="*/ 8587 w 64247"/>
                <a:gd name="connsiteY16" fmla="*/ 18110 h 39139"/>
                <a:gd name="connsiteX17" fmla="*/ 10676 w 64247"/>
                <a:gd name="connsiteY17" fmla="*/ 20698 h 39139"/>
                <a:gd name="connsiteX18" fmla="*/ 13102 w 64247"/>
                <a:gd name="connsiteY18" fmla="*/ 22801 h 39139"/>
                <a:gd name="connsiteX19" fmla="*/ 15206 w 64247"/>
                <a:gd name="connsiteY19" fmla="*/ 22801 h 39139"/>
                <a:gd name="connsiteX20" fmla="*/ 17154 w 64247"/>
                <a:gd name="connsiteY20" fmla="*/ 23617 h 39139"/>
                <a:gd name="connsiteX21" fmla="*/ 17154 w 64247"/>
                <a:gd name="connsiteY21" fmla="*/ 27492 h 39139"/>
                <a:gd name="connsiteX22" fmla="*/ 17154 w 64247"/>
                <a:gd name="connsiteY22" fmla="*/ 29279 h 39139"/>
                <a:gd name="connsiteX23" fmla="*/ 17154 w 64247"/>
                <a:gd name="connsiteY23" fmla="*/ 32521 h 39139"/>
                <a:gd name="connsiteX24" fmla="*/ 15206 w 64247"/>
                <a:gd name="connsiteY24" fmla="*/ 35109 h 39139"/>
                <a:gd name="connsiteX25" fmla="*/ 15206 w 64247"/>
                <a:gd name="connsiteY25" fmla="*/ 36874 h 39139"/>
                <a:gd name="connsiteX26" fmla="*/ 19425 w 64247"/>
                <a:gd name="connsiteY26" fmla="*/ 39139 h 39139"/>
                <a:gd name="connsiteX27" fmla="*/ 23793 w 64247"/>
                <a:gd name="connsiteY27" fmla="*/ 39139 h 39139"/>
                <a:gd name="connsiteX28" fmla="*/ 27352 w 64247"/>
                <a:gd name="connsiteY28" fmla="*/ 36874 h 39139"/>
                <a:gd name="connsiteX29" fmla="*/ 29279 w 64247"/>
                <a:gd name="connsiteY29" fmla="*/ 35109 h 39139"/>
                <a:gd name="connsiteX30" fmla="*/ 30256 w 64247"/>
                <a:gd name="connsiteY30" fmla="*/ 32521 h 39139"/>
                <a:gd name="connsiteX31" fmla="*/ 33653 w 64247"/>
                <a:gd name="connsiteY31" fmla="*/ 30573 h 39139"/>
                <a:gd name="connsiteX32" fmla="*/ 36734 w 64247"/>
                <a:gd name="connsiteY32" fmla="*/ 30573 h 39139"/>
                <a:gd name="connsiteX33" fmla="*/ 40454 w 64247"/>
                <a:gd name="connsiteY33" fmla="*/ 29279 h 39139"/>
                <a:gd name="connsiteX34" fmla="*/ 43373 w 64247"/>
                <a:gd name="connsiteY34" fmla="*/ 27492 h 39139"/>
                <a:gd name="connsiteX35" fmla="*/ 44822 w 64247"/>
                <a:gd name="connsiteY35" fmla="*/ 25066 h 39139"/>
                <a:gd name="connsiteX36" fmla="*/ 46594 w 64247"/>
                <a:gd name="connsiteY36" fmla="*/ 23617 h 39139"/>
                <a:gd name="connsiteX37" fmla="*/ 50490 w 64247"/>
                <a:gd name="connsiteY37" fmla="*/ 23617 h 39139"/>
                <a:gd name="connsiteX38" fmla="*/ 50490 w 64247"/>
                <a:gd name="connsiteY38" fmla="*/ 25882 h 39139"/>
                <a:gd name="connsiteX39" fmla="*/ 55498 w 64247"/>
                <a:gd name="connsiteY39" fmla="*/ 25882 h 39139"/>
                <a:gd name="connsiteX40" fmla="*/ 61638 w 64247"/>
                <a:gd name="connsiteY40" fmla="*/ 25066 h 39139"/>
                <a:gd name="connsiteX41" fmla="*/ 61638 w 64247"/>
                <a:gd name="connsiteY41" fmla="*/ 22801 h 39139"/>
                <a:gd name="connsiteX42" fmla="*/ 61638 w 64247"/>
                <a:gd name="connsiteY42" fmla="*/ 18764 h 39139"/>
                <a:gd name="connsiteX43" fmla="*/ 64247 w 64247"/>
                <a:gd name="connsiteY43" fmla="*/ 18110 h 39139"/>
                <a:gd name="connsiteX44" fmla="*/ 63748 w 64247"/>
                <a:gd name="connsiteY44" fmla="*/ 15684 h 39139"/>
                <a:gd name="connsiteX45" fmla="*/ 60351 w 64247"/>
                <a:gd name="connsiteY45" fmla="*/ 15684 h 39139"/>
                <a:gd name="connsiteX46" fmla="*/ 56314 w 64247"/>
                <a:gd name="connsiteY46" fmla="*/ 15684 h 39139"/>
                <a:gd name="connsiteX47" fmla="*/ 53887 w 64247"/>
                <a:gd name="connsiteY47" fmla="*/ 17140 h 39139"/>
                <a:gd name="connsiteX48" fmla="*/ 51784 w 64247"/>
                <a:gd name="connsiteY48" fmla="*/ 15684 h 39139"/>
                <a:gd name="connsiteX49" fmla="*/ 50490 w 64247"/>
                <a:gd name="connsiteY49" fmla="*/ 18764 h 39139"/>
                <a:gd name="connsiteX50" fmla="*/ 48064 w 64247"/>
                <a:gd name="connsiteY50" fmla="*/ 18764 h 39139"/>
                <a:gd name="connsiteX51" fmla="*/ 44822 w 64247"/>
                <a:gd name="connsiteY51" fmla="*/ 18764 h 39139"/>
                <a:gd name="connsiteX52" fmla="*/ 40454 w 64247"/>
                <a:gd name="connsiteY52" fmla="*/ 17140 h 39139"/>
                <a:gd name="connsiteX53" fmla="*/ 39476 w 64247"/>
                <a:gd name="connsiteY53" fmla="*/ 14551 h 39139"/>
                <a:gd name="connsiteX54" fmla="*/ 39476 w 64247"/>
                <a:gd name="connsiteY54" fmla="*/ 11316 h 39139"/>
                <a:gd name="connsiteX55" fmla="*/ 36734 w 64247"/>
                <a:gd name="connsiteY55" fmla="*/ 8412 h 39139"/>
                <a:gd name="connsiteX56" fmla="*/ 31726 w 64247"/>
                <a:gd name="connsiteY56" fmla="*/ 6302 h 39139"/>
                <a:gd name="connsiteX57" fmla="*/ 27352 w 64247"/>
                <a:gd name="connsiteY57" fmla="*/ 3221 h 39139"/>
                <a:gd name="connsiteX58" fmla="*/ 24771 w 64247"/>
                <a:gd name="connsiteY58" fmla="*/ 0 h 39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64247" h="39139">
                  <a:moveTo>
                    <a:pt x="24771" y="0"/>
                  </a:moveTo>
                  <a:lnTo>
                    <a:pt x="17154" y="1456"/>
                  </a:lnTo>
                  <a:lnTo>
                    <a:pt x="17970" y="4037"/>
                  </a:lnTo>
                  <a:lnTo>
                    <a:pt x="19425" y="5493"/>
                  </a:lnTo>
                  <a:lnTo>
                    <a:pt x="19425" y="6302"/>
                  </a:lnTo>
                  <a:lnTo>
                    <a:pt x="17970" y="7434"/>
                  </a:lnTo>
                  <a:lnTo>
                    <a:pt x="14073" y="7434"/>
                  </a:lnTo>
                  <a:lnTo>
                    <a:pt x="12146" y="8412"/>
                  </a:lnTo>
                  <a:lnTo>
                    <a:pt x="10676" y="9544"/>
                  </a:lnTo>
                  <a:lnTo>
                    <a:pt x="8587" y="11316"/>
                  </a:lnTo>
                  <a:lnTo>
                    <a:pt x="5824" y="11316"/>
                  </a:lnTo>
                  <a:lnTo>
                    <a:pt x="4058" y="13264"/>
                  </a:lnTo>
                  <a:lnTo>
                    <a:pt x="2272" y="15684"/>
                  </a:lnTo>
                  <a:lnTo>
                    <a:pt x="0" y="18110"/>
                  </a:lnTo>
                  <a:lnTo>
                    <a:pt x="2272" y="18110"/>
                  </a:lnTo>
                  <a:lnTo>
                    <a:pt x="5824" y="18110"/>
                  </a:lnTo>
                  <a:lnTo>
                    <a:pt x="8587" y="18110"/>
                  </a:lnTo>
                  <a:lnTo>
                    <a:pt x="10676" y="20698"/>
                  </a:lnTo>
                  <a:cubicBezTo>
                    <a:pt x="11168" y="21071"/>
                    <a:pt x="12336" y="22021"/>
                    <a:pt x="13102" y="22801"/>
                  </a:cubicBezTo>
                  <a:cubicBezTo>
                    <a:pt x="13862" y="23582"/>
                    <a:pt x="14826" y="23125"/>
                    <a:pt x="15206" y="22801"/>
                  </a:cubicBezTo>
                  <a:lnTo>
                    <a:pt x="17154" y="23617"/>
                  </a:lnTo>
                  <a:lnTo>
                    <a:pt x="17154" y="27492"/>
                  </a:lnTo>
                  <a:lnTo>
                    <a:pt x="17154" y="29279"/>
                  </a:lnTo>
                  <a:lnTo>
                    <a:pt x="17154" y="32521"/>
                  </a:lnTo>
                  <a:lnTo>
                    <a:pt x="15206" y="35109"/>
                  </a:lnTo>
                  <a:lnTo>
                    <a:pt x="15206" y="36874"/>
                  </a:lnTo>
                  <a:lnTo>
                    <a:pt x="19425" y="39139"/>
                  </a:lnTo>
                  <a:lnTo>
                    <a:pt x="23793" y="39139"/>
                  </a:lnTo>
                  <a:lnTo>
                    <a:pt x="27352" y="36874"/>
                  </a:lnTo>
                  <a:lnTo>
                    <a:pt x="29279" y="35109"/>
                  </a:lnTo>
                  <a:lnTo>
                    <a:pt x="30256" y="32521"/>
                  </a:lnTo>
                  <a:lnTo>
                    <a:pt x="33653" y="30573"/>
                  </a:lnTo>
                  <a:lnTo>
                    <a:pt x="36734" y="30573"/>
                  </a:lnTo>
                  <a:lnTo>
                    <a:pt x="40454" y="29279"/>
                  </a:lnTo>
                  <a:lnTo>
                    <a:pt x="43373" y="27492"/>
                  </a:lnTo>
                  <a:lnTo>
                    <a:pt x="44822" y="25066"/>
                  </a:lnTo>
                  <a:lnTo>
                    <a:pt x="46594" y="23617"/>
                  </a:lnTo>
                  <a:lnTo>
                    <a:pt x="50490" y="23617"/>
                  </a:lnTo>
                  <a:lnTo>
                    <a:pt x="50490" y="25882"/>
                  </a:lnTo>
                  <a:lnTo>
                    <a:pt x="55498" y="25882"/>
                  </a:lnTo>
                  <a:lnTo>
                    <a:pt x="61638" y="25066"/>
                  </a:lnTo>
                  <a:lnTo>
                    <a:pt x="61638" y="22801"/>
                  </a:lnTo>
                  <a:lnTo>
                    <a:pt x="61638" y="18764"/>
                  </a:lnTo>
                  <a:lnTo>
                    <a:pt x="64247" y="18110"/>
                  </a:lnTo>
                  <a:lnTo>
                    <a:pt x="63748" y="15684"/>
                  </a:lnTo>
                  <a:lnTo>
                    <a:pt x="60351" y="15684"/>
                  </a:lnTo>
                  <a:lnTo>
                    <a:pt x="56314" y="15684"/>
                  </a:lnTo>
                  <a:lnTo>
                    <a:pt x="53887" y="17140"/>
                  </a:lnTo>
                  <a:lnTo>
                    <a:pt x="51784" y="15684"/>
                  </a:lnTo>
                  <a:lnTo>
                    <a:pt x="50490" y="18764"/>
                  </a:lnTo>
                  <a:lnTo>
                    <a:pt x="48064" y="18764"/>
                  </a:lnTo>
                  <a:lnTo>
                    <a:pt x="44822" y="18764"/>
                  </a:lnTo>
                  <a:lnTo>
                    <a:pt x="40454" y="17140"/>
                  </a:lnTo>
                  <a:lnTo>
                    <a:pt x="39476" y="14551"/>
                  </a:lnTo>
                  <a:lnTo>
                    <a:pt x="39476" y="11316"/>
                  </a:lnTo>
                  <a:lnTo>
                    <a:pt x="36734" y="8412"/>
                  </a:lnTo>
                  <a:lnTo>
                    <a:pt x="31726" y="6302"/>
                  </a:lnTo>
                  <a:cubicBezTo>
                    <a:pt x="30594" y="5387"/>
                    <a:pt x="28132" y="3495"/>
                    <a:pt x="27352" y="3221"/>
                  </a:cubicBezTo>
                  <a:cubicBezTo>
                    <a:pt x="26571" y="2954"/>
                    <a:pt x="25305" y="964"/>
                    <a:pt x="24771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8" name="Freihandform: Form 273">
              <a:extLst>
                <a:ext uri="{FF2B5EF4-FFF2-40B4-BE49-F238E27FC236}">
                  <a16:creationId xmlns:a16="http://schemas.microsoft.com/office/drawing/2014/main" id="{18D8BC2A-1EA7-544F-87C4-303D5B9E8B56}"/>
                </a:ext>
              </a:extLst>
            </p:cNvPr>
            <p:cNvSpPr/>
            <p:nvPr/>
          </p:nvSpPr>
          <p:spPr>
            <a:xfrm>
              <a:off x="6231029" y="2919916"/>
              <a:ext cx="404351" cy="479526"/>
            </a:xfrm>
            <a:custGeom>
              <a:avLst/>
              <a:gdLst>
                <a:gd name="connsiteX0" fmla="*/ 376845 w 404351"/>
                <a:gd name="connsiteY0" fmla="*/ 90719 h 479526"/>
                <a:gd name="connsiteX1" fmla="*/ 371177 w 404351"/>
                <a:gd name="connsiteY1" fmla="*/ 94545 h 479526"/>
                <a:gd name="connsiteX2" fmla="*/ 375706 w 404351"/>
                <a:gd name="connsiteY2" fmla="*/ 78700 h 479526"/>
                <a:gd name="connsiteX3" fmla="*/ 376824 w 404351"/>
                <a:gd name="connsiteY3" fmla="*/ 77300 h 479526"/>
                <a:gd name="connsiteX4" fmla="*/ 377000 w 404351"/>
                <a:gd name="connsiteY4" fmla="*/ 75345 h 479526"/>
                <a:gd name="connsiteX5" fmla="*/ 376824 w 404351"/>
                <a:gd name="connsiteY5" fmla="*/ 74775 h 479526"/>
                <a:gd name="connsiteX6" fmla="*/ 375706 w 404351"/>
                <a:gd name="connsiteY6" fmla="*/ 78700 h 479526"/>
                <a:gd name="connsiteX7" fmla="*/ 373814 w 404351"/>
                <a:gd name="connsiteY7" fmla="*/ 81239 h 479526"/>
                <a:gd name="connsiteX8" fmla="*/ 375945 w 404351"/>
                <a:gd name="connsiteY8" fmla="*/ 70485 h 479526"/>
                <a:gd name="connsiteX9" fmla="*/ 375340 w 404351"/>
                <a:gd name="connsiteY9" fmla="*/ 69444 h 479526"/>
                <a:gd name="connsiteX10" fmla="*/ 374320 w 404351"/>
                <a:gd name="connsiteY10" fmla="*/ 67524 h 479526"/>
                <a:gd name="connsiteX11" fmla="*/ 370544 w 404351"/>
                <a:gd name="connsiteY11" fmla="*/ 64423 h 479526"/>
                <a:gd name="connsiteX12" fmla="*/ 367308 w 404351"/>
                <a:gd name="connsiteY12" fmla="*/ 62559 h 479526"/>
                <a:gd name="connsiteX13" fmla="*/ 366268 w 404351"/>
                <a:gd name="connsiteY13" fmla="*/ 61799 h 479526"/>
                <a:gd name="connsiteX14" fmla="*/ 366204 w 404351"/>
                <a:gd name="connsiteY14" fmla="*/ 61771 h 479526"/>
                <a:gd name="connsiteX15" fmla="*/ 363264 w 404351"/>
                <a:gd name="connsiteY15" fmla="*/ 59570 h 479526"/>
                <a:gd name="connsiteX16" fmla="*/ 361422 w 404351"/>
                <a:gd name="connsiteY16" fmla="*/ 57643 h 479526"/>
                <a:gd name="connsiteX17" fmla="*/ 358419 w 404351"/>
                <a:gd name="connsiteY17" fmla="*/ 54443 h 479526"/>
                <a:gd name="connsiteX18" fmla="*/ 354642 w 404351"/>
                <a:gd name="connsiteY18" fmla="*/ 49217 h 479526"/>
                <a:gd name="connsiteX19" fmla="*/ 352701 w 404351"/>
                <a:gd name="connsiteY19" fmla="*/ 48992 h 479526"/>
                <a:gd name="connsiteX20" fmla="*/ 352412 w 404351"/>
                <a:gd name="connsiteY20" fmla="*/ 49217 h 479526"/>
                <a:gd name="connsiteX21" fmla="*/ 351041 w 404351"/>
                <a:gd name="connsiteY21" fmla="*/ 50350 h 479526"/>
                <a:gd name="connsiteX22" fmla="*/ 351041 w 404351"/>
                <a:gd name="connsiteY22" fmla="*/ 50357 h 479526"/>
                <a:gd name="connsiteX23" fmla="*/ 351034 w 404351"/>
                <a:gd name="connsiteY23" fmla="*/ 50357 h 479526"/>
                <a:gd name="connsiteX24" fmla="*/ 347566 w 404351"/>
                <a:gd name="connsiteY24" fmla="*/ 53170 h 479526"/>
                <a:gd name="connsiteX25" fmla="*/ 346104 w 404351"/>
                <a:gd name="connsiteY25" fmla="*/ 54654 h 479526"/>
                <a:gd name="connsiteX26" fmla="*/ 345640 w 404351"/>
                <a:gd name="connsiteY26" fmla="*/ 55399 h 479526"/>
                <a:gd name="connsiteX27" fmla="*/ 344465 w 404351"/>
                <a:gd name="connsiteY27" fmla="*/ 55800 h 479526"/>
                <a:gd name="connsiteX28" fmla="*/ 343016 w 404351"/>
                <a:gd name="connsiteY28" fmla="*/ 55892 h 479526"/>
                <a:gd name="connsiteX29" fmla="*/ 341574 w 404351"/>
                <a:gd name="connsiteY29" fmla="*/ 55069 h 479526"/>
                <a:gd name="connsiteX30" fmla="*/ 341574 w 404351"/>
                <a:gd name="connsiteY30" fmla="*/ 55069 h 479526"/>
                <a:gd name="connsiteX31" fmla="*/ 341384 w 404351"/>
                <a:gd name="connsiteY31" fmla="*/ 54443 h 479526"/>
                <a:gd name="connsiteX32" fmla="*/ 339542 w 404351"/>
                <a:gd name="connsiteY32" fmla="*/ 54204 h 479526"/>
                <a:gd name="connsiteX33" fmla="*/ 337981 w 404351"/>
                <a:gd name="connsiteY33" fmla="*/ 54443 h 479526"/>
                <a:gd name="connsiteX34" fmla="*/ 333908 w 404351"/>
                <a:gd name="connsiteY34" fmla="*/ 55399 h 479526"/>
                <a:gd name="connsiteX35" fmla="*/ 332825 w 404351"/>
                <a:gd name="connsiteY35" fmla="*/ 57952 h 479526"/>
                <a:gd name="connsiteX36" fmla="*/ 332459 w 404351"/>
                <a:gd name="connsiteY36" fmla="*/ 59570 h 479526"/>
                <a:gd name="connsiteX37" fmla="*/ 330912 w 404351"/>
                <a:gd name="connsiteY37" fmla="*/ 61666 h 479526"/>
                <a:gd name="connsiteX38" fmla="*/ 329358 w 404351"/>
                <a:gd name="connsiteY38" fmla="*/ 63544 h 479526"/>
                <a:gd name="connsiteX39" fmla="*/ 325912 w 404351"/>
                <a:gd name="connsiteY39" fmla="*/ 66448 h 479526"/>
                <a:gd name="connsiteX40" fmla="*/ 325877 w 404351"/>
                <a:gd name="connsiteY40" fmla="*/ 66469 h 479526"/>
                <a:gd name="connsiteX41" fmla="*/ 325645 w 404351"/>
                <a:gd name="connsiteY41" fmla="*/ 68861 h 479526"/>
                <a:gd name="connsiteX42" fmla="*/ 325645 w 404351"/>
                <a:gd name="connsiteY42" fmla="*/ 68861 h 479526"/>
                <a:gd name="connsiteX43" fmla="*/ 325877 w 404351"/>
                <a:gd name="connsiteY43" fmla="*/ 70485 h 479526"/>
                <a:gd name="connsiteX44" fmla="*/ 324730 w 404351"/>
                <a:gd name="connsiteY44" fmla="*/ 72426 h 479526"/>
                <a:gd name="connsiteX45" fmla="*/ 324730 w 404351"/>
                <a:gd name="connsiteY45" fmla="*/ 72426 h 479526"/>
                <a:gd name="connsiteX46" fmla="*/ 324048 w 404351"/>
                <a:gd name="connsiteY46" fmla="*/ 73306 h 479526"/>
                <a:gd name="connsiteX47" fmla="*/ 323647 w 404351"/>
                <a:gd name="connsiteY47" fmla="*/ 76105 h 479526"/>
                <a:gd name="connsiteX48" fmla="*/ 322360 w 404351"/>
                <a:gd name="connsiteY48" fmla="*/ 82069 h 479526"/>
                <a:gd name="connsiteX49" fmla="*/ 322177 w 404351"/>
                <a:gd name="connsiteY49" fmla="*/ 94848 h 479526"/>
                <a:gd name="connsiteX50" fmla="*/ 322177 w 404351"/>
                <a:gd name="connsiteY50" fmla="*/ 94848 h 479526"/>
                <a:gd name="connsiteX51" fmla="*/ 322177 w 404351"/>
                <a:gd name="connsiteY51" fmla="*/ 94848 h 479526"/>
                <a:gd name="connsiteX52" fmla="*/ 322177 w 404351"/>
                <a:gd name="connsiteY52" fmla="*/ 94848 h 479526"/>
                <a:gd name="connsiteX53" fmla="*/ 322360 w 404351"/>
                <a:gd name="connsiteY53" fmla="*/ 98632 h 479526"/>
                <a:gd name="connsiteX54" fmla="*/ 321277 w 404351"/>
                <a:gd name="connsiteY54" fmla="*/ 100425 h 479526"/>
                <a:gd name="connsiteX55" fmla="*/ 320271 w 404351"/>
                <a:gd name="connsiteY55" fmla="*/ 100854 h 479526"/>
                <a:gd name="connsiteX56" fmla="*/ 318309 w 404351"/>
                <a:gd name="connsiteY56" fmla="*/ 101628 h 479526"/>
                <a:gd name="connsiteX57" fmla="*/ 316375 w 404351"/>
                <a:gd name="connsiteY57" fmla="*/ 101965 h 479526"/>
                <a:gd name="connsiteX58" fmla="*/ 313330 w 404351"/>
                <a:gd name="connsiteY58" fmla="*/ 105693 h 479526"/>
                <a:gd name="connsiteX59" fmla="*/ 313316 w 404351"/>
                <a:gd name="connsiteY59" fmla="*/ 105721 h 479526"/>
                <a:gd name="connsiteX60" fmla="*/ 313316 w 404351"/>
                <a:gd name="connsiteY60" fmla="*/ 110574 h 479526"/>
                <a:gd name="connsiteX61" fmla="*/ 309440 w 404351"/>
                <a:gd name="connsiteY61" fmla="*/ 113914 h 479526"/>
                <a:gd name="connsiteX62" fmla="*/ 306198 w 404351"/>
                <a:gd name="connsiteY62" fmla="*/ 111171 h 479526"/>
                <a:gd name="connsiteX63" fmla="*/ 303737 w 404351"/>
                <a:gd name="connsiteY63" fmla="*/ 108506 h 479526"/>
                <a:gd name="connsiteX64" fmla="*/ 302105 w 404351"/>
                <a:gd name="connsiteY64" fmla="*/ 107950 h 479526"/>
                <a:gd name="connsiteX65" fmla="*/ 300537 w 404351"/>
                <a:gd name="connsiteY65" fmla="*/ 107669 h 479526"/>
                <a:gd name="connsiteX66" fmla="*/ 298314 w 404351"/>
                <a:gd name="connsiteY66" fmla="*/ 105524 h 479526"/>
                <a:gd name="connsiteX67" fmla="*/ 297618 w 404351"/>
                <a:gd name="connsiteY67" fmla="*/ 104469 h 479526"/>
                <a:gd name="connsiteX68" fmla="*/ 293159 w 404351"/>
                <a:gd name="connsiteY68" fmla="*/ 102943 h 479526"/>
                <a:gd name="connsiteX69" fmla="*/ 290536 w 404351"/>
                <a:gd name="connsiteY69" fmla="*/ 108506 h 479526"/>
                <a:gd name="connsiteX70" fmla="*/ 288967 w 404351"/>
                <a:gd name="connsiteY70" fmla="*/ 108942 h 479526"/>
                <a:gd name="connsiteX71" fmla="*/ 287476 w 404351"/>
                <a:gd name="connsiteY71" fmla="*/ 108506 h 479526"/>
                <a:gd name="connsiteX72" fmla="*/ 285816 w 404351"/>
                <a:gd name="connsiteY72" fmla="*/ 109779 h 479526"/>
                <a:gd name="connsiteX73" fmla="*/ 285387 w 404351"/>
                <a:gd name="connsiteY73" fmla="*/ 110574 h 479526"/>
                <a:gd name="connsiteX74" fmla="*/ 283024 w 404351"/>
                <a:gd name="connsiteY74" fmla="*/ 110574 h 479526"/>
                <a:gd name="connsiteX75" fmla="*/ 277320 w 404351"/>
                <a:gd name="connsiteY75" fmla="*/ 108506 h 479526"/>
                <a:gd name="connsiteX76" fmla="*/ 273586 w 404351"/>
                <a:gd name="connsiteY76" fmla="*/ 108506 h 479526"/>
                <a:gd name="connsiteX77" fmla="*/ 270660 w 404351"/>
                <a:gd name="connsiteY77" fmla="*/ 106839 h 479526"/>
                <a:gd name="connsiteX78" fmla="*/ 270660 w 404351"/>
                <a:gd name="connsiteY78" fmla="*/ 102943 h 479526"/>
                <a:gd name="connsiteX79" fmla="*/ 267882 w 404351"/>
                <a:gd name="connsiteY79" fmla="*/ 98632 h 479526"/>
                <a:gd name="connsiteX80" fmla="*/ 266068 w 404351"/>
                <a:gd name="connsiteY80" fmla="*/ 95987 h 479526"/>
                <a:gd name="connsiteX81" fmla="*/ 262171 w 404351"/>
                <a:gd name="connsiteY81" fmla="*/ 89742 h 479526"/>
                <a:gd name="connsiteX82" fmla="*/ 260040 w 404351"/>
                <a:gd name="connsiteY82" fmla="*/ 85241 h 479526"/>
                <a:gd name="connsiteX83" fmla="*/ 260040 w 404351"/>
                <a:gd name="connsiteY83" fmla="*/ 85241 h 479526"/>
                <a:gd name="connsiteX84" fmla="*/ 259393 w 404351"/>
                <a:gd name="connsiteY84" fmla="*/ 83623 h 479526"/>
                <a:gd name="connsiteX85" fmla="*/ 256039 w 404351"/>
                <a:gd name="connsiteY85" fmla="*/ 83011 h 479526"/>
                <a:gd name="connsiteX86" fmla="*/ 253570 w 404351"/>
                <a:gd name="connsiteY86" fmla="*/ 83623 h 479526"/>
                <a:gd name="connsiteX87" fmla="*/ 248837 w 404351"/>
                <a:gd name="connsiteY87" fmla="*/ 88349 h 479526"/>
                <a:gd name="connsiteX88" fmla="*/ 250004 w 404351"/>
                <a:gd name="connsiteY88" fmla="*/ 90656 h 479526"/>
                <a:gd name="connsiteX89" fmla="*/ 250644 w 404351"/>
                <a:gd name="connsiteY89" fmla="*/ 92506 h 479526"/>
                <a:gd name="connsiteX90" fmla="*/ 249139 w 404351"/>
                <a:gd name="connsiteY90" fmla="*/ 92485 h 479526"/>
                <a:gd name="connsiteX91" fmla="*/ 249132 w 404351"/>
                <a:gd name="connsiteY91" fmla="*/ 92485 h 479526"/>
                <a:gd name="connsiteX92" fmla="*/ 249132 w 404351"/>
                <a:gd name="connsiteY92" fmla="*/ 92485 h 479526"/>
                <a:gd name="connsiteX93" fmla="*/ 244385 w 404351"/>
                <a:gd name="connsiteY93" fmla="*/ 92506 h 479526"/>
                <a:gd name="connsiteX94" fmla="*/ 243463 w 404351"/>
                <a:gd name="connsiteY94" fmla="*/ 94208 h 479526"/>
                <a:gd name="connsiteX95" fmla="*/ 243112 w 404351"/>
                <a:gd name="connsiteY95" fmla="*/ 94137 h 479526"/>
                <a:gd name="connsiteX96" fmla="*/ 242535 w 404351"/>
                <a:gd name="connsiteY96" fmla="*/ 94123 h 479526"/>
                <a:gd name="connsiteX97" fmla="*/ 237070 w 404351"/>
                <a:gd name="connsiteY97" fmla="*/ 94433 h 479526"/>
                <a:gd name="connsiteX98" fmla="*/ 237007 w 404351"/>
                <a:gd name="connsiteY98" fmla="*/ 94545 h 479526"/>
                <a:gd name="connsiteX99" fmla="*/ 236810 w 404351"/>
                <a:gd name="connsiteY99" fmla="*/ 96360 h 479526"/>
                <a:gd name="connsiteX100" fmla="*/ 238280 w 404351"/>
                <a:gd name="connsiteY100" fmla="*/ 97717 h 479526"/>
                <a:gd name="connsiteX101" fmla="*/ 238435 w 404351"/>
                <a:gd name="connsiteY101" fmla="*/ 97963 h 479526"/>
                <a:gd name="connsiteX102" fmla="*/ 239433 w 404351"/>
                <a:gd name="connsiteY102" fmla="*/ 100875 h 479526"/>
                <a:gd name="connsiteX103" fmla="*/ 239314 w 404351"/>
                <a:gd name="connsiteY103" fmla="*/ 103386 h 479526"/>
                <a:gd name="connsiteX104" fmla="*/ 239215 w 404351"/>
                <a:gd name="connsiteY104" fmla="*/ 105088 h 479526"/>
                <a:gd name="connsiteX105" fmla="*/ 238997 w 404351"/>
                <a:gd name="connsiteY105" fmla="*/ 105826 h 479526"/>
                <a:gd name="connsiteX106" fmla="*/ 238442 w 404351"/>
                <a:gd name="connsiteY106" fmla="*/ 107331 h 479526"/>
                <a:gd name="connsiteX107" fmla="*/ 237443 w 404351"/>
                <a:gd name="connsiteY107" fmla="*/ 110053 h 479526"/>
                <a:gd name="connsiteX108" fmla="*/ 236592 w 404351"/>
                <a:gd name="connsiteY108" fmla="*/ 112381 h 479526"/>
                <a:gd name="connsiteX109" fmla="*/ 235615 w 404351"/>
                <a:gd name="connsiteY109" fmla="*/ 113246 h 479526"/>
                <a:gd name="connsiteX110" fmla="*/ 234764 w 404351"/>
                <a:gd name="connsiteY110" fmla="*/ 113971 h 479526"/>
                <a:gd name="connsiteX111" fmla="*/ 234229 w 404351"/>
                <a:gd name="connsiteY111" fmla="*/ 114421 h 479526"/>
                <a:gd name="connsiteX112" fmla="*/ 233730 w 404351"/>
                <a:gd name="connsiteY112" fmla="*/ 115222 h 479526"/>
                <a:gd name="connsiteX113" fmla="*/ 235875 w 404351"/>
                <a:gd name="connsiteY113" fmla="*/ 116517 h 479526"/>
                <a:gd name="connsiteX114" fmla="*/ 236592 w 404351"/>
                <a:gd name="connsiteY114" fmla="*/ 116706 h 479526"/>
                <a:gd name="connsiteX115" fmla="*/ 237668 w 404351"/>
                <a:gd name="connsiteY115" fmla="*/ 117255 h 479526"/>
                <a:gd name="connsiteX116" fmla="*/ 234764 w 404351"/>
                <a:gd name="connsiteY116" fmla="*/ 121369 h 479526"/>
                <a:gd name="connsiteX117" fmla="*/ 234524 w 404351"/>
                <a:gd name="connsiteY117" fmla="*/ 121623 h 479526"/>
                <a:gd name="connsiteX118" fmla="*/ 232478 w 404351"/>
                <a:gd name="connsiteY118" fmla="*/ 122839 h 479526"/>
                <a:gd name="connsiteX119" fmla="*/ 226450 w 404351"/>
                <a:gd name="connsiteY119" fmla="*/ 120195 h 479526"/>
                <a:gd name="connsiteX120" fmla="*/ 225044 w 404351"/>
                <a:gd name="connsiteY120" fmla="*/ 119520 h 479526"/>
                <a:gd name="connsiteX121" fmla="*/ 223883 w 404351"/>
                <a:gd name="connsiteY121" fmla="*/ 118837 h 479526"/>
                <a:gd name="connsiteX122" fmla="*/ 222006 w 404351"/>
                <a:gd name="connsiteY122" fmla="*/ 117811 h 479526"/>
                <a:gd name="connsiteX123" fmla="*/ 221246 w 404351"/>
                <a:gd name="connsiteY123" fmla="*/ 117579 h 479526"/>
                <a:gd name="connsiteX124" fmla="*/ 219818 w 404351"/>
                <a:gd name="connsiteY124" fmla="*/ 117255 h 479526"/>
                <a:gd name="connsiteX125" fmla="*/ 214452 w 404351"/>
                <a:gd name="connsiteY125" fmla="*/ 116995 h 479526"/>
                <a:gd name="connsiteX126" fmla="*/ 213277 w 404351"/>
                <a:gd name="connsiteY126" fmla="*/ 116481 h 479526"/>
                <a:gd name="connsiteX127" fmla="*/ 212504 w 404351"/>
                <a:gd name="connsiteY127" fmla="*/ 116123 h 479526"/>
                <a:gd name="connsiteX128" fmla="*/ 211709 w 404351"/>
                <a:gd name="connsiteY128" fmla="*/ 115595 h 479526"/>
                <a:gd name="connsiteX129" fmla="*/ 210141 w 404351"/>
                <a:gd name="connsiteY129" fmla="*/ 114850 h 479526"/>
                <a:gd name="connsiteX130" fmla="*/ 208256 w 404351"/>
                <a:gd name="connsiteY130" fmla="*/ 114836 h 479526"/>
                <a:gd name="connsiteX131" fmla="*/ 207651 w 404351"/>
                <a:gd name="connsiteY131" fmla="*/ 114850 h 479526"/>
                <a:gd name="connsiteX132" fmla="*/ 205907 w 404351"/>
                <a:gd name="connsiteY132" fmla="*/ 115525 h 479526"/>
                <a:gd name="connsiteX133" fmla="*/ 205344 w 404351"/>
                <a:gd name="connsiteY133" fmla="*/ 116777 h 479526"/>
                <a:gd name="connsiteX134" fmla="*/ 205344 w 404351"/>
                <a:gd name="connsiteY134" fmla="*/ 124991 h 479526"/>
                <a:gd name="connsiteX135" fmla="*/ 205344 w 404351"/>
                <a:gd name="connsiteY135" fmla="*/ 125758 h 479526"/>
                <a:gd name="connsiteX136" fmla="*/ 205450 w 404351"/>
                <a:gd name="connsiteY136" fmla="*/ 126651 h 479526"/>
                <a:gd name="connsiteX137" fmla="*/ 205605 w 404351"/>
                <a:gd name="connsiteY137" fmla="*/ 129619 h 479526"/>
                <a:gd name="connsiteX138" fmla="*/ 204873 w 404351"/>
                <a:gd name="connsiteY138" fmla="*/ 131427 h 479526"/>
                <a:gd name="connsiteX139" fmla="*/ 204099 w 404351"/>
                <a:gd name="connsiteY139" fmla="*/ 133234 h 479526"/>
                <a:gd name="connsiteX140" fmla="*/ 203283 w 404351"/>
                <a:gd name="connsiteY140" fmla="*/ 135203 h 479526"/>
                <a:gd name="connsiteX141" fmla="*/ 202503 w 404351"/>
                <a:gd name="connsiteY141" fmla="*/ 136990 h 479526"/>
                <a:gd name="connsiteX142" fmla="*/ 202369 w 404351"/>
                <a:gd name="connsiteY142" fmla="*/ 137145 h 479526"/>
                <a:gd name="connsiteX143" fmla="*/ 200991 w 404351"/>
                <a:gd name="connsiteY143" fmla="*/ 137806 h 479526"/>
                <a:gd name="connsiteX144" fmla="*/ 199303 w 404351"/>
                <a:gd name="connsiteY144" fmla="*/ 137306 h 479526"/>
                <a:gd name="connsiteX145" fmla="*/ 198473 w 404351"/>
                <a:gd name="connsiteY145" fmla="*/ 136990 h 479526"/>
                <a:gd name="connsiteX146" fmla="*/ 196363 w 404351"/>
                <a:gd name="connsiteY146" fmla="*/ 135836 h 479526"/>
                <a:gd name="connsiteX147" fmla="*/ 193620 w 404351"/>
                <a:gd name="connsiteY147" fmla="*/ 134324 h 479526"/>
                <a:gd name="connsiteX148" fmla="*/ 190856 w 404351"/>
                <a:gd name="connsiteY148" fmla="*/ 136097 h 479526"/>
                <a:gd name="connsiteX149" fmla="*/ 187157 w 404351"/>
                <a:gd name="connsiteY149" fmla="*/ 139374 h 479526"/>
                <a:gd name="connsiteX150" fmla="*/ 185968 w 404351"/>
                <a:gd name="connsiteY150" fmla="*/ 140387 h 479526"/>
                <a:gd name="connsiteX151" fmla="*/ 184076 w 404351"/>
                <a:gd name="connsiteY151" fmla="*/ 143313 h 479526"/>
                <a:gd name="connsiteX152" fmla="*/ 183964 w 404351"/>
                <a:gd name="connsiteY152" fmla="*/ 143615 h 479526"/>
                <a:gd name="connsiteX153" fmla="*/ 183380 w 404351"/>
                <a:gd name="connsiteY153" fmla="*/ 145458 h 479526"/>
                <a:gd name="connsiteX154" fmla="*/ 183007 w 404351"/>
                <a:gd name="connsiteY154" fmla="*/ 147230 h 479526"/>
                <a:gd name="connsiteX155" fmla="*/ 182845 w 404351"/>
                <a:gd name="connsiteY155" fmla="*/ 147961 h 479526"/>
                <a:gd name="connsiteX156" fmla="*/ 182072 w 404351"/>
                <a:gd name="connsiteY156" fmla="*/ 150866 h 479526"/>
                <a:gd name="connsiteX157" fmla="*/ 181713 w 404351"/>
                <a:gd name="connsiteY157" fmla="*/ 151759 h 479526"/>
                <a:gd name="connsiteX158" fmla="*/ 180440 w 404351"/>
                <a:gd name="connsiteY158" fmla="*/ 154643 h 479526"/>
                <a:gd name="connsiteX159" fmla="*/ 180110 w 404351"/>
                <a:gd name="connsiteY159" fmla="*/ 155184 h 479526"/>
                <a:gd name="connsiteX160" fmla="*/ 179090 w 404351"/>
                <a:gd name="connsiteY160" fmla="*/ 156408 h 479526"/>
                <a:gd name="connsiteX161" fmla="*/ 177718 w 404351"/>
                <a:gd name="connsiteY161" fmla="*/ 156964 h 479526"/>
                <a:gd name="connsiteX162" fmla="*/ 176087 w 404351"/>
                <a:gd name="connsiteY162" fmla="*/ 157625 h 479526"/>
                <a:gd name="connsiteX163" fmla="*/ 175264 w 404351"/>
                <a:gd name="connsiteY163" fmla="*/ 157906 h 479526"/>
                <a:gd name="connsiteX164" fmla="*/ 174462 w 404351"/>
                <a:gd name="connsiteY164" fmla="*/ 158813 h 479526"/>
                <a:gd name="connsiteX165" fmla="*/ 174680 w 404351"/>
                <a:gd name="connsiteY165" fmla="*/ 162210 h 479526"/>
                <a:gd name="connsiteX166" fmla="*/ 175707 w 404351"/>
                <a:gd name="connsiteY166" fmla="*/ 164081 h 479526"/>
                <a:gd name="connsiteX167" fmla="*/ 176087 w 404351"/>
                <a:gd name="connsiteY167" fmla="*/ 164658 h 479526"/>
                <a:gd name="connsiteX168" fmla="*/ 177226 w 404351"/>
                <a:gd name="connsiteY168" fmla="*/ 166669 h 479526"/>
                <a:gd name="connsiteX169" fmla="*/ 177521 w 404351"/>
                <a:gd name="connsiteY169" fmla="*/ 167225 h 479526"/>
                <a:gd name="connsiteX170" fmla="*/ 177845 w 404351"/>
                <a:gd name="connsiteY170" fmla="*/ 167759 h 479526"/>
                <a:gd name="connsiteX171" fmla="*/ 178534 w 404351"/>
                <a:gd name="connsiteY171" fmla="*/ 169293 h 479526"/>
                <a:gd name="connsiteX172" fmla="*/ 178766 w 404351"/>
                <a:gd name="connsiteY172" fmla="*/ 170383 h 479526"/>
                <a:gd name="connsiteX173" fmla="*/ 179090 w 404351"/>
                <a:gd name="connsiteY173" fmla="*/ 172036 h 479526"/>
                <a:gd name="connsiteX174" fmla="*/ 178534 w 404351"/>
                <a:gd name="connsiteY174" fmla="*/ 175693 h 479526"/>
                <a:gd name="connsiteX175" fmla="*/ 177409 w 404351"/>
                <a:gd name="connsiteY175" fmla="*/ 176860 h 479526"/>
                <a:gd name="connsiteX176" fmla="*/ 174800 w 404351"/>
                <a:gd name="connsiteY176" fmla="*/ 179723 h 479526"/>
                <a:gd name="connsiteX177" fmla="*/ 172957 w 404351"/>
                <a:gd name="connsiteY177" fmla="*/ 182592 h 479526"/>
                <a:gd name="connsiteX178" fmla="*/ 171318 w 404351"/>
                <a:gd name="connsiteY178" fmla="*/ 185131 h 479526"/>
                <a:gd name="connsiteX179" fmla="*/ 170664 w 404351"/>
                <a:gd name="connsiteY179" fmla="*/ 186657 h 479526"/>
                <a:gd name="connsiteX180" fmla="*/ 170165 w 404351"/>
                <a:gd name="connsiteY180" fmla="*/ 187853 h 479526"/>
                <a:gd name="connsiteX181" fmla="*/ 168357 w 404351"/>
                <a:gd name="connsiteY181" fmla="*/ 191271 h 479526"/>
                <a:gd name="connsiteX182" fmla="*/ 167872 w 404351"/>
                <a:gd name="connsiteY182" fmla="*/ 192045 h 479526"/>
                <a:gd name="connsiteX183" fmla="*/ 167204 w 404351"/>
                <a:gd name="connsiteY183" fmla="*/ 193142 h 479526"/>
                <a:gd name="connsiteX184" fmla="*/ 167014 w 404351"/>
                <a:gd name="connsiteY184" fmla="*/ 193585 h 479526"/>
                <a:gd name="connsiteX185" fmla="*/ 166311 w 404351"/>
                <a:gd name="connsiteY185" fmla="*/ 194809 h 479526"/>
                <a:gd name="connsiteX186" fmla="*/ 165861 w 404351"/>
                <a:gd name="connsiteY186" fmla="*/ 194970 h 479526"/>
                <a:gd name="connsiteX187" fmla="*/ 165474 w 404351"/>
                <a:gd name="connsiteY187" fmla="*/ 195111 h 479526"/>
                <a:gd name="connsiteX188" fmla="*/ 163906 w 404351"/>
                <a:gd name="connsiteY188" fmla="*/ 197256 h 479526"/>
                <a:gd name="connsiteX189" fmla="*/ 163884 w 404351"/>
                <a:gd name="connsiteY189" fmla="*/ 198803 h 479526"/>
                <a:gd name="connsiteX190" fmla="*/ 163906 w 404351"/>
                <a:gd name="connsiteY190" fmla="*/ 199563 h 479526"/>
                <a:gd name="connsiteX191" fmla="*/ 163906 w 404351"/>
                <a:gd name="connsiteY191" fmla="*/ 203952 h 479526"/>
                <a:gd name="connsiteX192" fmla="*/ 163906 w 404351"/>
                <a:gd name="connsiteY192" fmla="*/ 204254 h 479526"/>
                <a:gd name="connsiteX193" fmla="*/ 163385 w 404351"/>
                <a:gd name="connsiteY193" fmla="*/ 206540 h 479526"/>
                <a:gd name="connsiteX194" fmla="*/ 163069 w 404351"/>
                <a:gd name="connsiteY194" fmla="*/ 206807 h 479526"/>
                <a:gd name="connsiteX195" fmla="*/ 161739 w 404351"/>
                <a:gd name="connsiteY195" fmla="*/ 207771 h 479526"/>
                <a:gd name="connsiteX196" fmla="*/ 160529 w 404351"/>
                <a:gd name="connsiteY196" fmla="*/ 208671 h 479526"/>
                <a:gd name="connsiteX197" fmla="*/ 157801 w 404351"/>
                <a:gd name="connsiteY197" fmla="*/ 210436 h 479526"/>
                <a:gd name="connsiteX198" fmla="*/ 151520 w 404351"/>
                <a:gd name="connsiteY198" fmla="*/ 211589 h 479526"/>
                <a:gd name="connsiteX199" fmla="*/ 150824 w 404351"/>
                <a:gd name="connsiteY199" fmla="*/ 211730 h 479526"/>
                <a:gd name="connsiteX200" fmla="*/ 150289 w 404351"/>
                <a:gd name="connsiteY200" fmla="*/ 212025 h 479526"/>
                <a:gd name="connsiteX201" fmla="*/ 150289 w 404351"/>
                <a:gd name="connsiteY201" fmla="*/ 216498 h 479526"/>
                <a:gd name="connsiteX202" fmla="*/ 150486 w 404351"/>
                <a:gd name="connsiteY202" fmla="*/ 218531 h 479526"/>
                <a:gd name="connsiteX203" fmla="*/ 150704 w 404351"/>
                <a:gd name="connsiteY203" fmla="*/ 220753 h 479526"/>
                <a:gd name="connsiteX204" fmla="*/ 151056 w 404351"/>
                <a:gd name="connsiteY204" fmla="*/ 221401 h 479526"/>
                <a:gd name="connsiteX205" fmla="*/ 151520 w 404351"/>
                <a:gd name="connsiteY205" fmla="*/ 222540 h 479526"/>
                <a:gd name="connsiteX206" fmla="*/ 151077 w 404351"/>
                <a:gd name="connsiteY206" fmla="*/ 223947 h 479526"/>
                <a:gd name="connsiteX207" fmla="*/ 150704 w 404351"/>
                <a:gd name="connsiteY207" fmla="*/ 225086 h 479526"/>
                <a:gd name="connsiteX208" fmla="*/ 150198 w 404351"/>
                <a:gd name="connsiteY208" fmla="*/ 227498 h 479526"/>
                <a:gd name="connsiteX209" fmla="*/ 149931 w 404351"/>
                <a:gd name="connsiteY209" fmla="*/ 228645 h 479526"/>
                <a:gd name="connsiteX210" fmla="*/ 149664 w 404351"/>
                <a:gd name="connsiteY210" fmla="*/ 233898 h 479526"/>
                <a:gd name="connsiteX211" fmla="*/ 149474 w 404351"/>
                <a:gd name="connsiteY211" fmla="*/ 238125 h 479526"/>
                <a:gd name="connsiteX212" fmla="*/ 147722 w 404351"/>
                <a:gd name="connsiteY212" fmla="*/ 244167 h 479526"/>
                <a:gd name="connsiteX213" fmla="*/ 146984 w 404351"/>
                <a:gd name="connsiteY213" fmla="*/ 245186 h 479526"/>
                <a:gd name="connsiteX214" fmla="*/ 146077 w 404351"/>
                <a:gd name="connsiteY214" fmla="*/ 246930 h 479526"/>
                <a:gd name="connsiteX215" fmla="*/ 146077 w 404351"/>
                <a:gd name="connsiteY215" fmla="*/ 247233 h 479526"/>
                <a:gd name="connsiteX216" fmla="*/ 145198 w 404351"/>
                <a:gd name="connsiteY216" fmla="*/ 253211 h 479526"/>
                <a:gd name="connsiteX217" fmla="*/ 141618 w 404351"/>
                <a:gd name="connsiteY217" fmla="*/ 258866 h 479526"/>
                <a:gd name="connsiteX218" fmla="*/ 140429 w 404351"/>
                <a:gd name="connsiteY218" fmla="*/ 260884 h 479526"/>
                <a:gd name="connsiteX219" fmla="*/ 137292 w 404351"/>
                <a:gd name="connsiteY219" fmla="*/ 266743 h 479526"/>
                <a:gd name="connsiteX220" fmla="*/ 138425 w 404351"/>
                <a:gd name="connsiteY220" fmla="*/ 271075 h 479526"/>
                <a:gd name="connsiteX221" fmla="*/ 142933 w 404351"/>
                <a:gd name="connsiteY221" fmla="*/ 273719 h 479526"/>
                <a:gd name="connsiteX222" fmla="*/ 143383 w 404351"/>
                <a:gd name="connsiteY222" fmla="*/ 274324 h 479526"/>
                <a:gd name="connsiteX223" fmla="*/ 143573 w 404351"/>
                <a:gd name="connsiteY223" fmla="*/ 276645 h 479526"/>
                <a:gd name="connsiteX224" fmla="*/ 143910 w 404351"/>
                <a:gd name="connsiteY224" fmla="*/ 280471 h 479526"/>
                <a:gd name="connsiteX225" fmla="*/ 144065 w 404351"/>
                <a:gd name="connsiteY225" fmla="*/ 281892 h 479526"/>
                <a:gd name="connsiteX226" fmla="*/ 142933 w 404351"/>
                <a:gd name="connsiteY226" fmla="*/ 284775 h 479526"/>
                <a:gd name="connsiteX227" fmla="*/ 141421 w 404351"/>
                <a:gd name="connsiteY227" fmla="*/ 287652 h 479526"/>
                <a:gd name="connsiteX228" fmla="*/ 140865 w 404351"/>
                <a:gd name="connsiteY228" fmla="*/ 288208 h 479526"/>
                <a:gd name="connsiteX229" fmla="*/ 138425 w 404351"/>
                <a:gd name="connsiteY229" fmla="*/ 288411 h 479526"/>
                <a:gd name="connsiteX230" fmla="*/ 134887 w 404351"/>
                <a:gd name="connsiteY230" fmla="*/ 287603 h 479526"/>
                <a:gd name="connsiteX231" fmla="*/ 131624 w 404351"/>
                <a:gd name="connsiteY231" fmla="*/ 286780 h 479526"/>
                <a:gd name="connsiteX232" fmla="*/ 126215 w 404351"/>
                <a:gd name="connsiteY232" fmla="*/ 286780 h 479526"/>
                <a:gd name="connsiteX233" fmla="*/ 124942 w 404351"/>
                <a:gd name="connsiteY233" fmla="*/ 287356 h 479526"/>
                <a:gd name="connsiteX234" fmla="*/ 122699 w 404351"/>
                <a:gd name="connsiteY234" fmla="*/ 289164 h 479526"/>
                <a:gd name="connsiteX235" fmla="*/ 120736 w 404351"/>
                <a:gd name="connsiteY235" fmla="*/ 292104 h 479526"/>
                <a:gd name="connsiteX236" fmla="*/ 118008 w 404351"/>
                <a:gd name="connsiteY236" fmla="*/ 296204 h 479526"/>
                <a:gd name="connsiteX237" fmla="*/ 114885 w 404351"/>
                <a:gd name="connsiteY237" fmla="*/ 302745 h 479526"/>
                <a:gd name="connsiteX238" fmla="*/ 113513 w 404351"/>
                <a:gd name="connsiteY238" fmla="*/ 306655 h 479526"/>
                <a:gd name="connsiteX239" fmla="*/ 111945 w 404351"/>
                <a:gd name="connsiteY239" fmla="*/ 312697 h 479526"/>
                <a:gd name="connsiteX240" fmla="*/ 110855 w 404351"/>
                <a:gd name="connsiteY240" fmla="*/ 313611 h 479526"/>
                <a:gd name="connsiteX241" fmla="*/ 110201 w 404351"/>
                <a:gd name="connsiteY241" fmla="*/ 316354 h 479526"/>
                <a:gd name="connsiteX242" fmla="*/ 112564 w 404351"/>
                <a:gd name="connsiteY242" fmla="*/ 321530 h 479526"/>
                <a:gd name="connsiteX243" fmla="*/ 113513 w 404351"/>
                <a:gd name="connsiteY243" fmla="*/ 323471 h 479526"/>
                <a:gd name="connsiteX244" fmla="*/ 113155 w 404351"/>
                <a:gd name="connsiteY244" fmla="*/ 323928 h 479526"/>
                <a:gd name="connsiteX245" fmla="*/ 111945 w 404351"/>
                <a:gd name="connsiteY245" fmla="*/ 327030 h 479526"/>
                <a:gd name="connsiteX246" fmla="*/ 111945 w 404351"/>
                <a:gd name="connsiteY246" fmla="*/ 332952 h 479526"/>
                <a:gd name="connsiteX247" fmla="*/ 112705 w 404351"/>
                <a:gd name="connsiteY247" fmla="*/ 335547 h 479526"/>
                <a:gd name="connsiteX248" fmla="*/ 113513 w 404351"/>
                <a:gd name="connsiteY248" fmla="*/ 338402 h 479526"/>
                <a:gd name="connsiteX249" fmla="*/ 114161 w 404351"/>
                <a:gd name="connsiteY249" fmla="*/ 344458 h 479526"/>
                <a:gd name="connsiteX250" fmla="*/ 114885 w 404351"/>
                <a:gd name="connsiteY250" fmla="*/ 351519 h 479526"/>
                <a:gd name="connsiteX251" fmla="*/ 114013 w 404351"/>
                <a:gd name="connsiteY251" fmla="*/ 358088 h 479526"/>
                <a:gd name="connsiteX252" fmla="*/ 113513 w 404351"/>
                <a:gd name="connsiteY252" fmla="*/ 361499 h 479526"/>
                <a:gd name="connsiteX253" fmla="*/ 113359 w 404351"/>
                <a:gd name="connsiteY253" fmla="*/ 362498 h 479526"/>
                <a:gd name="connsiteX254" fmla="*/ 114885 w 404351"/>
                <a:gd name="connsiteY254" fmla="*/ 369130 h 479526"/>
                <a:gd name="connsiteX255" fmla="*/ 115757 w 404351"/>
                <a:gd name="connsiteY255" fmla="*/ 369777 h 479526"/>
                <a:gd name="connsiteX256" fmla="*/ 121728 w 404351"/>
                <a:gd name="connsiteY256" fmla="*/ 374974 h 479526"/>
                <a:gd name="connsiteX257" fmla="*/ 122699 w 404351"/>
                <a:gd name="connsiteY257" fmla="*/ 380798 h 479526"/>
                <a:gd name="connsiteX258" fmla="*/ 119759 w 404351"/>
                <a:gd name="connsiteY258" fmla="*/ 387873 h 479526"/>
                <a:gd name="connsiteX259" fmla="*/ 118676 w 404351"/>
                <a:gd name="connsiteY259" fmla="*/ 387950 h 479526"/>
                <a:gd name="connsiteX260" fmla="*/ 114885 w 404351"/>
                <a:gd name="connsiteY260" fmla="*/ 389821 h 479526"/>
                <a:gd name="connsiteX261" fmla="*/ 117037 w 404351"/>
                <a:gd name="connsiteY261" fmla="*/ 400174 h 479526"/>
                <a:gd name="connsiteX262" fmla="*/ 117902 w 404351"/>
                <a:gd name="connsiteY262" fmla="*/ 401404 h 479526"/>
                <a:gd name="connsiteX263" fmla="*/ 119759 w 404351"/>
                <a:gd name="connsiteY263" fmla="*/ 406778 h 479526"/>
                <a:gd name="connsiteX264" fmla="*/ 118542 w 404351"/>
                <a:gd name="connsiteY264" fmla="*/ 409528 h 479526"/>
                <a:gd name="connsiteX265" fmla="*/ 118008 w 404351"/>
                <a:gd name="connsiteY265" fmla="*/ 412024 h 479526"/>
                <a:gd name="connsiteX266" fmla="*/ 116896 w 404351"/>
                <a:gd name="connsiteY266" fmla="*/ 416434 h 479526"/>
                <a:gd name="connsiteX267" fmla="*/ 114885 w 404351"/>
                <a:gd name="connsiteY267" fmla="*/ 422658 h 479526"/>
                <a:gd name="connsiteX268" fmla="*/ 112170 w 404351"/>
                <a:gd name="connsiteY268" fmla="*/ 423080 h 479526"/>
                <a:gd name="connsiteX269" fmla="*/ 109224 w 404351"/>
                <a:gd name="connsiteY269" fmla="*/ 423833 h 479526"/>
                <a:gd name="connsiteX270" fmla="*/ 109048 w 404351"/>
                <a:gd name="connsiteY270" fmla="*/ 425654 h 479526"/>
                <a:gd name="connsiteX271" fmla="*/ 109224 w 404351"/>
                <a:gd name="connsiteY271" fmla="*/ 427743 h 479526"/>
                <a:gd name="connsiteX272" fmla="*/ 106677 w 404351"/>
                <a:gd name="connsiteY272" fmla="*/ 432083 h 479526"/>
                <a:gd name="connsiteX273" fmla="*/ 105306 w 404351"/>
                <a:gd name="connsiteY273" fmla="*/ 434467 h 479526"/>
                <a:gd name="connsiteX274" fmla="*/ 105770 w 404351"/>
                <a:gd name="connsiteY274" fmla="*/ 437245 h 479526"/>
                <a:gd name="connsiteX275" fmla="*/ 106677 w 404351"/>
                <a:gd name="connsiteY275" fmla="*/ 443765 h 479526"/>
                <a:gd name="connsiteX276" fmla="*/ 106677 w 404351"/>
                <a:gd name="connsiteY276" fmla="*/ 449771 h 479526"/>
                <a:gd name="connsiteX277" fmla="*/ 104335 w 404351"/>
                <a:gd name="connsiteY277" fmla="*/ 453351 h 479526"/>
                <a:gd name="connsiteX278" fmla="*/ 101740 w 404351"/>
                <a:gd name="connsiteY278" fmla="*/ 451311 h 479526"/>
                <a:gd name="connsiteX279" fmla="*/ 101593 w 404351"/>
                <a:gd name="connsiteY279" fmla="*/ 451065 h 479526"/>
                <a:gd name="connsiteX280" fmla="*/ 97598 w 404351"/>
                <a:gd name="connsiteY280" fmla="*/ 448899 h 479526"/>
                <a:gd name="connsiteX281" fmla="*/ 96705 w 404351"/>
                <a:gd name="connsiteY281" fmla="*/ 447246 h 479526"/>
                <a:gd name="connsiteX282" fmla="*/ 94194 w 404351"/>
                <a:gd name="connsiteY282" fmla="*/ 447246 h 479526"/>
                <a:gd name="connsiteX283" fmla="*/ 92014 w 404351"/>
                <a:gd name="connsiteY283" fmla="*/ 445994 h 479526"/>
                <a:gd name="connsiteX284" fmla="*/ 90762 w 404351"/>
                <a:gd name="connsiteY284" fmla="*/ 440987 h 479526"/>
                <a:gd name="connsiteX285" fmla="*/ 90438 w 404351"/>
                <a:gd name="connsiteY285" fmla="*/ 439643 h 479526"/>
                <a:gd name="connsiteX286" fmla="*/ 90283 w 404351"/>
                <a:gd name="connsiteY286" fmla="*/ 437526 h 479526"/>
                <a:gd name="connsiteX287" fmla="*/ 90093 w 404351"/>
                <a:gd name="connsiteY287" fmla="*/ 434150 h 479526"/>
                <a:gd name="connsiteX288" fmla="*/ 89805 w 404351"/>
                <a:gd name="connsiteY288" fmla="*/ 431900 h 479526"/>
                <a:gd name="connsiteX289" fmla="*/ 89805 w 404351"/>
                <a:gd name="connsiteY289" fmla="*/ 426871 h 479526"/>
                <a:gd name="connsiteX290" fmla="*/ 90916 w 404351"/>
                <a:gd name="connsiteY290" fmla="*/ 423749 h 479526"/>
                <a:gd name="connsiteX291" fmla="*/ 89805 w 404351"/>
                <a:gd name="connsiteY291" fmla="*/ 423749 h 479526"/>
                <a:gd name="connsiteX292" fmla="*/ 86366 w 404351"/>
                <a:gd name="connsiteY292" fmla="*/ 426871 h 479526"/>
                <a:gd name="connsiteX293" fmla="*/ 85114 w 404351"/>
                <a:gd name="connsiteY293" fmla="*/ 430331 h 479526"/>
                <a:gd name="connsiteX294" fmla="*/ 86366 w 404351"/>
                <a:gd name="connsiteY294" fmla="*/ 433313 h 479526"/>
                <a:gd name="connsiteX295" fmla="*/ 86366 w 404351"/>
                <a:gd name="connsiteY295" fmla="*/ 436907 h 479526"/>
                <a:gd name="connsiteX296" fmla="*/ 86366 w 404351"/>
                <a:gd name="connsiteY296" fmla="*/ 440206 h 479526"/>
                <a:gd name="connsiteX297" fmla="*/ 83862 w 404351"/>
                <a:gd name="connsiteY297" fmla="*/ 445994 h 479526"/>
                <a:gd name="connsiteX298" fmla="*/ 82603 w 404351"/>
                <a:gd name="connsiteY298" fmla="*/ 447619 h 479526"/>
                <a:gd name="connsiteX299" fmla="*/ 81816 w 404351"/>
                <a:gd name="connsiteY299" fmla="*/ 448041 h 479526"/>
                <a:gd name="connsiteX300" fmla="*/ 80423 w 404351"/>
                <a:gd name="connsiteY300" fmla="*/ 450242 h 479526"/>
                <a:gd name="connsiteX301" fmla="*/ 79312 w 404351"/>
                <a:gd name="connsiteY301" fmla="*/ 452113 h 479526"/>
                <a:gd name="connsiteX302" fmla="*/ 77420 w 404351"/>
                <a:gd name="connsiteY302" fmla="*/ 451635 h 479526"/>
                <a:gd name="connsiteX303" fmla="*/ 77125 w 404351"/>
                <a:gd name="connsiteY303" fmla="*/ 451318 h 479526"/>
                <a:gd name="connsiteX304" fmla="*/ 76027 w 404351"/>
                <a:gd name="connsiteY304" fmla="*/ 449771 h 479526"/>
                <a:gd name="connsiteX305" fmla="*/ 73348 w 404351"/>
                <a:gd name="connsiteY305" fmla="*/ 447246 h 479526"/>
                <a:gd name="connsiteX306" fmla="*/ 73348 w 404351"/>
                <a:gd name="connsiteY306" fmla="*/ 451318 h 479526"/>
                <a:gd name="connsiteX307" fmla="*/ 72856 w 404351"/>
                <a:gd name="connsiteY307" fmla="*/ 452268 h 479526"/>
                <a:gd name="connsiteX308" fmla="*/ 72251 w 404351"/>
                <a:gd name="connsiteY308" fmla="*/ 453688 h 479526"/>
                <a:gd name="connsiteX309" fmla="*/ 71350 w 404351"/>
                <a:gd name="connsiteY309" fmla="*/ 455010 h 479526"/>
                <a:gd name="connsiteX310" fmla="*/ 70225 w 404351"/>
                <a:gd name="connsiteY310" fmla="*/ 456804 h 479526"/>
                <a:gd name="connsiteX311" fmla="*/ 67721 w 404351"/>
                <a:gd name="connsiteY311" fmla="*/ 459786 h 479526"/>
                <a:gd name="connsiteX312" fmla="*/ 65942 w 404351"/>
                <a:gd name="connsiteY312" fmla="*/ 462564 h 479526"/>
                <a:gd name="connsiteX313" fmla="*/ 64578 w 404351"/>
                <a:gd name="connsiteY313" fmla="*/ 464498 h 479526"/>
                <a:gd name="connsiteX314" fmla="*/ 61279 w 404351"/>
                <a:gd name="connsiteY314" fmla="*/ 468732 h 479526"/>
                <a:gd name="connsiteX315" fmla="*/ 58297 w 404351"/>
                <a:gd name="connsiteY315" fmla="*/ 472649 h 479526"/>
                <a:gd name="connsiteX316" fmla="*/ 55955 w 404351"/>
                <a:gd name="connsiteY316" fmla="*/ 473585 h 479526"/>
                <a:gd name="connsiteX317" fmla="*/ 53930 w 404351"/>
                <a:gd name="connsiteY317" fmla="*/ 475948 h 479526"/>
                <a:gd name="connsiteX318" fmla="*/ 52199 w 404351"/>
                <a:gd name="connsiteY318" fmla="*/ 475948 h 479526"/>
                <a:gd name="connsiteX319" fmla="*/ 49217 w 404351"/>
                <a:gd name="connsiteY319" fmla="*/ 477200 h 479526"/>
                <a:gd name="connsiteX320" fmla="*/ 45138 w 404351"/>
                <a:gd name="connsiteY320" fmla="*/ 479387 h 479526"/>
                <a:gd name="connsiteX321" fmla="*/ 39976 w 404351"/>
                <a:gd name="connsiteY321" fmla="*/ 479387 h 479526"/>
                <a:gd name="connsiteX322" fmla="*/ 36213 w 404351"/>
                <a:gd name="connsiteY322" fmla="*/ 479387 h 479526"/>
                <a:gd name="connsiteX323" fmla="*/ 33555 w 404351"/>
                <a:gd name="connsiteY323" fmla="*/ 479387 h 479526"/>
                <a:gd name="connsiteX324" fmla="*/ 32570 w 404351"/>
                <a:gd name="connsiteY324" fmla="*/ 479443 h 479526"/>
                <a:gd name="connsiteX325" fmla="*/ 32570 w 404351"/>
                <a:gd name="connsiteY325" fmla="*/ 479443 h 479526"/>
                <a:gd name="connsiteX326" fmla="*/ 29159 w 404351"/>
                <a:gd name="connsiteY326" fmla="*/ 479387 h 479526"/>
                <a:gd name="connsiteX327" fmla="*/ 27907 w 404351"/>
                <a:gd name="connsiteY327" fmla="*/ 477200 h 479526"/>
                <a:gd name="connsiteX328" fmla="*/ 29159 w 404351"/>
                <a:gd name="connsiteY328" fmla="*/ 472649 h 479526"/>
                <a:gd name="connsiteX329" fmla="*/ 23518 w 404351"/>
                <a:gd name="connsiteY329" fmla="*/ 472649 h 479526"/>
                <a:gd name="connsiteX330" fmla="*/ 17948 w 404351"/>
                <a:gd name="connsiteY330" fmla="*/ 468732 h 479526"/>
                <a:gd name="connsiteX331" fmla="*/ 12547 w 404351"/>
                <a:gd name="connsiteY331" fmla="*/ 464498 h 479526"/>
                <a:gd name="connsiteX332" fmla="*/ 10972 w 404351"/>
                <a:gd name="connsiteY332" fmla="*/ 461994 h 479526"/>
                <a:gd name="connsiteX333" fmla="*/ 10613 w 404351"/>
                <a:gd name="connsiteY333" fmla="*/ 460559 h 479526"/>
                <a:gd name="connsiteX334" fmla="*/ 10972 w 404351"/>
                <a:gd name="connsiteY334" fmla="*/ 459786 h 479526"/>
                <a:gd name="connsiteX335" fmla="*/ 12547 w 404351"/>
                <a:gd name="connsiteY335" fmla="*/ 455257 h 479526"/>
                <a:gd name="connsiteX336" fmla="*/ 12863 w 404351"/>
                <a:gd name="connsiteY336" fmla="*/ 452486 h 479526"/>
                <a:gd name="connsiteX337" fmla="*/ 12547 w 404351"/>
                <a:gd name="connsiteY337" fmla="*/ 451318 h 479526"/>
                <a:gd name="connsiteX338" fmla="*/ 13637 w 404351"/>
                <a:gd name="connsiteY338" fmla="*/ 448041 h 479526"/>
                <a:gd name="connsiteX339" fmla="*/ 15522 w 404351"/>
                <a:gd name="connsiteY339" fmla="*/ 445994 h 479526"/>
                <a:gd name="connsiteX340" fmla="*/ 19439 w 404351"/>
                <a:gd name="connsiteY340" fmla="*/ 443969 h 479526"/>
                <a:gd name="connsiteX341" fmla="*/ 20494 w 404351"/>
                <a:gd name="connsiteY341" fmla="*/ 440206 h 479526"/>
                <a:gd name="connsiteX342" fmla="*/ 17393 w 404351"/>
                <a:gd name="connsiteY342" fmla="*/ 440044 h 479526"/>
                <a:gd name="connsiteX343" fmla="*/ 15522 w 404351"/>
                <a:gd name="connsiteY343" fmla="*/ 440206 h 479526"/>
                <a:gd name="connsiteX344" fmla="*/ 14432 w 404351"/>
                <a:gd name="connsiteY344" fmla="*/ 442238 h 479526"/>
                <a:gd name="connsiteX345" fmla="*/ 10339 w 404351"/>
                <a:gd name="connsiteY345" fmla="*/ 443490 h 479526"/>
                <a:gd name="connsiteX346" fmla="*/ 9361 w 404351"/>
                <a:gd name="connsiteY346" fmla="*/ 445994 h 479526"/>
                <a:gd name="connsiteX347" fmla="*/ 6224 w 404351"/>
                <a:gd name="connsiteY347" fmla="*/ 447246 h 479526"/>
                <a:gd name="connsiteX348" fmla="*/ 5169 w 404351"/>
                <a:gd name="connsiteY348" fmla="*/ 443969 h 479526"/>
                <a:gd name="connsiteX349" fmla="*/ 6224 w 404351"/>
                <a:gd name="connsiteY349" fmla="*/ 440206 h 479526"/>
                <a:gd name="connsiteX350" fmla="*/ 7216 w 404351"/>
                <a:gd name="connsiteY350" fmla="*/ 436907 h 479526"/>
                <a:gd name="connsiteX351" fmla="*/ 7216 w 404351"/>
                <a:gd name="connsiteY351" fmla="*/ 433313 h 479526"/>
                <a:gd name="connsiteX352" fmla="*/ 12547 w 404351"/>
                <a:gd name="connsiteY352" fmla="*/ 431900 h 479526"/>
                <a:gd name="connsiteX353" fmla="*/ 15522 w 404351"/>
                <a:gd name="connsiteY353" fmla="*/ 430331 h 479526"/>
                <a:gd name="connsiteX354" fmla="*/ 20494 w 404351"/>
                <a:gd name="connsiteY354" fmla="*/ 426871 h 479526"/>
                <a:gd name="connsiteX355" fmla="*/ 14432 w 404351"/>
                <a:gd name="connsiteY355" fmla="*/ 428123 h 479526"/>
                <a:gd name="connsiteX356" fmla="*/ 14432 w 404351"/>
                <a:gd name="connsiteY356" fmla="*/ 426871 h 479526"/>
                <a:gd name="connsiteX357" fmla="*/ 15522 w 404351"/>
                <a:gd name="connsiteY357" fmla="*/ 423749 h 479526"/>
                <a:gd name="connsiteX358" fmla="*/ 17097 w 404351"/>
                <a:gd name="connsiteY358" fmla="*/ 420450 h 479526"/>
                <a:gd name="connsiteX359" fmla="*/ 17948 w 404351"/>
                <a:gd name="connsiteY359" fmla="*/ 418882 h 479526"/>
                <a:gd name="connsiteX360" fmla="*/ 14432 w 404351"/>
                <a:gd name="connsiteY360" fmla="*/ 420450 h 479526"/>
                <a:gd name="connsiteX361" fmla="*/ 14122 w 404351"/>
                <a:gd name="connsiteY361" fmla="*/ 422018 h 479526"/>
                <a:gd name="connsiteX362" fmla="*/ 14432 w 404351"/>
                <a:gd name="connsiteY362" fmla="*/ 422799 h 479526"/>
                <a:gd name="connsiteX363" fmla="*/ 11330 w 404351"/>
                <a:gd name="connsiteY363" fmla="*/ 426520 h 479526"/>
                <a:gd name="connsiteX364" fmla="*/ 10972 w 404351"/>
                <a:gd name="connsiteY364" fmla="*/ 426871 h 479526"/>
                <a:gd name="connsiteX365" fmla="*/ 9361 w 404351"/>
                <a:gd name="connsiteY365" fmla="*/ 430331 h 479526"/>
                <a:gd name="connsiteX366" fmla="*/ 6224 w 404351"/>
                <a:gd name="connsiteY366" fmla="*/ 431900 h 479526"/>
                <a:gd name="connsiteX367" fmla="*/ 5169 w 404351"/>
                <a:gd name="connsiteY367" fmla="*/ 428123 h 479526"/>
                <a:gd name="connsiteX368" fmla="*/ 7216 w 404351"/>
                <a:gd name="connsiteY368" fmla="*/ 426871 h 479526"/>
                <a:gd name="connsiteX369" fmla="*/ 6224 w 404351"/>
                <a:gd name="connsiteY369" fmla="*/ 423749 h 479526"/>
                <a:gd name="connsiteX370" fmla="*/ 5169 w 404351"/>
                <a:gd name="connsiteY370" fmla="*/ 420450 h 479526"/>
                <a:gd name="connsiteX371" fmla="*/ 6224 w 404351"/>
                <a:gd name="connsiteY371" fmla="*/ 418882 h 479526"/>
                <a:gd name="connsiteX372" fmla="*/ 9361 w 404351"/>
                <a:gd name="connsiteY372" fmla="*/ 418882 h 479526"/>
                <a:gd name="connsiteX373" fmla="*/ 12547 w 404351"/>
                <a:gd name="connsiteY373" fmla="*/ 418882 h 479526"/>
                <a:gd name="connsiteX374" fmla="*/ 14432 w 404351"/>
                <a:gd name="connsiteY374" fmla="*/ 417785 h 479526"/>
                <a:gd name="connsiteX375" fmla="*/ 10972 w 404351"/>
                <a:gd name="connsiteY375" fmla="*/ 415281 h 479526"/>
                <a:gd name="connsiteX376" fmla="*/ 8524 w 404351"/>
                <a:gd name="connsiteY376" fmla="*/ 415147 h 479526"/>
                <a:gd name="connsiteX377" fmla="*/ 7216 w 404351"/>
                <a:gd name="connsiteY377" fmla="*/ 415281 h 479526"/>
                <a:gd name="connsiteX378" fmla="*/ 4079 w 404351"/>
                <a:gd name="connsiteY378" fmla="*/ 414191 h 479526"/>
                <a:gd name="connsiteX379" fmla="*/ 3502 w 404351"/>
                <a:gd name="connsiteY379" fmla="*/ 411209 h 479526"/>
                <a:gd name="connsiteX380" fmla="*/ 3502 w 404351"/>
                <a:gd name="connsiteY380" fmla="*/ 403838 h 479526"/>
                <a:gd name="connsiteX381" fmla="*/ 3502 w 404351"/>
                <a:gd name="connsiteY381" fmla="*/ 401172 h 479526"/>
                <a:gd name="connsiteX382" fmla="*/ 6224 w 404351"/>
                <a:gd name="connsiteY382" fmla="*/ 398345 h 479526"/>
                <a:gd name="connsiteX383" fmla="*/ 7392 w 404351"/>
                <a:gd name="connsiteY383" fmla="*/ 397058 h 479526"/>
                <a:gd name="connsiteX384" fmla="*/ 7216 w 404351"/>
                <a:gd name="connsiteY384" fmla="*/ 396460 h 479526"/>
                <a:gd name="connsiteX385" fmla="*/ 6224 w 404351"/>
                <a:gd name="connsiteY385" fmla="*/ 394913 h 479526"/>
                <a:gd name="connsiteX386" fmla="*/ 2025 w 404351"/>
                <a:gd name="connsiteY386" fmla="*/ 394913 h 479526"/>
                <a:gd name="connsiteX387" fmla="*/ 0 w 404351"/>
                <a:gd name="connsiteY387" fmla="*/ 392705 h 479526"/>
                <a:gd name="connsiteX388" fmla="*/ 2025 w 404351"/>
                <a:gd name="connsiteY388" fmla="*/ 390356 h 479526"/>
                <a:gd name="connsiteX389" fmla="*/ 3502 w 404351"/>
                <a:gd name="connsiteY389" fmla="*/ 388471 h 479526"/>
                <a:gd name="connsiteX390" fmla="*/ 6224 w 404351"/>
                <a:gd name="connsiteY390" fmla="*/ 388471 h 479526"/>
                <a:gd name="connsiteX391" fmla="*/ 9361 w 404351"/>
                <a:gd name="connsiteY391" fmla="*/ 388471 h 479526"/>
                <a:gd name="connsiteX392" fmla="*/ 9664 w 404351"/>
                <a:gd name="connsiteY392" fmla="*/ 388203 h 479526"/>
                <a:gd name="connsiteX393" fmla="*/ 10972 w 404351"/>
                <a:gd name="connsiteY393" fmla="*/ 386445 h 479526"/>
                <a:gd name="connsiteX394" fmla="*/ 17948 w 404351"/>
                <a:gd name="connsiteY394" fmla="*/ 386445 h 479526"/>
                <a:gd name="connsiteX395" fmla="*/ 10972 w 404351"/>
                <a:gd name="connsiteY395" fmla="*/ 384392 h 479526"/>
                <a:gd name="connsiteX396" fmla="*/ 9656 w 404351"/>
                <a:gd name="connsiteY396" fmla="*/ 384961 h 479526"/>
                <a:gd name="connsiteX397" fmla="*/ 7216 w 404351"/>
                <a:gd name="connsiteY397" fmla="*/ 385348 h 479526"/>
                <a:gd name="connsiteX398" fmla="*/ 6351 w 404351"/>
                <a:gd name="connsiteY398" fmla="*/ 383948 h 479526"/>
                <a:gd name="connsiteX399" fmla="*/ 6224 w 404351"/>
                <a:gd name="connsiteY399" fmla="*/ 382366 h 479526"/>
                <a:gd name="connsiteX400" fmla="*/ 4445 w 404351"/>
                <a:gd name="connsiteY400" fmla="*/ 381360 h 479526"/>
                <a:gd name="connsiteX401" fmla="*/ 4445 w 404351"/>
                <a:gd name="connsiteY401" fmla="*/ 381360 h 479526"/>
                <a:gd name="connsiteX402" fmla="*/ 3502 w 404351"/>
                <a:gd name="connsiteY402" fmla="*/ 380959 h 479526"/>
                <a:gd name="connsiteX403" fmla="*/ 2025 w 404351"/>
                <a:gd name="connsiteY403" fmla="*/ 378589 h 479526"/>
                <a:gd name="connsiteX404" fmla="*/ 4079 w 404351"/>
                <a:gd name="connsiteY404" fmla="*/ 377042 h 479526"/>
                <a:gd name="connsiteX405" fmla="*/ 4747 w 404351"/>
                <a:gd name="connsiteY405" fmla="*/ 377021 h 479526"/>
                <a:gd name="connsiteX406" fmla="*/ 4747 w 404351"/>
                <a:gd name="connsiteY406" fmla="*/ 377021 h 479526"/>
                <a:gd name="connsiteX407" fmla="*/ 9361 w 404351"/>
                <a:gd name="connsiteY407" fmla="*/ 377042 h 479526"/>
                <a:gd name="connsiteX408" fmla="*/ 12181 w 404351"/>
                <a:gd name="connsiteY408" fmla="*/ 375804 h 479526"/>
                <a:gd name="connsiteX409" fmla="*/ 12547 w 404351"/>
                <a:gd name="connsiteY409" fmla="*/ 375312 h 479526"/>
                <a:gd name="connsiteX410" fmla="*/ 12547 w 404351"/>
                <a:gd name="connsiteY410" fmla="*/ 373898 h 479526"/>
                <a:gd name="connsiteX411" fmla="*/ 9361 w 404351"/>
                <a:gd name="connsiteY411" fmla="*/ 372963 h 479526"/>
                <a:gd name="connsiteX412" fmla="*/ 9361 w 404351"/>
                <a:gd name="connsiteY412" fmla="*/ 369826 h 479526"/>
                <a:gd name="connsiteX413" fmla="*/ 7694 w 404351"/>
                <a:gd name="connsiteY413" fmla="*/ 369671 h 479526"/>
                <a:gd name="connsiteX414" fmla="*/ 6224 w 404351"/>
                <a:gd name="connsiteY414" fmla="*/ 369826 h 479526"/>
                <a:gd name="connsiteX415" fmla="*/ 2025 w 404351"/>
                <a:gd name="connsiteY415" fmla="*/ 368574 h 479526"/>
                <a:gd name="connsiteX416" fmla="*/ 3502 w 404351"/>
                <a:gd name="connsiteY416" fmla="*/ 365592 h 479526"/>
                <a:gd name="connsiteX417" fmla="*/ 7216 w 404351"/>
                <a:gd name="connsiteY417" fmla="*/ 362448 h 479526"/>
                <a:gd name="connsiteX418" fmla="*/ 3502 w 404351"/>
                <a:gd name="connsiteY418" fmla="*/ 359354 h 479526"/>
                <a:gd name="connsiteX419" fmla="*/ 4079 w 404351"/>
                <a:gd name="connsiteY419" fmla="*/ 357582 h 479526"/>
                <a:gd name="connsiteX420" fmla="*/ 4079 w 404351"/>
                <a:gd name="connsiteY420" fmla="*/ 354065 h 479526"/>
                <a:gd name="connsiteX421" fmla="*/ 3502 w 404351"/>
                <a:gd name="connsiteY421" fmla="*/ 351716 h 479526"/>
                <a:gd name="connsiteX422" fmla="*/ 6224 w 404351"/>
                <a:gd name="connsiteY422" fmla="*/ 350169 h 479526"/>
                <a:gd name="connsiteX423" fmla="*/ 9361 w 404351"/>
                <a:gd name="connsiteY423" fmla="*/ 353087 h 479526"/>
                <a:gd name="connsiteX424" fmla="*/ 10233 w 404351"/>
                <a:gd name="connsiteY424" fmla="*/ 352637 h 479526"/>
                <a:gd name="connsiteX425" fmla="*/ 10233 w 404351"/>
                <a:gd name="connsiteY425" fmla="*/ 352637 h 479526"/>
                <a:gd name="connsiteX426" fmla="*/ 14432 w 404351"/>
                <a:gd name="connsiteY426" fmla="*/ 350169 h 479526"/>
                <a:gd name="connsiteX427" fmla="*/ 14432 w 404351"/>
                <a:gd name="connsiteY427" fmla="*/ 347025 h 479526"/>
                <a:gd name="connsiteX428" fmla="*/ 17948 w 404351"/>
                <a:gd name="connsiteY428" fmla="*/ 344880 h 479526"/>
                <a:gd name="connsiteX429" fmla="*/ 20494 w 404351"/>
                <a:gd name="connsiteY429" fmla="*/ 347025 h 479526"/>
                <a:gd name="connsiteX430" fmla="*/ 22773 w 404351"/>
                <a:gd name="connsiteY430" fmla="*/ 346082 h 479526"/>
                <a:gd name="connsiteX431" fmla="*/ 24785 w 404351"/>
                <a:gd name="connsiteY431" fmla="*/ 344880 h 479526"/>
                <a:gd name="connsiteX432" fmla="*/ 24299 w 404351"/>
                <a:gd name="connsiteY432" fmla="*/ 343108 h 479526"/>
                <a:gd name="connsiteX433" fmla="*/ 23237 w 404351"/>
                <a:gd name="connsiteY433" fmla="*/ 342735 h 479526"/>
                <a:gd name="connsiteX434" fmla="*/ 20494 w 404351"/>
                <a:gd name="connsiteY434" fmla="*/ 340590 h 479526"/>
                <a:gd name="connsiteX435" fmla="*/ 22245 w 404351"/>
                <a:gd name="connsiteY435" fmla="*/ 338438 h 479526"/>
                <a:gd name="connsiteX436" fmla="*/ 29476 w 404351"/>
                <a:gd name="connsiteY436" fmla="*/ 338438 h 479526"/>
                <a:gd name="connsiteX437" fmla="*/ 32218 w 404351"/>
                <a:gd name="connsiteY437" fmla="*/ 337066 h 479526"/>
                <a:gd name="connsiteX438" fmla="*/ 28308 w 404351"/>
                <a:gd name="connsiteY438" fmla="*/ 335118 h 479526"/>
                <a:gd name="connsiteX439" fmla="*/ 28308 w 404351"/>
                <a:gd name="connsiteY439" fmla="*/ 332579 h 479526"/>
                <a:gd name="connsiteX440" fmla="*/ 32218 w 404351"/>
                <a:gd name="connsiteY440" fmla="*/ 330807 h 479526"/>
                <a:gd name="connsiteX441" fmla="*/ 32218 w 404351"/>
                <a:gd name="connsiteY441" fmla="*/ 328465 h 479526"/>
                <a:gd name="connsiteX442" fmla="*/ 35341 w 404351"/>
                <a:gd name="connsiteY442" fmla="*/ 325342 h 479526"/>
                <a:gd name="connsiteX443" fmla="*/ 38858 w 404351"/>
                <a:gd name="connsiteY443" fmla="*/ 323971 h 479526"/>
                <a:gd name="connsiteX444" fmla="*/ 41804 w 404351"/>
                <a:gd name="connsiteY444" fmla="*/ 325342 h 479526"/>
                <a:gd name="connsiteX445" fmla="*/ 45321 w 404351"/>
                <a:gd name="connsiteY445" fmla="*/ 325342 h 479526"/>
                <a:gd name="connsiteX446" fmla="*/ 48837 w 404351"/>
                <a:gd name="connsiteY446" fmla="*/ 325342 h 479526"/>
                <a:gd name="connsiteX447" fmla="*/ 47846 w 404351"/>
                <a:gd name="connsiteY447" fmla="*/ 323971 h 479526"/>
                <a:gd name="connsiteX448" fmla="*/ 46496 w 404351"/>
                <a:gd name="connsiteY448" fmla="*/ 321425 h 479526"/>
                <a:gd name="connsiteX449" fmla="*/ 43950 w 404351"/>
                <a:gd name="connsiteY449" fmla="*/ 320250 h 479526"/>
                <a:gd name="connsiteX450" fmla="*/ 45321 w 404351"/>
                <a:gd name="connsiteY450" fmla="*/ 317908 h 479526"/>
                <a:gd name="connsiteX451" fmla="*/ 52157 w 404351"/>
                <a:gd name="connsiteY451" fmla="*/ 316537 h 479526"/>
                <a:gd name="connsiteX452" fmla="*/ 59570 w 404351"/>
                <a:gd name="connsiteY452" fmla="*/ 316537 h 479526"/>
                <a:gd name="connsiteX453" fmla="*/ 58459 w 404351"/>
                <a:gd name="connsiteY453" fmla="*/ 313815 h 479526"/>
                <a:gd name="connsiteX454" fmla="*/ 57826 w 404351"/>
                <a:gd name="connsiteY454" fmla="*/ 314567 h 479526"/>
                <a:gd name="connsiteX455" fmla="*/ 57066 w 404351"/>
                <a:gd name="connsiteY455" fmla="*/ 313055 h 479526"/>
                <a:gd name="connsiteX456" fmla="*/ 57066 w 404351"/>
                <a:gd name="connsiteY456" fmla="*/ 311311 h 479526"/>
                <a:gd name="connsiteX457" fmla="*/ 58459 w 404351"/>
                <a:gd name="connsiteY457" fmla="*/ 310291 h 479526"/>
                <a:gd name="connsiteX458" fmla="*/ 63607 w 404351"/>
                <a:gd name="connsiteY458" fmla="*/ 309103 h 479526"/>
                <a:gd name="connsiteX459" fmla="*/ 66371 w 404351"/>
                <a:gd name="connsiteY459" fmla="*/ 311311 h 479526"/>
                <a:gd name="connsiteX460" fmla="*/ 66519 w 404351"/>
                <a:gd name="connsiteY460" fmla="*/ 311635 h 479526"/>
                <a:gd name="connsiteX461" fmla="*/ 66744 w 404351"/>
                <a:gd name="connsiteY461" fmla="*/ 312057 h 479526"/>
                <a:gd name="connsiteX462" fmla="*/ 68889 w 404351"/>
                <a:gd name="connsiteY462" fmla="*/ 313013 h 479526"/>
                <a:gd name="connsiteX463" fmla="*/ 69015 w 404351"/>
                <a:gd name="connsiteY463" fmla="*/ 313055 h 479526"/>
                <a:gd name="connsiteX464" fmla="*/ 70900 w 404351"/>
                <a:gd name="connsiteY464" fmla="*/ 311311 h 479526"/>
                <a:gd name="connsiteX465" fmla="*/ 69015 w 404351"/>
                <a:gd name="connsiteY465" fmla="*/ 309103 h 479526"/>
                <a:gd name="connsiteX466" fmla="*/ 67764 w 404351"/>
                <a:gd name="connsiteY466" fmla="*/ 308371 h 479526"/>
                <a:gd name="connsiteX467" fmla="*/ 67384 w 404351"/>
                <a:gd name="connsiteY467" fmla="*/ 307731 h 479526"/>
                <a:gd name="connsiteX468" fmla="*/ 67384 w 404351"/>
                <a:gd name="connsiteY468" fmla="*/ 305150 h 479526"/>
                <a:gd name="connsiteX469" fmla="*/ 70267 w 404351"/>
                <a:gd name="connsiteY469" fmla="*/ 305150 h 479526"/>
                <a:gd name="connsiteX470" fmla="*/ 72673 w 404351"/>
                <a:gd name="connsiteY470" fmla="*/ 303912 h 479526"/>
                <a:gd name="connsiteX471" fmla="*/ 74220 w 404351"/>
                <a:gd name="connsiteY471" fmla="*/ 302963 h 479526"/>
                <a:gd name="connsiteX472" fmla="*/ 75809 w 404351"/>
                <a:gd name="connsiteY472" fmla="*/ 303912 h 479526"/>
                <a:gd name="connsiteX473" fmla="*/ 77082 w 404351"/>
                <a:gd name="connsiteY473" fmla="*/ 307731 h 479526"/>
                <a:gd name="connsiteX474" fmla="*/ 77898 w 404351"/>
                <a:gd name="connsiteY474" fmla="*/ 308786 h 479526"/>
                <a:gd name="connsiteX475" fmla="*/ 78855 w 404351"/>
                <a:gd name="connsiteY475" fmla="*/ 310291 h 479526"/>
                <a:gd name="connsiteX476" fmla="*/ 77082 w 404351"/>
                <a:gd name="connsiteY476" fmla="*/ 313055 h 479526"/>
                <a:gd name="connsiteX477" fmla="*/ 82132 w 404351"/>
                <a:gd name="connsiteY477" fmla="*/ 313055 h 479526"/>
                <a:gd name="connsiteX478" fmla="*/ 82132 w 404351"/>
                <a:gd name="connsiteY478" fmla="*/ 311311 h 479526"/>
                <a:gd name="connsiteX479" fmla="*/ 82132 w 404351"/>
                <a:gd name="connsiteY479" fmla="*/ 309103 h 479526"/>
                <a:gd name="connsiteX480" fmla="*/ 84474 w 404351"/>
                <a:gd name="connsiteY480" fmla="*/ 308786 h 479526"/>
                <a:gd name="connsiteX481" fmla="*/ 85255 w 404351"/>
                <a:gd name="connsiteY481" fmla="*/ 309103 h 479526"/>
                <a:gd name="connsiteX482" fmla="*/ 92724 w 404351"/>
                <a:gd name="connsiteY482" fmla="*/ 309103 h 479526"/>
                <a:gd name="connsiteX483" fmla="*/ 92724 w 404351"/>
                <a:gd name="connsiteY483" fmla="*/ 307731 h 479526"/>
                <a:gd name="connsiteX484" fmla="*/ 92724 w 404351"/>
                <a:gd name="connsiteY484" fmla="*/ 305150 h 479526"/>
                <a:gd name="connsiteX485" fmla="*/ 90023 w 404351"/>
                <a:gd name="connsiteY485" fmla="*/ 305150 h 479526"/>
                <a:gd name="connsiteX486" fmla="*/ 90980 w 404351"/>
                <a:gd name="connsiteY486" fmla="*/ 302963 h 479526"/>
                <a:gd name="connsiteX487" fmla="*/ 92836 w 404351"/>
                <a:gd name="connsiteY487" fmla="*/ 301155 h 479526"/>
                <a:gd name="connsiteX488" fmla="*/ 92844 w 404351"/>
                <a:gd name="connsiteY488" fmla="*/ 301155 h 479526"/>
                <a:gd name="connsiteX489" fmla="*/ 94792 w 404351"/>
                <a:gd name="connsiteY489" fmla="*/ 299960 h 479526"/>
                <a:gd name="connsiteX490" fmla="*/ 96205 w 404351"/>
                <a:gd name="connsiteY490" fmla="*/ 300023 h 479526"/>
                <a:gd name="connsiteX491" fmla="*/ 96838 w 404351"/>
                <a:gd name="connsiteY491" fmla="*/ 299960 h 479526"/>
                <a:gd name="connsiteX492" fmla="*/ 99771 w 404351"/>
                <a:gd name="connsiteY492" fmla="*/ 299285 h 479526"/>
                <a:gd name="connsiteX493" fmla="*/ 99905 w 404351"/>
                <a:gd name="connsiteY493" fmla="*/ 299285 h 479526"/>
                <a:gd name="connsiteX494" fmla="*/ 101136 w 404351"/>
                <a:gd name="connsiteY494" fmla="*/ 297526 h 479526"/>
                <a:gd name="connsiteX495" fmla="*/ 101332 w 404351"/>
                <a:gd name="connsiteY495" fmla="*/ 296563 h 479526"/>
                <a:gd name="connsiteX496" fmla="*/ 100917 w 404351"/>
                <a:gd name="connsiteY496" fmla="*/ 295205 h 479526"/>
                <a:gd name="connsiteX497" fmla="*/ 99145 w 404351"/>
                <a:gd name="connsiteY497" fmla="*/ 293299 h 479526"/>
                <a:gd name="connsiteX498" fmla="*/ 99905 w 404351"/>
                <a:gd name="connsiteY498" fmla="*/ 292209 h 479526"/>
                <a:gd name="connsiteX499" fmla="*/ 101691 w 404351"/>
                <a:gd name="connsiteY499" fmla="*/ 290022 h 479526"/>
                <a:gd name="connsiteX500" fmla="*/ 99905 w 404351"/>
                <a:gd name="connsiteY500" fmla="*/ 290022 h 479526"/>
                <a:gd name="connsiteX501" fmla="*/ 97513 w 404351"/>
                <a:gd name="connsiteY501" fmla="*/ 290022 h 479526"/>
                <a:gd name="connsiteX502" fmla="*/ 95333 w 404351"/>
                <a:gd name="connsiteY502" fmla="*/ 290697 h 479526"/>
                <a:gd name="connsiteX503" fmla="*/ 94792 w 404351"/>
                <a:gd name="connsiteY503" fmla="*/ 293299 h 479526"/>
                <a:gd name="connsiteX504" fmla="*/ 96423 w 404351"/>
                <a:gd name="connsiteY504" fmla="*/ 295205 h 479526"/>
                <a:gd name="connsiteX505" fmla="*/ 94792 w 404351"/>
                <a:gd name="connsiteY505" fmla="*/ 297238 h 479526"/>
                <a:gd name="connsiteX506" fmla="*/ 92907 w 404351"/>
                <a:gd name="connsiteY506" fmla="*/ 298996 h 479526"/>
                <a:gd name="connsiteX507" fmla="*/ 92808 w 404351"/>
                <a:gd name="connsiteY507" fmla="*/ 299151 h 479526"/>
                <a:gd name="connsiteX508" fmla="*/ 92724 w 404351"/>
                <a:gd name="connsiteY508" fmla="*/ 299285 h 479526"/>
                <a:gd name="connsiteX509" fmla="*/ 90023 w 404351"/>
                <a:gd name="connsiteY509" fmla="*/ 301866 h 479526"/>
                <a:gd name="connsiteX510" fmla="*/ 83897 w 404351"/>
                <a:gd name="connsiteY510" fmla="*/ 305150 h 479526"/>
                <a:gd name="connsiteX511" fmla="*/ 81175 w 404351"/>
                <a:gd name="connsiteY511" fmla="*/ 306501 h 479526"/>
                <a:gd name="connsiteX512" fmla="*/ 79804 w 404351"/>
                <a:gd name="connsiteY512" fmla="*/ 306501 h 479526"/>
                <a:gd name="connsiteX513" fmla="*/ 78855 w 404351"/>
                <a:gd name="connsiteY513" fmla="*/ 303912 h 479526"/>
                <a:gd name="connsiteX514" fmla="*/ 77898 w 404351"/>
                <a:gd name="connsiteY514" fmla="*/ 301866 h 479526"/>
                <a:gd name="connsiteX515" fmla="*/ 79804 w 404351"/>
                <a:gd name="connsiteY515" fmla="*/ 299285 h 479526"/>
                <a:gd name="connsiteX516" fmla="*/ 82132 w 404351"/>
                <a:gd name="connsiteY516" fmla="*/ 299285 h 479526"/>
                <a:gd name="connsiteX517" fmla="*/ 79804 w 404351"/>
                <a:gd name="connsiteY517" fmla="*/ 297934 h 479526"/>
                <a:gd name="connsiteX518" fmla="*/ 77898 w 404351"/>
                <a:gd name="connsiteY518" fmla="*/ 299285 h 479526"/>
                <a:gd name="connsiteX519" fmla="*/ 73404 w 404351"/>
                <a:gd name="connsiteY519" fmla="*/ 300656 h 479526"/>
                <a:gd name="connsiteX520" fmla="*/ 73404 w 404351"/>
                <a:gd name="connsiteY520" fmla="*/ 299285 h 479526"/>
                <a:gd name="connsiteX521" fmla="*/ 74220 w 404351"/>
                <a:gd name="connsiteY521" fmla="*/ 297238 h 479526"/>
                <a:gd name="connsiteX522" fmla="*/ 75176 w 404351"/>
                <a:gd name="connsiteY522" fmla="*/ 295205 h 479526"/>
                <a:gd name="connsiteX523" fmla="*/ 75507 w 404351"/>
                <a:gd name="connsiteY523" fmla="*/ 294741 h 479526"/>
                <a:gd name="connsiteX524" fmla="*/ 77082 w 404351"/>
                <a:gd name="connsiteY524" fmla="*/ 293299 h 479526"/>
                <a:gd name="connsiteX525" fmla="*/ 78876 w 404351"/>
                <a:gd name="connsiteY525" fmla="*/ 293145 h 479526"/>
                <a:gd name="connsiteX526" fmla="*/ 79804 w 404351"/>
                <a:gd name="connsiteY526" fmla="*/ 293299 h 479526"/>
                <a:gd name="connsiteX527" fmla="*/ 81183 w 404351"/>
                <a:gd name="connsiteY527" fmla="*/ 292716 h 479526"/>
                <a:gd name="connsiteX528" fmla="*/ 82132 w 404351"/>
                <a:gd name="connsiteY528" fmla="*/ 292209 h 479526"/>
                <a:gd name="connsiteX529" fmla="*/ 79804 w 404351"/>
                <a:gd name="connsiteY529" fmla="*/ 290022 h 479526"/>
                <a:gd name="connsiteX530" fmla="*/ 78812 w 404351"/>
                <a:gd name="connsiteY530" fmla="*/ 288974 h 479526"/>
                <a:gd name="connsiteX531" fmla="*/ 78855 w 404351"/>
                <a:gd name="connsiteY531" fmla="*/ 288531 h 479526"/>
                <a:gd name="connsiteX532" fmla="*/ 78855 w 404351"/>
                <a:gd name="connsiteY532" fmla="*/ 286344 h 479526"/>
                <a:gd name="connsiteX533" fmla="*/ 81175 w 404351"/>
                <a:gd name="connsiteY533" fmla="*/ 286344 h 479526"/>
                <a:gd name="connsiteX534" fmla="*/ 82132 w 404351"/>
                <a:gd name="connsiteY534" fmla="*/ 284571 h 479526"/>
                <a:gd name="connsiteX535" fmla="*/ 83897 w 404351"/>
                <a:gd name="connsiteY535" fmla="*/ 281850 h 479526"/>
                <a:gd name="connsiteX536" fmla="*/ 85255 w 404351"/>
                <a:gd name="connsiteY536" fmla="*/ 279128 h 479526"/>
                <a:gd name="connsiteX537" fmla="*/ 89067 w 404351"/>
                <a:gd name="connsiteY537" fmla="*/ 276800 h 479526"/>
                <a:gd name="connsiteX538" fmla="*/ 85255 w 404351"/>
                <a:gd name="connsiteY538" fmla="*/ 274894 h 479526"/>
                <a:gd name="connsiteX539" fmla="*/ 87836 w 404351"/>
                <a:gd name="connsiteY539" fmla="*/ 273009 h 479526"/>
                <a:gd name="connsiteX540" fmla="*/ 90980 w 404351"/>
                <a:gd name="connsiteY540" fmla="*/ 270941 h 479526"/>
                <a:gd name="connsiteX541" fmla="*/ 92724 w 404351"/>
                <a:gd name="connsiteY541" fmla="*/ 270941 h 479526"/>
                <a:gd name="connsiteX542" fmla="*/ 95706 w 404351"/>
                <a:gd name="connsiteY542" fmla="*/ 269352 h 479526"/>
                <a:gd name="connsiteX543" fmla="*/ 98308 w 404351"/>
                <a:gd name="connsiteY543" fmla="*/ 265772 h 479526"/>
                <a:gd name="connsiteX544" fmla="*/ 100102 w 404351"/>
                <a:gd name="connsiteY544" fmla="*/ 265772 h 479526"/>
                <a:gd name="connsiteX545" fmla="*/ 101691 w 404351"/>
                <a:gd name="connsiteY545" fmla="*/ 267559 h 479526"/>
                <a:gd name="connsiteX546" fmla="*/ 99905 w 404351"/>
                <a:gd name="connsiteY546" fmla="*/ 272151 h 479526"/>
                <a:gd name="connsiteX547" fmla="*/ 101691 w 404351"/>
                <a:gd name="connsiteY547" fmla="*/ 272151 h 479526"/>
                <a:gd name="connsiteX548" fmla="*/ 102880 w 404351"/>
                <a:gd name="connsiteY548" fmla="*/ 267559 h 479526"/>
                <a:gd name="connsiteX549" fmla="*/ 102880 w 404351"/>
                <a:gd name="connsiteY549" fmla="*/ 264555 h 479526"/>
                <a:gd name="connsiteX550" fmla="*/ 107493 w 404351"/>
                <a:gd name="connsiteY550" fmla="*/ 261179 h 479526"/>
                <a:gd name="connsiteX551" fmla="*/ 100102 w 404351"/>
                <a:gd name="connsiteY551" fmla="*/ 261179 h 479526"/>
                <a:gd name="connsiteX552" fmla="*/ 98681 w 404351"/>
                <a:gd name="connsiteY552" fmla="*/ 260821 h 479526"/>
                <a:gd name="connsiteX553" fmla="*/ 98681 w 404351"/>
                <a:gd name="connsiteY553" fmla="*/ 260821 h 479526"/>
                <a:gd name="connsiteX554" fmla="*/ 98681 w 404351"/>
                <a:gd name="connsiteY554" fmla="*/ 260821 h 479526"/>
                <a:gd name="connsiteX555" fmla="*/ 95706 w 404351"/>
                <a:gd name="connsiteY555" fmla="*/ 260188 h 479526"/>
                <a:gd name="connsiteX556" fmla="*/ 92724 w 404351"/>
                <a:gd name="connsiteY556" fmla="*/ 258380 h 479526"/>
                <a:gd name="connsiteX557" fmla="*/ 95706 w 404351"/>
                <a:gd name="connsiteY557" fmla="*/ 255595 h 479526"/>
                <a:gd name="connsiteX558" fmla="*/ 99905 w 404351"/>
                <a:gd name="connsiteY558" fmla="*/ 256988 h 479526"/>
                <a:gd name="connsiteX559" fmla="*/ 102880 w 404351"/>
                <a:gd name="connsiteY559" fmla="*/ 255595 h 479526"/>
                <a:gd name="connsiteX560" fmla="*/ 105088 w 404351"/>
                <a:gd name="connsiteY560" fmla="*/ 254203 h 479526"/>
                <a:gd name="connsiteX561" fmla="*/ 107493 w 404351"/>
                <a:gd name="connsiteY561" fmla="*/ 250665 h 479526"/>
                <a:gd name="connsiteX562" fmla="*/ 107810 w 404351"/>
                <a:gd name="connsiteY562" fmla="*/ 249807 h 479526"/>
                <a:gd name="connsiteX563" fmla="*/ 108689 w 404351"/>
                <a:gd name="connsiteY563" fmla="*/ 249012 h 479526"/>
                <a:gd name="connsiteX564" fmla="*/ 112009 w 404351"/>
                <a:gd name="connsiteY564" fmla="*/ 248696 h 479526"/>
                <a:gd name="connsiteX565" fmla="*/ 112444 w 404351"/>
                <a:gd name="connsiteY565" fmla="*/ 247662 h 479526"/>
                <a:gd name="connsiteX566" fmla="*/ 113141 w 404351"/>
                <a:gd name="connsiteY566" fmla="*/ 246551 h 479526"/>
                <a:gd name="connsiteX567" fmla="*/ 114252 w 404351"/>
                <a:gd name="connsiteY567" fmla="*/ 246966 h 479526"/>
                <a:gd name="connsiteX568" fmla="*/ 114252 w 404351"/>
                <a:gd name="connsiteY568" fmla="*/ 249371 h 479526"/>
                <a:gd name="connsiteX569" fmla="*/ 116151 w 404351"/>
                <a:gd name="connsiteY569" fmla="*/ 250447 h 479526"/>
                <a:gd name="connsiteX570" fmla="*/ 116918 w 404351"/>
                <a:gd name="connsiteY570" fmla="*/ 250665 h 479526"/>
                <a:gd name="connsiteX571" fmla="*/ 118057 w 404351"/>
                <a:gd name="connsiteY571" fmla="*/ 250567 h 479526"/>
                <a:gd name="connsiteX572" fmla="*/ 118289 w 404351"/>
                <a:gd name="connsiteY572" fmla="*/ 250250 h 479526"/>
                <a:gd name="connsiteX573" fmla="*/ 120511 w 404351"/>
                <a:gd name="connsiteY573" fmla="*/ 248696 h 479526"/>
                <a:gd name="connsiteX574" fmla="*/ 123233 w 404351"/>
                <a:gd name="connsiteY574" fmla="*/ 245854 h 479526"/>
                <a:gd name="connsiteX575" fmla="*/ 123233 w 404351"/>
                <a:gd name="connsiteY575" fmla="*/ 244483 h 479526"/>
                <a:gd name="connsiteX576" fmla="*/ 118289 w 404351"/>
                <a:gd name="connsiteY576" fmla="*/ 248098 h 479526"/>
                <a:gd name="connsiteX577" fmla="*/ 117072 w 404351"/>
                <a:gd name="connsiteY577" fmla="*/ 247662 h 479526"/>
                <a:gd name="connsiteX578" fmla="*/ 116397 w 404351"/>
                <a:gd name="connsiteY578" fmla="*/ 245854 h 479526"/>
                <a:gd name="connsiteX579" fmla="*/ 117072 w 404351"/>
                <a:gd name="connsiteY579" fmla="*/ 242774 h 479526"/>
                <a:gd name="connsiteX580" fmla="*/ 117853 w 404351"/>
                <a:gd name="connsiteY580" fmla="*/ 240446 h 479526"/>
                <a:gd name="connsiteX581" fmla="*/ 116397 w 404351"/>
                <a:gd name="connsiteY581" fmla="*/ 240446 h 479526"/>
                <a:gd name="connsiteX582" fmla="*/ 115757 w 404351"/>
                <a:gd name="connsiteY582" fmla="*/ 240981 h 479526"/>
                <a:gd name="connsiteX583" fmla="*/ 115546 w 404351"/>
                <a:gd name="connsiteY583" fmla="*/ 241480 h 479526"/>
                <a:gd name="connsiteX584" fmla="*/ 115244 w 404351"/>
                <a:gd name="connsiteY584" fmla="*/ 242436 h 479526"/>
                <a:gd name="connsiteX585" fmla="*/ 114850 w 404351"/>
                <a:gd name="connsiteY585" fmla="*/ 243709 h 479526"/>
                <a:gd name="connsiteX586" fmla="*/ 113654 w 404351"/>
                <a:gd name="connsiteY586" fmla="*/ 245081 h 479526"/>
                <a:gd name="connsiteX587" fmla="*/ 112881 w 404351"/>
                <a:gd name="connsiteY587" fmla="*/ 244483 h 479526"/>
                <a:gd name="connsiteX588" fmla="*/ 112444 w 404351"/>
                <a:gd name="connsiteY588" fmla="*/ 242774 h 479526"/>
                <a:gd name="connsiteX589" fmla="*/ 112444 w 404351"/>
                <a:gd name="connsiteY589" fmla="*/ 240446 h 479526"/>
                <a:gd name="connsiteX590" fmla="*/ 114252 w 404351"/>
                <a:gd name="connsiteY590" fmla="*/ 239257 h 479526"/>
                <a:gd name="connsiteX591" fmla="*/ 114850 w 404351"/>
                <a:gd name="connsiteY591" fmla="*/ 237190 h 479526"/>
                <a:gd name="connsiteX592" fmla="*/ 114252 w 404351"/>
                <a:gd name="connsiteY592" fmla="*/ 236079 h 479526"/>
                <a:gd name="connsiteX593" fmla="*/ 113654 w 404351"/>
                <a:gd name="connsiteY593" fmla="*/ 234602 h 479526"/>
                <a:gd name="connsiteX594" fmla="*/ 114850 w 404351"/>
                <a:gd name="connsiteY594" fmla="*/ 233828 h 479526"/>
                <a:gd name="connsiteX595" fmla="*/ 117072 w 404351"/>
                <a:gd name="connsiteY595" fmla="*/ 235460 h 479526"/>
                <a:gd name="connsiteX596" fmla="*/ 119998 w 404351"/>
                <a:gd name="connsiteY596" fmla="*/ 238125 h 479526"/>
                <a:gd name="connsiteX597" fmla="*/ 120511 w 404351"/>
                <a:gd name="connsiteY597" fmla="*/ 237190 h 479526"/>
                <a:gd name="connsiteX598" fmla="*/ 118289 w 404351"/>
                <a:gd name="connsiteY598" fmla="*/ 234602 h 479526"/>
                <a:gd name="connsiteX599" fmla="*/ 116397 w 404351"/>
                <a:gd name="connsiteY599" fmla="*/ 231859 h 479526"/>
                <a:gd name="connsiteX600" fmla="*/ 116397 w 404351"/>
                <a:gd name="connsiteY600" fmla="*/ 228342 h 479526"/>
                <a:gd name="connsiteX601" fmla="*/ 117853 w 404351"/>
                <a:gd name="connsiteY601" fmla="*/ 226971 h 479526"/>
                <a:gd name="connsiteX602" fmla="*/ 119998 w 404351"/>
                <a:gd name="connsiteY602" fmla="*/ 225761 h 479526"/>
                <a:gd name="connsiteX603" fmla="*/ 120511 w 404351"/>
                <a:gd name="connsiteY603" fmla="*/ 223693 h 479526"/>
                <a:gd name="connsiteX604" fmla="*/ 119998 w 404351"/>
                <a:gd name="connsiteY604" fmla="*/ 220092 h 479526"/>
                <a:gd name="connsiteX605" fmla="*/ 121904 w 404351"/>
                <a:gd name="connsiteY605" fmla="*/ 218601 h 479526"/>
                <a:gd name="connsiteX606" fmla="*/ 121904 w 404351"/>
                <a:gd name="connsiteY606" fmla="*/ 218601 h 479526"/>
                <a:gd name="connsiteX607" fmla="*/ 122481 w 404351"/>
                <a:gd name="connsiteY607" fmla="*/ 218362 h 479526"/>
                <a:gd name="connsiteX608" fmla="*/ 125702 w 404351"/>
                <a:gd name="connsiteY608" fmla="*/ 221211 h 479526"/>
                <a:gd name="connsiteX609" fmla="*/ 128107 w 404351"/>
                <a:gd name="connsiteY609" fmla="*/ 222835 h 479526"/>
                <a:gd name="connsiteX610" fmla="*/ 128107 w 404351"/>
                <a:gd name="connsiteY610" fmla="*/ 220092 h 479526"/>
                <a:gd name="connsiteX611" fmla="*/ 126933 w 404351"/>
                <a:gd name="connsiteY611" fmla="*/ 218981 h 479526"/>
                <a:gd name="connsiteX612" fmla="*/ 124949 w 404351"/>
                <a:gd name="connsiteY612" fmla="*/ 214290 h 479526"/>
                <a:gd name="connsiteX613" fmla="*/ 123233 w 404351"/>
                <a:gd name="connsiteY613" fmla="*/ 214290 h 479526"/>
                <a:gd name="connsiteX614" fmla="*/ 122481 w 404351"/>
                <a:gd name="connsiteY614" fmla="*/ 213298 h 479526"/>
                <a:gd name="connsiteX615" fmla="*/ 123233 w 404351"/>
                <a:gd name="connsiteY615" fmla="*/ 212483 h 479526"/>
                <a:gd name="connsiteX616" fmla="*/ 123648 w 404351"/>
                <a:gd name="connsiteY616" fmla="*/ 212061 h 479526"/>
                <a:gd name="connsiteX617" fmla="*/ 123831 w 404351"/>
                <a:gd name="connsiteY617" fmla="*/ 211765 h 479526"/>
                <a:gd name="connsiteX618" fmla="*/ 125702 w 404351"/>
                <a:gd name="connsiteY618" fmla="*/ 210710 h 479526"/>
                <a:gd name="connsiteX619" fmla="*/ 127362 w 404351"/>
                <a:gd name="connsiteY619" fmla="*/ 210619 h 479526"/>
                <a:gd name="connsiteX620" fmla="*/ 128107 w 404351"/>
                <a:gd name="connsiteY620" fmla="*/ 210710 h 479526"/>
                <a:gd name="connsiteX621" fmla="*/ 128902 w 404351"/>
                <a:gd name="connsiteY621" fmla="*/ 210436 h 479526"/>
                <a:gd name="connsiteX622" fmla="*/ 129458 w 404351"/>
                <a:gd name="connsiteY622" fmla="*/ 209958 h 479526"/>
                <a:gd name="connsiteX623" fmla="*/ 130048 w 404351"/>
                <a:gd name="connsiteY623" fmla="*/ 209648 h 479526"/>
                <a:gd name="connsiteX624" fmla="*/ 130632 w 404351"/>
                <a:gd name="connsiteY624" fmla="*/ 209142 h 479526"/>
                <a:gd name="connsiteX625" fmla="*/ 131961 w 404351"/>
                <a:gd name="connsiteY625" fmla="*/ 208572 h 479526"/>
                <a:gd name="connsiteX626" fmla="*/ 132854 w 404351"/>
                <a:gd name="connsiteY626" fmla="*/ 208544 h 479526"/>
                <a:gd name="connsiteX627" fmla="*/ 133853 w 404351"/>
                <a:gd name="connsiteY627" fmla="*/ 208762 h 479526"/>
                <a:gd name="connsiteX628" fmla="*/ 134029 w 404351"/>
                <a:gd name="connsiteY628" fmla="*/ 209142 h 479526"/>
                <a:gd name="connsiteX629" fmla="*/ 135140 w 404351"/>
                <a:gd name="connsiteY629" fmla="*/ 209901 h 479526"/>
                <a:gd name="connsiteX630" fmla="*/ 135281 w 404351"/>
                <a:gd name="connsiteY630" fmla="*/ 209958 h 479526"/>
                <a:gd name="connsiteX631" fmla="*/ 136019 w 404351"/>
                <a:gd name="connsiteY631" fmla="*/ 209831 h 479526"/>
                <a:gd name="connsiteX632" fmla="*/ 136849 w 404351"/>
                <a:gd name="connsiteY632" fmla="*/ 209479 h 479526"/>
                <a:gd name="connsiteX633" fmla="*/ 137630 w 404351"/>
                <a:gd name="connsiteY633" fmla="*/ 208593 h 479526"/>
                <a:gd name="connsiteX634" fmla="*/ 138087 w 404351"/>
                <a:gd name="connsiteY634" fmla="*/ 207848 h 479526"/>
                <a:gd name="connsiteX635" fmla="*/ 139339 w 404351"/>
                <a:gd name="connsiteY635" fmla="*/ 207644 h 479526"/>
                <a:gd name="connsiteX636" fmla="*/ 140274 w 404351"/>
                <a:gd name="connsiteY636" fmla="*/ 207609 h 479526"/>
                <a:gd name="connsiteX637" fmla="*/ 141393 w 404351"/>
                <a:gd name="connsiteY637" fmla="*/ 206709 h 479526"/>
                <a:gd name="connsiteX638" fmla="*/ 141393 w 404351"/>
                <a:gd name="connsiteY638" fmla="*/ 206709 h 479526"/>
                <a:gd name="connsiteX639" fmla="*/ 141744 w 404351"/>
                <a:gd name="connsiteY639" fmla="*/ 206258 h 479526"/>
                <a:gd name="connsiteX640" fmla="*/ 142194 w 404351"/>
                <a:gd name="connsiteY640" fmla="*/ 205822 h 479526"/>
                <a:gd name="connsiteX641" fmla="*/ 142194 w 404351"/>
                <a:gd name="connsiteY641" fmla="*/ 205822 h 479526"/>
                <a:gd name="connsiteX642" fmla="*/ 143313 w 404351"/>
                <a:gd name="connsiteY642" fmla="*/ 204275 h 479526"/>
                <a:gd name="connsiteX643" fmla="*/ 142912 w 404351"/>
                <a:gd name="connsiteY643" fmla="*/ 203740 h 479526"/>
                <a:gd name="connsiteX644" fmla="*/ 142659 w 404351"/>
                <a:gd name="connsiteY644" fmla="*/ 203797 h 479526"/>
                <a:gd name="connsiteX645" fmla="*/ 140788 w 404351"/>
                <a:gd name="connsiteY645" fmla="*/ 205203 h 479526"/>
                <a:gd name="connsiteX646" fmla="*/ 138861 w 404351"/>
                <a:gd name="connsiteY646" fmla="*/ 205963 h 479526"/>
                <a:gd name="connsiteX647" fmla="*/ 138861 w 404351"/>
                <a:gd name="connsiteY647" fmla="*/ 205963 h 479526"/>
                <a:gd name="connsiteX648" fmla="*/ 137848 w 404351"/>
                <a:gd name="connsiteY648" fmla="*/ 206258 h 479526"/>
                <a:gd name="connsiteX649" fmla="*/ 136026 w 404351"/>
                <a:gd name="connsiteY649" fmla="*/ 206146 h 479526"/>
                <a:gd name="connsiteX650" fmla="*/ 136026 w 404351"/>
                <a:gd name="connsiteY650" fmla="*/ 206146 h 479526"/>
                <a:gd name="connsiteX651" fmla="*/ 135281 w 404351"/>
                <a:gd name="connsiteY651" fmla="*/ 205963 h 479526"/>
                <a:gd name="connsiteX652" fmla="*/ 134620 w 404351"/>
                <a:gd name="connsiteY652" fmla="*/ 205337 h 479526"/>
                <a:gd name="connsiteX653" fmla="*/ 134444 w 404351"/>
                <a:gd name="connsiteY653" fmla="*/ 204732 h 479526"/>
                <a:gd name="connsiteX654" fmla="*/ 133867 w 404351"/>
                <a:gd name="connsiteY654" fmla="*/ 203930 h 479526"/>
                <a:gd name="connsiteX655" fmla="*/ 133333 w 404351"/>
                <a:gd name="connsiteY655" fmla="*/ 203199 h 479526"/>
                <a:gd name="connsiteX656" fmla="*/ 132341 w 404351"/>
                <a:gd name="connsiteY656" fmla="*/ 203037 h 479526"/>
                <a:gd name="connsiteX657" fmla="*/ 131568 w 404351"/>
                <a:gd name="connsiteY657" fmla="*/ 203199 h 479526"/>
                <a:gd name="connsiteX658" fmla="*/ 130499 w 404351"/>
                <a:gd name="connsiteY658" fmla="*/ 203501 h 479526"/>
                <a:gd name="connsiteX659" fmla="*/ 129936 w 404351"/>
                <a:gd name="connsiteY659" fmla="*/ 203797 h 479526"/>
                <a:gd name="connsiteX660" fmla="*/ 129500 w 404351"/>
                <a:gd name="connsiteY660" fmla="*/ 204008 h 479526"/>
                <a:gd name="connsiteX661" fmla="*/ 128642 w 404351"/>
                <a:gd name="connsiteY661" fmla="*/ 204275 h 479526"/>
                <a:gd name="connsiteX662" fmla="*/ 126933 w 404351"/>
                <a:gd name="connsiteY662" fmla="*/ 202918 h 479526"/>
                <a:gd name="connsiteX663" fmla="*/ 125702 w 404351"/>
                <a:gd name="connsiteY663" fmla="*/ 201567 h 479526"/>
                <a:gd name="connsiteX664" fmla="*/ 124590 w 404351"/>
                <a:gd name="connsiteY664" fmla="*/ 202918 h 479526"/>
                <a:gd name="connsiteX665" fmla="*/ 123233 w 404351"/>
                <a:gd name="connsiteY665" fmla="*/ 201567 h 479526"/>
                <a:gd name="connsiteX666" fmla="*/ 123831 w 404351"/>
                <a:gd name="connsiteY666" fmla="*/ 199858 h 479526"/>
                <a:gd name="connsiteX667" fmla="*/ 125702 w 404351"/>
                <a:gd name="connsiteY667" fmla="*/ 199858 h 479526"/>
                <a:gd name="connsiteX668" fmla="*/ 126933 w 404351"/>
                <a:gd name="connsiteY668" fmla="*/ 199443 h 479526"/>
                <a:gd name="connsiteX669" fmla="*/ 127769 w 404351"/>
                <a:gd name="connsiteY669" fmla="*/ 197755 h 479526"/>
                <a:gd name="connsiteX670" fmla="*/ 126933 w 404351"/>
                <a:gd name="connsiteY670" fmla="*/ 197755 h 479526"/>
                <a:gd name="connsiteX671" fmla="*/ 125702 w 404351"/>
                <a:gd name="connsiteY671" fmla="*/ 196757 h 479526"/>
                <a:gd name="connsiteX672" fmla="*/ 125582 w 404351"/>
                <a:gd name="connsiteY672" fmla="*/ 195744 h 479526"/>
                <a:gd name="connsiteX673" fmla="*/ 125702 w 404351"/>
                <a:gd name="connsiteY673" fmla="*/ 195111 h 479526"/>
                <a:gd name="connsiteX674" fmla="*/ 126539 w 404351"/>
                <a:gd name="connsiteY674" fmla="*/ 194893 h 479526"/>
                <a:gd name="connsiteX675" fmla="*/ 127769 w 404351"/>
                <a:gd name="connsiteY675" fmla="*/ 195111 h 479526"/>
                <a:gd name="connsiteX676" fmla="*/ 129042 w 404351"/>
                <a:gd name="connsiteY676" fmla="*/ 196757 h 479526"/>
                <a:gd name="connsiteX677" fmla="*/ 129809 w 404351"/>
                <a:gd name="connsiteY677" fmla="*/ 197193 h 479526"/>
                <a:gd name="connsiteX678" fmla="*/ 129809 w 404351"/>
                <a:gd name="connsiteY678" fmla="*/ 197193 h 479526"/>
                <a:gd name="connsiteX679" fmla="*/ 130330 w 404351"/>
                <a:gd name="connsiteY679" fmla="*/ 197277 h 479526"/>
                <a:gd name="connsiteX680" fmla="*/ 131286 w 404351"/>
                <a:gd name="connsiteY680" fmla="*/ 196757 h 479526"/>
                <a:gd name="connsiteX681" fmla="*/ 131300 w 404351"/>
                <a:gd name="connsiteY681" fmla="*/ 196489 h 479526"/>
                <a:gd name="connsiteX682" fmla="*/ 131286 w 404351"/>
                <a:gd name="connsiteY682" fmla="*/ 195111 h 479526"/>
                <a:gd name="connsiteX683" fmla="*/ 129936 w 404351"/>
                <a:gd name="connsiteY683" fmla="*/ 194752 h 479526"/>
                <a:gd name="connsiteX684" fmla="*/ 129042 w 404351"/>
                <a:gd name="connsiteY684" fmla="*/ 193064 h 479526"/>
                <a:gd name="connsiteX685" fmla="*/ 129042 w 404351"/>
                <a:gd name="connsiteY685" fmla="*/ 191946 h 479526"/>
                <a:gd name="connsiteX686" fmla="*/ 132123 w 404351"/>
                <a:gd name="connsiteY686" fmla="*/ 191594 h 479526"/>
                <a:gd name="connsiteX687" fmla="*/ 134803 w 404351"/>
                <a:gd name="connsiteY687" fmla="*/ 191116 h 479526"/>
                <a:gd name="connsiteX688" fmla="*/ 134803 w 404351"/>
                <a:gd name="connsiteY688" fmla="*/ 190300 h 479526"/>
                <a:gd name="connsiteX689" fmla="*/ 132123 w 404351"/>
                <a:gd name="connsiteY689" fmla="*/ 190300 h 479526"/>
                <a:gd name="connsiteX690" fmla="*/ 129936 w 404351"/>
                <a:gd name="connsiteY690" fmla="*/ 189878 h 479526"/>
                <a:gd name="connsiteX691" fmla="*/ 132123 w 404351"/>
                <a:gd name="connsiteY691" fmla="*/ 189006 h 479526"/>
                <a:gd name="connsiteX692" fmla="*/ 133466 w 404351"/>
                <a:gd name="connsiteY692" fmla="*/ 187768 h 479526"/>
                <a:gd name="connsiteX693" fmla="*/ 133649 w 404351"/>
                <a:gd name="connsiteY693" fmla="*/ 187361 h 479526"/>
                <a:gd name="connsiteX694" fmla="*/ 133713 w 404351"/>
                <a:gd name="connsiteY694" fmla="*/ 187227 h 479526"/>
                <a:gd name="connsiteX695" fmla="*/ 134029 w 404351"/>
                <a:gd name="connsiteY695" fmla="*/ 186692 h 479526"/>
                <a:gd name="connsiteX696" fmla="*/ 134711 w 404351"/>
                <a:gd name="connsiteY696" fmla="*/ 186418 h 479526"/>
                <a:gd name="connsiteX697" fmla="*/ 135281 w 404351"/>
                <a:gd name="connsiteY697" fmla="*/ 186242 h 479526"/>
                <a:gd name="connsiteX698" fmla="*/ 138354 w 404351"/>
                <a:gd name="connsiteY698" fmla="*/ 186144 h 479526"/>
                <a:gd name="connsiteX699" fmla="*/ 139494 w 404351"/>
                <a:gd name="connsiteY699" fmla="*/ 186242 h 479526"/>
                <a:gd name="connsiteX700" fmla="*/ 140274 w 404351"/>
                <a:gd name="connsiteY700" fmla="*/ 185131 h 479526"/>
                <a:gd name="connsiteX701" fmla="*/ 139423 w 404351"/>
                <a:gd name="connsiteY701" fmla="*/ 184758 h 479526"/>
                <a:gd name="connsiteX702" fmla="*/ 138643 w 404351"/>
                <a:gd name="connsiteY702" fmla="*/ 184618 h 479526"/>
                <a:gd name="connsiteX703" fmla="*/ 135900 w 404351"/>
                <a:gd name="connsiteY703" fmla="*/ 183422 h 479526"/>
                <a:gd name="connsiteX704" fmla="*/ 135787 w 404351"/>
                <a:gd name="connsiteY704" fmla="*/ 183141 h 479526"/>
                <a:gd name="connsiteX705" fmla="*/ 135900 w 404351"/>
                <a:gd name="connsiteY705" fmla="*/ 179132 h 479526"/>
                <a:gd name="connsiteX706" fmla="*/ 139972 w 404351"/>
                <a:gd name="connsiteY706" fmla="*/ 178091 h 479526"/>
                <a:gd name="connsiteX707" fmla="*/ 141744 w 404351"/>
                <a:gd name="connsiteY707" fmla="*/ 177838 h 479526"/>
                <a:gd name="connsiteX708" fmla="*/ 145774 w 404351"/>
                <a:gd name="connsiteY708" fmla="*/ 176684 h 479526"/>
                <a:gd name="connsiteX709" fmla="*/ 145556 w 404351"/>
                <a:gd name="connsiteY709" fmla="*/ 176326 h 479526"/>
                <a:gd name="connsiteX710" fmla="*/ 143692 w 404351"/>
                <a:gd name="connsiteY710" fmla="*/ 174975 h 479526"/>
                <a:gd name="connsiteX711" fmla="*/ 143249 w 404351"/>
                <a:gd name="connsiteY711" fmla="*/ 172254 h 479526"/>
                <a:gd name="connsiteX712" fmla="*/ 145556 w 404351"/>
                <a:gd name="connsiteY712" fmla="*/ 171374 h 479526"/>
                <a:gd name="connsiteX713" fmla="*/ 147265 w 404351"/>
                <a:gd name="connsiteY713" fmla="*/ 170523 h 479526"/>
                <a:gd name="connsiteX714" fmla="*/ 148313 w 404351"/>
                <a:gd name="connsiteY714" fmla="*/ 170179 h 479526"/>
                <a:gd name="connsiteX715" fmla="*/ 148313 w 404351"/>
                <a:gd name="connsiteY715" fmla="*/ 170179 h 479526"/>
                <a:gd name="connsiteX716" fmla="*/ 149080 w 404351"/>
                <a:gd name="connsiteY716" fmla="*/ 170024 h 479526"/>
                <a:gd name="connsiteX717" fmla="*/ 149952 w 404351"/>
                <a:gd name="connsiteY717" fmla="*/ 169736 h 479526"/>
                <a:gd name="connsiteX718" fmla="*/ 151260 w 404351"/>
                <a:gd name="connsiteY718" fmla="*/ 169426 h 479526"/>
                <a:gd name="connsiteX719" fmla="*/ 154165 w 404351"/>
                <a:gd name="connsiteY719" fmla="*/ 169426 h 479526"/>
                <a:gd name="connsiteX720" fmla="*/ 157562 w 404351"/>
                <a:gd name="connsiteY720" fmla="*/ 169426 h 479526"/>
                <a:gd name="connsiteX721" fmla="*/ 161697 w 404351"/>
                <a:gd name="connsiteY721" fmla="*/ 171374 h 479526"/>
                <a:gd name="connsiteX722" fmla="*/ 163069 w 404351"/>
                <a:gd name="connsiteY722" fmla="*/ 174040 h 479526"/>
                <a:gd name="connsiteX723" fmla="*/ 164320 w 404351"/>
                <a:gd name="connsiteY723" fmla="*/ 173266 h 479526"/>
                <a:gd name="connsiteX724" fmla="*/ 164320 w 404351"/>
                <a:gd name="connsiteY724" fmla="*/ 172254 h 479526"/>
                <a:gd name="connsiteX725" fmla="*/ 163069 w 404351"/>
                <a:gd name="connsiteY725" fmla="*/ 169426 h 479526"/>
                <a:gd name="connsiteX726" fmla="*/ 162063 w 404351"/>
                <a:gd name="connsiteY726" fmla="*/ 168076 h 479526"/>
                <a:gd name="connsiteX727" fmla="*/ 161141 w 404351"/>
                <a:gd name="connsiteY727" fmla="*/ 166866 h 479526"/>
                <a:gd name="connsiteX728" fmla="*/ 158321 w 404351"/>
                <a:gd name="connsiteY728" fmla="*/ 165832 h 479526"/>
                <a:gd name="connsiteX729" fmla="*/ 154601 w 404351"/>
                <a:gd name="connsiteY729" fmla="*/ 165832 h 479526"/>
                <a:gd name="connsiteX730" fmla="*/ 149994 w 404351"/>
                <a:gd name="connsiteY730" fmla="*/ 167499 h 479526"/>
                <a:gd name="connsiteX731" fmla="*/ 147265 w 404351"/>
                <a:gd name="connsiteY731" fmla="*/ 166866 h 479526"/>
                <a:gd name="connsiteX732" fmla="*/ 149080 w 404351"/>
                <a:gd name="connsiteY732" fmla="*/ 164939 h 479526"/>
                <a:gd name="connsiteX733" fmla="*/ 151260 w 404351"/>
                <a:gd name="connsiteY733" fmla="*/ 160325 h 479526"/>
                <a:gd name="connsiteX734" fmla="*/ 151914 w 404351"/>
                <a:gd name="connsiteY734" fmla="*/ 158398 h 479526"/>
                <a:gd name="connsiteX735" fmla="*/ 151914 w 404351"/>
                <a:gd name="connsiteY735" fmla="*/ 158398 h 479526"/>
                <a:gd name="connsiteX736" fmla="*/ 152041 w 404351"/>
                <a:gd name="connsiteY736" fmla="*/ 158019 h 479526"/>
                <a:gd name="connsiteX737" fmla="*/ 155754 w 404351"/>
                <a:gd name="connsiteY737" fmla="*/ 155198 h 479526"/>
                <a:gd name="connsiteX738" fmla="*/ 157850 w 404351"/>
                <a:gd name="connsiteY738" fmla="*/ 156211 h 479526"/>
                <a:gd name="connsiteX739" fmla="*/ 158321 w 404351"/>
                <a:gd name="connsiteY739" fmla="*/ 156844 h 479526"/>
                <a:gd name="connsiteX740" fmla="*/ 160593 w 404351"/>
                <a:gd name="connsiteY740" fmla="*/ 157878 h 479526"/>
                <a:gd name="connsiteX741" fmla="*/ 161141 w 404351"/>
                <a:gd name="connsiteY741" fmla="*/ 158019 h 479526"/>
                <a:gd name="connsiteX742" fmla="*/ 163040 w 404351"/>
                <a:gd name="connsiteY742" fmla="*/ 159306 h 479526"/>
                <a:gd name="connsiteX743" fmla="*/ 164320 w 404351"/>
                <a:gd name="connsiteY743" fmla="*/ 160325 h 479526"/>
                <a:gd name="connsiteX744" fmla="*/ 165854 w 404351"/>
                <a:gd name="connsiteY744" fmla="*/ 158398 h 479526"/>
                <a:gd name="connsiteX745" fmla="*/ 165854 w 404351"/>
                <a:gd name="connsiteY745" fmla="*/ 156092 h 479526"/>
                <a:gd name="connsiteX746" fmla="*/ 163069 w 404351"/>
                <a:gd name="connsiteY746" fmla="*/ 156092 h 479526"/>
                <a:gd name="connsiteX747" fmla="*/ 160171 w 404351"/>
                <a:gd name="connsiteY747" fmla="*/ 153904 h 479526"/>
                <a:gd name="connsiteX748" fmla="*/ 160171 w 404351"/>
                <a:gd name="connsiteY748" fmla="*/ 150965 h 479526"/>
                <a:gd name="connsiteX749" fmla="*/ 162295 w 404351"/>
                <a:gd name="connsiteY749" fmla="*/ 148897 h 479526"/>
                <a:gd name="connsiteX750" fmla="*/ 165854 w 404351"/>
                <a:gd name="connsiteY750" fmla="*/ 149291 h 479526"/>
                <a:gd name="connsiteX751" fmla="*/ 169468 w 404351"/>
                <a:gd name="connsiteY751" fmla="*/ 149291 h 479526"/>
                <a:gd name="connsiteX752" fmla="*/ 165854 w 404351"/>
                <a:gd name="connsiteY752" fmla="*/ 146850 h 479526"/>
                <a:gd name="connsiteX753" fmla="*/ 164686 w 404351"/>
                <a:gd name="connsiteY753" fmla="*/ 145816 h 479526"/>
                <a:gd name="connsiteX754" fmla="*/ 163069 w 404351"/>
                <a:gd name="connsiteY754" fmla="*/ 144501 h 479526"/>
                <a:gd name="connsiteX755" fmla="*/ 161613 w 404351"/>
                <a:gd name="connsiteY755" fmla="*/ 144958 h 479526"/>
                <a:gd name="connsiteX756" fmla="*/ 160171 w 404351"/>
                <a:gd name="connsiteY756" fmla="*/ 145577 h 479526"/>
                <a:gd name="connsiteX757" fmla="*/ 157815 w 404351"/>
                <a:gd name="connsiteY757" fmla="*/ 148911 h 479526"/>
                <a:gd name="connsiteX758" fmla="*/ 156647 w 404351"/>
                <a:gd name="connsiteY758" fmla="*/ 150965 h 479526"/>
                <a:gd name="connsiteX759" fmla="*/ 153708 w 404351"/>
                <a:gd name="connsiteY759" fmla="*/ 151977 h 479526"/>
                <a:gd name="connsiteX760" fmla="*/ 154601 w 404351"/>
                <a:gd name="connsiteY760" fmla="*/ 149291 h 479526"/>
                <a:gd name="connsiteX761" fmla="*/ 156647 w 404351"/>
                <a:gd name="connsiteY761" fmla="*/ 146850 h 479526"/>
                <a:gd name="connsiteX762" fmla="*/ 153708 w 404351"/>
                <a:gd name="connsiteY762" fmla="*/ 144501 h 479526"/>
                <a:gd name="connsiteX763" fmla="*/ 155184 w 404351"/>
                <a:gd name="connsiteY763" fmla="*/ 142855 h 479526"/>
                <a:gd name="connsiteX764" fmla="*/ 155184 w 404351"/>
                <a:gd name="connsiteY764" fmla="*/ 142855 h 479526"/>
                <a:gd name="connsiteX765" fmla="*/ 155754 w 404351"/>
                <a:gd name="connsiteY765" fmla="*/ 142356 h 479526"/>
                <a:gd name="connsiteX766" fmla="*/ 156176 w 404351"/>
                <a:gd name="connsiteY766" fmla="*/ 141294 h 479526"/>
                <a:gd name="connsiteX767" fmla="*/ 157562 w 404351"/>
                <a:gd name="connsiteY767" fmla="*/ 138818 h 479526"/>
                <a:gd name="connsiteX768" fmla="*/ 160171 w 404351"/>
                <a:gd name="connsiteY768" fmla="*/ 136195 h 479526"/>
                <a:gd name="connsiteX769" fmla="*/ 161697 w 404351"/>
                <a:gd name="connsiteY769" fmla="*/ 133431 h 479526"/>
                <a:gd name="connsiteX770" fmla="*/ 165854 w 404351"/>
                <a:gd name="connsiteY770" fmla="*/ 131743 h 479526"/>
                <a:gd name="connsiteX771" fmla="*/ 172929 w 404351"/>
                <a:gd name="connsiteY771" fmla="*/ 127903 h 479526"/>
                <a:gd name="connsiteX772" fmla="*/ 173435 w 404351"/>
                <a:gd name="connsiteY772" fmla="*/ 130688 h 479526"/>
                <a:gd name="connsiteX773" fmla="*/ 173435 w 404351"/>
                <a:gd name="connsiteY773" fmla="*/ 130688 h 479526"/>
                <a:gd name="connsiteX774" fmla="*/ 172929 w 404351"/>
                <a:gd name="connsiteY774" fmla="*/ 131743 h 479526"/>
                <a:gd name="connsiteX775" fmla="*/ 173527 w 404351"/>
                <a:gd name="connsiteY775" fmla="*/ 134824 h 479526"/>
                <a:gd name="connsiteX776" fmla="*/ 174202 w 404351"/>
                <a:gd name="connsiteY776" fmla="*/ 136744 h 479526"/>
                <a:gd name="connsiteX777" fmla="*/ 175376 w 404351"/>
                <a:gd name="connsiteY777" fmla="*/ 139733 h 479526"/>
                <a:gd name="connsiteX778" fmla="*/ 177064 w 404351"/>
                <a:gd name="connsiteY778" fmla="*/ 137130 h 479526"/>
                <a:gd name="connsiteX779" fmla="*/ 177064 w 404351"/>
                <a:gd name="connsiteY779" fmla="*/ 133431 h 479526"/>
                <a:gd name="connsiteX780" fmla="*/ 177908 w 404351"/>
                <a:gd name="connsiteY780" fmla="*/ 131940 h 479526"/>
                <a:gd name="connsiteX781" fmla="*/ 178914 w 404351"/>
                <a:gd name="connsiteY781" fmla="*/ 130991 h 479526"/>
                <a:gd name="connsiteX782" fmla="*/ 177064 w 404351"/>
                <a:gd name="connsiteY782" fmla="*/ 129436 h 479526"/>
                <a:gd name="connsiteX783" fmla="*/ 174314 w 404351"/>
                <a:gd name="connsiteY783" fmla="*/ 126046 h 479526"/>
                <a:gd name="connsiteX784" fmla="*/ 173527 w 404351"/>
                <a:gd name="connsiteY784" fmla="*/ 124823 h 479526"/>
                <a:gd name="connsiteX785" fmla="*/ 174722 w 404351"/>
                <a:gd name="connsiteY785" fmla="*/ 123360 h 479526"/>
                <a:gd name="connsiteX786" fmla="*/ 176150 w 404351"/>
                <a:gd name="connsiteY786" fmla="*/ 122382 h 479526"/>
                <a:gd name="connsiteX787" fmla="*/ 181214 w 404351"/>
                <a:gd name="connsiteY787" fmla="*/ 120990 h 479526"/>
                <a:gd name="connsiteX788" fmla="*/ 185989 w 404351"/>
                <a:gd name="connsiteY788" fmla="*/ 123451 h 479526"/>
                <a:gd name="connsiteX789" fmla="*/ 190202 w 404351"/>
                <a:gd name="connsiteY789" fmla="*/ 120990 h 479526"/>
                <a:gd name="connsiteX790" fmla="*/ 194893 w 404351"/>
                <a:gd name="connsiteY790" fmla="*/ 117768 h 479526"/>
                <a:gd name="connsiteX791" fmla="*/ 190202 w 404351"/>
                <a:gd name="connsiteY791" fmla="*/ 116995 h 479526"/>
                <a:gd name="connsiteX792" fmla="*/ 187874 w 404351"/>
                <a:gd name="connsiteY792" fmla="*/ 117311 h 479526"/>
                <a:gd name="connsiteX793" fmla="*/ 184140 w 404351"/>
                <a:gd name="connsiteY793" fmla="*/ 117768 h 479526"/>
                <a:gd name="connsiteX794" fmla="*/ 181003 w 404351"/>
                <a:gd name="connsiteY794" fmla="*/ 118465 h 479526"/>
                <a:gd name="connsiteX795" fmla="*/ 178000 w 404351"/>
                <a:gd name="connsiteY795" fmla="*/ 119140 h 479526"/>
                <a:gd name="connsiteX796" fmla="*/ 172767 w 404351"/>
                <a:gd name="connsiteY796" fmla="*/ 119140 h 479526"/>
                <a:gd name="connsiteX797" fmla="*/ 169672 w 404351"/>
                <a:gd name="connsiteY797" fmla="*/ 120554 h 479526"/>
                <a:gd name="connsiteX798" fmla="*/ 169672 w 404351"/>
                <a:gd name="connsiteY798" fmla="*/ 120554 h 479526"/>
                <a:gd name="connsiteX799" fmla="*/ 166768 w 404351"/>
                <a:gd name="connsiteY799" fmla="*/ 122382 h 479526"/>
                <a:gd name="connsiteX800" fmla="*/ 165720 w 404351"/>
                <a:gd name="connsiteY800" fmla="*/ 123008 h 479526"/>
                <a:gd name="connsiteX801" fmla="*/ 157562 w 404351"/>
                <a:gd name="connsiteY801" fmla="*/ 126377 h 479526"/>
                <a:gd name="connsiteX802" fmla="*/ 151548 w 404351"/>
                <a:gd name="connsiteY802" fmla="*/ 128100 h 479526"/>
                <a:gd name="connsiteX803" fmla="*/ 151548 w 404351"/>
                <a:gd name="connsiteY803" fmla="*/ 128100 h 479526"/>
                <a:gd name="connsiteX804" fmla="*/ 147265 w 404351"/>
                <a:gd name="connsiteY804" fmla="*/ 129436 h 479526"/>
                <a:gd name="connsiteX805" fmla="*/ 138277 w 404351"/>
                <a:gd name="connsiteY805" fmla="*/ 133192 h 479526"/>
                <a:gd name="connsiteX806" fmla="*/ 138277 w 404351"/>
                <a:gd name="connsiteY806" fmla="*/ 133192 h 479526"/>
                <a:gd name="connsiteX807" fmla="*/ 134507 w 404351"/>
                <a:gd name="connsiteY807" fmla="*/ 134824 h 479526"/>
                <a:gd name="connsiteX808" fmla="*/ 123592 w 404351"/>
                <a:gd name="connsiteY808" fmla="*/ 144501 h 479526"/>
                <a:gd name="connsiteX809" fmla="*/ 123592 w 404351"/>
                <a:gd name="connsiteY809" fmla="*/ 140964 h 479526"/>
                <a:gd name="connsiteX810" fmla="*/ 126673 w 404351"/>
                <a:gd name="connsiteY810" fmla="*/ 134824 h 479526"/>
                <a:gd name="connsiteX811" fmla="*/ 136969 w 404351"/>
                <a:gd name="connsiteY811" fmla="*/ 126377 h 479526"/>
                <a:gd name="connsiteX812" fmla="*/ 138910 w 404351"/>
                <a:gd name="connsiteY812" fmla="*/ 125547 h 479526"/>
                <a:gd name="connsiteX813" fmla="*/ 138910 w 404351"/>
                <a:gd name="connsiteY813" fmla="*/ 125547 h 479526"/>
                <a:gd name="connsiteX814" fmla="*/ 138910 w 404351"/>
                <a:gd name="connsiteY814" fmla="*/ 125547 h 479526"/>
                <a:gd name="connsiteX815" fmla="*/ 142659 w 404351"/>
                <a:gd name="connsiteY815" fmla="*/ 124070 h 479526"/>
                <a:gd name="connsiteX816" fmla="*/ 146703 w 404351"/>
                <a:gd name="connsiteY816" fmla="*/ 122389 h 479526"/>
                <a:gd name="connsiteX817" fmla="*/ 149874 w 404351"/>
                <a:gd name="connsiteY817" fmla="*/ 120990 h 479526"/>
                <a:gd name="connsiteX818" fmla="*/ 155691 w 404351"/>
                <a:gd name="connsiteY818" fmla="*/ 118556 h 479526"/>
                <a:gd name="connsiteX819" fmla="*/ 155691 w 404351"/>
                <a:gd name="connsiteY819" fmla="*/ 118556 h 479526"/>
                <a:gd name="connsiteX820" fmla="*/ 157562 w 404351"/>
                <a:gd name="connsiteY820" fmla="*/ 117768 h 479526"/>
                <a:gd name="connsiteX821" fmla="*/ 159742 w 404351"/>
                <a:gd name="connsiteY821" fmla="*/ 116692 h 479526"/>
                <a:gd name="connsiteX822" fmla="*/ 159742 w 404351"/>
                <a:gd name="connsiteY822" fmla="*/ 116692 h 479526"/>
                <a:gd name="connsiteX823" fmla="*/ 161697 w 404351"/>
                <a:gd name="connsiteY823" fmla="*/ 115764 h 479526"/>
                <a:gd name="connsiteX824" fmla="*/ 164320 w 404351"/>
                <a:gd name="connsiteY824" fmla="*/ 110553 h 479526"/>
                <a:gd name="connsiteX825" fmla="*/ 164320 w 404351"/>
                <a:gd name="connsiteY825" fmla="*/ 101944 h 479526"/>
                <a:gd name="connsiteX826" fmla="*/ 166768 w 404351"/>
                <a:gd name="connsiteY826" fmla="*/ 97795 h 479526"/>
                <a:gd name="connsiteX827" fmla="*/ 168793 w 404351"/>
                <a:gd name="connsiteY827" fmla="*/ 97541 h 479526"/>
                <a:gd name="connsiteX828" fmla="*/ 170622 w 404351"/>
                <a:gd name="connsiteY828" fmla="*/ 97795 h 479526"/>
                <a:gd name="connsiteX829" fmla="*/ 170706 w 404351"/>
                <a:gd name="connsiteY829" fmla="*/ 107310 h 479526"/>
                <a:gd name="connsiteX830" fmla="*/ 170622 w 404351"/>
                <a:gd name="connsiteY830" fmla="*/ 107775 h 479526"/>
                <a:gd name="connsiteX831" fmla="*/ 171382 w 404351"/>
                <a:gd name="connsiteY831" fmla="*/ 109202 h 479526"/>
                <a:gd name="connsiteX832" fmla="*/ 172767 w 404351"/>
                <a:gd name="connsiteY832" fmla="*/ 109005 h 479526"/>
                <a:gd name="connsiteX833" fmla="*/ 174124 w 404351"/>
                <a:gd name="connsiteY833" fmla="*/ 105440 h 479526"/>
                <a:gd name="connsiteX834" fmla="*/ 174124 w 404351"/>
                <a:gd name="connsiteY834" fmla="*/ 105440 h 479526"/>
                <a:gd name="connsiteX835" fmla="*/ 174139 w 404351"/>
                <a:gd name="connsiteY835" fmla="*/ 104553 h 479526"/>
                <a:gd name="connsiteX836" fmla="*/ 176150 w 404351"/>
                <a:gd name="connsiteY836" fmla="*/ 101944 h 479526"/>
                <a:gd name="connsiteX837" fmla="*/ 178401 w 404351"/>
                <a:gd name="connsiteY837" fmla="*/ 102394 h 479526"/>
                <a:gd name="connsiteX838" fmla="*/ 178401 w 404351"/>
                <a:gd name="connsiteY838" fmla="*/ 102394 h 479526"/>
                <a:gd name="connsiteX839" fmla="*/ 180440 w 404351"/>
                <a:gd name="connsiteY839" fmla="*/ 103316 h 479526"/>
                <a:gd name="connsiteX840" fmla="*/ 182859 w 404351"/>
                <a:gd name="connsiteY840" fmla="*/ 107662 h 479526"/>
                <a:gd name="connsiteX841" fmla="*/ 182859 w 404351"/>
                <a:gd name="connsiteY841" fmla="*/ 107662 h 479526"/>
                <a:gd name="connsiteX842" fmla="*/ 183063 w 404351"/>
                <a:gd name="connsiteY842" fmla="*/ 109005 h 479526"/>
                <a:gd name="connsiteX843" fmla="*/ 185863 w 404351"/>
                <a:gd name="connsiteY843" fmla="*/ 108654 h 479526"/>
                <a:gd name="connsiteX844" fmla="*/ 187797 w 404351"/>
                <a:gd name="connsiteY844" fmla="*/ 107775 h 479526"/>
                <a:gd name="connsiteX845" fmla="*/ 193395 w 404351"/>
                <a:gd name="connsiteY845" fmla="*/ 107620 h 479526"/>
                <a:gd name="connsiteX846" fmla="*/ 194893 w 404351"/>
                <a:gd name="connsiteY846" fmla="*/ 107775 h 479526"/>
                <a:gd name="connsiteX847" fmla="*/ 198571 w 404351"/>
                <a:gd name="connsiteY847" fmla="*/ 105327 h 479526"/>
                <a:gd name="connsiteX848" fmla="*/ 199641 w 404351"/>
                <a:gd name="connsiteY848" fmla="*/ 100256 h 479526"/>
                <a:gd name="connsiteX849" fmla="*/ 197868 w 404351"/>
                <a:gd name="connsiteY849" fmla="*/ 98414 h 479526"/>
                <a:gd name="connsiteX850" fmla="*/ 196743 w 404351"/>
                <a:gd name="connsiteY850" fmla="*/ 97795 h 479526"/>
                <a:gd name="connsiteX851" fmla="*/ 196665 w 404351"/>
                <a:gd name="connsiteY851" fmla="*/ 93666 h 479526"/>
                <a:gd name="connsiteX852" fmla="*/ 196743 w 404351"/>
                <a:gd name="connsiteY852" fmla="*/ 93343 h 479526"/>
                <a:gd name="connsiteX853" fmla="*/ 203319 w 404351"/>
                <a:gd name="connsiteY853" fmla="*/ 89601 h 479526"/>
                <a:gd name="connsiteX854" fmla="*/ 199641 w 404351"/>
                <a:gd name="connsiteY854" fmla="*/ 88012 h 479526"/>
                <a:gd name="connsiteX855" fmla="*/ 193564 w 404351"/>
                <a:gd name="connsiteY855" fmla="*/ 89601 h 479526"/>
                <a:gd name="connsiteX856" fmla="*/ 191426 w 404351"/>
                <a:gd name="connsiteY856" fmla="*/ 92027 h 479526"/>
                <a:gd name="connsiteX857" fmla="*/ 191426 w 404351"/>
                <a:gd name="connsiteY857" fmla="*/ 92027 h 479526"/>
                <a:gd name="connsiteX858" fmla="*/ 190202 w 404351"/>
                <a:gd name="connsiteY858" fmla="*/ 94693 h 479526"/>
                <a:gd name="connsiteX859" fmla="*/ 188324 w 404351"/>
                <a:gd name="connsiteY859" fmla="*/ 95305 h 479526"/>
                <a:gd name="connsiteX860" fmla="*/ 187797 w 404351"/>
                <a:gd name="connsiteY860" fmla="*/ 94693 h 479526"/>
                <a:gd name="connsiteX861" fmla="*/ 185412 w 404351"/>
                <a:gd name="connsiteY861" fmla="*/ 89601 h 479526"/>
                <a:gd name="connsiteX862" fmla="*/ 187797 w 404351"/>
                <a:gd name="connsiteY862" fmla="*/ 86739 h 479526"/>
                <a:gd name="connsiteX863" fmla="*/ 187438 w 404351"/>
                <a:gd name="connsiteY863" fmla="*/ 84411 h 479526"/>
                <a:gd name="connsiteX864" fmla="*/ 186685 w 404351"/>
                <a:gd name="connsiteY864" fmla="*/ 82730 h 479526"/>
                <a:gd name="connsiteX865" fmla="*/ 187797 w 404351"/>
                <a:gd name="connsiteY865" fmla="*/ 78257 h 479526"/>
                <a:gd name="connsiteX866" fmla="*/ 189696 w 404351"/>
                <a:gd name="connsiteY866" fmla="*/ 77216 h 479526"/>
                <a:gd name="connsiteX867" fmla="*/ 191792 w 404351"/>
                <a:gd name="connsiteY867" fmla="*/ 76344 h 479526"/>
                <a:gd name="connsiteX868" fmla="*/ 192924 w 404351"/>
                <a:gd name="connsiteY868" fmla="*/ 74150 h 479526"/>
                <a:gd name="connsiteX869" fmla="*/ 193564 w 404351"/>
                <a:gd name="connsiteY869" fmla="*/ 72173 h 479526"/>
                <a:gd name="connsiteX870" fmla="*/ 197348 w 404351"/>
                <a:gd name="connsiteY870" fmla="*/ 70886 h 479526"/>
                <a:gd name="connsiteX871" fmla="*/ 197713 w 404351"/>
                <a:gd name="connsiteY871" fmla="*/ 70900 h 479526"/>
                <a:gd name="connsiteX872" fmla="*/ 203319 w 404351"/>
                <a:gd name="connsiteY872" fmla="*/ 76344 h 479526"/>
                <a:gd name="connsiteX873" fmla="*/ 204507 w 404351"/>
                <a:gd name="connsiteY873" fmla="*/ 75915 h 479526"/>
                <a:gd name="connsiteX874" fmla="*/ 205225 w 404351"/>
                <a:gd name="connsiteY874" fmla="*/ 74895 h 479526"/>
                <a:gd name="connsiteX875" fmla="*/ 209065 w 404351"/>
                <a:gd name="connsiteY875" fmla="*/ 78257 h 479526"/>
                <a:gd name="connsiteX876" fmla="*/ 210063 w 404351"/>
                <a:gd name="connsiteY876" fmla="*/ 79776 h 479526"/>
                <a:gd name="connsiteX877" fmla="*/ 211308 w 404351"/>
                <a:gd name="connsiteY877" fmla="*/ 81773 h 479526"/>
                <a:gd name="connsiteX878" fmla="*/ 215465 w 404351"/>
                <a:gd name="connsiteY878" fmla="*/ 82730 h 479526"/>
                <a:gd name="connsiteX879" fmla="*/ 213714 w 404351"/>
                <a:gd name="connsiteY879" fmla="*/ 78257 h 479526"/>
                <a:gd name="connsiteX880" fmla="*/ 211800 w 404351"/>
                <a:gd name="connsiteY880" fmla="*/ 76147 h 479526"/>
                <a:gd name="connsiteX881" fmla="*/ 210359 w 404351"/>
                <a:gd name="connsiteY881" fmla="*/ 74895 h 479526"/>
                <a:gd name="connsiteX882" fmla="*/ 211308 w 404351"/>
                <a:gd name="connsiteY882" fmla="*/ 72173 h 479526"/>
                <a:gd name="connsiteX883" fmla="*/ 214684 w 404351"/>
                <a:gd name="connsiteY883" fmla="*/ 73214 h 479526"/>
                <a:gd name="connsiteX884" fmla="*/ 215465 w 404351"/>
                <a:gd name="connsiteY884" fmla="*/ 73784 h 479526"/>
                <a:gd name="connsiteX885" fmla="*/ 216913 w 404351"/>
                <a:gd name="connsiteY885" fmla="*/ 78243 h 479526"/>
                <a:gd name="connsiteX886" fmla="*/ 216892 w 404351"/>
                <a:gd name="connsiteY886" fmla="*/ 79206 h 479526"/>
                <a:gd name="connsiteX887" fmla="*/ 222498 w 404351"/>
                <a:gd name="connsiteY887" fmla="*/ 82730 h 479526"/>
                <a:gd name="connsiteX888" fmla="*/ 222498 w 404351"/>
                <a:gd name="connsiteY888" fmla="*/ 86739 h 479526"/>
                <a:gd name="connsiteX889" fmla="*/ 225065 w 404351"/>
                <a:gd name="connsiteY889" fmla="*/ 84179 h 479526"/>
                <a:gd name="connsiteX890" fmla="*/ 223616 w 404351"/>
                <a:gd name="connsiteY890" fmla="*/ 80022 h 479526"/>
                <a:gd name="connsiteX891" fmla="*/ 220908 w 404351"/>
                <a:gd name="connsiteY891" fmla="*/ 78257 h 479526"/>
                <a:gd name="connsiteX892" fmla="*/ 218186 w 404351"/>
                <a:gd name="connsiteY892" fmla="*/ 73784 h 479526"/>
                <a:gd name="connsiteX893" fmla="*/ 217954 w 404351"/>
                <a:gd name="connsiteY893" fmla="*/ 70661 h 479526"/>
                <a:gd name="connsiteX894" fmla="*/ 218186 w 404351"/>
                <a:gd name="connsiteY894" fmla="*/ 68495 h 479526"/>
                <a:gd name="connsiteX895" fmla="*/ 218700 w 404351"/>
                <a:gd name="connsiteY895" fmla="*/ 66287 h 479526"/>
                <a:gd name="connsiteX896" fmla="*/ 218700 w 404351"/>
                <a:gd name="connsiteY896" fmla="*/ 66287 h 479526"/>
                <a:gd name="connsiteX897" fmla="*/ 219143 w 404351"/>
                <a:gd name="connsiteY897" fmla="*/ 65632 h 479526"/>
                <a:gd name="connsiteX898" fmla="*/ 220943 w 404351"/>
                <a:gd name="connsiteY898" fmla="*/ 63797 h 479526"/>
                <a:gd name="connsiteX899" fmla="*/ 220943 w 404351"/>
                <a:gd name="connsiteY899" fmla="*/ 63797 h 479526"/>
                <a:gd name="connsiteX900" fmla="*/ 223616 w 404351"/>
                <a:gd name="connsiteY900" fmla="*/ 61005 h 479526"/>
                <a:gd name="connsiteX901" fmla="*/ 229221 w 404351"/>
                <a:gd name="connsiteY901" fmla="*/ 61954 h 479526"/>
                <a:gd name="connsiteX902" fmla="*/ 229221 w 404351"/>
                <a:gd name="connsiteY902" fmla="*/ 68495 h 479526"/>
                <a:gd name="connsiteX903" fmla="*/ 230171 w 404351"/>
                <a:gd name="connsiteY903" fmla="*/ 73784 h 479526"/>
                <a:gd name="connsiteX904" fmla="*/ 231465 w 404351"/>
                <a:gd name="connsiteY904" fmla="*/ 66744 h 479526"/>
                <a:gd name="connsiteX905" fmla="*/ 231387 w 404351"/>
                <a:gd name="connsiteY905" fmla="*/ 64767 h 479526"/>
                <a:gd name="connsiteX906" fmla="*/ 231465 w 404351"/>
                <a:gd name="connsiteY906" fmla="*/ 62791 h 479526"/>
                <a:gd name="connsiteX907" fmla="*/ 234489 w 404351"/>
                <a:gd name="connsiteY907" fmla="*/ 59549 h 479526"/>
                <a:gd name="connsiteX908" fmla="*/ 237092 w 404351"/>
                <a:gd name="connsiteY908" fmla="*/ 54541 h 479526"/>
                <a:gd name="connsiteX909" fmla="*/ 237092 w 404351"/>
                <a:gd name="connsiteY909" fmla="*/ 54541 h 479526"/>
                <a:gd name="connsiteX910" fmla="*/ 237689 w 404351"/>
                <a:gd name="connsiteY910" fmla="*/ 53311 h 479526"/>
                <a:gd name="connsiteX911" fmla="*/ 239933 w 404351"/>
                <a:gd name="connsiteY911" fmla="*/ 55399 h 479526"/>
                <a:gd name="connsiteX912" fmla="*/ 239398 w 404351"/>
                <a:gd name="connsiteY912" fmla="*/ 58599 h 479526"/>
                <a:gd name="connsiteX913" fmla="*/ 239398 w 404351"/>
                <a:gd name="connsiteY913" fmla="*/ 58599 h 479526"/>
                <a:gd name="connsiteX914" fmla="*/ 238976 w 404351"/>
                <a:gd name="connsiteY914" fmla="*/ 61005 h 479526"/>
                <a:gd name="connsiteX915" fmla="*/ 238125 w 404351"/>
                <a:gd name="connsiteY915" fmla="*/ 63487 h 479526"/>
                <a:gd name="connsiteX916" fmla="*/ 237049 w 404351"/>
                <a:gd name="connsiteY916" fmla="*/ 66744 h 479526"/>
                <a:gd name="connsiteX917" fmla="*/ 238976 w 404351"/>
                <a:gd name="connsiteY917" fmla="*/ 68495 h 479526"/>
                <a:gd name="connsiteX918" fmla="*/ 237049 w 404351"/>
                <a:gd name="connsiteY918" fmla="*/ 72173 h 479526"/>
                <a:gd name="connsiteX919" fmla="*/ 236768 w 404351"/>
                <a:gd name="connsiteY919" fmla="*/ 73524 h 479526"/>
                <a:gd name="connsiteX920" fmla="*/ 236768 w 404351"/>
                <a:gd name="connsiteY920" fmla="*/ 73531 h 479526"/>
                <a:gd name="connsiteX921" fmla="*/ 236768 w 404351"/>
                <a:gd name="connsiteY921" fmla="*/ 73538 h 479526"/>
                <a:gd name="connsiteX922" fmla="*/ 235621 w 404351"/>
                <a:gd name="connsiteY922" fmla="*/ 79206 h 479526"/>
                <a:gd name="connsiteX923" fmla="*/ 233505 w 404351"/>
                <a:gd name="connsiteY923" fmla="*/ 83004 h 479526"/>
                <a:gd name="connsiteX924" fmla="*/ 237049 w 404351"/>
                <a:gd name="connsiteY924" fmla="*/ 79206 h 479526"/>
                <a:gd name="connsiteX925" fmla="*/ 239257 w 404351"/>
                <a:gd name="connsiteY925" fmla="*/ 76133 h 479526"/>
                <a:gd name="connsiteX926" fmla="*/ 239257 w 404351"/>
                <a:gd name="connsiteY926" fmla="*/ 76133 h 479526"/>
                <a:gd name="connsiteX927" fmla="*/ 239933 w 404351"/>
                <a:gd name="connsiteY927" fmla="*/ 74895 h 479526"/>
                <a:gd name="connsiteX928" fmla="*/ 242085 w 404351"/>
                <a:gd name="connsiteY928" fmla="*/ 73657 h 479526"/>
                <a:gd name="connsiteX929" fmla="*/ 243133 w 404351"/>
                <a:gd name="connsiteY929" fmla="*/ 72173 h 479526"/>
                <a:gd name="connsiteX930" fmla="*/ 241360 w 404351"/>
                <a:gd name="connsiteY930" fmla="*/ 66962 h 479526"/>
                <a:gd name="connsiteX931" fmla="*/ 241360 w 404351"/>
                <a:gd name="connsiteY931" fmla="*/ 66744 h 479526"/>
                <a:gd name="connsiteX932" fmla="*/ 242092 w 404351"/>
                <a:gd name="connsiteY932" fmla="*/ 64500 h 479526"/>
                <a:gd name="connsiteX933" fmla="*/ 243133 w 404351"/>
                <a:gd name="connsiteY933" fmla="*/ 61005 h 479526"/>
                <a:gd name="connsiteX934" fmla="*/ 243133 w 404351"/>
                <a:gd name="connsiteY934" fmla="*/ 56609 h 479526"/>
                <a:gd name="connsiteX935" fmla="*/ 247768 w 404351"/>
                <a:gd name="connsiteY935" fmla="*/ 56609 h 479526"/>
                <a:gd name="connsiteX936" fmla="*/ 248576 w 404351"/>
                <a:gd name="connsiteY936" fmla="*/ 59197 h 479526"/>
                <a:gd name="connsiteX937" fmla="*/ 249216 w 404351"/>
                <a:gd name="connsiteY937" fmla="*/ 61954 h 479526"/>
                <a:gd name="connsiteX938" fmla="*/ 252831 w 404351"/>
                <a:gd name="connsiteY938" fmla="*/ 56609 h 479526"/>
                <a:gd name="connsiteX939" fmla="*/ 255019 w 404351"/>
                <a:gd name="connsiteY939" fmla="*/ 50427 h 479526"/>
                <a:gd name="connsiteX940" fmla="*/ 260406 w 404351"/>
                <a:gd name="connsiteY940" fmla="*/ 56609 h 479526"/>
                <a:gd name="connsiteX941" fmla="*/ 264380 w 404351"/>
                <a:gd name="connsiteY941" fmla="*/ 62791 h 479526"/>
                <a:gd name="connsiteX942" fmla="*/ 264380 w 404351"/>
                <a:gd name="connsiteY942" fmla="*/ 61005 h 479526"/>
                <a:gd name="connsiteX943" fmla="*/ 263388 w 404351"/>
                <a:gd name="connsiteY943" fmla="*/ 56609 h 479526"/>
                <a:gd name="connsiteX944" fmla="*/ 262692 w 404351"/>
                <a:gd name="connsiteY944" fmla="*/ 54619 h 479526"/>
                <a:gd name="connsiteX945" fmla="*/ 261995 w 404351"/>
                <a:gd name="connsiteY945" fmla="*/ 52635 h 479526"/>
                <a:gd name="connsiteX946" fmla="*/ 260406 w 404351"/>
                <a:gd name="connsiteY946" fmla="*/ 50427 h 479526"/>
                <a:gd name="connsiteX947" fmla="*/ 260406 w 404351"/>
                <a:gd name="connsiteY947" fmla="*/ 48837 h 479526"/>
                <a:gd name="connsiteX948" fmla="*/ 257206 w 404351"/>
                <a:gd name="connsiteY948" fmla="*/ 44245 h 479526"/>
                <a:gd name="connsiteX949" fmla="*/ 254829 w 404351"/>
                <a:gd name="connsiteY949" fmla="*/ 42803 h 479526"/>
                <a:gd name="connsiteX950" fmla="*/ 252831 w 404351"/>
                <a:gd name="connsiteY950" fmla="*/ 42255 h 479526"/>
                <a:gd name="connsiteX951" fmla="*/ 252831 w 404351"/>
                <a:gd name="connsiteY951" fmla="*/ 39280 h 479526"/>
                <a:gd name="connsiteX952" fmla="*/ 255019 w 404351"/>
                <a:gd name="connsiteY952" fmla="*/ 35876 h 479526"/>
                <a:gd name="connsiteX953" fmla="*/ 257312 w 404351"/>
                <a:gd name="connsiteY953" fmla="*/ 35545 h 479526"/>
                <a:gd name="connsiteX954" fmla="*/ 261995 w 404351"/>
                <a:gd name="connsiteY954" fmla="*/ 35876 h 479526"/>
                <a:gd name="connsiteX955" fmla="*/ 264162 w 404351"/>
                <a:gd name="connsiteY955" fmla="*/ 36530 h 479526"/>
                <a:gd name="connsiteX956" fmla="*/ 268775 w 404351"/>
                <a:gd name="connsiteY956" fmla="*/ 36874 h 479526"/>
                <a:gd name="connsiteX957" fmla="*/ 270491 w 404351"/>
                <a:gd name="connsiteY957" fmla="*/ 35433 h 479526"/>
                <a:gd name="connsiteX958" fmla="*/ 272172 w 404351"/>
                <a:gd name="connsiteY958" fmla="*/ 34687 h 479526"/>
                <a:gd name="connsiteX959" fmla="*/ 275295 w 404351"/>
                <a:gd name="connsiteY959" fmla="*/ 34455 h 479526"/>
                <a:gd name="connsiteX960" fmla="*/ 276146 w 404351"/>
                <a:gd name="connsiteY960" fmla="*/ 34687 h 479526"/>
                <a:gd name="connsiteX961" fmla="*/ 277735 w 404351"/>
                <a:gd name="connsiteY961" fmla="*/ 40665 h 479526"/>
                <a:gd name="connsiteX962" fmla="*/ 278495 w 404351"/>
                <a:gd name="connsiteY962" fmla="*/ 42895 h 479526"/>
                <a:gd name="connsiteX963" fmla="*/ 279747 w 404351"/>
                <a:gd name="connsiteY963" fmla="*/ 44245 h 479526"/>
                <a:gd name="connsiteX964" fmla="*/ 280738 w 404351"/>
                <a:gd name="connsiteY964" fmla="*/ 46256 h 479526"/>
                <a:gd name="connsiteX965" fmla="*/ 285331 w 404351"/>
                <a:gd name="connsiteY965" fmla="*/ 52635 h 479526"/>
                <a:gd name="connsiteX966" fmla="*/ 286920 w 404351"/>
                <a:gd name="connsiteY966" fmla="*/ 50427 h 479526"/>
                <a:gd name="connsiteX967" fmla="*/ 284318 w 404351"/>
                <a:gd name="connsiteY967" fmla="*/ 47642 h 479526"/>
                <a:gd name="connsiteX968" fmla="*/ 284318 w 404351"/>
                <a:gd name="connsiteY968" fmla="*/ 44245 h 479526"/>
                <a:gd name="connsiteX969" fmla="*/ 286920 w 404351"/>
                <a:gd name="connsiteY969" fmla="*/ 39280 h 479526"/>
                <a:gd name="connsiteX970" fmla="*/ 289305 w 404351"/>
                <a:gd name="connsiteY970" fmla="*/ 35876 h 479526"/>
                <a:gd name="connsiteX971" fmla="*/ 290479 w 404351"/>
                <a:gd name="connsiteY971" fmla="*/ 34434 h 479526"/>
                <a:gd name="connsiteX972" fmla="*/ 293897 w 404351"/>
                <a:gd name="connsiteY972" fmla="*/ 31283 h 479526"/>
                <a:gd name="connsiteX973" fmla="*/ 295853 w 404351"/>
                <a:gd name="connsiteY973" fmla="*/ 30348 h 479526"/>
                <a:gd name="connsiteX974" fmla="*/ 297695 w 404351"/>
                <a:gd name="connsiteY974" fmla="*/ 29898 h 479526"/>
                <a:gd name="connsiteX975" fmla="*/ 299397 w 404351"/>
                <a:gd name="connsiteY975" fmla="*/ 28287 h 479526"/>
                <a:gd name="connsiteX976" fmla="*/ 301071 w 404351"/>
                <a:gd name="connsiteY976" fmla="*/ 25305 h 479526"/>
                <a:gd name="connsiteX977" fmla="*/ 303659 w 404351"/>
                <a:gd name="connsiteY977" fmla="*/ 21922 h 479526"/>
                <a:gd name="connsiteX978" fmla="*/ 300656 w 404351"/>
                <a:gd name="connsiteY978" fmla="*/ 18089 h 479526"/>
                <a:gd name="connsiteX979" fmla="*/ 300656 w 404351"/>
                <a:gd name="connsiteY979" fmla="*/ 18089 h 479526"/>
                <a:gd name="connsiteX980" fmla="*/ 299883 w 404351"/>
                <a:gd name="connsiteY980" fmla="*/ 16739 h 479526"/>
                <a:gd name="connsiteX981" fmla="*/ 302464 w 404351"/>
                <a:gd name="connsiteY981" fmla="*/ 13954 h 479526"/>
                <a:gd name="connsiteX982" fmla="*/ 304869 w 404351"/>
                <a:gd name="connsiteY982" fmla="*/ 13954 h 479526"/>
                <a:gd name="connsiteX983" fmla="*/ 302464 w 404351"/>
                <a:gd name="connsiteY983" fmla="*/ 8566 h 479526"/>
                <a:gd name="connsiteX984" fmla="*/ 307253 w 404351"/>
                <a:gd name="connsiteY984" fmla="*/ 5366 h 479526"/>
                <a:gd name="connsiteX985" fmla="*/ 311649 w 404351"/>
                <a:gd name="connsiteY985" fmla="*/ 6576 h 479526"/>
                <a:gd name="connsiteX986" fmla="*/ 312437 w 404351"/>
                <a:gd name="connsiteY986" fmla="*/ 7216 h 479526"/>
                <a:gd name="connsiteX987" fmla="*/ 312437 w 404351"/>
                <a:gd name="connsiteY987" fmla="*/ 7216 h 479526"/>
                <a:gd name="connsiteX988" fmla="*/ 318823 w 404351"/>
                <a:gd name="connsiteY988" fmla="*/ 10353 h 479526"/>
                <a:gd name="connsiteX989" fmla="*/ 322501 w 404351"/>
                <a:gd name="connsiteY989" fmla="*/ 10156 h 479526"/>
                <a:gd name="connsiteX990" fmla="*/ 323197 w 404351"/>
                <a:gd name="connsiteY990" fmla="*/ 10353 h 479526"/>
                <a:gd name="connsiteX991" fmla="*/ 322726 w 404351"/>
                <a:gd name="connsiteY991" fmla="*/ 12652 h 479526"/>
                <a:gd name="connsiteX992" fmla="*/ 322726 w 404351"/>
                <a:gd name="connsiteY992" fmla="*/ 12652 h 479526"/>
                <a:gd name="connsiteX993" fmla="*/ 322002 w 404351"/>
                <a:gd name="connsiteY993" fmla="*/ 13954 h 479526"/>
                <a:gd name="connsiteX994" fmla="*/ 319280 w 404351"/>
                <a:gd name="connsiteY994" fmla="*/ 17547 h 479526"/>
                <a:gd name="connsiteX995" fmla="*/ 319280 w 404351"/>
                <a:gd name="connsiteY995" fmla="*/ 17547 h 479526"/>
                <a:gd name="connsiteX996" fmla="*/ 317634 w 404351"/>
                <a:gd name="connsiteY996" fmla="*/ 19538 h 479526"/>
                <a:gd name="connsiteX997" fmla="*/ 316227 w 404351"/>
                <a:gd name="connsiteY997" fmla="*/ 22224 h 479526"/>
                <a:gd name="connsiteX998" fmla="*/ 316227 w 404351"/>
                <a:gd name="connsiteY998" fmla="*/ 22224 h 479526"/>
                <a:gd name="connsiteX999" fmla="*/ 314631 w 404351"/>
                <a:gd name="connsiteY999" fmla="*/ 25305 h 479526"/>
                <a:gd name="connsiteX1000" fmla="*/ 314265 w 404351"/>
                <a:gd name="connsiteY1000" fmla="*/ 28709 h 479526"/>
                <a:gd name="connsiteX1001" fmla="*/ 314631 w 404351"/>
                <a:gd name="connsiteY1001" fmla="*/ 31283 h 479526"/>
                <a:gd name="connsiteX1002" fmla="*/ 313941 w 404351"/>
                <a:gd name="connsiteY1002" fmla="*/ 34940 h 479526"/>
                <a:gd name="connsiteX1003" fmla="*/ 313435 w 404351"/>
                <a:gd name="connsiteY1003" fmla="*/ 36874 h 479526"/>
                <a:gd name="connsiteX1004" fmla="*/ 313105 w 404351"/>
                <a:gd name="connsiteY1004" fmla="*/ 38253 h 479526"/>
                <a:gd name="connsiteX1005" fmla="*/ 314631 w 404351"/>
                <a:gd name="connsiteY1005" fmla="*/ 44245 h 479526"/>
                <a:gd name="connsiteX1006" fmla="*/ 316917 w 404351"/>
                <a:gd name="connsiteY1006" fmla="*/ 41636 h 479526"/>
                <a:gd name="connsiteX1007" fmla="*/ 317634 w 404351"/>
                <a:gd name="connsiteY1007" fmla="*/ 40665 h 479526"/>
                <a:gd name="connsiteX1008" fmla="*/ 317634 w 404351"/>
                <a:gd name="connsiteY1008" fmla="*/ 35876 h 479526"/>
                <a:gd name="connsiteX1009" fmla="*/ 318823 w 404351"/>
                <a:gd name="connsiteY1009" fmla="*/ 32303 h 479526"/>
                <a:gd name="connsiteX1010" fmla="*/ 321671 w 404351"/>
                <a:gd name="connsiteY1010" fmla="*/ 28688 h 479526"/>
                <a:gd name="connsiteX1011" fmla="*/ 321671 w 404351"/>
                <a:gd name="connsiteY1011" fmla="*/ 28688 h 479526"/>
                <a:gd name="connsiteX1012" fmla="*/ 324611 w 404351"/>
                <a:gd name="connsiteY1012" fmla="*/ 25305 h 479526"/>
                <a:gd name="connsiteX1013" fmla="*/ 326397 w 404351"/>
                <a:gd name="connsiteY1013" fmla="*/ 21922 h 479526"/>
                <a:gd name="connsiteX1014" fmla="*/ 328978 w 404351"/>
                <a:gd name="connsiteY1014" fmla="*/ 15149 h 479526"/>
                <a:gd name="connsiteX1015" fmla="*/ 332178 w 404351"/>
                <a:gd name="connsiteY1015" fmla="*/ 11351 h 479526"/>
                <a:gd name="connsiteX1016" fmla="*/ 334246 w 404351"/>
                <a:gd name="connsiteY1016" fmla="*/ 9677 h 479526"/>
                <a:gd name="connsiteX1017" fmla="*/ 334246 w 404351"/>
                <a:gd name="connsiteY1017" fmla="*/ 9677 h 479526"/>
                <a:gd name="connsiteX1018" fmla="*/ 337369 w 404351"/>
                <a:gd name="connsiteY1018" fmla="*/ 7575 h 479526"/>
                <a:gd name="connsiteX1019" fmla="*/ 336876 w 404351"/>
                <a:gd name="connsiteY1019" fmla="*/ 12835 h 479526"/>
                <a:gd name="connsiteX1020" fmla="*/ 336876 w 404351"/>
                <a:gd name="connsiteY1020" fmla="*/ 12835 h 479526"/>
                <a:gd name="connsiteX1021" fmla="*/ 336574 w 404351"/>
                <a:gd name="connsiteY1021" fmla="*/ 13954 h 479526"/>
                <a:gd name="connsiteX1022" fmla="*/ 333768 w 404351"/>
                <a:gd name="connsiteY1022" fmla="*/ 17927 h 479526"/>
                <a:gd name="connsiteX1023" fmla="*/ 330589 w 404351"/>
                <a:gd name="connsiteY1023" fmla="*/ 21922 h 479526"/>
                <a:gd name="connsiteX1024" fmla="*/ 335160 w 404351"/>
                <a:gd name="connsiteY1024" fmla="*/ 21922 h 479526"/>
                <a:gd name="connsiteX1025" fmla="*/ 335160 w 404351"/>
                <a:gd name="connsiteY1025" fmla="*/ 23315 h 479526"/>
                <a:gd name="connsiteX1026" fmla="*/ 333768 w 404351"/>
                <a:gd name="connsiteY1026" fmla="*/ 28505 h 479526"/>
                <a:gd name="connsiteX1027" fmla="*/ 333768 w 404351"/>
                <a:gd name="connsiteY1027" fmla="*/ 34687 h 479526"/>
                <a:gd name="connsiteX1028" fmla="*/ 338164 w 404351"/>
                <a:gd name="connsiteY1028" fmla="*/ 29898 h 479526"/>
                <a:gd name="connsiteX1029" fmla="*/ 341343 w 404351"/>
                <a:gd name="connsiteY1029" fmla="*/ 28505 h 479526"/>
                <a:gd name="connsiteX1030" fmla="*/ 342538 w 404351"/>
                <a:gd name="connsiteY1030" fmla="*/ 25305 h 479526"/>
                <a:gd name="connsiteX1031" fmla="*/ 342538 w 404351"/>
                <a:gd name="connsiteY1031" fmla="*/ 23315 h 479526"/>
                <a:gd name="connsiteX1032" fmla="*/ 344346 w 404351"/>
                <a:gd name="connsiteY1032" fmla="*/ 16739 h 479526"/>
                <a:gd name="connsiteX1033" fmla="*/ 344500 w 404351"/>
                <a:gd name="connsiteY1033" fmla="*/ 15107 h 479526"/>
                <a:gd name="connsiteX1034" fmla="*/ 346083 w 404351"/>
                <a:gd name="connsiteY1034" fmla="*/ 13475 h 479526"/>
                <a:gd name="connsiteX1035" fmla="*/ 348516 w 404351"/>
                <a:gd name="connsiteY1035" fmla="*/ 11351 h 479526"/>
                <a:gd name="connsiteX1036" fmla="*/ 347123 w 404351"/>
                <a:gd name="connsiteY1036" fmla="*/ 9593 h 479526"/>
                <a:gd name="connsiteX1037" fmla="*/ 344346 w 404351"/>
                <a:gd name="connsiteY1037" fmla="*/ 8566 h 479526"/>
                <a:gd name="connsiteX1038" fmla="*/ 344346 w 404351"/>
                <a:gd name="connsiteY1038" fmla="*/ 5366 h 479526"/>
                <a:gd name="connsiteX1039" fmla="*/ 344866 w 404351"/>
                <a:gd name="connsiteY1039" fmla="*/ 4557 h 479526"/>
                <a:gd name="connsiteX1040" fmla="*/ 347524 w 404351"/>
                <a:gd name="connsiteY1040" fmla="*/ 1393 h 479526"/>
                <a:gd name="connsiteX1041" fmla="*/ 351920 w 404351"/>
                <a:gd name="connsiteY1041" fmla="*/ 0 h 479526"/>
                <a:gd name="connsiteX1042" fmla="*/ 354107 w 404351"/>
                <a:gd name="connsiteY1042" fmla="*/ 3179 h 479526"/>
                <a:gd name="connsiteX1043" fmla="*/ 360486 w 404351"/>
                <a:gd name="connsiteY1043" fmla="*/ 1393 h 479526"/>
                <a:gd name="connsiteX1044" fmla="*/ 361309 w 404351"/>
                <a:gd name="connsiteY1044" fmla="*/ 2961 h 479526"/>
                <a:gd name="connsiteX1045" fmla="*/ 361478 w 404351"/>
                <a:gd name="connsiteY1045" fmla="*/ 5366 h 479526"/>
                <a:gd name="connsiteX1046" fmla="*/ 362688 w 404351"/>
                <a:gd name="connsiteY1046" fmla="*/ 6970 h 479526"/>
                <a:gd name="connsiteX1047" fmla="*/ 363687 w 404351"/>
                <a:gd name="connsiteY1047" fmla="*/ 10353 h 479526"/>
                <a:gd name="connsiteX1048" fmla="*/ 362406 w 404351"/>
                <a:gd name="connsiteY1048" fmla="*/ 11928 h 479526"/>
                <a:gd name="connsiteX1049" fmla="*/ 360486 w 404351"/>
                <a:gd name="connsiteY1049" fmla="*/ 13954 h 479526"/>
                <a:gd name="connsiteX1050" fmla="*/ 358960 w 404351"/>
                <a:gd name="connsiteY1050" fmla="*/ 14509 h 479526"/>
                <a:gd name="connsiteX1051" fmla="*/ 355493 w 404351"/>
                <a:gd name="connsiteY1051" fmla="*/ 16739 h 479526"/>
                <a:gd name="connsiteX1052" fmla="*/ 361478 w 404351"/>
                <a:gd name="connsiteY1052" fmla="*/ 19538 h 479526"/>
                <a:gd name="connsiteX1053" fmla="*/ 360486 w 404351"/>
                <a:gd name="connsiteY1053" fmla="*/ 28505 h 479526"/>
                <a:gd name="connsiteX1054" fmla="*/ 363489 w 404351"/>
                <a:gd name="connsiteY1054" fmla="*/ 25115 h 479526"/>
                <a:gd name="connsiteX1055" fmla="*/ 363489 w 404351"/>
                <a:gd name="connsiteY1055" fmla="*/ 25115 h 479526"/>
                <a:gd name="connsiteX1056" fmla="*/ 363687 w 404351"/>
                <a:gd name="connsiteY1056" fmla="*/ 23315 h 479526"/>
                <a:gd name="connsiteX1057" fmla="*/ 364319 w 404351"/>
                <a:gd name="connsiteY1057" fmla="*/ 21057 h 479526"/>
                <a:gd name="connsiteX1058" fmla="*/ 366268 w 404351"/>
                <a:gd name="connsiteY1058" fmla="*/ 15149 h 479526"/>
                <a:gd name="connsiteX1059" fmla="*/ 371458 w 404351"/>
                <a:gd name="connsiteY1059" fmla="*/ 12343 h 479526"/>
                <a:gd name="connsiteX1060" fmla="*/ 373997 w 404351"/>
                <a:gd name="connsiteY1060" fmla="*/ 13588 h 479526"/>
                <a:gd name="connsiteX1061" fmla="*/ 376845 w 404351"/>
                <a:gd name="connsiteY1061" fmla="*/ 15149 h 479526"/>
                <a:gd name="connsiteX1062" fmla="*/ 377816 w 404351"/>
                <a:gd name="connsiteY1062" fmla="*/ 17048 h 479526"/>
                <a:gd name="connsiteX1063" fmla="*/ 378632 w 404351"/>
                <a:gd name="connsiteY1063" fmla="*/ 19144 h 479526"/>
                <a:gd name="connsiteX1064" fmla="*/ 384462 w 404351"/>
                <a:gd name="connsiteY1064" fmla="*/ 19292 h 479526"/>
                <a:gd name="connsiteX1065" fmla="*/ 387395 w 404351"/>
                <a:gd name="connsiteY1065" fmla="*/ 19144 h 479526"/>
                <a:gd name="connsiteX1066" fmla="*/ 389153 w 404351"/>
                <a:gd name="connsiteY1066" fmla="*/ 20684 h 479526"/>
                <a:gd name="connsiteX1067" fmla="*/ 391987 w 404351"/>
                <a:gd name="connsiteY1067" fmla="*/ 23315 h 479526"/>
                <a:gd name="connsiteX1068" fmla="*/ 395194 w 404351"/>
                <a:gd name="connsiteY1068" fmla="*/ 25748 h 479526"/>
                <a:gd name="connsiteX1069" fmla="*/ 401173 w 404351"/>
                <a:gd name="connsiteY1069" fmla="*/ 29898 h 479526"/>
                <a:gd name="connsiteX1070" fmla="*/ 404352 w 404351"/>
                <a:gd name="connsiteY1070" fmla="*/ 35876 h 479526"/>
                <a:gd name="connsiteX1071" fmla="*/ 401173 w 404351"/>
                <a:gd name="connsiteY1071" fmla="*/ 39280 h 479526"/>
                <a:gd name="connsiteX1072" fmla="*/ 398683 w 404351"/>
                <a:gd name="connsiteY1072" fmla="*/ 40236 h 479526"/>
                <a:gd name="connsiteX1073" fmla="*/ 398683 w 404351"/>
                <a:gd name="connsiteY1073" fmla="*/ 40236 h 479526"/>
                <a:gd name="connsiteX1074" fmla="*/ 393978 w 404351"/>
                <a:gd name="connsiteY1074" fmla="*/ 42255 h 479526"/>
                <a:gd name="connsiteX1075" fmla="*/ 391987 w 404351"/>
                <a:gd name="connsiteY1075" fmla="*/ 47642 h 479526"/>
                <a:gd name="connsiteX1076" fmla="*/ 386206 w 404351"/>
                <a:gd name="connsiteY1076" fmla="*/ 48837 h 479526"/>
                <a:gd name="connsiteX1077" fmla="*/ 378632 w 404351"/>
                <a:gd name="connsiteY1077" fmla="*/ 46256 h 479526"/>
                <a:gd name="connsiteX1078" fmla="*/ 368652 w 404351"/>
                <a:gd name="connsiteY1078" fmla="*/ 44245 h 479526"/>
                <a:gd name="connsiteX1079" fmla="*/ 368652 w 404351"/>
                <a:gd name="connsiteY1079" fmla="*/ 47642 h 479526"/>
                <a:gd name="connsiteX1080" fmla="*/ 373666 w 404351"/>
                <a:gd name="connsiteY1080" fmla="*/ 50307 h 479526"/>
                <a:gd name="connsiteX1081" fmla="*/ 378632 w 404351"/>
                <a:gd name="connsiteY1081" fmla="*/ 52635 h 479526"/>
                <a:gd name="connsiteX1082" fmla="*/ 381353 w 404351"/>
                <a:gd name="connsiteY1082" fmla="*/ 54232 h 479526"/>
                <a:gd name="connsiteX1083" fmla="*/ 386206 w 404351"/>
                <a:gd name="connsiteY1083" fmla="*/ 56609 h 479526"/>
                <a:gd name="connsiteX1084" fmla="*/ 391601 w 404351"/>
                <a:gd name="connsiteY1084" fmla="*/ 58213 h 479526"/>
                <a:gd name="connsiteX1085" fmla="*/ 391601 w 404351"/>
                <a:gd name="connsiteY1085" fmla="*/ 58213 h 479526"/>
                <a:gd name="connsiteX1086" fmla="*/ 391601 w 404351"/>
                <a:gd name="connsiteY1086" fmla="*/ 58213 h 479526"/>
                <a:gd name="connsiteX1087" fmla="*/ 396580 w 404351"/>
                <a:gd name="connsiteY1087" fmla="*/ 59612 h 479526"/>
                <a:gd name="connsiteX1088" fmla="*/ 400300 w 404351"/>
                <a:gd name="connsiteY1088" fmla="*/ 60519 h 479526"/>
                <a:gd name="connsiteX1089" fmla="*/ 401011 w 404351"/>
                <a:gd name="connsiteY1089" fmla="*/ 60730 h 479526"/>
                <a:gd name="connsiteX1090" fmla="*/ 401165 w 404351"/>
                <a:gd name="connsiteY1090" fmla="*/ 61173 h 479526"/>
                <a:gd name="connsiteX1091" fmla="*/ 401173 w 404351"/>
                <a:gd name="connsiteY1091" fmla="*/ 61202 h 479526"/>
                <a:gd name="connsiteX1092" fmla="*/ 401341 w 404351"/>
                <a:gd name="connsiteY1092" fmla="*/ 62348 h 479526"/>
                <a:gd name="connsiteX1093" fmla="*/ 402368 w 404351"/>
                <a:gd name="connsiteY1093" fmla="*/ 67778 h 479526"/>
                <a:gd name="connsiteX1094" fmla="*/ 399014 w 404351"/>
                <a:gd name="connsiteY1094" fmla="*/ 73080 h 479526"/>
                <a:gd name="connsiteX1095" fmla="*/ 398767 w 404351"/>
                <a:gd name="connsiteY1095" fmla="*/ 73165 h 479526"/>
                <a:gd name="connsiteX1096" fmla="*/ 392747 w 404351"/>
                <a:gd name="connsiteY1096" fmla="*/ 69951 h 479526"/>
                <a:gd name="connsiteX1097" fmla="*/ 391987 w 404351"/>
                <a:gd name="connsiteY1097" fmla="*/ 69571 h 479526"/>
                <a:gd name="connsiteX1098" fmla="*/ 387395 w 404351"/>
                <a:gd name="connsiteY1098" fmla="*/ 78552 h 479526"/>
                <a:gd name="connsiteX1099" fmla="*/ 382563 w 404351"/>
                <a:gd name="connsiteY1099" fmla="*/ 81204 h 479526"/>
                <a:gd name="connsiteX1100" fmla="*/ 378632 w 404351"/>
                <a:gd name="connsiteY1100" fmla="*/ 82730 h 479526"/>
                <a:gd name="connsiteX1101" fmla="*/ 376824 w 404351"/>
                <a:gd name="connsiteY1101" fmla="*/ 87097 h 479526"/>
                <a:gd name="connsiteX1102" fmla="*/ 376845 w 404351"/>
                <a:gd name="connsiteY1102" fmla="*/ 90719 h 479526"/>
                <a:gd name="connsiteX1103" fmla="*/ 373814 w 404351"/>
                <a:gd name="connsiteY1103" fmla="*/ 81239 h 479526"/>
                <a:gd name="connsiteX1104" fmla="*/ 371177 w 404351"/>
                <a:gd name="connsiteY1104" fmla="*/ 94545 h 479526"/>
                <a:gd name="connsiteX1105" fmla="*/ 370544 w 404351"/>
                <a:gd name="connsiteY1105" fmla="*/ 93378 h 479526"/>
                <a:gd name="connsiteX1106" fmla="*/ 369890 w 404351"/>
                <a:gd name="connsiteY1106" fmla="*/ 90902 h 479526"/>
                <a:gd name="connsiteX1107" fmla="*/ 369847 w 404351"/>
                <a:gd name="connsiteY1107" fmla="*/ 90079 h 479526"/>
                <a:gd name="connsiteX1108" fmla="*/ 371296 w 404351"/>
                <a:gd name="connsiteY1108" fmla="*/ 85051 h 479526"/>
                <a:gd name="connsiteX1109" fmla="*/ 373814 w 404351"/>
                <a:gd name="connsiteY1109" fmla="*/ 81239 h 479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</a:cxnLst>
              <a:rect l="l" t="t" r="r" b="b"/>
              <a:pathLst>
                <a:path w="404351" h="479526">
                  <a:moveTo>
                    <a:pt x="376845" y="90719"/>
                  </a:moveTo>
                  <a:cubicBezTo>
                    <a:pt x="376648" y="93068"/>
                    <a:pt x="373990" y="94137"/>
                    <a:pt x="371177" y="94545"/>
                  </a:cubicBezTo>
                  <a:lnTo>
                    <a:pt x="375706" y="78700"/>
                  </a:lnTo>
                  <a:cubicBezTo>
                    <a:pt x="376198" y="78046"/>
                    <a:pt x="376606" y="77546"/>
                    <a:pt x="376824" y="77300"/>
                  </a:cubicBezTo>
                  <a:cubicBezTo>
                    <a:pt x="377471" y="76583"/>
                    <a:pt x="377218" y="75915"/>
                    <a:pt x="377000" y="75345"/>
                  </a:cubicBezTo>
                  <a:cubicBezTo>
                    <a:pt x="376923" y="75141"/>
                    <a:pt x="376852" y="74951"/>
                    <a:pt x="376824" y="74775"/>
                  </a:cubicBezTo>
                  <a:lnTo>
                    <a:pt x="375706" y="78700"/>
                  </a:lnTo>
                  <a:cubicBezTo>
                    <a:pt x="375143" y="79424"/>
                    <a:pt x="374468" y="80324"/>
                    <a:pt x="373814" y="81239"/>
                  </a:cubicBezTo>
                  <a:lnTo>
                    <a:pt x="375945" y="70485"/>
                  </a:lnTo>
                  <a:cubicBezTo>
                    <a:pt x="375783" y="70070"/>
                    <a:pt x="375572" y="69768"/>
                    <a:pt x="375340" y="69444"/>
                  </a:cubicBezTo>
                  <a:cubicBezTo>
                    <a:pt x="375017" y="68987"/>
                    <a:pt x="374651" y="68481"/>
                    <a:pt x="374320" y="67524"/>
                  </a:cubicBezTo>
                  <a:cubicBezTo>
                    <a:pt x="373744" y="65872"/>
                    <a:pt x="372667" y="64901"/>
                    <a:pt x="370544" y="64423"/>
                  </a:cubicBezTo>
                  <a:cubicBezTo>
                    <a:pt x="369130" y="64106"/>
                    <a:pt x="368096" y="63227"/>
                    <a:pt x="367308" y="62559"/>
                  </a:cubicBezTo>
                  <a:cubicBezTo>
                    <a:pt x="366901" y="62221"/>
                    <a:pt x="366563" y="61933"/>
                    <a:pt x="366268" y="61799"/>
                  </a:cubicBezTo>
                  <a:lnTo>
                    <a:pt x="366204" y="61771"/>
                  </a:lnTo>
                  <a:cubicBezTo>
                    <a:pt x="365304" y="61363"/>
                    <a:pt x="363461" y="60519"/>
                    <a:pt x="363264" y="59570"/>
                  </a:cubicBezTo>
                  <a:cubicBezTo>
                    <a:pt x="363110" y="58789"/>
                    <a:pt x="361970" y="57959"/>
                    <a:pt x="361422" y="57643"/>
                  </a:cubicBezTo>
                  <a:cubicBezTo>
                    <a:pt x="360711" y="57059"/>
                    <a:pt x="359115" y="55603"/>
                    <a:pt x="358419" y="54443"/>
                  </a:cubicBezTo>
                  <a:cubicBezTo>
                    <a:pt x="357539" y="52994"/>
                    <a:pt x="355816" y="50469"/>
                    <a:pt x="354642" y="49217"/>
                  </a:cubicBezTo>
                  <a:cubicBezTo>
                    <a:pt x="353664" y="48169"/>
                    <a:pt x="353172" y="48591"/>
                    <a:pt x="352701" y="48992"/>
                  </a:cubicBezTo>
                  <a:cubicBezTo>
                    <a:pt x="352602" y="49070"/>
                    <a:pt x="352511" y="49147"/>
                    <a:pt x="352412" y="49217"/>
                  </a:cubicBezTo>
                  <a:cubicBezTo>
                    <a:pt x="352194" y="49365"/>
                    <a:pt x="351681" y="49801"/>
                    <a:pt x="351041" y="50350"/>
                  </a:cubicBezTo>
                  <a:lnTo>
                    <a:pt x="351041" y="50357"/>
                  </a:lnTo>
                  <a:lnTo>
                    <a:pt x="351034" y="50357"/>
                  </a:lnTo>
                  <a:cubicBezTo>
                    <a:pt x="350007" y="51229"/>
                    <a:pt x="348643" y="52403"/>
                    <a:pt x="347566" y="53170"/>
                  </a:cubicBezTo>
                  <a:cubicBezTo>
                    <a:pt x="346420" y="53993"/>
                    <a:pt x="346280" y="54281"/>
                    <a:pt x="346104" y="54654"/>
                  </a:cubicBezTo>
                  <a:cubicBezTo>
                    <a:pt x="346005" y="54851"/>
                    <a:pt x="345907" y="55069"/>
                    <a:pt x="345640" y="55399"/>
                  </a:cubicBezTo>
                  <a:cubicBezTo>
                    <a:pt x="345211" y="55920"/>
                    <a:pt x="344901" y="55871"/>
                    <a:pt x="344465" y="55800"/>
                  </a:cubicBezTo>
                  <a:cubicBezTo>
                    <a:pt x="344106" y="55737"/>
                    <a:pt x="343670" y="55667"/>
                    <a:pt x="343016" y="55892"/>
                  </a:cubicBezTo>
                  <a:cubicBezTo>
                    <a:pt x="341884" y="56279"/>
                    <a:pt x="341757" y="55765"/>
                    <a:pt x="341574" y="55069"/>
                  </a:cubicBezTo>
                  <a:lnTo>
                    <a:pt x="341574" y="55069"/>
                  </a:lnTo>
                  <a:cubicBezTo>
                    <a:pt x="341525" y="54872"/>
                    <a:pt x="341469" y="54654"/>
                    <a:pt x="341384" y="54443"/>
                  </a:cubicBezTo>
                  <a:cubicBezTo>
                    <a:pt x="341139" y="53831"/>
                    <a:pt x="340414" y="54000"/>
                    <a:pt x="339542" y="54204"/>
                  </a:cubicBezTo>
                  <a:cubicBezTo>
                    <a:pt x="339050" y="54316"/>
                    <a:pt x="338508" y="54443"/>
                    <a:pt x="337981" y="54443"/>
                  </a:cubicBezTo>
                  <a:cubicBezTo>
                    <a:pt x="336532" y="54443"/>
                    <a:pt x="334985" y="54921"/>
                    <a:pt x="333908" y="55399"/>
                  </a:cubicBezTo>
                  <a:cubicBezTo>
                    <a:pt x="333205" y="55709"/>
                    <a:pt x="333015" y="56834"/>
                    <a:pt x="332825" y="57952"/>
                  </a:cubicBezTo>
                  <a:cubicBezTo>
                    <a:pt x="332727" y="58529"/>
                    <a:pt x="332628" y="59106"/>
                    <a:pt x="332459" y="59570"/>
                  </a:cubicBezTo>
                  <a:cubicBezTo>
                    <a:pt x="332178" y="60330"/>
                    <a:pt x="331580" y="60963"/>
                    <a:pt x="330912" y="61666"/>
                  </a:cubicBezTo>
                  <a:cubicBezTo>
                    <a:pt x="330392" y="62221"/>
                    <a:pt x="329829" y="62819"/>
                    <a:pt x="329358" y="63544"/>
                  </a:cubicBezTo>
                  <a:cubicBezTo>
                    <a:pt x="328296" y="65182"/>
                    <a:pt x="327093" y="65822"/>
                    <a:pt x="325912" y="66448"/>
                  </a:cubicBezTo>
                  <a:lnTo>
                    <a:pt x="325877" y="66469"/>
                  </a:lnTo>
                  <a:cubicBezTo>
                    <a:pt x="325131" y="66863"/>
                    <a:pt x="325391" y="67869"/>
                    <a:pt x="325645" y="68861"/>
                  </a:cubicBezTo>
                  <a:lnTo>
                    <a:pt x="325645" y="68861"/>
                  </a:lnTo>
                  <a:cubicBezTo>
                    <a:pt x="325799" y="69451"/>
                    <a:pt x="325947" y="70035"/>
                    <a:pt x="325877" y="70485"/>
                  </a:cubicBezTo>
                  <a:cubicBezTo>
                    <a:pt x="325764" y="71252"/>
                    <a:pt x="325222" y="71871"/>
                    <a:pt x="324730" y="72426"/>
                  </a:cubicBezTo>
                  <a:lnTo>
                    <a:pt x="324730" y="72426"/>
                  </a:lnTo>
                  <a:cubicBezTo>
                    <a:pt x="324463" y="72729"/>
                    <a:pt x="324210" y="73017"/>
                    <a:pt x="324048" y="73306"/>
                  </a:cubicBezTo>
                  <a:cubicBezTo>
                    <a:pt x="323886" y="73601"/>
                    <a:pt x="323781" y="74740"/>
                    <a:pt x="323647" y="76105"/>
                  </a:cubicBezTo>
                  <a:cubicBezTo>
                    <a:pt x="323429" y="78482"/>
                    <a:pt x="323141" y="81555"/>
                    <a:pt x="322360" y="82069"/>
                  </a:cubicBezTo>
                  <a:cubicBezTo>
                    <a:pt x="321446" y="82674"/>
                    <a:pt x="321889" y="90009"/>
                    <a:pt x="322177" y="94848"/>
                  </a:cubicBezTo>
                  <a:lnTo>
                    <a:pt x="322177" y="94848"/>
                  </a:lnTo>
                  <a:lnTo>
                    <a:pt x="322177" y="94848"/>
                  </a:lnTo>
                  <a:lnTo>
                    <a:pt x="322177" y="94848"/>
                  </a:lnTo>
                  <a:cubicBezTo>
                    <a:pt x="322276" y="96550"/>
                    <a:pt x="322360" y="97942"/>
                    <a:pt x="322360" y="98632"/>
                  </a:cubicBezTo>
                  <a:cubicBezTo>
                    <a:pt x="322360" y="100305"/>
                    <a:pt x="321861" y="100362"/>
                    <a:pt x="321277" y="100425"/>
                  </a:cubicBezTo>
                  <a:cubicBezTo>
                    <a:pt x="320939" y="100460"/>
                    <a:pt x="320581" y="100495"/>
                    <a:pt x="320271" y="100854"/>
                  </a:cubicBezTo>
                  <a:cubicBezTo>
                    <a:pt x="319751" y="101466"/>
                    <a:pt x="319174" y="101529"/>
                    <a:pt x="318309" y="101628"/>
                  </a:cubicBezTo>
                  <a:cubicBezTo>
                    <a:pt x="317789" y="101684"/>
                    <a:pt x="317163" y="101761"/>
                    <a:pt x="316375" y="101965"/>
                  </a:cubicBezTo>
                  <a:cubicBezTo>
                    <a:pt x="314300" y="102521"/>
                    <a:pt x="313878" y="103899"/>
                    <a:pt x="313330" y="105693"/>
                  </a:cubicBezTo>
                  <a:lnTo>
                    <a:pt x="313316" y="105721"/>
                  </a:lnTo>
                  <a:cubicBezTo>
                    <a:pt x="312873" y="107170"/>
                    <a:pt x="313133" y="109561"/>
                    <a:pt x="313316" y="110574"/>
                  </a:cubicBezTo>
                  <a:cubicBezTo>
                    <a:pt x="312254" y="111319"/>
                    <a:pt x="309982" y="113021"/>
                    <a:pt x="309440" y="113914"/>
                  </a:cubicBezTo>
                  <a:cubicBezTo>
                    <a:pt x="309025" y="114597"/>
                    <a:pt x="307612" y="112888"/>
                    <a:pt x="306198" y="111171"/>
                  </a:cubicBezTo>
                  <a:cubicBezTo>
                    <a:pt x="305291" y="110081"/>
                    <a:pt x="304384" y="108984"/>
                    <a:pt x="303737" y="108506"/>
                  </a:cubicBezTo>
                  <a:cubicBezTo>
                    <a:pt x="302843" y="107845"/>
                    <a:pt x="302506" y="107894"/>
                    <a:pt x="302105" y="107950"/>
                  </a:cubicBezTo>
                  <a:cubicBezTo>
                    <a:pt x="301767" y="108000"/>
                    <a:pt x="301374" y="108056"/>
                    <a:pt x="300537" y="107669"/>
                  </a:cubicBezTo>
                  <a:cubicBezTo>
                    <a:pt x="299250" y="107078"/>
                    <a:pt x="298807" y="106347"/>
                    <a:pt x="298314" y="105524"/>
                  </a:cubicBezTo>
                  <a:cubicBezTo>
                    <a:pt x="298110" y="105186"/>
                    <a:pt x="297899" y="104835"/>
                    <a:pt x="297618" y="104469"/>
                  </a:cubicBezTo>
                  <a:cubicBezTo>
                    <a:pt x="296640" y="103217"/>
                    <a:pt x="294692" y="102943"/>
                    <a:pt x="293159" y="102943"/>
                  </a:cubicBezTo>
                  <a:cubicBezTo>
                    <a:pt x="291633" y="102943"/>
                    <a:pt x="290817" y="106839"/>
                    <a:pt x="290536" y="108506"/>
                  </a:cubicBezTo>
                  <a:cubicBezTo>
                    <a:pt x="290360" y="109561"/>
                    <a:pt x="289748" y="109287"/>
                    <a:pt x="288967" y="108942"/>
                  </a:cubicBezTo>
                  <a:cubicBezTo>
                    <a:pt x="288503" y="108738"/>
                    <a:pt x="287990" y="108506"/>
                    <a:pt x="287476" y="108506"/>
                  </a:cubicBezTo>
                  <a:cubicBezTo>
                    <a:pt x="286435" y="108506"/>
                    <a:pt x="286175" y="109040"/>
                    <a:pt x="285816" y="109779"/>
                  </a:cubicBezTo>
                  <a:cubicBezTo>
                    <a:pt x="285697" y="110025"/>
                    <a:pt x="285563" y="110292"/>
                    <a:pt x="285387" y="110574"/>
                  </a:cubicBezTo>
                  <a:cubicBezTo>
                    <a:pt x="284832" y="111467"/>
                    <a:pt x="283580" y="110946"/>
                    <a:pt x="283024" y="110574"/>
                  </a:cubicBezTo>
                  <a:cubicBezTo>
                    <a:pt x="281632" y="109884"/>
                    <a:pt x="278544" y="108506"/>
                    <a:pt x="277320" y="108506"/>
                  </a:cubicBezTo>
                  <a:lnTo>
                    <a:pt x="273586" y="108506"/>
                  </a:lnTo>
                  <a:lnTo>
                    <a:pt x="270660" y="106839"/>
                  </a:lnTo>
                  <a:lnTo>
                    <a:pt x="270660" y="102943"/>
                  </a:lnTo>
                  <a:lnTo>
                    <a:pt x="267882" y="98632"/>
                  </a:lnTo>
                  <a:lnTo>
                    <a:pt x="266068" y="95987"/>
                  </a:lnTo>
                  <a:cubicBezTo>
                    <a:pt x="265048" y="94229"/>
                    <a:pt x="262839" y="90522"/>
                    <a:pt x="262171" y="89742"/>
                  </a:cubicBezTo>
                  <a:cubicBezTo>
                    <a:pt x="261524" y="88989"/>
                    <a:pt x="260793" y="87140"/>
                    <a:pt x="260040" y="85241"/>
                  </a:cubicBezTo>
                  <a:lnTo>
                    <a:pt x="260040" y="85241"/>
                  </a:lnTo>
                  <a:cubicBezTo>
                    <a:pt x="259822" y="84692"/>
                    <a:pt x="259611" y="84151"/>
                    <a:pt x="259393" y="83623"/>
                  </a:cubicBezTo>
                  <a:cubicBezTo>
                    <a:pt x="258753" y="82069"/>
                    <a:pt x="257515" y="82498"/>
                    <a:pt x="256039" y="83011"/>
                  </a:cubicBezTo>
                  <a:cubicBezTo>
                    <a:pt x="255265" y="83278"/>
                    <a:pt x="254428" y="83574"/>
                    <a:pt x="253570" y="83623"/>
                  </a:cubicBezTo>
                  <a:cubicBezTo>
                    <a:pt x="251066" y="83764"/>
                    <a:pt x="249251" y="87379"/>
                    <a:pt x="248837" y="88349"/>
                  </a:cubicBezTo>
                  <a:cubicBezTo>
                    <a:pt x="248640" y="88813"/>
                    <a:pt x="249350" y="89777"/>
                    <a:pt x="250004" y="90656"/>
                  </a:cubicBezTo>
                  <a:cubicBezTo>
                    <a:pt x="250728" y="91627"/>
                    <a:pt x="251375" y="92506"/>
                    <a:pt x="250644" y="92506"/>
                  </a:cubicBezTo>
                  <a:cubicBezTo>
                    <a:pt x="250243" y="92506"/>
                    <a:pt x="249723" y="92492"/>
                    <a:pt x="249139" y="92485"/>
                  </a:cubicBezTo>
                  <a:lnTo>
                    <a:pt x="249132" y="92485"/>
                  </a:lnTo>
                  <a:lnTo>
                    <a:pt x="249132" y="92485"/>
                  </a:lnTo>
                  <a:cubicBezTo>
                    <a:pt x="247697" y="92449"/>
                    <a:pt x="245862" y="92407"/>
                    <a:pt x="244385" y="92506"/>
                  </a:cubicBezTo>
                  <a:cubicBezTo>
                    <a:pt x="243695" y="92555"/>
                    <a:pt x="243456" y="93258"/>
                    <a:pt x="243463" y="94208"/>
                  </a:cubicBezTo>
                  <a:cubicBezTo>
                    <a:pt x="243309" y="94166"/>
                    <a:pt x="243189" y="94137"/>
                    <a:pt x="243112" y="94137"/>
                  </a:cubicBezTo>
                  <a:cubicBezTo>
                    <a:pt x="243013" y="94137"/>
                    <a:pt x="242809" y="94130"/>
                    <a:pt x="242535" y="94123"/>
                  </a:cubicBezTo>
                  <a:cubicBezTo>
                    <a:pt x="241009" y="94088"/>
                    <a:pt x="237323" y="93997"/>
                    <a:pt x="237070" y="94433"/>
                  </a:cubicBezTo>
                  <a:cubicBezTo>
                    <a:pt x="237049" y="94468"/>
                    <a:pt x="237028" y="94503"/>
                    <a:pt x="237007" y="94545"/>
                  </a:cubicBezTo>
                  <a:cubicBezTo>
                    <a:pt x="236698" y="95073"/>
                    <a:pt x="236198" y="95917"/>
                    <a:pt x="236810" y="96360"/>
                  </a:cubicBezTo>
                  <a:cubicBezTo>
                    <a:pt x="237471" y="96838"/>
                    <a:pt x="238160" y="97457"/>
                    <a:pt x="238280" y="97717"/>
                  </a:cubicBezTo>
                  <a:cubicBezTo>
                    <a:pt x="238301" y="97759"/>
                    <a:pt x="238357" y="97844"/>
                    <a:pt x="238435" y="97963"/>
                  </a:cubicBezTo>
                  <a:cubicBezTo>
                    <a:pt x="238808" y="98533"/>
                    <a:pt x="239651" y="99841"/>
                    <a:pt x="239433" y="100875"/>
                  </a:cubicBezTo>
                  <a:cubicBezTo>
                    <a:pt x="239300" y="101529"/>
                    <a:pt x="239307" y="102521"/>
                    <a:pt x="239314" y="103386"/>
                  </a:cubicBezTo>
                  <a:cubicBezTo>
                    <a:pt x="239314" y="104174"/>
                    <a:pt x="239321" y="104863"/>
                    <a:pt x="239215" y="105088"/>
                  </a:cubicBezTo>
                  <a:cubicBezTo>
                    <a:pt x="239138" y="105264"/>
                    <a:pt x="239075" y="105531"/>
                    <a:pt x="238997" y="105826"/>
                  </a:cubicBezTo>
                  <a:cubicBezTo>
                    <a:pt x="238878" y="106333"/>
                    <a:pt x="238730" y="106931"/>
                    <a:pt x="238442" y="107331"/>
                  </a:cubicBezTo>
                  <a:cubicBezTo>
                    <a:pt x="238202" y="107669"/>
                    <a:pt x="237816" y="108886"/>
                    <a:pt x="237443" y="110053"/>
                  </a:cubicBezTo>
                  <a:cubicBezTo>
                    <a:pt x="237098" y="111115"/>
                    <a:pt x="236775" y="112135"/>
                    <a:pt x="236592" y="112381"/>
                  </a:cubicBezTo>
                  <a:cubicBezTo>
                    <a:pt x="236395" y="112655"/>
                    <a:pt x="235994" y="112958"/>
                    <a:pt x="235615" y="113246"/>
                  </a:cubicBezTo>
                  <a:cubicBezTo>
                    <a:pt x="235277" y="113499"/>
                    <a:pt x="234953" y="113753"/>
                    <a:pt x="234764" y="113971"/>
                  </a:cubicBezTo>
                  <a:cubicBezTo>
                    <a:pt x="234630" y="114139"/>
                    <a:pt x="234426" y="114280"/>
                    <a:pt x="234229" y="114421"/>
                  </a:cubicBezTo>
                  <a:cubicBezTo>
                    <a:pt x="233870" y="114681"/>
                    <a:pt x="233540" y="114913"/>
                    <a:pt x="233730" y="115222"/>
                  </a:cubicBezTo>
                  <a:cubicBezTo>
                    <a:pt x="234032" y="115701"/>
                    <a:pt x="235164" y="116256"/>
                    <a:pt x="235875" y="116517"/>
                  </a:cubicBezTo>
                  <a:cubicBezTo>
                    <a:pt x="236107" y="116601"/>
                    <a:pt x="236353" y="116657"/>
                    <a:pt x="236592" y="116706"/>
                  </a:cubicBezTo>
                  <a:cubicBezTo>
                    <a:pt x="237092" y="116819"/>
                    <a:pt x="237549" y="116917"/>
                    <a:pt x="237668" y="117255"/>
                  </a:cubicBezTo>
                  <a:cubicBezTo>
                    <a:pt x="237844" y="117747"/>
                    <a:pt x="235284" y="120849"/>
                    <a:pt x="234764" y="121369"/>
                  </a:cubicBezTo>
                  <a:cubicBezTo>
                    <a:pt x="234686" y="121440"/>
                    <a:pt x="234609" y="121531"/>
                    <a:pt x="234524" y="121623"/>
                  </a:cubicBezTo>
                  <a:cubicBezTo>
                    <a:pt x="234018" y="122157"/>
                    <a:pt x="233329" y="122889"/>
                    <a:pt x="232478" y="122839"/>
                  </a:cubicBezTo>
                  <a:cubicBezTo>
                    <a:pt x="231746" y="122797"/>
                    <a:pt x="228420" y="121165"/>
                    <a:pt x="226450" y="120195"/>
                  </a:cubicBezTo>
                  <a:cubicBezTo>
                    <a:pt x="225761" y="119857"/>
                    <a:pt x="225234" y="119597"/>
                    <a:pt x="225044" y="119520"/>
                  </a:cubicBezTo>
                  <a:cubicBezTo>
                    <a:pt x="224748" y="119393"/>
                    <a:pt x="224333" y="119126"/>
                    <a:pt x="223883" y="118837"/>
                  </a:cubicBezTo>
                  <a:cubicBezTo>
                    <a:pt x="223250" y="118423"/>
                    <a:pt x="222540" y="117958"/>
                    <a:pt x="222006" y="117811"/>
                  </a:cubicBezTo>
                  <a:cubicBezTo>
                    <a:pt x="221731" y="117733"/>
                    <a:pt x="221478" y="117649"/>
                    <a:pt x="221246" y="117579"/>
                  </a:cubicBezTo>
                  <a:cubicBezTo>
                    <a:pt x="220690" y="117396"/>
                    <a:pt x="220233" y="117255"/>
                    <a:pt x="219818" y="117255"/>
                  </a:cubicBezTo>
                  <a:cubicBezTo>
                    <a:pt x="219220" y="117255"/>
                    <a:pt x="214965" y="117171"/>
                    <a:pt x="214452" y="116995"/>
                  </a:cubicBezTo>
                  <a:cubicBezTo>
                    <a:pt x="214121" y="116882"/>
                    <a:pt x="213720" y="116692"/>
                    <a:pt x="213277" y="116481"/>
                  </a:cubicBezTo>
                  <a:cubicBezTo>
                    <a:pt x="213031" y="116362"/>
                    <a:pt x="212771" y="116242"/>
                    <a:pt x="212504" y="116123"/>
                  </a:cubicBezTo>
                  <a:cubicBezTo>
                    <a:pt x="212222" y="115996"/>
                    <a:pt x="211969" y="115799"/>
                    <a:pt x="211709" y="115595"/>
                  </a:cubicBezTo>
                  <a:cubicBezTo>
                    <a:pt x="211252" y="115251"/>
                    <a:pt x="210781" y="114885"/>
                    <a:pt x="210141" y="114850"/>
                  </a:cubicBezTo>
                  <a:cubicBezTo>
                    <a:pt x="209423" y="114808"/>
                    <a:pt x="208784" y="114822"/>
                    <a:pt x="208256" y="114836"/>
                  </a:cubicBezTo>
                  <a:cubicBezTo>
                    <a:pt x="208031" y="114843"/>
                    <a:pt x="207834" y="114850"/>
                    <a:pt x="207651" y="114850"/>
                  </a:cubicBezTo>
                  <a:cubicBezTo>
                    <a:pt x="207053" y="114850"/>
                    <a:pt x="206125" y="115222"/>
                    <a:pt x="205907" y="115525"/>
                  </a:cubicBezTo>
                  <a:cubicBezTo>
                    <a:pt x="205682" y="115820"/>
                    <a:pt x="205386" y="116299"/>
                    <a:pt x="205344" y="116777"/>
                  </a:cubicBezTo>
                  <a:cubicBezTo>
                    <a:pt x="205316" y="117171"/>
                    <a:pt x="205337" y="122881"/>
                    <a:pt x="205344" y="124991"/>
                  </a:cubicBezTo>
                  <a:cubicBezTo>
                    <a:pt x="205344" y="125413"/>
                    <a:pt x="205344" y="125688"/>
                    <a:pt x="205344" y="125758"/>
                  </a:cubicBezTo>
                  <a:cubicBezTo>
                    <a:pt x="205344" y="125885"/>
                    <a:pt x="205393" y="126222"/>
                    <a:pt x="205450" y="126651"/>
                  </a:cubicBezTo>
                  <a:cubicBezTo>
                    <a:pt x="205583" y="127692"/>
                    <a:pt x="205787" y="129275"/>
                    <a:pt x="205605" y="129619"/>
                  </a:cubicBezTo>
                  <a:cubicBezTo>
                    <a:pt x="205344" y="130090"/>
                    <a:pt x="204950" y="130906"/>
                    <a:pt x="204873" y="131427"/>
                  </a:cubicBezTo>
                  <a:cubicBezTo>
                    <a:pt x="204831" y="131673"/>
                    <a:pt x="204472" y="132446"/>
                    <a:pt x="204099" y="133234"/>
                  </a:cubicBezTo>
                  <a:cubicBezTo>
                    <a:pt x="203691" y="134099"/>
                    <a:pt x="203283" y="134985"/>
                    <a:pt x="203283" y="135203"/>
                  </a:cubicBezTo>
                  <a:cubicBezTo>
                    <a:pt x="203283" y="135618"/>
                    <a:pt x="202805" y="136673"/>
                    <a:pt x="202503" y="136990"/>
                  </a:cubicBezTo>
                  <a:cubicBezTo>
                    <a:pt x="202461" y="137039"/>
                    <a:pt x="202418" y="137088"/>
                    <a:pt x="202369" y="137145"/>
                  </a:cubicBezTo>
                  <a:cubicBezTo>
                    <a:pt x="202102" y="137468"/>
                    <a:pt x="201757" y="137876"/>
                    <a:pt x="200991" y="137806"/>
                  </a:cubicBezTo>
                  <a:cubicBezTo>
                    <a:pt x="200393" y="137749"/>
                    <a:pt x="199858" y="137538"/>
                    <a:pt x="199303" y="137306"/>
                  </a:cubicBezTo>
                  <a:cubicBezTo>
                    <a:pt x="199035" y="137201"/>
                    <a:pt x="198761" y="137088"/>
                    <a:pt x="198473" y="136990"/>
                  </a:cubicBezTo>
                  <a:cubicBezTo>
                    <a:pt x="197573" y="136694"/>
                    <a:pt x="196919" y="136476"/>
                    <a:pt x="196363" y="135836"/>
                  </a:cubicBezTo>
                  <a:cubicBezTo>
                    <a:pt x="195807" y="135203"/>
                    <a:pt x="194654" y="134050"/>
                    <a:pt x="193620" y="134324"/>
                  </a:cubicBezTo>
                  <a:cubicBezTo>
                    <a:pt x="192586" y="134606"/>
                    <a:pt x="191116" y="135618"/>
                    <a:pt x="190856" y="136097"/>
                  </a:cubicBezTo>
                  <a:cubicBezTo>
                    <a:pt x="190673" y="136427"/>
                    <a:pt x="188556" y="138207"/>
                    <a:pt x="187157" y="139374"/>
                  </a:cubicBezTo>
                  <a:cubicBezTo>
                    <a:pt x="186559" y="139880"/>
                    <a:pt x="186095" y="140267"/>
                    <a:pt x="185968" y="140387"/>
                  </a:cubicBezTo>
                  <a:cubicBezTo>
                    <a:pt x="185553" y="140788"/>
                    <a:pt x="184238" y="142877"/>
                    <a:pt x="184076" y="143313"/>
                  </a:cubicBezTo>
                  <a:cubicBezTo>
                    <a:pt x="184048" y="143397"/>
                    <a:pt x="184006" y="143502"/>
                    <a:pt x="183964" y="143615"/>
                  </a:cubicBezTo>
                  <a:cubicBezTo>
                    <a:pt x="183788" y="144065"/>
                    <a:pt x="183542" y="144698"/>
                    <a:pt x="183380" y="145458"/>
                  </a:cubicBezTo>
                  <a:cubicBezTo>
                    <a:pt x="183239" y="146154"/>
                    <a:pt x="183134" y="146632"/>
                    <a:pt x="183007" y="147230"/>
                  </a:cubicBezTo>
                  <a:cubicBezTo>
                    <a:pt x="182958" y="147455"/>
                    <a:pt x="182909" y="147687"/>
                    <a:pt x="182845" y="147961"/>
                  </a:cubicBezTo>
                  <a:cubicBezTo>
                    <a:pt x="182627" y="148974"/>
                    <a:pt x="182290" y="150388"/>
                    <a:pt x="182072" y="150866"/>
                  </a:cubicBezTo>
                  <a:cubicBezTo>
                    <a:pt x="182008" y="151000"/>
                    <a:pt x="181875" y="151337"/>
                    <a:pt x="181713" y="151759"/>
                  </a:cubicBezTo>
                  <a:cubicBezTo>
                    <a:pt x="181305" y="152793"/>
                    <a:pt x="180693" y="154326"/>
                    <a:pt x="180440" y="154643"/>
                  </a:cubicBezTo>
                  <a:cubicBezTo>
                    <a:pt x="180327" y="154783"/>
                    <a:pt x="180222" y="154973"/>
                    <a:pt x="180110" y="155184"/>
                  </a:cubicBezTo>
                  <a:cubicBezTo>
                    <a:pt x="179878" y="155627"/>
                    <a:pt x="179603" y="156141"/>
                    <a:pt x="179090" y="156408"/>
                  </a:cubicBezTo>
                  <a:cubicBezTo>
                    <a:pt x="178724" y="156605"/>
                    <a:pt x="178239" y="156781"/>
                    <a:pt x="177718" y="156964"/>
                  </a:cubicBezTo>
                  <a:cubicBezTo>
                    <a:pt x="177177" y="157161"/>
                    <a:pt x="176600" y="157365"/>
                    <a:pt x="176087" y="157625"/>
                  </a:cubicBezTo>
                  <a:cubicBezTo>
                    <a:pt x="175763" y="157787"/>
                    <a:pt x="175489" y="157850"/>
                    <a:pt x="175264" y="157906"/>
                  </a:cubicBezTo>
                  <a:cubicBezTo>
                    <a:pt x="174814" y="158012"/>
                    <a:pt x="174567" y="158068"/>
                    <a:pt x="174462" y="158813"/>
                  </a:cubicBezTo>
                  <a:cubicBezTo>
                    <a:pt x="174300" y="159925"/>
                    <a:pt x="174202" y="161022"/>
                    <a:pt x="174680" y="162210"/>
                  </a:cubicBezTo>
                  <a:cubicBezTo>
                    <a:pt x="175032" y="163097"/>
                    <a:pt x="175355" y="163568"/>
                    <a:pt x="175707" y="164081"/>
                  </a:cubicBezTo>
                  <a:cubicBezTo>
                    <a:pt x="175826" y="164264"/>
                    <a:pt x="175953" y="164447"/>
                    <a:pt x="176087" y="164658"/>
                  </a:cubicBezTo>
                  <a:cubicBezTo>
                    <a:pt x="176473" y="165270"/>
                    <a:pt x="176895" y="166057"/>
                    <a:pt x="177226" y="166669"/>
                  </a:cubicBezTo>
                  <a:cubicBezTo>
                    <a:pt x="177332" y="166880"/>
                    <a:pt x="177437" y="167070"/>
                    <a:pt x="177521" y="167225"/>
                  </a:cubicBezTo>
                  <a:cubicBezTo>
                    <a:pt x="177613" y="167387"/>
                    <a:pt x="177725" y="167570"/>
                    <a:pt x="177845" y="167759"/>
                  </a:cubicBezTo>
                  <a:cubicBezTo>
                    <a:pt x="178168" y="168280"/>
                    <a:pt x="178534" y="168857"/>
                    <a:pt x="178534" y="169293"/>
                  </a:cubicBezTo>
                  <a:cubicBezTo>
                    <a:pt x="178534" y="169553"/>
                    <a:pt x="178647" y="169947"/>
                    <a:pt x="178766" y="170383"/>
                  </a:cubicBezTo>
                  <a:cubicBezTo>
                    <a:pt x="178921" y="170924"/>
                    <a:pt x="179090" y="171529"/>
                    <a:pt x="179090" y="172036"/>
                  </a:cubicBezTo>
                  <a:cubicBezTo>
                    <a:pt x="179090" y="172950"/>
                    <a:pt x="178914" y="175214"/>
                    <a:pt x="178534" y="175693"/>
                  </a:cubicBezTo>
                  <a:cubicBezTo>
                    <a:pt x="178407" y="175855"/>
                    <a:pt x="177958" y="176305"/>
                    <a:pt x="177409" y="176860"/>
                  </a:cubicBezTo>
                  <a:cubicBezTo>
                    <a:pt x="176361" y="177915"/>
                    <a:pt x="174954" y="179336"/>
                    <a:pt x="174800" y="179723"/>
                  </a:cubicBezTo>
                  <a:cubicBezTo>
                    <a:pt x="174673" y="180039"/>
                    <a:pt x="173801" y="181340"/>
                    <a:pt x="172957" y="182592"/>
                  </a:cubicBezTo>
                  <a:cubicBezTo>
                    <a:pt x="172204" y="183717"/>
                    <a:pt x="171480" y="184801"/>
                    <a:pt x="171318" y="185131"/>
                  </a:cubicBezTo>
                  <a:cubicBezTo>
                    <a:pt x="171121" y="185532"/>
                    <a:pt x="170896" y="186088"/>
                    <a:pt x="170664" y="186657"/>
                  </a:cubicBezTo>
                  <a:cubicBezTo>
                    <a:pt x="170495" y="187072"/>
                    <a:pt x="170327" y="187494"/>
                    <a:pt x="170165" y="187853"/>
                  </a:cubicBezTo>
                  <a:cubicBezTo>
                    <a:pt x="169785" y="188711"/>
                    <a:pt x="168653" y="190757"/>
                    <a:pt x="168357" y="191271"/>
                  </a:cubicBezTo>
                  <a:cubicBezTo>
                    <a:pt x="168238" y="191482"/>
                    <a:pt x="168055" y="191763"/>
                    <a:pt x="167872" y="192045"/>
                  </a:cubicBezTo>
                  <a:cubicBezTo>
                    <a:pt x="167605" y="192452"/>
                    <a:pt x="167330" y="192874"/>
                    <a:pt x="167204" y="193142"/>
                  </a:cubicBezTo>
                  <a:cubicBezTo>
                    <a:pt x="167148" y="193254"/>
                    <a:pt x="167084" y="193416"/>
                    <a:pt x="167014" y="193585"/>
                  </a:cubicBezTo>
                  <a:cubicBezTo>
                    <a:pt x="166810" y="194091"/>
                    <a:pt x="166550" y="194724"/>
                    <a:pt x="166311" y="194809"/>
                  </a:cubicBezTo>
                  <a:cubicBezTo>
                    <a:pt x="166156" y="194872"/>
                    <a:pt x="166001" y="194921"/>
                    <a:pt x="165861" y="194970"/>
                  </a:cubicBezTo>
                  <a:cubicBezTo>
                    <a:pt x="165713" y="195020"/>
                    <a:pt x="165579" y="195069"/>
                    <a:pt x="165474" y="195111"/>
                  </a:cubicBezTo>
                  <a:cubicBezTo>
                    <a:pt x="165277" y="195188"/>
                    <a:pt x="164004" y="196876"/>
                    <a:pt x="163906" y="197256"/>
                  </a:cubicBezTo>
                  <a:cubicBezTo>
                    <a:pt x="163835" y="197516"/>
                    <a:pt x="163863" y="198191"/>
                    <a:pt x="163884" y="198803"/>
                  </a:cubicBezTo>
                  <a:cubicBezTo>
                    <a:pt x="163891" y="199085"/>
                    <a:pt x="163906" y="199352"/>
                    <a:pt x="163906" y="199563"/>
                  </a:cubicBezTo>
                  <a:lnTo>
                    <a:pt x="163906" y="203952"/>
                  </a:lnTo>
                  <a:cubicBezTo>
                    <a:pt x="163906" y="204050"/>
                    <a:pt x="163906" y="204148"/>
                    <a:pt x="163906" y="204254"/>
                  </a:cubicBezTo>
                  <a:cubicBezTo>
                    <a:pt x="163912" y="205119"/>
                    <a:pt x="163920" y="206097"/>
                    <a:pt x="163385" y="206540"/>
                  </a:cubicBezTo>
                  <a:cubicBezTo>
                    <a:pt x="163272" y="206631"/>
                    <a:pt x="163174" y="206723"/>
                    <a:pt x="163069" y="206807"/>
                  </a:cubicBezTo>
                  <a:cubicBezTo>
                    <a:pt x="162647" y="207166"/>
                    <a:pt x="162316" y="207447"/>
                    <a:pt x="161739" y="207771"/>
                  </a:cubicBezTo>
                  <a:cubicBezTo>
                    <a:pt x="161486" y="207911"/>
                    <a:pt x="161043" y="208263"/>
                    <a:pt x="160529" y="208671"/>
                  </a:cubicBezTo>
                  <a:cubicBezTo>
                    <a:pt x="159566" y="209430"/>
                    <a:pt x="158363" y="210380"/>
                    <a:pt x="157801" y="210436"/>
                  </a:cubicBezTo>
                  <a:cubicBezTo>
                    <a:pt x="156950" y="210513"/>
                    <a:pt x="152118" y="211329"/>
                    <a:pt x="151520" y="211589"/>
                  </a:cubicBezTo>
                  <a:cubicBezTo>
                    <a:pt x="151274" y="211695"/>
                    <a:pt x="151028" y="211709"/>
                    <a:pt x="150824" y="211730"/>
                  </a:cubicBezTo>
                  <a:cubicBezTo>
                    <a:pt x="150529" y="211751"/>
                    <a:pt x="150311" y="211765"/>
                    <a:pt x="150289" y="212025"/>
                  </a:cubicBezTo>
                  <a:cubicBezTo>
                    <a:pt x="150247" y="212461"/>
                    <a:pt x="150093" y="216020"/>
                    <a:pt x="150289" y="216498"/>
                  </a:cubicBezTo>
                  <a:cubicBezTo>
                    <a:pt x="150388" y="216731"/>
                    <a:pt x="150437" y="217617"/>
                    <a:pt x="150486" y="218531"/>
                  </a:cubicBezTo>
                  <a:cubicBezTo>
                    <a:pt x="150543" y="219488"/>
                    <a:pt x="150592" y="220465"/>
                    <a:pt x="150704" y="220753"/>
                  </a:cubicBezTo>
                  <a:cubicBezTo>
                    <a:pt x="150789" y="220957"/>
                    <a:pt x="150915" y="221175"/>
                    <a:pt x="151056" y="221401"/>
                  </a:cubicBezTo>
                  <a:cubicBezTo>
                    <a:pt x="151281" y="221787"/>
                    <a:pt x="151520" y="222188"/>
                    <a:pt x="151520" y="222540"/>
                  </a:cubicBezTo>
                  <a:cubicBezTo>
                    <a:pt x="151520" y="222835"/>
                    <a:pt x="151295" y="223412"/>
                    <a:pt x="151077" y="223947"/>
                  </a:cubicBezTo>
                  <a:cubicBezTo>
                    <a:pt x="150887" y="224425"/>
                    <a:pt x="150704" y="224875"/>
                    <a:pt x="150704" y="225086"/>
                  </a:cubicBezTo>
                  <a:cubicBezTo>
                    <a:pt x="150704" y="225374"/>
                    <a:pt x="150423" y="226549"/>
                    <a:pt x="150198" y="227498"/>
                  </a:cubicBezTo>
                  <a:cubicBezTo>
                    <a:pt x="150078" y="227998"/>
                    <a:pt x="149973" y="228427"/>
                    <a:pt x="149931" y="228645"/>
                  </a:cubicBezTo>
                  <a:cubicBezTo>
                    <a:pt x="149860" y="228996"/>
                    <a:pt x="149762" y="231500"/>
                    <a:pt x="149664" y="233898"/>
                  </a:cubicBezTo>
                  <a:cubicBezTo>
                    <a:pt x="149593" y="235692"/>
                    <a:pt x="149523" y="237415"/>
                    <a:pt x="149474" y="238125"/>
                  </a:cubicBezTo>
                  <a:cubicBezTo>
                    <a:pt x="149354" y="239771"/>
                    <a:pt x="148243" y="243189"/>
                    <a:pt x="147722" y="244167"/>
                  </a:cubicBezTo>
                  <a:cubicBezTo>
                    <a:pt x="147532" y="244525"/>
                    <a:pt x="147258" y="244856"/>
                    <a:pt x="146984" y="245186"/>
                  </a:cubicBezTo>
                  <a:cubicBezTo>
                    <a:pt x="146527" y="245742"/>
                    <a:pt x="146077" y="246290"/>
                    <a:pt x="146077" y="246930"/>
                  </a:cubicBezTo>
                  <a:cubicBezTo>
                    <a:pt x="146077" y="247008"/>
                    <a:pt x="146077" y="247113"/>
                    <a:pt x="146077" y="247233"/>
                  </a:cubicBezTo>
                  <a:cubicBezTo>
                    <a:pt x="146084" y="248618"/>
                    <a:pt x="146112" y="252388"/>
                    <a:pt x="145198" y="253211"/>
                  </a:cubicBezTo>
                  <a:cubicBezTo>
                    <a:pt x="144515" y="253823"/>
                    <a:pt x="142820" y="256777"/>
                    <a:pt x="141618" y="258866"/>
                  </a:cubicBezTo>
                  <a:cubicBezTo>
                    <a:pt x="141069" y="259815"/>
                    <a:pt x="140626" y="260589"/>
                    <a:pt x="140429" y="260884"/>
                  </a:cubicBezTo>
                  <a:cubicBezTo>
                    <a:pt x="139796" y="261812"/>
                    <a:pt x="138185" y="264956"/>
                    <a:pt x="137292" y="266743"/>
                  </a:cubicBezTo>
                  <a:cubicBezTo>
                    <a:pt x="136392" y="268536"/>
                    <a:pt x="136413" y="270322"/>
                    <a:pt x="138425" y="271075"/>
                  </a:cubicBezTo>
                  <a:cubicBezTo>
                    <a:pt x="140429" y="271835"/>
                    <a:pt x="142560" y="272728"/>
                    <a:pt x="142933" y="273719"/>
                  </a:cubicBezTo>
                  <a:cubicBezTo>
                    <a:pt x="143052" y="274036"/>
                    <a:pt x="143221" y="274184"/>
                    <a:pt x="143383" y="274324"/>
                  </a:cubicBezTo>
                  <a:cubicBezTo>
                    <a:pt x="143721" y="274634"/>
                    <a:pt x="144009" y="274887"/>
                    <a:pt x="143573" y="276645"/>
                  </a:cubicBezTo>
                  <a:cubicBezTo>
                    <a:pt x="143193" y="278157"/>
                    <a:pt x="143608" y="279501"/>
                    <a:pt x="143910" y="280471"/>
                  </a:cubicBezTo>
                  <a:cubicBezTo>
                    <a:pt x="144114" y="281146"/>
                    <a:pt x="144269" y="281639"/>
                    <a:pt x="144065" y="281892"/>
                  </a:cubicBezTo>
                  <a:cubicBezTo>
                    <a:pt x="143671" y="282384"/>
                    <a:pt x="143144" y="284016"/>
                    <a:pt x="142933" y="284775"/>
                  </a:cubicBezTo>
                  <a:cubicBezTo>
                    <a:pt x="142764" y="285479"/>
                    <a:pt x="142215" y="287054"/>
                    <a:pt x="141421" y="287652"/>
                  </a:cubicBezTo>
                  <a:cubicBezTo>
                    <a:pt x="141174" y="287849"/>
                    <a:pt x="141006" y="288039"/>
                    <a:pt x="140865" y="288208"/>
                  </a:cubicBezTo>
                  <a:cubicBezTo>
                    <a:pt x="140450" y="288700"/>
                    <a:pt x="140218" y="288974"/>
                    <a:pt x="138425" y="288411"/>
                  </a:cubicBezTo>
                  <a:cubicBezTo>
                    <a:pt x="137299" y="288060"/>
                    <a:pt x="136047" y="287821"/>
                    <a:pt x="134887" y="287603"/>
                  </a:cubicBezTo>
                  <a:cubicBezTo>
                    <a:pt x="133565" y="287356"/>
                    <a:pt x="132369" y="287131"/>
                    <a:pt x="131624" y="286780"/>
                  </a:cubicBezTo>
                  <a:cubicBezTo>
                    <a:pt x="130231" y="286126"/>
                    <a:pt x="127967" y="285908"/>
                    <a:pt x="126215" y="286780"/>
                  </a:cubicBezTo>
                  <a:cubicBezTo>
                    <a:pt x="125772" y="287005"/>
                    <a:pt x="125343" y="287188"/>
                    <a:pt x="124942" y="287356"/>
                  </a:cubicBezTo>
                  <a:cubicBezTo>
                    <a:pt x="123782" y="287842"/>
                    <a:pt x="122896" y="288222"/>
                    <a:pt x="122699" y="289164"/>
                  </a:cubicBezTo>
                  <a:cubicBezTo>
                    <a:pt x="122579" y="289762"/>
                    <a:pt x="121707" y="290873"/>
                    <a:pt x="120736" y="292104"/>
                  </a:cubicBezTo>
                  <a:cubicBezTo>
                    <a:pt x="119640" y="293489"/>
                    <a:pt x="118422" y="295044"/>
                    <a:pt x="118008" y="296204"/>
                  </a:cubicBezTo>
                  <a:cubicBezTo>
                    <a:pt x="117234" y="298391"/>
                    <a:pt x="116059" y="301352"/>
                    <a:pt x="114885" y="302745"/>
                  </a:cubicBezTo>
                  <a:cubicBezTo>
                    <a:pt x="113717" y="304130"/>
                    <a:pt x="113513" y="304791"/>
                    <a:pt x="113513" y="306655"/>
                  </a:cubicBezTo>
                  <a:cubicBezTo>
                    <a:pt x="113513" y="308526"/>
                    <a:pt x="113499" y="311128"/>
                    <a:pt x="111945" y="312697"/>
                  </a:cubicBezTo>
                  <a:cubicBezTo>
                    <a:pt x="111516" y="313133"/>
                    <a:pt x="111150" y="313400"/>
                    <a:pt x="110855" y="313611"/>
                  </a:cubicBezTo>
                  <a:cubicBezTo>
                    <a:pt x="110075" y="314174"/>
                    <a:pt x="109779" y="314385"/>
                    <a:pt x="110201" y="316354"/>
                  </a:cubicBezTo>
                  <a:cubicBezTo>
                    <a:pt x="110553" y="318021"/>
                    <a:pt x="111713" y="320046"/>
                    <a:pt x="112564" y="321530"/>
                  </a:cubicBezTo>
                  <a:cubicBezTo>
                    <a:pt x="113099" y="322480"/>
                    <a:pt x="113513" y="323204"/>
                    <a:pt x="113513" y="323471"/>
                  </a:cubicBezTo>
                  <a:cubicBezTo>
                    <a:pt x="113513" y="323689"/>
                    <a:pt x="113366" y="323795"/>
                    <a:pt x="113155" y="323928"/>
                  </a:cubicBezTo>
                  <a:cubicBezTo>
                    <a:pt x="112691" y="324238"/>
                    <a:pt x="111945" y="324723"/>
                    <a:pt x="111945" y="327030"/>
                  </a:cubicBezTo>
                  <a:lnTo>
                    <a:pt x="111945" y="332952"/>
                  </a:lnTo>
                  <a:cubicBezTo>
                    <a:pt x="111945" y="333824"/>
                    <a:pt x="112318" y="334675"/>
                    <a:pt x="112705" y="335547"/>
                  </a:cubicBezTo>
                  <a:cubicBezTo>
                    <a:pt x="113106" y="336461"/>
                    <a:pt x="113513" y="337390"/>
                    <a:pt x="113513" y="338402"/>
                  </a:cubicBezTo>
                  <a:cubicBezTo>
                    <a:pt x="113513" y="339338"/>
                    <a:pt x="113830" y="341842"/>
                    <a:pt x="114161" y="344458"/>
                  </a:cubicBezTo>
                  <a:cubicBezTo>
                    <a:pt x="114512" y="347313"/>
                    <a:pt x="114885" y="350295"/>
                    <a:pt x="114885" y="351519"/>
                  </a:cubicBezTo>
                  <a:cubicBezTo>
                    <a:pt x="114885" y="352905"/>
                    <a:pt x="114407" y="355760"/>
                    <a:pt x="114013" y="358088"/>
                  </a:cubicBezTo>
                  <a:cubicBezTo>
                    <a:pt x="113746" y="359691"/>
                    <a:pt x="113513" y="361042"/>
                    <a:pt x="113513" y="361499"/>
                  </a:cubicBezTo>
                  <a:cubicBezTo>
                    <a:pt x="113513" y="361717"/>
                    <a:pt x="113443" y="362069"/>
                    <a:pt x="113359" y="362498"/>
                  </a:cubicBezTo>
                  <a:cubicBezTo>
                    <a:pt x="113014" y="364214"/>
                    <a:pt x="112395" y="367273"/>
                    <a:pt x="114885" y="369130"/>
                  </a:cubicBezTo>
                  <a:cubicBezTo>
                    <a:pt x="115180" y="369348"/>
                    <a:pt x="115476" y="369566"/>
                    <a:pt x="115757" y="369777"/>
                  </a:cubicBezTo>
                  <a:cubicBezTo>
                    <a:pt x="118514" y="371816"/>
                    <a:pt x="120842" y="373554"/>
                    <a:pt x="121728" y="374974"/>
                  </a:cubicBezTo>
                  <a:cubicBezTo>
                    <a:pt x="122699" y="376543"/>
                    <a:pt x="122699" y="378730"/>
                    <a:pt x="122699" y="380798"/>
                  </a:cubicBezTo>
                  <a:cubicBezTo>
                    <a:pt x="122699" y="382865"/>
                    <a:pt x="121510" y="387676"/>
                    <a:pt x="119759" y="387873"/>
                  </a:cubicBezTo>
                  <a:cubicBezTo>
                    <a:pt x="119436" y="387908"/>
                    <a:pt x="119063" y="387929"/>
                    <a:pt x="118676" y="387950"/>
                  </a:cubicBezTo>
                  <a:cubicBezTo>
                    <a:pt x="116960" y="388042"/>
                    <a:pt x="114885" y="388154"/>
                    <a:pt x="114885" y="389821"/>
                  </a:cubicBezTo>
                  <a:cubicBezTo>
                    <a:pt x="114885" y="391868"/>
                    <a:pt x="116059" y="398605"/>
                    <a:pt x="117037" y="400174"/>
                  </a:cubicBezTo>
                  <a:cubicBezTo>
                    <a:pt x="117241" y="400504"/>
                    <a:pt x="117551" y="400926"/>
                    <a:pt x="117902" y="401404"/>
                  </a:cubicBezTo>
                  <a:cubicBezTo>
                    <a:pt x="119238" y="403219"/>
                    <a:pt x="121144" y="405800"/>
                    <a:pt x="119759" y="406778"/>
                  </a:cubicBezTo>
                  <a:cubicBezTo>
                    <a:pt x="118725" y="407509"/>
                    <a:pt x="118641" y="408431"/>
                    <a:pt x="118542" y="409528"/>
                  </a:cubicBezTo>
                  <a:cubicBezTo>
                    <a:pt x="118479" y="410280"/>
                    <a:pt x="118409" y="411117"/>
                    <a:pt x="118008" y="412024"/>
                  </a:cubicBezTo>
                  <a:cubicBezTo>
                    <a:pt x="117621" y="412904"/>
                    <a:pt x="117269" y="414627"/>
                    <a:pt x="116896" y="416434"/>
                  </a:cubicBezTo>
                  <a:cubicBezTo>
                    <a:pt x="116327" y="419212"/>
                    <a:pt x="115715" y="422187"/>
                    <a:pt x="114885" y="422658"/>
                  </a:cubicBezTo>
                  <a:cubicBezTo>
                    <a:pt x="114280" y="423003"/>
                    <a:pt x="113218" y="423038"/>
                    <a:pt x="112170" y="423080"/>
                  </a:cubicBezTo>
                  <a:cubicBezTo>
                    <a:pt x="110855" y="423130"/>
                    <a:pt x="109554" y="423179"/>
                    <a:pt x="109224" y="423833"/>
                  </a:cubicBezTo>
                  <a:cubicBezTo>
                    <a:pt x="108872" y="424522"/>
                    <a:pt x="108935" y="424937"/>
                    <a:pt x="109048" y="425654"/>
                  </a:cubicBezTo>
                  <a:cubicBezTo>
                    <a:pt x="109125" y="426147"/>
                    <a:pt x="109224" y="426780"/>
                    <a:pt x="109224" y="427743"/>
                  </a:cubicBezTo>
                  <a:cubicBezTo>
                    <a:pt x="109224" y="429635"/>
                    <a:pt x="107528" y="431422"/>
                    <a:pt x="106677" y="432083"/>
                  </a:cubicBezTo>
                  <a:cubicBezTo>
                    <a:pt x="106220" y="432378"/>
                    <a:pt x="105306" y="433271"/>
                    <a:pt x="105306" y="434467"/>
                  </a:cubicBezTo>
                  <a:cubicBezTo>
                    <a:pt x="105306" y="435044"/>
                    <a:pt x="105517" y="436035"/>
                    <a:pt x="105770" y="437245"/>
                  </a:cubicBezTo>
                  <a:cubicBezTo>
                    <a:pt x="106171" y="439130"/>
                    <a:pt x="106677" y="441549"/>
                    <a:pt x="106677" y="443765"/>
                  </a:cubicBezTo>
                  <a:lnTo>
                    <a:pt x="106677" y="449771"/>
                  </a:lnTo>
                  <a:cubicBezTo>
                    <a:pt x="106677" y="451065"/>
                    <a:pt x="105707" y="453168"/>
                    <a:pt x="104335" y="453351"/>
                  </a:cubicBezTo>
                  <a:cubicBezTo>
                    <a:pt x="103048" y="453512"/>
                    <a:pt x="102444" y="452500"/>
                    <a:pt x="101740" y="451311"/>
                  </a:cubicBezTo>
                  <a:cubicBezTo>
                    <a:pt x="101691" y="451227"/>
                    <a:pt x="101642" y="451142"/>
                    <a:pt x="101593" y="451065"/>
                  </a:cubicBezTo>
                  <a:cubicBezTo>
                    <a:pt x="100861" y="449848"/>
                    <a:pt x="98245" y="447619"/>
                    <a:pt x="97598" y="448899"/>
                  </a:cubicBezTo>
                  <a:lnTo>
                    <a:pt x="96705" y="447246"/>
                  </a:lnTo>
                  <a:lnTo>
                    <a:pt x="94194" y="447246"/>
                  </a:lnTo>
                  <a:cubicBezTo>
                    <a:pt x="93673" y="446831"/>
                    <a:pt x="92506" y="445994"/>
                    <a:pt x="92014" y="445994"/>
                  </a:cubicBezTo>
                  <a:cubicBezTo>
                    <a:pt x="91395" y="445994"/>
                    <a:pt x="90916" y="442238"/>
                    <a:pt x="90762" y="440987"/>
                  </a:cubicBezTo>
                  <a:cubicBezTo>
                    <a:pt x="90705" y="440543"/>
                    <a:pt x="90572" y="440086"/>
                    <a:pt x="90438" y="439643"/>
                  </a:cubicBezTo>
                  <a:cubicBezTo>
                    <a:pt x="90199" y="438820"/>
                    <a:pt x="89974" y="438040"/>
                    <a:pt x="90283" y="437526"/>
                  </a:cubicBezTo>
                  <a:cubicBezTo>
                    <a:pt x="90572" y="437034"/>
                    <a:pt x="90326" y="435550"/>
                    <a:pt x="90093" y="434150"/>
                  </a:cubicBezTo>
                  <a:cubicBezTo>
                    <a:pt x="89946" y="433278"/>
                    <a:pt x="89805" y="432441"/>
                    <a:pt x="89805" y="431900"/>
                  </a:cubicBezTo>
                  <a:lnTo>
                    <a:pt x="89805" y="426871"/>
                  </a:lnTo>
                  <a:lnTo>
                    <a:pt x="90916" y="423749"/>
                  </a:lnTo>
                  <a:lnTo>
                    <a:pt x="89805" y="423749"/>
                  </a:lnTo>
                  <a:lnTo>
                    <a:pt x="86366" y="426871"/>
                  </a:lnTo>
                  <a:cubicBezTo>
                    <a:pt x="86000" y="427708"/>
                    <a:pt x="85241" y="429565"/>
                    <a:pt x="85114" y="430331"/>
                  </a:cubicBezTo>
                  <a:cubicBezTo>
                    <a:pt x="84988" y="431091"/>
                    <a:pt x="85895" y="432638"/>
                    <a:pt x="86366" y="433313"/>
                  </a:cubicBezTo>
                  <a:lnTo>
                    <a:pt x="86366" y="436907"/>
                  </a:lnTo>
                  <a:lnTo>
                    <a:pt x="86366" y="440206"/>
                  </a:lnTo>
                  <a:cubicBezTo>
                    <a:pt x="86310" y="440888"/>
                    <a:pt x="85740" y="442991"/>
                    <a:pt x="83862" y="445994"/>
                  </a:cubicBezTo>
                  <a:cubicBezTo>
                    <a:pt x="83222" y="447373"/>
                    <a:pt x="83018" y="447457"/>
                    <a:pt x="82603" y="447619"/>
                  </a:cubicBezTo>
                  <a:cubicBezTo>
                    <a:pt x="82406" y="447696"/>
                    <a:pt x="82167" y="447787"/>
                    <a:pt x="81816" y="448041"/>
                  </a:cubicBezTo>
                  <a:cubicBezTo>
                    <a:pt x="81218" y="448463"/>
                    <a:pt x="80810" y="449370"/>
                    <a:pt x="80423" y="450242"/>
                  </a:cubicBezTo>
                  <a:cubicBezTo>
                    <a:pt x="80079" y="451009"/>
                    <a:pt x="79748" y="451747"/>
                    <a:pt x="79312" y="452113"/>
                  </a:cubicBezTo>
                  <a:cubicBezTo>
                    <a:pt x="78503" y="452802"/>
                    <a:pt x="78032" y="452303"/>
                    <a:pt x="77420" y="451635"/>
                  </a:cubicBezTo>
                  <a:cubicBezTo>
                    <a:pt x="77329" y="451536"/>
                    <a:pt x="77230" y="451424"/>
                    <a:pt x="77125" y="451318"/>
                  </a:cubicBezTo>
                  <a:cubicBezTo>
                    <a:pt x="76506" y="450685"/>
                    <a:pt x="76133" y="450024"/>
                    <a:pt x="76027" y="449771"/>
                  </a:cubicBezTo>
                  <a:lnTo>
                    <a:pt x="73348" y="447246"/>
                  </a:lnTo>
                  <a:cubicBezTo>
                    <a:pt x="73503" y="448603"/>
                    <a:pt x="73728" y="451318"/>
                    <a:pt x="73348" y="451318"/>
                  </a:cubicBezTo>
                  <a:cubicBezTo>
                    <a:pt x="73109" y="451318"/>
                    <a:pt x="72989" y="451754"/>
                    <a:pt x="72856" y="452268"/>
                  </a:cubicBezTo>
                  <a:cubicBezTo>
                    <a:pt x="72722" y="452781"/>
                    <a:pt x="72567" y="453372"/>
                    <a:pt x="72251" y="453688"/>
                  </a:cubicBezTo>
                  <a:cubicBezTo>
                    <a:pt x="71913" y="454026"/>
                    <a:pt x="71667" y="454448"/>
                    <a:pt x="71350" y="455010"/>
                  </a:cubicBezTo>
                  <a:cubicBezTo>
                    <a:pt x="71069" y="455496"/>
                    <a:pt x="70732" y="456086"/>
                    <a:pt x="70225" y="456804"/>
                  </a:cubicBezTo>
                  <a:cubicBezTo>
                    <a:pt x="69135" y="458358"/>
                    <a:pt x="68973" y="458534"/>
                    <a:pt x="67721" y="459786"/>
                  </a:cubicBezTo>
                  <a:cubicBezTo>
                    <a:pt x="67102" y="460405"/>
                    <a:pt x="66484" y="461551"/>
                    <a:pt x="65942" y="462564"/>
                  </a:cubicBezTo>
                  <a:cubicBezTo>
                    <a:pt x="65379" y="463605"/>
                    <a:pt x="64894" y="464498"/>
                    <a:pt x="64578" y="464498"/>
                  </a:cubicBezTo>
                  <a:cubicBezTo>
                    <a:pt x="64085" y="464498"/>
                    <a:pt x="62172" y="467318"/>
                    <a:pt x="61279" y="468732"/>
                  </a:cubicBezTo>
                  <a:lnTo>
                    <a:pt x="58297" y="472649"/>
                  </a:lnTo>
                  <a:cubicBezTo>
                    <a:pt x="57882" y="472649"/>
                    <a:pt x="56827" y="472832"/>
                    <a:pt x="55955" y="473585"/>
                  </a:cubicBezTo>
                  <a:cubicBezTo>
                    <a:pt x="55083" y="474330"/>
                    <a:pt x="54239" y="475470"/>
                    <a:pt x="53930" y="475948"/>
                  </a:cubicBezTo>
                  <a:lnTo>
                    <a:pt x="52199" y="475948"/>
                  </a:lnTo>
                  <a:lnTo>
                    <a:pt x="49217" y="477200"/>
                  </a:lnTo>
                  <a:lnTo>
                    <a:pt x="45138" y="479387"/>
                  </a:lnTo>
                  <a:lnTo>
                    <a:pt x="39976" y="479387"/>
                  </a:lnTo>
                  <a:lnTo>
                    <a:pt x="36213" y="479387"/>
                  </a:lnTo>
                  <a:lnTo>
                    <a:pt x="33555" y="479387"/>
                  </a:lnTo>
                  <a:cubicBezTo>
                    <a:pt x="33288" y="479387"/>
                    <a:pt x="32950" y="479415"/>
                    <a:pt x="32570" y="479443"/>
                  </a:cubicBezTo>
                  <a:lnTo>
                    <a:pt x="32570" y="479443"/>
                  </a:lnTo>
                  <a:cubicBezTo>
                    <a:pt x="31621" y="479514"/>
                    <a:pt x="30383" y="479612"/>
                    <a:pt x="29159" y="479387"/>
                  </a:cubicBezTo>
                  <a:cubicBezTo>
                    <a:pt x="27795" y="479134"/>
                    <a:pt x="27752" y="477819"/>
                    <a:pt x="27907" y="477200"/>
                  </a:cubicBezTo>
                  <a:lnTo>
                    <a:pt x="29159" y="472649"/>
                  </a:lnTo>
                  <a:lnTo>
                    <a:pt x="23518" y="472649"/>
                  </a:lnTo>
                  <a:lnTo>
                    <a:pt x="17948" y="468732"/>
                  </a:lnTo>
                  <a:cubicBezTo>
                    <a:pt x="16148" y="467684"/>
                    <a:pt x="12547" y="465370"/>
                    <a:pt x="12547" y="464498"/>
                  </a:cubicBezTo>
                  <a:cubicBezTo>
                    <a:pt x="12547" y="463408"/>
                    <a:pt x="12547" y="462768"/>
                    <a:pt x="10972" y="461994"/>
                  </a:cubicBezTo>
                  <a:cubicBezTo>
                    <a:pt x="9938" y="461481"/>
                    <a:pt x="10268" y="461031"/>
                    <a:pt x="10613" y="460559"/>
                  </a:cubicBezTo>
                  <a:cubicBezTo>
                    <a:pt x="10789" y="460313"/>
                    <a:pt x="10972" y="460060"/>
                    <a:pt x="10972" y="459786"/>
                  </a:cubicBezTo>
                  <a:cubicBezTo>
                    <a:pt x="10972" y="458991"/>
                    <a:pt x="10972" y="456508"/>
                    <a:pt x="12547" y="455257"/>
                  </a:cubicBezTo>
                  <a:cubicBezTo>
                    <a:pt x="13616" y="454399"/>
                    <a:pt x="13222" y="453393"/>
                    <a:pt x="12863" y="452486"/>
                  </a:cubicBezTo>
                  <a:cubicBezTo>
                    <a:pt x="12702" y="452071"/>
                    <a:pt x="12547" y="451670"/>
                    <a:pt x="12547" y="451318"/>
                  </a:cubicBezTo>
                  <a:cubicBezTo>
                    <a:pt x="12547" y="450432"/>
                    <a:pt x="13271" y="448765"/>
                    <a:pt x="13637" y="448041"/>
                  </a:cubicBezTo>
                  <a:lnTo>
                    <a:pt x="15522" y="445994"/>
                  </a:lnTo>
                  <a:lnTo>
                    <a:pt x="19439" y="443969"/>
                  </a:lnTo>
                  <a:cubicBezTo>
                    <a:pt x="19911" y="442970"/>
                    <a:pt x="20783" y="440832"/>
                    <a:pt x="20494" y="440206"/>
                  </a:cubicBezTo>
                  <a:cubicBezTo>
                    <a:pt x="20255" y="439685"/>
                    <a:pt x="18799" y="439868"/>
                    <a:pt x="17393" y="440044"/>
                  </a:cubicBezTo>
                  <a:cubicBezTo>
                    <a:pt x="16711" y="440129"/>
                    <a:pt x="16042" y="440206"/>
                    <a:pt x="15522" y="440206"/>
                  </a:cubicBezTo>
                  <a:cubicBezTo>
                    <a:pt x="14270" y="440206"/>
                    <a:pt x="14270" y="441563"/>
                    <a:pt x="14432" y="442238"/>
                  </a:cubicBezTo>
                  <a:lnTo>
                    <a:pt x="10339" y="443490"/>
                  </a:lnTo>
                  <a:lnTo>
                    <a:pt x="9361" y="445994"/>
                  </a:lnTo>
                  <a:lnTo>
                    <a:pt x="6224" y="447246"/>
                  </a:lnTo>
                  <a:lnTo>
                    <a:pt x="5169" y="443969"/>
                  </a:lnTo>
                  <a:lnTo>
                    <a:pt x="6224" y="440206"/>
                  </a:lnTo>
                  <a:lnTo>
                    <a:pt x="7216" y="436907"/>
                  </a:lnTo>
                  <a:lnTo>
                    <a:pt x="7216" y="433313"/>
                  </a:lnTo>
                  <a:lnTo>
                    <a:pt x="12547" y="431900"/>
                  </a:lnTo>
                  <a:lnTo>
                    <a:pt x="15522" y="430331"/>
                  </a:lnTo>
                  <a:lnTo>
                    <a:pt x="20494" y="426871"/>
                  </a:lnTo>
                  <a:cubicBezTo>
                    <a:pt x="19362" y="427286"/>
                    <a:pt x="16563" y="428123"/>
                    <a:pt x="14432" y="428123"/>
                  </a:cubicBezTo>
                  <a:cubicBezTo>
                    <a:pt x="13560" y="428123"/>
                    <a:pt x="14066" y="427286"/>
                    <a:pt x="14432" y="426871"/>
                  </a:cubicBezTo>
                  <a:lnTo>
                    <a:pt x="15522" y="423749"/>
                  </a:lnTo>
                  <a:lnTo>
                    <a:pt x="17097" y="420450"/>
                  </a:lnTo>
                  <a:lnTo>
                    <a:pt x="17948" y="418882"/>
                  </a:lnTo>
                  <a:cubicBezTo>
                    <a:pt x="17238" y="419149"/>
                    <a:pt x="15543" y="419831"/>
                    <a:pt x="14432" y="420450"/>
                  </a:cubicBezTo>
                  <a:cubicBezTo>
                    <a:pt x="13504" y="420970"/>
                    <a:pt x="13813" y="421498"/>
                    <a:pt x="14122" y="422018"/>
                  </a:cubicBezTo>
                  <a:cubicBezTo>
                    <a:pt x="14277" y="422279"/>
                    <a:pt x="14432" y="422539"/>
                    <a:pt x="14432" y="422799"/>
                  </a:cubicBezTo>
                  <a:cubicBezTo>
                    <a:pt x="14432" y="423474"/>
                    <a:pt x="12364" y="425507"/>
                    <a:pt x="11330" y="426520"/>
                  </a:cubicBezTo>
                  <a:cubicBezTo>
                    <a:pt x="11190" y="426660"/>
                    <a:pt x="11070" y="426780"/>
                    <a:pt x="10972" y="426871"/>
                  </a:cubicBezTo>
                  <a:cubicBezTo>
                    <a:pt x="10353" y="427490"/>
                    <a:pt x="9642" y="429438"/>
                    <a:pt x="9361" y="430331"/>
                  </a:cubicBezTo>
                  <a:cubicBezTo>
                    <a:pt x="8313" y="430901"/>
                    <a:pt x="6224" y="432012"/>
                    <a:pt x="6224" y="431900"/>
                  </a:cubicBezTo>
                  <a:cubicBezTo>
                    <a:pt x="6224" y="431787"/>
                    <a:pt x="5521" y="429333"/>
                    <a:pt x="5169" y="428123"/>
                  </a:cubicBezTo>
                  <a:lnTo>
                    <a:pt x="7216" y="426871"/>
                  </a:lnTo>
                  <a:cubicBezTo>
                    <a:pt x="6885" y="426140"/>
                    <a:pt x="6224" y="424501"/>
                    <a:pt x="6224" y="423749"/>
                  </a:cubicBezTo>
                  <a:cubicBezTo>
                    <a:pt x="6224" y="422820"/>
                    <a:pt x="6224" y="421547"/>
                    <a:pt x="5169" y="420450"/>
                  </a:cubicBezTo>
                  <a:cubicBezTo>
                    <a:pt x="4325" y="419578"/>
                    <a:pt x="5521" y="419043"/>
                    <a:pt x="6224" y="418882"/>
                  </a:cubicBezTo>
                  <a:lnTo>
                    <a:pt x="9361" y="418882"/>
                  </a:lnTo>
                  <a:lnTo>
                    <a:pt x="12547" y="418882"/>
                  </a:lnTo>
                  <a:cubicBezTo>
                    <a:pt x="13799" y="418882"/>
                    <a:pt x="14326" y="418150"/>
                    <a:pt x="14432" y="417785"/>
                  </a:cubicBezTo>
                  <a:cubicBezTo>
                    <a:pt x="13750" y="417215"/>
                    <a:pt x="12104" y="415907"/>
                    <a:pt x="10972" y="415281"/>
                  </a:cubicBezTo>
                  <a:cubicBezTo>
                    <a:pt x="10093" y="414802"/>
                    <a:pt x="9277" y="414978"/>
                    <a:pt x="8524" y="415147"/>
                  </a:cubicBezTo>
                  <a:cubicBezTo>
                    <a:pt x="8067" y="415246"/>
                    <a:pt x="7631" y="415344"/>
                    <a:pt x="7216" y="415281"/>
                  </a:cubicBezTo>
                  <a:cubicBezTo>
                    <a:pt x="6344" y="415154"/>
                    <a:pt x="4761" y="414500"/>
                    <a:pt x="4079" y="414191"/>
                  </a:cubicBezTo>
                  <a:lnTo>
                    <a:pt x="3502" y="411209"/>
                  </a:lnTo>
                  <a:lnTo>
                    <a:pt x="3502" y="403838"/>
                  </a:lnTo>
                  <a:lnTo>
                    <a:pt x="3502" y="401172"/>
                  </a:lnTo>
                  <a:cubicBezTo>
                    <a:pt x="3502" y="400075"/>
                    <a:pt x="4079" y="398985"/>
                    <a:pt x="6224" y="398345"/>
                  </a:cubicBezTo>
                  <a:cubicBezTo>
                    <a:pt x="7772" y="397888"/>
                    <a:pt x="7603" y="397522"/>
                    <a:pt x="7392" y="397058"/>
                  </a:cubicBezTo>
                  <a:cubicBezTo>
                    <a:pt x="7307" y="396875"/>
                    <a:pt x="7216" y="396685"/>
                    <a:pt x="7216" y="396460"/>
                  </a:cubicBezTo>
                  <a:cubicBezTo>
                    <a:pt x="7216" y="395827"/>
                    <a:pt x="6555" y="395159"/>
                    <a:pt x="6224" y="394913"/>
                  </a:cubicBezTo>
                  <a:cubicBezTo>
                    <a:pt x="4825" y="395011"/>
                    <a:pt x="2025" y="395145"/>
                    <a:pt x="2025" y="394913"/>
                  </a:cubicBezTo>
                  <a:cubicBezTo>
                    <a:pt x="2025" y="394674"/>
                    <a:pt x="675" y="393338"/>
                    <a:pt x="0" y="392705"/>
                  </a:cubicBezTo>
                  <a:lnTo>
                    <a:pt x="2025" y="390356"/>
                  </a:lnTo>
                  <a:lnTo>
                    <a:pt x="3502" y="388471"/>
                  </a:lnTo>
                  <a:lnTo>
                    <a:pt x="6224" y="388471"/>
                  </a:lnTo>
                  <a:cubicBezTo>
                    <a:pt x="7272" y="388520"/>
                    <a:pt x="9361" y="388597"/>
                    <a:pt x="9361" y="388471"/>
                  </a:cubicBezTo>
                  <a:cubicBezTo>
                    <a:pt x="9361" y="388429"/>
                    <a:pt x="9488" y="388337"/>
                    <a:pt x="9664" y="388203"/>
                  </a:cubicBezTo>
                  <a:cubicBezTo>
                    <a:pt x="10128" y="387859"/>
                    <a:pt x="10972" y="387233"/>
                    <a:pt x="10972" y="386445"/>
                  </a:cubicBezTo>
                  <a:cubicBezTo>
                    <a:pt x="10972" y="385566"/>
                    <a:pt x="15628" y="386079"/>
                    <a:pt x="17948" y="386445"/>
                  </a:cubicBezTo>
                  <a:cubicBezTo>
                    <a:pt x="16774" y="385763"/>
                    <a:pt x="13743" y="384392"/>
                    <a:pt x="10972" y="384392"/>
                  </a:cubicBezTo>
                  <a:cubicBezTo>
                    <a:pt x="10381" y="384518"/>
                    <a:pt x="10008" y="384743"/>
                    <a:pt x="9656" y="384961"/>
                  </a:cubicBezTo>
                  <a:cubicBezTo>
                    <a:pt x="9073" y="385313"/>
                    <a:pt x="8559" y="385636"/>
                    <a:pt x="7216" y="385348"/>
                  </a:cubicBezTo>
                  <a:cubicBezTo>
                    <a:pt x="6006" y="385095"/>
                    <a:pt x="6161" y="384574"/>
                    <a:pt x="6351" y="383948"/>
                  </a:cubicBezTo>
                  <a:cubicBezTo>
                    <a:pt x="6491" y="383463"/>
                    <a:pt x="6653" y="382915"/>
                    <a:pt x="6224" y="382366"/>
                  </a:cubicBezTo>
                  <a:cubicBezTo>
                    <a:pt x="5634" y="381628"/>
                    <a:pt x="4987" y="381487"/>
                    <a:pt x="4445" y="381360"/>
                  </a:cubicBezTo>
                  <a:lnTo>
                    <a:pt x="4445" y="381360"/>
                  </a:lnTo>
                  <a:cubicBezTo>
                    <a:pt x="4065" y="381283"/>
                    <a:pt x="3735" y="381206"/>
                    <a:pt x="3502" y="380959"/>
                  </a:cubicBezTo>
                  <a:cubicBezTo>
                    <a:pt x="3038" y="380460"/>
                    <a:pt x="2328" y="379173"/>
                    <a:pt x="2025" y="378589"/>
                  </a:cubicBezTo>
                  <a:cubicBezTo>
                    <a:pt x="2518" y="378076"/>
                    <a:pt x="3615" y="377042"/>
                    <a:pt x="4079" y="377042"/>
                  </a:cubicBezTo>
                  <a:cubicBezTo>
                    <a:pt x="4206" y="377042"/>
                    <a:pt x="4438" y="377035"/>
                    <a:pt x="4747" y="377021"/>
                  </a:cubicBezTo>
                  <a:lnTo>
                    <a:pt x="4747" y="377021"/>
                  </a:lnTo>
                  <a:cubicBezTo>
                    <a:pt x="5795" y="376986"/>
                    <a:pt x="7708" y="376915"/>
                    <a:pt x="9361" y="377042"/>
                  </a:cubicBezTo>
                  <a:cubicBezTo>
                    <a:pt x="11204" y="377176"/>
                    <a:pt x="11527" y="376726"/>
                    <a:pt x="12181" y="375804"/>
                  </a:cubicBezTo>
                  <a:cubicBezTo>
                    <a:pt x="12294" y="375656"/>
                    <a:pt x="12406" y="375488"/>
                    <a:pt x="12547" y="375312"/>
                  </a:cubicBezTo>
                  <a:cubicBezTo>
                    <a:pt x="13306" y="374306"/>
                    <a:pt x="12863" y="373954"/>
                    <a:pt x="12547" y="373898"/>
                  </a:cubicBezTo>
                  <a:lnTo>
                    <a:pt x="9361" y="372963"/>
                  </a:lnTo>
                  <a:cubicBezTo>
                    <a:pt x="9431" y="372175"/>
                    <a:pt x="9523" y="370445"/>
                    <a:pt x="9361" y="369826"/>
                  </a:cubicBezTo>
                  <a:cubicBezTo>
                    <a:pt x="9242" y="369362"/>
                    <a:pt x="8496" y="369510"/>
                    <a:pt x="7694" y="369671"/>
                  </a:cubicBezTo>
                  <a:cubicBezTo>
                    <a:pt x="7167" y="369777"/>
                    <a:pt x="6618" y="369889"/>
                    <a:pt x="6224" y="369826"/>
                  </a:cubicBezTo>
                  <a:cubicBezTo>
                    <a:pt x="5226" y="369664"/>
                    <a:pt x="4079" y="369348"/>
                    <a:pt x="2025" y="368574"/>
                  </a:cubicBezTo>
                  <a:cubicBezTo>
                    <a:pt x="-21" y="367801"/>
                    <a:pt x="2666" y="366070"/>
                    <a:pt x="3502" y="365592"/>
                  </a:cubicBezTo>
                  <a:cubicBezTo>
                    <a:pt x="4171" y="365212"/>
                    <a:pt x="6252" y="363342"/>
                    <a:pt x="7216" y="362448"/>
                  </a:cubicBezTo>
                  <a:lnTo>
                    <a:pt x="3502" y="359354"/>
                  </a:lnTo>
                  <a:lnTo>
                    <a:pt x="4079" y="357582"/>
                  </a:lnTo>
                  <a:cubicBezTo>
                    <a:pt x="4790" y="356674"/>
                    <a:pt x="5795" y="354698"/>
                    <a:pt x="4079" y="354065"/>
                  </a:cubicBezTo>
                  <a:cubicBezTo>
                    <a:pt x="2356" y="353425"/>
                    <a:pt x="2975" y="352236"/>
                    <a:pt x="3502" y="351716"/>
                  </a:cubicBezTo>
                  <a:lnTo>
                    <a:pt x="6224" y="350169"/>
                  </a:lnTo>
                  <a:cubicBezTo>
                    <a:pt x="6942" y="351343"/>
                    <a:pt x="8566" y="353566"/>
                    <a:pt x="9361" y="353087"/>
                  </a:cubicBezTo>
                  <a:cubicBezTo>
                    <a:pt x="9664" y="352912"/>
                    <a:pt x="9917" y="352785"/>
                    <a:pt x="10233" y="352637"/>
                  </a:cubicBezTo>
                  <a:lnTo>
                    <a:pt x="10233" y="352637"/>
                  </a:lnTo>
                  <a:cubicBezTo>
                    <a:pt x="10958" y="352293"/>
                    <a:pt x="11970" y="351807"/>
                    <a:pt x="14432" y="350169"/>
                  </a:cubicBezTo>
                  <a:cubicBezTo>
                    <a:pt x="15832" y="349705"/>
                    <a:pt x="15016" y="347883"/>
                    <a:pt x="14432" y="347025"/>
                  </a:cubicBezTo>
                  <a:lnTo>
                    <a:pt x="17948" y="344880"/>
                  </a:lnTo>
                  <a:cubicBezTo>
                    <a:pt x="18272" y="345661"/>
                    <a:pt x="19235" y="347187"/>
                    <a:pt x="20494" y="347025"/>
                  </a:cubicBezTo>
                  <a:cubicBezTo>
                    <a:pt x="21493" y="346898"/>
                    <a:pt x="21929" y="346617"/>
                    <a:pt x="22773" y="346082"/>
                  </a:cubicBezTo>
                  <a:cubicBezTo>
                    <a:pt x="23251" y="345773"/>
                    <a:pt x="23863" y="345379"/>
                    <a:pt x="24785" y="344880"/>
                  </a:cubicBezTo>
                  <a:cubicBezTo>
                    <a:pt x="26712" y="343839"/>
                    <a:pt x="25509" y="343473"/>
                    <a:pt x="24299" y="343108"/>
                  </a:cubicBezTo>
                  <a:cubicBezTo>
                    <a:pt x="23912" y="342988"/>
                    <a:pt x="23518" y="342875"/>
                    <a:pt x="23237" y="342735"/>
                  </a:cubicBezTo>
                  <a:cubicBezTo>
                    <a:pt x="22302" y="342271"/>
                    <a:pt x="21015" y="341110"/>
                    <a:pt x="20494" y="340590"/>
                  </a:cubicBezTo>
                  <a:lnTo>
                    <a:pt x="22245" y="338438"/>
                  </a:lnTo>
                  <a:cubicBezTo>
                    <a:pt x="23870" y="338374"/>
                    <a:pt x="27605" y="338283"/>
                    <a:pt x="29476" y="338438"/>
                  </a:cubicBezTo>
                  <a:cubicBezTo>
                    <a:pt x="31353" y="338599"/>
                    <a:pt x="32092" y="337594"/>
                    <a:pt x="32218" y="337066"/>
                  </a:cubicBezTo>
                  <a:cubicBezTo>
                    <a:pt x="31571" y="336609"/>
                    <a:pt x="29876" y="335582"/>
                    <a:pt x="28308" y="335118"/>
                  </a:cubicBezTo>
                  <a:cubicBezTo>
                    <a:pt x="26733" y="334661"/>
                    <a:pt x="27647" y="333233"/>
                    <a:pt x="28308" y="332579"/>
                  </a:cubicBezTo>
                  <a:cubicBezTo>
                    <a:pt x="29286" y="332185"/>
                    <a:pt x="31445" y="331285"/>
                    <a:pt x="32218" y="330807"/>
                  </a:cubicBezTo>
                  <a:cubicBezTo>
                    <a:pt x="32999" y="330329"/>
                    <a:pt x="32549" y="329048"/>
                    <a:pt x="32218" y="328465"/>
                  </a:cubicBezTo>
                  <a:cubicBezTo>
                    <a:pt x="32936" y="327424"/>
                    <a:pt x="34561" y="325342"/>
                    <a:pt x="35341" y="325342"/>
                  </a:cubicBezTo>
                  <a:cubicBezTo>
                    <a:pt x="36122" y="325342"/>
                    <a:pt x="38014" y="324428"/>
                    <a:pt x="38858" y="323971"/>
                  </a:cubicBezTo>
                  <a:cubicBezTo>
                    <a:pt x="39315" y="324428"/>
                    <a:pt x="40545" y="325342"/>
                    <a:pt x="41804" y="325342"/>
                  </a:cubicBezTo>
                  <a:lnTo>
                    <a:pt x="45321" y="325342"/>
                  </a:lnTo>
                  <a:lnTo>
                    <a:pt x="48837" y="325342"/>
                  </a:lnTo>
                  <a:lnTo>
                    <a:pt x="47846" y="323971"/>
                  </a:lnTo>
                  <a:lnTo>
                    <a:pt x="46496" y="321425"/>
                  </a:lnTo>
                  <a:lnTo>
                    <a:pt x="43950" y="320250"/>
                  </a:lnTo>
                  <a:lnTo>
                    <a:pt x="45321" y="317908"/>
                  </a:lnTo>
                  <a:lnTo>
                    <a:pt x="52157" y="316537"/>
                  </a:lnTo>
                  <a:lnTo>
                    <a:pt x="59570" y="316537"/>
                  </a:lnTo>
                  <a:lnTo>
                    <a:pt x="58459" y="313815"/>
                  </a:lnTo>
                  <a:lnTo>
                    <a:pt x="57826" y="314567"/>
                  </a:lnTo>
                  <a:lnTo>
                    <a:pt x="57066" y="313055"/>
                  </a:lnTo>
                  <a:lnTo>
                    <a:pt x="57066" y="311311"/>
                  </a:lnTo>
                  <a:lnTo>
                    <a:pt x="58459" y="310291"/>
                  </a:lnTo>
                  <a:cubicBezTo>
                    <a:pt x="59127" y="310291"/>
                    <a:pt x="61096" y="310059"/>
                    <a:pt x="63607" y="309103"/>
                  </a:cubicBezTo>
                  <a:cubicBezTo>
                    <a:pt x="65119" y="309103"/>
                    <a:pt x="65872" y="310291"/>
                    <a:pt x="66371" y="311311"/>
                  </a:cubicBezTo>
                  <a:cubicBezTo>
                    <a:pt x="66427" y="311431"/>
                    <a:pt x="66476" y="311543"/>
                    <a:pt x="66519" y="311635"/>
                  </a:cubicBezTo>
                  <a:cubicBezTo>
                    <a:pt x="66603" y="311817"/>
                    <a:pt x="66659" y="311944"/>
                    <a:pt x="66744" y="312057"/>
                  </a:cubicBezTo>
                  <a:cubicBezTo>
                    <a:pt x="66976" y="312345"/>
                    <a:pt x="67384" y="312493"/>
                    <a:pt x="68889" y="313013"/>
                  </a:cubicBezTo>
                  <a:lnTo>
                    <a:pt x="69015" y="313055"/>
                  </a:lnTo>
                  <a:cubicBezTo>
                    <a:pt x="70316" y="313055"/>
                    <a:pt x="70816" y="311895"/>
                    <a:pt x="70900" y="311311"/>
                  </a:cubicBezTo>
                  <a:cubicBezTo>
                    <a:pt x="70689" y="310974"/>
                    <a:pt x="70014" y="310059"/>
                    <a:pt x="69015" y="309103"/>
                  </a:cubicBezTo>
                  <a:cubicBezTo>
                    <a:pt x="68411" y="308533"/>
                    <a:pt x="68017" y="308435"/>
                    <a:pt x="67764" y="308371"/>
                  </a:cubicBezTo>
                  <a:cubicBezTo>
                    <a:pt x="67489" y="308308"/>
                    <a:pt x="67384" y="308280"/>
                    <a:pt x="67384" y="307731"/>
                  </a:cubicBezTo>
                  <a:lnTo>
                    <a:pt x="67384" y="305150"/>
                  </a:lnTo>
                  <a:lnTo>
                    <a:pt x="70267" y="305150"/>
                  </a:lnTo>
                  <a:cubicBezTo>
                    <a:pt x="71365" y="305150"/>
                    <a:pt x="72328" y="304327"/>
                    <a:pt x="72673" y="303912"/>
                  </a:cubicBezTo>
                  <a:lnTo>
                    <a:pt x="74220" y="302963"/>
                  </a:lnTo>
                  <a:lnTo>
                    <a:pt x="75809" y="303912"/>
                  </a:lnTo>
                  <a:cubicBezTo>
                    <a:pt x="76238" y="304777"/>
                    <a:pt x="77082" y="306747"/>
                    <a:pt x="77082" y="307731"/>
                  </a:cubicBezTo>
                  <a:cubicBezTo>
                    <a:pt x="77082" y="308716"/>
                    <a:pt x="77624" y="308842"/>
                    <a:pt x="77898" y="308786"/>
                  </a:cubicBezTo>
                  <a:lnTo>
                    <a:pt x="78855" y="310291"/>
                  </a:lnTo>
                  <a:lnTo>
                    <a:pt x="77082" y="313055"/>
                  </a:lnTo>
                  <a:lnTo>
                    <a:pt x="82132" y="313055"/>
                  </a:lnTo>
                  <a:lnTo>
                    <a:pt x="82132" y="311311"/>
                  </a:lnTo>
                  <a:lnTo>
                    <a:pt x="82132" y="309103"/>
                  </a:lnTo>
                  <a:cubicBezTo>
                    <a:pt x="82723" y="309103"/>
                    <a:pt x="84017" y="309039"/>
                    <a:pt x="84474" y="308786"/>
                  </a:cubicBezTo>
                  <a:cubicBezTo>
                    <a:pt x="84938" y="308533"/>
                    <a:pt x="85184" y="308892"/>
                    <a:pt x="85255" y="309103"/>
                  </a:cubicBezTo>
                  <a:lnTo>
                    <a:pt x="92724" y="309103"/>
                  </a:lnTo>
                  <a:lnTo>
                    <a:pt x="92724" y="307731"/>
                  </a:lnTo>
                  <a:lnTo>
                    <a:pt x="92724" y="305150"/>
                  </a:lnTo>
                  <a:lnTo>
                    <a:pt x="90023" y="305150"/>
                  </a:lnTo>
                  <a:cubicBezTo>
                    <a:pt x="90340" y="304735"/>
                    <a:pt x="90980" y="303722"/>
                    <a:pt x="90980" y="302963"/>
                  </a:cubicBezTo>
                  <a:cubicBezTo>
                    <a:pt x="90980" y="302260"/>
                    <a:pt x="91416" y="301999"/>
                    <a:pt x="92836" y="301155"/>
                  </a:cubicBezTo>
                  <a:lnTo>
                    <a:pt x="92844" y="301155"/>
                  </a:lnTo>
                  <a:cubicBezTo>
                    <a:pt x="93357" y="300846"/>
                    <a:pt x="93997" y="300466"/>
                    <a:pt x="94792" y="299960"/>
                  </a:cubicBezTo>
                  <a:cubicBezTo>
                    <a:pt x="95952" y="299573"/>
                    <a:pt x="96100" y="299833"/>
                    <a:pt x="96205" y="300023"/>
                  </a:cubicBezTo>
                  <a:cubicBezTo>
                    <a:pt x="96282" y="300164"/>
                    <a:pt x="96339" y="300262"/>
                    <a:pt x="96838" y="299960"/>
                  </a:cubicBezTo>
                  <a:cubicBezTo>
                    <a:pt x="97942" y="299285"/>
                    <a:pt x="98294" y="299285"/>
                    <a:pt x="99771" y="299285"/>
                  </a:cubicBezTo>
                  <a:lnTo>
                    <a:pt x="99905" y="299285"/>
                  </a:lnTo>
                  <a:cubicBezTo>
                    <a:pt x="100981" y="299285"/>
                    <a:pt x="101065" y="298342"/>
                    <a:pt x="101136" y="297526"/>
                  </a:cubicBezTo>
                  <a:cubicBezTo>
                    <a:pt x="101164" y="297139"/>
                    <a:pt x="101199" y="296781"/>
                    <a:pt x="101332" y="296563"/>
                  </a:cubicBezTo>
                  <a:cubicBezTo>
                    <a:pt x="101670" y="296021"/>
                    <a:pt x="101192" y="295430"/>
                    <a:pt x="100917" y="295205"/>
                  </a:cubicBezTo>
                  <a:lnTo>
                    <a:pt x="99145" y="293299"/>
                  </a:lnTo>
                  <a:lnTo>
                    <a:pt x="99905" y="292209"/>
                  </a:lnTo>
                  <a:lnTo>
                    <a:pt x="101691" y="290022"/>
                  </a:lnTo>
                  <a:lnTo>
                    <a:pt x="99905" y="290022"/>
                  </a:lnTo>
                  <a:lnTo>
                    <a:pt x="97513" y="290022"/>
                  </a:lnTo>
                  <a:lnTo>
                    <a:pt x="95333" y="290697"/>
                  </a:lnTo>
                  <a:cubicBezTo>
                    <a:pt x="94651" y="291787"/>
                    <a:pt x="93582" y="293841"/>
                    <a:pt x="94792" y="293299"/>
                  </a:cubicBezTo>
                  <a:cubicBezTo>
                    <a:pt x="96001" y="292758"/>
                    <a:pt x="96381" y="294347"/>
                    <a:pt x="96423" y="295205"/>
                  </a:cubicBezTo>
                  <a:cubicBezTo>
                    <a:pt x="96184" y="295888"/>
                    <a:pt x="95523" y="297238"/>
                    <a:pt x="94792" y="297238"/>
                  </a:cubicBezTo>
                  <a:cubicBezTo>
                    <a:pt x="93997" y="297238"/>
                    <a:pt x="93350" y="298279"/>
                    <a:pt x="92907" y="298996"/>
                  </a:cubicBezTo>
                  <a:cubicBezTo>
                    <a:pt x="92872" y="299052"/>
                    <a:pt x="92844" y="299102"/>
                    <a:pt x="92808" y="299151"/>
                  </a:cubicBezTo>
                  <a:cubicBezTo>
                    <a:pt x="92780" y="299200"/>
                    <a:pt x="92752" y="299242"/>
                    <a:pt x="92724" y="299285"/>
                  </a:cubicBezTo>
                  <a:cubicBezTo>
                    <a:pt x="92379" y="299826"/>
                    <a:pt x="90776" y="301233"/>
                    <a:pt x="90023" y="301866"/>
                  </a:cubicBezTo>
                  <a:lnTo>
                    <a:pt x="83897" y="305150"/>
                  </a:lnTo>
                  <a:lnTo>
                    <a:pt x="81175" y="306501"/>
                  </a:lnTo>
                  <a:lnTo>
                    <a:pt x="79804" y="306501"/>
                  </a:lnTo>
                  <a:cubicBezTo>
                    <a:pt x="79488" y="306093"/>
                    <a:pt x="78855" y="305010"/>
                    <a:pt x="78855" y="303912"/>
                  </a:cubicBezTo>
                  <a:cubicBezTo>
                    <a:pt x="78855" y="302815"/>
                    <a:pt x="78215" y="302091"/>
                    <a:pt x="77898" y="301866"/>
                  </a:cubicBezTo>
                  <a:cubicBezTo>
                    <a:pt x="77898" y="301465"/>
                    <a:pt x="78278" y="300382"/>
                    <a:pt x="79804" y="299285"/>
                  </a:cubicBezTo>
                  <a:cubicBezTo>
                    <a:pt x="80901" y="298834"/>
                    <a:pt x="81816" y="299095"/>
                    <a:pt x="82132" y="299285"/>
                  </a:cubicBezTo>
                  <a:cubicBezTo>
                    <a:pt x="81816" y="298602"/>
                    <a:pt x="80901" y="297372"/>
                    <a:pt x="79804" y="297934"/>
                  </a:cubicBezTo>
                  <a:cubicBezTo>
                    <a:pt x="78707" y="298490"/>
                    <a:pt x="78074" y="299067"/>
                    <a:pt x="77898" y="299285"/>
                  </a:cubicBezTo>
                  <a:lnTo>
                    <a:pt x="73404" y="300656"/>
                  </a:lnTo>
                  <a:lnTo>
                    <a:pt x="73404" y="299285"/>
                  </a:lnTo>
                  <a:lnTo>
                    <a:pt x="74220" y="297238"/>
                  </a:lnTo>
                  <a:cubicBezTo>
                    <a:pt x="74360" y="296788"/>
                    <a:pt x="74747" y="295747"/>
                    <a:pt x="75176" y="295205"/>
                  </a:cubicBezTo>
                  <a:cubicBezTo>
                    <a:pt x="75310" y="295044"/>
                    <a:pt x="75409" y="294889"/>
                    <a:pt x="75507" y="294741"/>
                  </a:cubicBezTo>
                  <a:cubicBezTo>
                    <a:pt x="75795" y="294298"/>
                    <a:pt x="76056" y="293911"/>
                    <a:pt x="77082" y="293299"/>
                  </a:cubicBezTo>
                  <a:cubicBezTo>
                    <a:pt x="77933" y="292793"/>
                    <a:pt x="78412" y="292969"/>
                    <a:pt x="78876" y="293145"/>
                  </a:cubicBezTo>
                  <a:cubicBezTo>
                    <a:pt x="79164" y="293250"/>
                    <a:pt x="79445" y="293356"/>
                    <a:pt x="79804" y="293299"/>
                  </a:cubicBezTo>
                  <a:cubicBezTo>
                    <a:pt x="80381" y="293215"/>
                    <a:pt x="80761" y="292983"/>
                    <a:pt x="81183" y="292716"/>
                  </a:cubicBezTo>
                  <a:cubicBezTo>
                    <a:pt x="81457" y="292547"/>
                    <a:pt x="81752" y="292364"/>
                    <a:pt x="82132" y="292209"/>
                  </a:cubicBezTo>
                  <a:cubicBezTo>
                    <a:pt x="83089" y="291808"/>
                    <a:pt x="81175" y="290578"/>
                    <a:pt x="79804" y="290022"/>
                  </a:cubicBezTo>
                  <a:cubicBezTo>
                    <a:pt x="78735" y="289586"/>
                    <a:pt x="78756" y="289417"/>
                    <a:pt x="78812" y="288974"/>
                  </a:cubicBezTo>
                  <a:cubicBezTo>
                    <a:pt x="78834" y="288847"/>
                    <a:pt x="78855" y="288707"/>
                    <a:pt x="78855" y="288531"/>
                  </a:cubicBezTo>
                  <a:lnTo>
                    <a:pt x="78855" y="286344"/>
                  </a:lnTo>
                  <a:lnTo>
                    <a:pt x="81175" y="286344"/>
                  </a:lnTo>
                  <a:lnTo>
                    <a:pt x="82132" y="284571"/>
                  </a:lnTo>
                  <a:lnTo>
                    <a:pt x="83897" y="281850"/>
                  </a:lnTo>
                  <a:lnTo>
                    <a:pt x="85255" y="279128"/>
                  </a:lnTo>
                  <a:lnTo>
                    <a:pt x="89067" y="276800"/>
                  </a:lnTo>
                  <a:lnTo>
                    <a:pt x="85255" y="274894"/>
                  </a:lnTo>
                  <a:cubicBezTo>
                    <a:pt x="85846" y="274444"/>
                    <a:pt x="87182" y="273438"/>
                    <a:pt x="87836" y="273009"/>
                  </a:cubicBezTo>
                  <a:cubicBezTo>
                    <a:pt x="88490" y="272580"/>
                    <a:pt x="90199" y="271448"/>
                    <a:pt x="90980" y="270941"/>
                  </a:cubicBezTo>
                  <a:lnTo>
                    <a:pt x="92724" y="270941"/>
                  </a:lnTo>
                  <a:lnTo>
                    <a:pt x="95706" y="269352"/>
                  </a:lnTo>
                  <a:lnTo>
                    <a:pt x="98308" y="265772"/>
                  </a:lnTo>
                  <a:lnTo>
                    <a:pt x="100102" y="265772"/>
                  </a:lnTo>
                  <a:lnTo>
                    <a:pt x="101691" y="267559"/>
                  </a:lnTo>
                  <a:cubicBezTo>
                    <a:pt x="101093" y="268684"/>
                    <a:pt x="99905" y="271180"/>
                    <a:pt x="99905" y="272151"/>
                  </a:cubicBezTo>
                  <a:cubicBezTo>
                    <a:pt x="99905" y="273122"/>
                    <a:pt x="101093" y="272559"/>
                    <a:pt x="101691" y="272151"/>
                  </a:cubicBezTo>
                  <a:lnTo>
                    <a:pt x="102880" y="267559"/>
                  </a:lnTo>
                  <a:lnTo>
                    <a:pt x="102880" y="264555"/>
                  </a:lnTo>
                  <a:lnTo>
                    <a:pt x="107493" y="261179"/>
                  </a:lnTo>
                  <a:cubicBezTo>
                    <a:pt x="105425" y="261243"/>
                    <a:pt x="101051" y="261341"/>
                    <a:pt x="100102" y="261179"/>
                  </a:cubicBezTo>
                  <a:cubicBezTo>
                    <a:pt x="99644" y="261102"/>
                    <a:pt x="99187" y="260969"/>
                    <a:pt x="98681" y="260821"/>
                  </a:cubicBezTo>
                  <a:lnTo>
                    <a:pt x="98681" y="260821"/>
                  </a:lnTo>
                  <a:lnTo>
                    <a:pt x="98681" y="260821"/>
                  </a:lnTo>
                  <a:cubicBezTo>
                    <a:pt x="97872" y="260582"/>
                    <a:pt x="96944" y="260307"/>
                    <a:pt x="95706" y="260188"/>
                  </a:cubicBezTo>
                  <a:cubicBezTo>
                    <a:pt x="94102" y="260026"/>
                    <a:pt x="93048" y="258915"/>
                    <a:pt x="92724" y="258380"/>
                  </a:cubicBezTo>
                  <a:cubicBezTo>
                    <a:pt x="93392" y="257452"/>
                    <a:pt x="94911" y="255595"/>
                    <a:pt x="95706" y="255595"/>
                  </a:cubicBezTo>
                  <a:cubicBezTo>
                    <a:pt x="96501" y="255595"/>
                    <a:pt x="98836" y="256524"/>
                    <a:pt x="99905" y="256988"/>
                  </a:cubicBezTo>
                  <a:lnTo>
                    <a:pt x="102880" y="255595"/>
                  </a:lnTo>
                  <a:lnTo>
                    <a:pt x="105088" y="254203"/>
                  </a:lnTo>
                  <a:lnTo>
                    <a:pt x="107493" y="250665"/>
                  </a:lnTo>
                  <a:cubicBezTo>
                    <a:pt x="107599" y="250524"/>
                    <a:pt x="107810" y="250159"/>
                    <a:pt x="107810" y="249807"/>
                  </a:cubicBezTo>
                  <a:cubicBezTo>
                    <a:pt x="107810" y="249462"/>
                    <a:pt x="108394" y="249132"/>
                    <a:pt x="108689" y="249012"/>
                  </a:cubicBezTo>
                  <a:lnTo>
                    <a:pt x="112009" y="248696"/>
                  </a:lnTo>
                  <a:lnTo>
                    <a:pt x="112444" y="247662"/>
                  </a:lnTo>
                  <a:cubicBezTo>
                    <a:pt x="112444" y="247430"/>
                    <a:pt x="112585" y="246881"/>
                    <a:pt x="113141" y="246551"/>
                  </a:cubicBezTo>
                  <a:cubicBezTo>
                    <a:pt x="113696" y="246213"/>
                    <a:pt x="114111" y="246691"/>
                    <a:pt x="114252" y="246966"/>
                  </a:cubicBezTo>
                  <a:lnTo>
                    <a:pt x="114252" y="249371"/>
                  </a:lnTo>
                  <a:cubicBezTo>
                    <a:pt x="114252" y="249920"/>
                    <a:pt x="115096" y="250152"/>
                    <a:pt x="116151" y="250447"/>
                  </a:cubicBezTo>
                  <a:cubicBezTo>
                    <a:pt x="116397" y="250510"/>
                    <a:pt x="116657" y="250588"/>
                    <a:pt x="116918" y="250665"/>
                  </a:cubicBezTo>
                  <a:cubicBezTo>
                    <a:pt x="117881" y="250960"/>
                    <a:pt x="117951" y="250799"/>
                    <a:pt x="118057" y="250567"/>
                  </a:cubicBezTo>
                  <a:cubicBezTo>
                    <a:pt x="118106" y="250461"/>
                    <a:pt x="118155" y="250349"/>
                    <a:pt x="118289" y="250250"/>
                  </a:cubicBezTo>
                  <a:cubicBezTo>
                    <a:pt x="118641" y="249976"/>
                    <a:pt x="119921" y="249104"/>
                    <a:pt x="120511" y="248696"/>
                  </a:cubicBezTo>
                  <a:cubicBezTo>
                    <a:pt x="121173" y="247922"/>
                    <a:pt x="122635" y="246269"/>
                    <a:pt x="123233" y="245854"/>
                  </a:cubicBezTo>
                  <a:cubicBezTo>
                    <a:pt x="123838" y="245439"/>
                    <a:pt x="123486" y="244771"/>
                    <a:pt x="123233" y="244483"/>
                  </a:cubicBezTo>
                  <a:cubicBezTo>
                    <a:pt x="121848" y="245545"/>
                    <a:pt x="118908" y="247753"/>
                    <a:pt x="118289" y="248098"/>
                  </a:cubicBezTo>
                  <a:cubicBezTo>
                    <a:pt x="117670" y="248450"/>
                    <a:pt x="117220" y="247957"/>
                    <a:pt x="117072" y="247662"/>
                  </a:cubicBezTo>
                  <a:lnTo>
                    <a:pt x="116397" y="245854"/>
                  </a:lnTo>
                  <a:cubicBezTo>
                    <a:pt x="116622" y="245137"/>
                    <a:pt x="117072" y="243519"/>
                    <a:pt x="117072" y="242774"/>
                  </a:cubicBezTo>
                  <a:cubicBezTo>
                    <a:pt x="117072" y="242028"/>
                    <a:pt x="117593" y="240910"/>
                    <a:pt x="117853" y="240446"/>
                  </a:cubicBezTo>
                  <a:lnTo>
                    <a:pt x="116397" y="240446"/>
                  </a:lnTo>
                  <a:cubicBezTo>
                    <a:pt x="115933" y="240446"/>
                    <a:pt x="115863" y="240657"/>
                    <a:pt x="115757" y="240981"/>
                  </a:cubicBezTo>
                  <a:cubicBezTo>
                    <a:pt x="115708" y="241128"/>
                    <a:pt x="115652" y="241297"/>
                    <a:pt x="115546" y="241480"/>
                  </a:cubicBezTo>
                  <a:cubicBezTo>
                    <a:pt x="115377" y="241768"/>
                    <a:pt x="115314" y="242085"/>
                    <a:pt x="115244" y="242436"/>
                  </a:cubicBezTo>
                  <a:cubicBezTo>
                    <a:pt x="115159" y="242809"/>
                    <a:pt x="115075" y="243224"/>
                    <a:pt x="114850" y="243709"/>
                  </a:cubicBezTo>
                  <a:cubicBezTo>
                    <a:pt x="114498" y="244455"/>
                    <a:pt x="113907" y="244933"/>
                    <a:pt x="113654" y="245081"/>
                  </a:cubicBezTo>
                  <a:lnTo>
                    <a:pt x="112881" y="244483"/>
                  </a:lnTo>
                  <a:lnTo>
                    <a:pt x="112444" y="242774"/>
                  </a:lnTo>
                  <a:lnTo>
                    <a:pt x="112444" y="240446"/>
                  </a:lnTo>
                  <a:lnTo>
                    <a:pt x="114252" y="239257"/>
                  </a:lnTo>
                  <a:lnTo>
                    <a:pt x="114850" y="237190"/>
                  </a:lnTo>
                  <a:lnTo>
                    <a:pt x="114252" y="236079"/>
                  </a:lnTo>
                  <a:lnTo>
                    <a:pt x="113654" y="234602"/>
                  </a:lnTo>
                  <a:lnTo>
                    <a:pt x="114850" y="233828"/>
                  </a:lnTo>
                  <a:lnTo>
                    <a:pt x="117072" y="235460"/>
                  </a:lnTo>
                  <a:cubicBezTo>
                    <a:pt x="117874" y="236233"/>
                    <a:pt x="119583" y="237851"/>
                    <a:pt x="119998" y="238125"/>
                  </a:cubicBezTo>
                  <a:cubicBezTo>
                    <a:pt x="120413" y="238392"/>
                    <a:pt x="120511" y="237612"/>
                    <a:pt x="120511" y="237190"/>
                  </a:cubicBezTo>
                  <a:cubicBezTo>
                    <a:pt x="119885" y="236416"/>
                    <a:pt x="118556" y="234813"/>
                    <a:pt x="118289" y="234602"/>
                  </a:cubicBezTo>
                  <a:cubicBezTo>
                    <a:pt x="118015" y="234398"/>
                    <a:pt x="116918" y="232689"/>
                    <a:pt x="116397" y="231859"/>
                  </a:cubicBezTo>
                  <a:lnTo>
                    <a:pt x="116397" y="228342"/>
                  </a:lnTo>
                  <a:cubicBezTo>
                    <a:pt x="116770" y="227998"/>
                    <a:pt x="117579" y="227245"/>
                    <a:pt x="117853" y="226971"/>
                  </a:cubicBezTo>
                  <a:cubicBezTo>
                    <a:pt x="118191" y="226633"/>
                    <a:pt x="119140" y="226014"/>
                    <a:pt x="119998" y="225761"/>
                  </a:cubicBezTo>
                  <a:cubicBezTo>
                    <a:pt x="120849" y="225501"/>
                    <a:pt x="120694" y="224305"/>
                    <a:pt x="120511" y="223693"/>
                  </a:cubicBezTo>
                  <a:cubicBezTo>
                    <a:pt x="120336" y="223074"/>
                    <a:pt x="120097" y="221211"/>
                    <a:pt x="119998" y="220092"/>
                  </a:cubicBezTo>
                  <a:cubicBezTo>
                    <a:pt x="119921" y="219270"/>
                    <a:pt x="121130" y="218862"/>
                    <a:pt x="121904" y="218601"/>
                  </a:cubicBezTo>
                  <a:lnTo>
                    <a:pt x="121904" y="218601"/>
                  </a:lnTo>
                  <a:cubicBezTo>
                    <a:pt x="122171" y="218510"/>
                    <a:pt x="122396" y="218433"/>
                    <a:pt x="122481" y="218362"/>
                  </a:cubicBezTo>
                  <a:cubicBezTo>
                    <a:pt x="122818" y="218109"/>
                    <a:pt x="125702" y="220768"/>
                    <a:pt x="125702" y="221211"/>
                  </a:cubicBezTo>
                  <a:cubicBezTo>
                    <a:pt x="125702" y="221555"/>
                    <a:pt x="127305" y="222441"/>
                    <a:pt x="128107" y="222835"/>
                  </a:cubicBezTo>
                  <a:lnTo>
                    <a:pt x="128107" y="220092"/>
                  </a:lnTo>
                  <a:cubicBezTo>
                    <a:pt x="128107" y="219474"/>
                    <a:pt x="127326" y="219094"/>
                    <a:pt x="126933" y="218981"/>
                  </a:cubicBezTo>
                  <a:cubicBezTo>
                    <a:pt x="126525" y="217265"/>
                    <a:pt x="125547" y="213924"/>
                    <a:pt x="124949" y="214290"/>
                  </a:cubicBezTo>
                  <a:lnTo>
                    <a:pt x="123233" y="214290"/>
                  </a:lnTo>
                  <a:cubicBezTo>
                    <a:pt x="122762" y="214290"/>
                    <a:pt x="122537" y="213629"/>
                    <a:pt x="122481" y="213298"/>
                  </a:cubicBezTo>
                  <a:cubicBezTo>
                    <a:pt x="122558" y="213144"/>
                    <a:pt x="122825" y="212771"/>
                    <a:pt x="123233" y="212483"/>
                  </a:cubicBezTo>
                  <a:cubicBezTo>
                    <a:pt x="123557" y="212258"/>
                    <a:pt x="123592" y="212173"/>
                    <a:pt x="123648" y="212061"/>
                  </a:cubicBezTo>
                  <a:cubicBezTo>
                    <a:pt x="123684" y="211990"/>
                    <a:pt x="123719" y="211906"/>
                    <a:pt x="123831" y="211765"/>
                  </a:cubicBezTo>
                  <a:cubicBezTo>
                    <a:pt x="124133" y="211407"/>
                    <a:pt x="124590" y="211132"/>
                    <a:pt x="125702" y="210710"/>
                  </a:cubicBezTo>
                  <a:cubicBezTo>
                    <a:pt x="126440" y="210436"/>
                    <a:pt x="126898" y="210527"/>
                    <a:pt x="127362" y="210619"/>
                  </a:cubicBezTo>
                  <a:cubicBezTo>
                    <a:pt x="127601" y="210668"/>
                    <a:pt x="127833" y="210710"/>
                    <a:pt x="128107" y="210710"/>
                  </a:cubicBezTo>
                  <a:cubicBezTo>
                    <a:pt x="128628" y="210710"/>
                    <a:pt x="128705" y="210640"/>
                    <a:pt x="128902" y="210436"/>
                  </a:cubicBezTo>
                  <a:cubicBezTo>
                    <a:pt x="129014" y="210316"/>
                    <a:pt x="129169" y="210162"/>
                    <a:pt x="129458" y="209958"/>
                  </a:cubicBezTo>
                  <a:cubicBezTo>
                    <a:pt x="129809" y="209705"/>
                    <a:pt x="129950" y="209676"/>
                    <a:pt x="130048" y="209648"/>
                  </a:cubicBezTo>
                  <a:cubicBezTo>
                    <a:pt x="130175" y="209620"/>
                    <a:pt x="130238" y="209606"/>
                    <a:pt x="130632" y="209142"/>
                  </a:cubicBezTo>
                  <a:cubicBezTo>
                    <a:pt x="131124" y="208565"/>
                    <a:pt x="131392" y="208565"/>
                    <a:pt x="131961" y="208572"/>
                  </a:cubicBezTo>
                  <a:cubicBezTo>
                    <a:pt x="132200" y="208579"/>
                    <a:pt x="132482" y="208579"/>
                    <a:pt x="132854" y="208544"/>
                  </a:cubicBezTo>
                  <a:cubicBezTo>
                    <a:pt x="133769" y="208460"/>
                    <a:pt x="133790" y="208530"/>
                    <a:pt x="133853" y="208762"/>
                  </a:cubicBezTo>
                  <a:cubicBezTo>
                    <a:pt x="133881" y="208861"/>
                    <a:pt x="133917" y="208987"/>
                    <a:pt x="134029" y="209142"/>
                  </a:cubicBezTo>
                  <a:cubicBezTo>
                    <a:pt x="134367" y="209627"/>
                    <a:pt x="134725" y="209754"/>
                    <a:pt x="135140" y="209901"/>
                  </a:cubicBezTo>
                  <a:cubicBezTo>
                    <a:pt x="135182" y="209923"/>
                    <a:pt x="135232" y="209937"/>
                    <a:pt x="135281" y="209958"/>
                  </a:cubicBezTo>
                  <a:cubicBezTo>
                    <a:pt x="135569" y="210063"/>
                    <a:pt x="135731" y="209979"/>
                    <a:pt x="136019" y="209831"/>
                  </a:cubicBezTo>
                  <a:cubicBezTo>
                    <a:pt x="136216" y="209733"/>
                    <a:pt x="136469" y="209599"/>
                    <a:pt x="136849" y="209479"/>
                  </a:cubicBezTo>
                  <a:cubicBezTo>
                    <a:pt x="137398" y="209311"/>
                    <a:pt x="137510" y="208952"/>
                    <a:pt x="137630" y="208593"/>
                  </a:cubicBezTo>
                  <a:cubicBezTo>
                    <a:pt x="137721" y="208319"/>
                    <a:pt x="137813" y="208045"/>
                    <a:pt x="138087" y="207848"/>
                  </a:cubicBezTo>
                  <a:cubicBezTo>
                    <a:pt x="138460" y="207581"/>
                    <a:pt x="138889" y="207609"/>
                    <a:pt x="139339" y="207644"/>
                  </a:cubicBezTo>
                  <a:cubicBezTo>
                    <a:pt x="139642" y="207665"/>
                    <a:pt x="139958" y="207686"/>
                    <a:pt x="140274" y="207609"/>
                  </a:cubicBezTo>
                  <a:cubicBezTo>
                    <a:pt x="140837" y="207482"/>
                    <a:pt x="141104" y="207109"/>
                    <a:pt x="141393" y="206709"/>
                  </a:cubicBezTo>
                  <a:lnTo>
                    <a:pt x="141393" y="206709"/>
                  </a:lnTo>
                  <a:cubicBezTo>
                    <a:pt x="141505" y="206561"/>
                    <a:pt x="141611" y="206406"/>
                    <a:pt x="141744" y="206258"/>
                  </a:cubicBezTo>
                  <a:cubicBezTo>
                    <a:pt x="141871" y="206118"/>
                    <a:pt x="142025" y="205970"/>
                    <a:pt x="142194" y="205822"/>
                  </a:cubicBezTo>
                  <a:lnTo>
                    <a:pt x="142194" y="205822"/>
                  </a:lnTo>
                  <a:cubicBezTo>
                    <a:pt x="142637" y="205414"/>
                    <a:pt x="143137" y="204950"/>
                    <a:pt x="143313" y="204275"/>
                  </a:cubicBezTo>
                  <a:cubicBezTo>
                    <a:pt x="143496" y="203565"/>
                    <a:pt x="143193" y="203656"/>
                    <a:pt x="142912" y="203740"/>
                  </a:cubicBezTo>
                  <a:cubicBezTo>
                    <a:pt x="142820" y="203769"/>
                    <a:pt x="142729" y="203797"/>
                    <a:pt x="142659" y="203797"/>
                  </a:cubicBezTo>
                  <a:cubicBezTo>
                    <a:pt x="142356" y="203797"/>
                    <a:pt x="141146" y="204732"/>
                    <a:pt x="140788" y="205203"/>
                  </a:cubicBezTo>
                  <a:cubicBezTo>
                    <a:pt x="140549" y="205527"/>
                    <a:pt x="139662" y="205759"/>
                    <a:pt x="138861" y="205963"/>
                  </a:cubicBezTo>
                  <a:lnTo>
                    <a:pt x="138861" y="205963"/>
                  </a:lnTo>
                  <a:cubicBezTo>
                    <a:pt x="138474" y="206068"/>
                    <a:pt x="138108" y="206160"/>
                    <a:pt x="137848" y="206258"/>
                  </a:cubicBezTo>
                  <a:cubicBezTo>
                    <a:pt x="137271" y="206476"/>
                    <a:pt x="136667" y="206315"/>
                    <a:pt x="136026" y="206146"/>
                  </a:cubicBezTo>
                  <a:lnTo>
                    <a:pt x="136026" y="206146"/>
                  </a:lnTo>
                  <a:cubicBezTo>
                    <a:pt x="135787" y="206076"/>
                    <a:pt x="135534" y="206012"/>
                    <a:pt x="135281" y="205963"/>
                  </a:cubicBezTo>
                  <a:cubicBezTo>
                    <a:pt x="134683" y="205843"/>
                    <a:pt x="134655" y="205639"/>
                    <a:pt x="134620" y="205337"/>
                  </a:cubicBezTo>
                  <a:cubicBezTo>
                    <a:pt x="134599" y="205161"/>
                    <a:pt x="134578" y="204964"/>
                    <a:pt x="134444" y="204732"/>
                  </a:cubicBezTo>
                  <a:cubicBezTo>
                    <a:pt x="134268" y="204395"/>
                    <a:pt x="134064" y="204163"/>
                    <a:pt x="133867" y="203930"/>
                  </a:cubicBezTo>
                  <a:cubicBezTo>
                    <a:pt x="133677" y="203712"/>
                    <a:pt x="133488" y="203494"/>
                    <a:pt x="133333" y="203199"/>
                  </a:cubicBezTo>
                  <a:cubicBezTo>
                    <a:pt x="133122" y="202805"/>
                    <a:pt x="132784" y="202904"/>
                    <a:pt x="132341" y="203037"/>
                  </a:cubicBezTo>
                  <a:cubicBezTo>
                    <a:pt x="132109" y="203101"/>
                    <a:pt x="131849" y="203178"/>
                    <a:pt x="131568" y="203199"/>
                  </a:cubicBezTo>
                  <a:cubicBezTo>
                    <a:pt x="130970" y="203241"/>
                    <a:pt x="130843" y="203311"/>
                    <a:pt x="130499" y="203501"/>
                  </a:cubicBezTo>
                  <a:cubicBezTo>
                    <a:pt x="130358" y="203579"/>
                    <a:pt x="130189" y="203677"/>
                    <a:pt x="129936" y="203797"/>
                  </a:cubicBezTo>
                  <a:cubicBezTo>
                    <a:pt x="129760" y="203881"/>
                    <a:pt x="129612" y="203952"/>
                    <a:pt x="129500" y="204008"/>
                  </a:cubicBezTo>
                  <a:cubicBezTo>
                    <a:pt x="129036" y="204233"/>
                    <a:pt x="128958" y="204275"/>
                    <a:pt x="128642" y="204275"/>
                  </a:cubicBezTo>
                  <a:cubicBezTo>
                    <a:pt x="128325" y="204275"/>
                    <a:pt x="127369" y="203375"/>
                    <a:pt x="126933" y="202918"/>
                  </a:cubicBezTo>
                  <a:lnTo>
                    <a:pt x="125702" y="201567"/>
                  </a:lnTo>
                  <a:cubicBezTo>
                    <a:pt x="125428" y="201940"/>
                    <a:pt x="124830" y="202728"/>
                    <a:pt x="124590" y="202918"/>
                  </a:cubicBezTo>
                  <a:cubicBezTo>
                    <a:pt x="124288" y="203157"/>
                    <a:pt x="123353" y="201968"/>
                    <a:pt x="123233" y="201567"/>
                  </a:cubicBezTo>
                  <a:cubicBezTo>
                    <a:pt x="123121" y="201173"/>
                    <a:pt x="123472" y="200217"/>
                    <a:pt x="123831" y="199858"/>
                  </a:cubicBezTo>
                  <a:cubicBezTo>
                    <a:pt x="124190" y="199500"/>
                    <a:pt x="125702" y="199802"/>
                    <a:pt x="125702" y="199858"/>
                  </a:cubicBezTo>
                  <a:cubicBezTo>
                    <a:pt x="125702" y="199908"/>
                    <a:pt x="126525" y="199598"/>
                    <a:pt x="126933" y="199443"/>
                  </a:cubicBezTo>
                  <a:lnTo>
                    <a:pt x="127769" y="197755"/>
                  </a:lnTo>
                  <a:lnTo>
                    <a:pt x="126933" y="197755"/>
                  </a:lnTo>
                  <a:cubicBezTo>
                    <a:pt x="126637" y="197755"/>
                    <a:pt x="126117" y="197277"/>
                    <a:pt x="125702" y="196757"/>
                  </a:cubicBezTo>
                  <a:cubicBezTo>
                    <a:pt x="125421" y="196412"/>
                    <a:pt x="125491" y="196124"/>
                    <a:pt x="125582" y="195744"/>
                  </a:cubicBezTo>
                  <a:cubicBezTo>
                    <a:pt x="125631" y="195561"/>
                    <a:pt x="125681" y="195357"/>
                    <a:pt x="125702" y="195111"/>
                  </a:cubicBezTo>
                  <a:cubicBezTo>
                    <a:pt x="125737" y="194654"/>
                    <a:pt x="126047" y="194745"/>
                    <a:pt x="126539" y="194893"/>
                  </a:cubicBezTo>
                  <a:cubicBezTo>
                    <a:pt x="126869" y="194984"/>
                    <a:pt x="127291" y="195111"/>
                    <a:pt x="127769" y="195111"/>
                  </a:cubicBezTo>
                  <a:cubicBezTo>
                    <a:pt x="128958" y="195111"/>
                    <a:pt x="129042" y="196166"/>
                    <a:pt x="129042" y="196757"/>
                  </a:cubicBezTo>
                  <a:cubicBezTo>
                    <a:pt x="129042" y="197151"/>
                    <a:pt x="129429" y="197172"/>
                    <a:pt x="129809" y="197193"/>
                  </a:cubicBezTo>
                  <a:lnTo>
                    <a:pt x="129809" y="197193"/>
                  </a:lnTo>
                  <a:cubicBezTo>
                    <a:pt x="130006" y="197207"/>
                    <a:pt x="130196" y="197214"/>
                    <a:pt x="130330" y="197277"/>
                  </a:cubicBezTo>
                  <a:cubicBezTo>
                    <a:pt x="130730" y="197453"/>
                    <a:pt x="131286" y="196975"/>
                    <a:pt x="131286" y="196757"/>
                  </a:cubicBezTo>
                  <a:cubicBezTo>
                    <a:pt x="131286" y="196707"/>
                    <a:pt x="131293" y="196609"/>
                    <a:pt x="131300" y="196489"/>
                  </a:cubicBezTo>
                  <a:cubicBezTo>
                    <a:pt x="131328" y="196103"/>
                    <a:pt x="131378" y="195470"/>
                    <a:pt x="131286" y="195111"/>
                  </a:cubicBezTo>
                  <a:cubicBezTo>
                    <a:pt x="131195" y="194731"/>
                    <a:pt x="130344" y="194710"/>
                    <a:pt x="129936" y="194752"/>
                  </a:cubicBezTo>
                  <a:cubicBezTo>
                    <a:pt x="129640" y="194344"/>
                    <a:pt x="129042" y="193430"/>
                    <a:pt x="129042" y="193064"/>
                  </a:cubicBezTo>
                  <a:lnTo>
                    <a:pt x="129042" y="191946"/>
                  </a:lnTo>
                  <a:lnTo>
                    <a:pt x="132123" y="191594"/>
                  </a:lnTo>
                  <a:cubicBezTo>
                    <a:pt x="132819" y="191475"/>
                    <a:pt x="134331" y="191208"/>
                    <a:pt x="134803" y="191116"/>
                  </a:cubicBezTo>
                  <a:cubicBezTo>
                    <a:pt x="135281" y="191018"/>
                    <a:pt x="135006" y="190532"/>
                    <a:pt x="134803" y="190300"/>
                  </a:cubicBezTo>
                  <a:lnTo>
                    <a:pt x="132123" y="190300"/>
                  </a:lnTo>
                  <a:cubicBezTo>
                    <a:pt x="131525" y="190237"/>
                    <a:pt x="130252" y="190075"/>
                    <a:pt x="129936" y="189878"/>
                  </a:cubicBezTo>
                  <a:cubicBezTo>
                    <a:pt x="129535" y="189646"/>
                    <a:pt x="131089" y="189168"/>
                    <a:pt x="132123" y="189006"/>
                  </a:cubicBezTo>
                  <a:cubicBezTo>
                    <a:pt x="132988" y="188873"/>
                    <a:pt x="133185" y="188423"/>
                    <a:pt x="133466" y="187768"/>
                  </a:cubicBezTo>
                  <a:cubicBezTo>
                    <a:pt x="133523" y="187635"/>
                    <a:pt x="133586" y="187501"/>
                    <a:pt x="133649" y="187361"/>
                  </a:cubicBezTo>
                  <a:cubicBezTo>
                    <a:pt x="133677" y="187311"/>
                    <a:pt x="133692" y="187269"/>
                    <a:pt x="133713" y="187227"/>
                  </a:cubicBezTo>
                  <a:cubicBezTo>
                    <a:pt x="133846" y="186946"/>
                    <a:pt x="133917" y="186798"/>
                    <a:pt x="134029" y="186692"/>
                  </a:cubicBezTo>
                  <a:cubicBezTo>
                    <a:pt x="134156" y="186580"/>
                    <a:pt x="134331" y="186531"/>
                    <a:pt x="134711" y="186418"/>
                  </a:cubicBezTo>
                  <a:cubicBezTo>
                    <a:pt x="134866" y="186376"/>
                    <a:pt x="135049" y="186320"/>
                    <a:pt x="135281" y="186242"/>
                  </a:cubicBezTo>
                  <a:cubicBezTo>
                    <a:pt x="136294" y="185926"/>
                    <a:pt x="137314" y="186031"/>
                    <a:pt x="138354" y="186144"/>
                  </a:cubicBezTo>
                  <a:cubicBezTo>
                    <a:pt x="138734" y="186186"/>
                    <a:pt x="139114" y="186221"/>
                    <a:pt x="139494" y="186242"/>
                  </a:cubicBezTo>
                  <a:cubicBezTo>
                    <a:pt x="140950" y="186327"/>
                    <a:pt x="140711" y="185651"/>
                    <a:pt x="140274" y="185131"/>
                  </a:cubicBezTo>
                  <a:cubicBezTo>
                    <a:pt x="140000" y="184808"/>
                    <a:pt x="139768" y="184786"/>
                    <a:pt x="139423" y="184758"/>
                  </a:cubicBezTo>
                  <a:cubicBezTo>
                    <a:pt x="139212" y="184737"/>
                    <a:pt x="138966" y="184709"/>
                    <a:pt x="138643" y="184618"/>
                  </a:cubicBezTo>
                  <a:cubicBezTo>
                    <a:pt x="137785" y="184357"/>
                    <a:pt x="135900" y="183682"/>
                    <a:pt x="135900" y="183422"/>
                  </a:cubicBezTo>
                  <a:cubicBezTo>
                    <a:pt x="135900" y="183373"/>
                    <a:pt x="135851" y="183281"/>
                    <a:pt x="135787" y="183141"/>
                  </a:cubicBezTo>
                  <a:cubicBezTo>
                    <a:pt x="135485" y="182515"/>
                    <a:pt x="134761" y="181017"/>
                    <a:pt x="135900" y="179132"/>
                  </a:cubicBezTo>
                  <a:cubicBezTo>
                    <a:pt x="137018" y="178506"/>
                    <a:pt x="137890" y="178386"/>
                    <a:pt x="139972" y="178091"/>
                  </a:cubicBezTo>
                  <a:cubicBezTo>
                    <a:pt x="140485" y="178021"/>
                    <a:pt x="141062" y="177936"/>
                    <a:pt x="141744" y="177838"/>
                  </a:cubicBezTo>
                  <a:cubicBezTo>
                    <a:pt x="144494" y="177423"/>
                    <a:pt x="145577" y="176895"/>
                    <a:pt x="145774" y="176684"/>
                  </a:cubicBezTo>
                  <a:lnTo>
                    <a:pt x="145556" y="176326"/>
                  </a:lnTo>
                  <a:cubicBezTo>
                    <a:pt x="145008" y="175967"/>
                    <a:pt x="143868" y="175200"/>
                    <a:pt x="143692" y="174975"/>
                  </a:cubicBezTo>
                  <a:cubicBezTo>
                    <a:pt x="143474" y="174694"/>
                    <a:pt x="142616" y="172886"/>
                    <a:pt x="143249" y="172254"/>
                  </a:cubicBezTo>
                  <a:cubicBezTo>
                    <a:pt x="143889" y="171614"/>
                    <a:pt x="145120" y="171374"/>
                    <a:pt x="145556" y="171374"/>
                  </a:cubicBezTo>
                  <a:cubicBezTo>
                    <a:pt x="145992" y="171374"/>
                    <a:pt x="147265" y="170741"/>
                    <a:pt x="147265" y="170523"/>
                  </a:cubicBezTo>
                  <a:cubicBezTo>
                    <a:pt x="147265" y="170369"/>
                    <a:pt x="147730" y="170284"/>
                    <a:pt x="148313" y="170179"/>
                  </a:cubicBezTo>
                  <a:lnTo>
                    <a:pt x="148313" y="170179"/>
                  </a:lnTo>
                  <a:cubicBezTo>
                    <a:pt x="148552" y="170130"/>
                    <a:pt x="148820" y="170080"/>
                    <a:pt x="149080" y="170024"/>
                  </a:cubicBezTo>
                  <a:cubicBezTo>
                    <a:pt x="149417" y="169947"/>
                    <a:pt x="149692" y="169841"/>
                    <a:pt x="149952" y="169736"/>
                  </a:cubicBezTo>
                  <a:cubicBezTo>
                    <a:pt x="150353" y="169574"/>
                    <a:pt x="150719" y="169426"/>
                    <a:pt x="151260" y="169426"/>
                  </a:cubicBezTo>
                  <a:lnTo>
                    <a:pt x="154165" y="169426"/>
                  </a:lnTo>
                  <a:lnTo>
                    <a:pt x="157562" y="169426"/>
                  </a:lnTo>
                  <a:cubicBezTo>
                    <a:pt x="158293" y="169426"/>
                    <a:pt x="160628" y="170727"/>
                    <a:pt x="161697" y="171374"/>
                  </a:cubicBezTo>
                  <a:lnTo>
                    <a:pt x="163069" y="174040"/>
                  </a:lnTo>
                  <a:lnTo>
                    <a:pt x="164320" y="173266"/>
                  </a:lnTo>
                  <a:lnTo>
                    <a:pt x="164320" y="172254"/>
                  </a:lnTo>
                  <a:cubicBezTo>
                    <a:pt x="164320" y="171571"/>
                    <a:pt x="164074" y="170052"/>
                    <a:pt x="163069" y="169426"/>
                  </a:cubicBezTo>
                  <a:cubicBezTo>
                    <a:pt x="162435" y="169039"/>
                    <a:pt x="162245" y="168547"/>
                    <a:pt x="162063" y="168076"/>
                  </a:cubicBezTo>
                  <a:cubicBezTo>
                    <a:pt x="161880" y="167619"/>
                    <a:pt x="161711" y="167176"/>
                    <a:pt x="161141" y="166866"/>
                  </a:cubicBezTo>
                  <a:cubicBezTo>
                    <a:pt x="160220" y="166353"/>
                    <a:pt x="158877" y="165966"/>
                    <a:pt x="158321" y="165832"/>
                  </a:cubicBezTo>
                  <a:lnTo>
                    <a:pt x="154601" y="165832"/>
                  </a:lnTo>
                  <a:cubicBezTo>
                    <a:pt x="153447" y="165832"/>
                    <a:pt x="151260" y="166866"/>
                    <a:pt x="149994" y="167499"/>
                  </a:cubicBezTo>
                  <a:cubicBezTo>
                    <a:pt x="148974" y="168013"/>
                    <a:pt x="147750" y="167288"/>
                    <a:pt x="147265" y="166866"/>
                  </a:cubicBezTo>
                  <a:lnTo>
                    <a:pt x="149080" y="164939"/>
                  </a:lnTo>
                  <a:cubicBezTo>
                    <a:pt x="149593" y="163997"/>
                    <a:pt x="150754" y="161753"/>
                    <a:pt x="151260" y="160325"/>
                  </a:cubicBezTo>
                  <a:cubicBezTo>
                    <a:pt x="151682" y="159151"/>
                    <a:pt x="151823" y="158687"/>
                    <a:pt x="151914" y="158398"/>
                  </a:cubicBezTo>
                  <a:lnTo>
                    <a:pt x="151914" y="158398"/>
                  </a:lnTo>
                  <a:cubicBezTo>
                    <a:pt x="151956" y="158251"/>
                    <a:pt x="151992" y="158145"/>
                    <a:pt x="152041" y="158019"/>
                  </a:cubicBezTo>
                  <a:cubicBezTo>
                    <a:pt x="152174" y="157639"/>
                    <a:pt x="152554" y="156844"/>
                    <a:pt x="155754" y="155198"/>
                  </a:cubicBezTo>
                  <a:cubicBezTo>
                    <a:pt x="157238" y="155198"/>
                    <a:pt x="157519" y="155663"/>
                    <a:pt x="157850" y="156211"/>
                  </a:cubicBezTo>
                  <a:cubicBezTo>
                    <a:pt x="157977" y="156422"/>
                    <a:pt x="158110" y="156640"/>
                    <a:pt x="158321" y="156844"/>
                  </a:cubicBezTo>
                  <a:cubicBezTo>
                    <a:pt x="158926" y="157456"/>
                    <a:pt x="159805" y="157674"/>
                    <a:pt x="160593" y="157878"/>
                  </a:cubicBezTo>
                  <a:cubicBezTo>
                    <a:pt x="160783" y="157920"/>
                    <a:pt x="160966" y="157969"/>
                    <a:pt x="161141" y="158019"/>
                  </a:cubicBezTo>
                  <a:cubicBezTo>
                    <a:pt x="161711" y="158187"/>
                    <a:pt x="162337" y="158715"/>
                    <a:pt x="163040" y="159306"/>
                  </a:cubicBezTo>
                  <a:cubicBezTo>
                    <a:pt x="163441" y="159643"/>
                    <a:pt x="163870" y="160002"/>
                    <a:pt x="164320" y="160325"/>
                  </a:cubicBezTo>
                  <a:cubicBezTo>
                    <a:pt x="165326" y="161043"/>
                    <a:pt x="165762" y="159341"/>
                    <a:pt x="165854" y="158398"/>
                  </a:cubicBezTo>
                  <a:lnTo>
                    <a:pt x="165854" y="156092"/>
                  </a:lnTo>
                  <a:lnTo>
                    <a:pt x="163069" y="156092"/>
                  </a:lnTo>
                  <a:lnTo>
                    <a:pt x="160171" y="153904"/>
                  </a:lnTo>
                  <a:lnTo>
                    <a:pt x="160171" y="150965"/>
                  </a:lnTo>
                  <a:cubicBezTo>
                    <a:pt x="160494" y="150536"/>
                    <a:pt x="161374" y="149516"/>
                    <a:pt x="162295" y="148897"/>
                  </a:cubicBezTo>
                  <a:cubicBezTo>
                    <a:pt x="163216" y="148278"/>
                    <a:pt x="165052" y="148904"/>
                    <a:pt x="165854" y="149291"/>
                  </a:cubicBezTo>
                  <a:lnTo>
                    <a:pt x="169468" y="149291"/>
                  </a:lnTo>
                  <a:cubicBezTo>
                    <a:pt x="168568" y="148482"/>
                    <a:pt x="166585" y="146850"/>
                    <a:pt x="165854" y="146850"/>
                  </a:cubicBezTo>
                  <a:cubicBezTo>
                    <a:pt x="165432" y="146850"/>
                    <a:pt x="165073" y="146351"/>
                    <a:pt x="164686" y="145816"/>
                  </a:cubicBezTo>
                  <a:cubicBezTo>
                    <a:pt x="164236" y="145183"/>
                    <a:pt x="163744" y="144501"/>
                    <a:pt x="163069" y="144501"/>
                  </a:cubicBezTo>
                  <a:cubicBezTo>
                    <a:pt x="162386" y="144501"/>
                    <a:pt x="162035" y="144705"/>
                    <a:pt x="161613" y="144958"/>
                  </a:cubicBezTo>
                  <a:cubicBezTo>
                    <a:pt x="161261" y="145162"/>
                    <a:pt x="160860" y="145394"/>
                    <a:pt x="160171" y="145577"/>
                  </a:cubicBezTo>
                  <a:cubicBezTo>
                    <a:pt x="159236" y="145816"/>
                    <a:pt x="158476" y="147476"/>
                    <a:pt x="157815" y="148911"/>
                  </a:cubicBezTo>
                  <a:cubicBezTo>
                    <a:pt x="157393" y="149832"/>
                    <a:pt x="157006" y="150662"/>
                    <a:pt x="156647" y="150965"/>
                  </a:cubicBezTo>
                  <a:cubicBezTo>
                    <a:pt x="155916" y="151583"/>
                    <a:pt x="154383" y="151900"/>
                    <a:pt x="153708" y="151977"/>
                  </a:cubicBezTo>
                  <a:lnTo>
                    <a:pt x="154601" y="149291"/>
                  </a:lnTo>
                  <a:lnTo>
                    <a:pt x="156647" y="146850"/>
                  </a:lnTo>
                  <a:cubicBezTo>
                    <a:pt x="155585" y="146337"/>
                    <a:pt x="153504" y="145155"/>
                    <a:pt x="153708" y="144501"/>
                  </a:cubicBezTo>
                  <a:cubicBezTo>
                    <a:pt x="153890" y="143917"/>
                    <a:pt x="154608" y="143327"/>
                    <a:pt x="155184" y="142855"/>
                  </a:cubicBezTo>
                  <a:lnTo>
                    <a:pt x="155184" y="142855"/>
                  </a:lnTo>
                  <a:cubicBezTo>
                    <a:pt x="155410" y="142673"/>
                    <a:pt x="155614" y="142504"/>
                    <a:pt x="155754" y="142356"/>
                  </a:cubicBezTo>
                  <a:cubicBezTo>
                    <a:pt x="155944" y="142166"/>
                    <a:pt x="156049" y="141765"/>
                    <a:pt x="156176" y="141294"/>
                  </a:cubicBezTo>
                  <a:cubicBezTo>
                    <a:pt x="156401" y="140464"/>
                    <a:pt x="156683" y="139402"/>
                    <a:pt x="157562" y="138818"/>
                  </a:cubicBezTo>
                  <a:cubicBezTo>
                    <a:pt x="158680" y="138087"/>
                    <a:pt x="159763" y="136765"/>
                    <a:pt x="160171" y="136195"/>
                  </a:cubicBezTo>
                  <a:lnTo>
                    <a:pt x="161697" y="133431"/>
                  </a:lnTo>
                  <a:lnTo>
                    <a:pt x="165854" y="131743"/>
                  </a:lnTo>
                  <a:cubicBezTo>
                    <a:pt x="166620" y="131230"/>
                    <a:pt x="169110" y="129753"/>
                    <a:pt x="172929" y="127903"/>
                  </a:cubicBezTo>
                  <a:cubicBezTo>
                    <a:pt x="174715" y="128262"/>
                    <a:pt x="174089" y="129457"/>
                    <a:pt x="173435" y="130688"/>
                  </a:cubicBezTo>
                  <a:lnTo>
                    <a:pt x="173435" y="130688"/>
                  </a:lnTo>
                  <a:cubicBezTo>
                    <a:pt x="173253" y="131040"/>
                    <a:pt x="173063" y="131399"/>
                    <a:pt x="172929" y="131743"/>
                  </a:cubicBezTo>
                  <a:cubicBezTo>
                    <a:pt x="172331" y="133276"/>
                    <a:pt x="172767" y="134824"/>
                    <a:pt x="173527" y="134824"/>
                  </a:cubicBezTo>
                  <a:cubicBezTo>
                    <a:pt x="173864" y="134824"/>
                    <a:pt x="174019" y="135717"/>
                    <a:pt x="174202" y="136744"/>
                  </a:cubicBezTo>
                  <a:cubicBezTo>
                    <a:pt x="174427" y="138010"/>
                    <a:pt x="174694" y="139479"/>
                    <a:pt x="175376" y="139733"/>
                  </a:cubicBezTo>
                  <a:cubicBezTo>
                    <a:pt x="176607" y="140190"/>
                    <a:pt x="177064" y="138200"/>
                    <a:pt x="177064" y="137130"/>
                  </a:cubicBezTo>
                  <a:lnTo>
                    <a:pt x="177064" y="133431"/>
                  </a:lnTo>
                  <a:cubicBezTo>
                    <a:pt x="177064" y="132573"/>
                    <a:pt x="177423" y="132306"/>
                    <a:pt x="177908" y="131940"/>
                  </a:cubicBezTo>
                  <a:cubicBezTo>
                    <a:pt x="178211" y="131715"/>
                    <a:pt x="178562" y="131448"/>
                    <a:pt x="178914" y="130991"/>
                  </a:cubicBezTo>
                  <a:cubicBezTo>
                    <a:pt x="179828" y="129774"/>
                    <a:pt x="178000" y="129436"/>
                    <a:pt x="177064" y="129436"/>
                  </a:cubicBezTo>
                  <a:cubicBezTo>
                    <a:pt x="176389" y="129436"/>
                    <a:pt x="175173" y="127446"/>
                    <a:pt x="174314" y="126046"/>
                  </a:cubicBezTo>
                  <a:cubicBezTo>
                    <a:pt x="173977" y="125498"/>
                    <a:pt x="173696" y="125041"/>
                    <a:pt x="173527" y="124823"/>
                  </a:cubicBezTo>
                  <a:cubicBezTo>
                    <a:pt x="173126" y="124323"/>
                    <a:pt x="173836" y="123894"/>
                    <a:pt x="174722" y="123360"/>
                  </a:cubicBezTo>
                  <a:cubicBezTo>
                    <a:pt x="175193" y="123071"/>
                    <a:pt x="175721" y="122755"/>
                    <a:pt x="176150" y="122382"/>
                  </a:cubicBezTo>
                  <a:cubicBezTo>
                    <a:pt x="177381" y="121306"/>
                    <a:pt x="178000" y="120990"/>
                    <a:pt x="181214" y="120990"/>
                  </a:cubicBezTo>
                  <a:cubicBezTo>
                    <a:pt x="183795" y="120990"/>
                    <a:pt x="185469" y="122635"/>
                    <a:pt x="185989" y="123451"/>
                  </a:cubicBezTo>
                  <a:lnTo>
                    <a:pt x="190202" y="120990"/>
                  </a:lnTo>
                  <a:lnTo>
                    <a:pt x="194893" y="117768"/>
                  </a:lnTo>
                  <a:cubicBezTo>
                    <a:pt x="193859" y="117508"/>
                    <a:pt x="191475" y="116995"/>
                    <a:pt x="190202" y="116995"/>
                  </a:cubicBezTo>
                  <a:cubicBezTo>
                    <a:pt x="189499" y="116995"/>
                    <a:pt x="188732" y="117143"/>
                    <a:pt x="187874" y="117311"/>
                  </a:cubicBezTo>
                  <a:cubicBezTo>
                    <a:pt x="186791" y="117529"/>
                    <a:pt x="185560" y="117768"/>
                    <a:pt x="184140" y="117768"/>
                  </a:cubicBezTo>
                  <a:cubicBezTo>
                    <a:pt x="182853" y="117768"/>
                    <a:pt x="181924" y="118120"/>
                    <a:pt x="181003" y="118465"/>
                  </a:cubicBezTo>
                  <a:cubicBezTo>
                    <a:pt x="180103" y="118802"/>
                    <a:pt x="179209" y="119140"/>
                    <a:pt x="178000" y="119140"/>
                  </a:cubicBezTo>
                  <a:lnTo>
                    <a:pt x="172767" y="119140"/>
                  </a:lnTo>
                  <a:cubicBezTo>
                    <a:pt x="171846" y="119140"/>
                    <a:pt x="171192" y="119569"/>
                    <a:pt x="169672" y="120554"/>
                  </a:cubicBezTo>
                  <a:lnTo>
                    <a:pt x="169672" y="120554"/>
                  </a:lnTo>
                  <a:cubicBezTo>
                    <a:pt x="168948" y="121032"/>
                    <a:pt x="168020" y="121630"/>
                    <a:pt x="166768" y="122382"/>
                  </a:cubicBezTo>
                  <a:cubicBezTo>
                    <a:pt x="166395" y="122600"/>
                    <a:pt x="166050" y="122811"/>
                    <a:pt x="165720" y="123008"/>
                  </a:cubicBezTo>
                  <a:cubicBezTo>
                    <a:pt x="162647" y="124858"/>
                    <a:pt x="161303" y="125674"/>
                    <a:pt x="157562" y="126377"/>
                  </a:cubicBezTo>
                  <a:cubicBezTo>
                    <a:pt x="155191" y="126820"/>
                    <a:pt x="153370" y="127460"/>
                    <a:pt x="151548" y="128100"/>
                  </a:cubicBezTo>
                  <a:lnTo>
                    <a:pt x="151548" y="128100"/>
                  </a:lnTo>
                  <a:cubicBezTo>
                    <a:pt x="150191" y="128571"/>
                    <a:pt x="148840" y="129049"/>
                    <a:pt x="147265" y="129436"/>
                  </a:cubicBezTo>
                  <a:cubicBezTo>
                    <a:pt x="145064" y="129985"/>
                    <a:pt x="141189" y="131814"/>
                    <a:pt x="138277" y="133192"/>
                  </a:cubicBezTo>
                  <a:lnTo>
                    <a:pt x="138277" y="133192"/>
                  </a:lnTo>
                  <a:cubicBezTo>
                    <a:pt x="136336" y="134106"/>
                    <a:pt x="134817" y="134824"/>
                    <a:pt x="134507" y="134824"/>
                  </a:cubicBezTo>
                  <a:cubicBezTo>
                    <a:pt x="133888" y="134824"/>
                    <a:pt x="126975" y="141280"/>
                    <a:pt x="123592" y="144501"/>
                  </a:cubicBezTo>
                  <a:cubicBezTo>
                    <a:pt x="123494" y="143629"/>
                    <a:pt x="123353" y="141695"/>
                    <a:pt x="123592" y="140964"/>
                  </a:cubicBezTo>
                  <a:cubicBezTo>
                    <a:pt x="123894" y="140049"/>
                    <a:pt x="125604" y="136512"/>
                    <a:pt x="126673" y="134824"/>
                  </a:cubicBezTo>
                  <a:cubicBezTo>
                    <a:pt x="127748" y="133136"/>
                    <a:pt x="135126" y="127129"/>
                    <a:pt x="136969" y="126377"/>
                  </a:cubicBezTo>
                  <a:cubicBezTo>
                    <a:pt x="137560" y="126138"/>
                    <a:pt x="138228" y="125842"/>
                    <a:pt x="138910" y="125547"/>
                  </a:cubicBezTo>
                  <a:lnTo>
                    <a:pt x="138910" y="125547"/>
                  </a:lnTo>
                  <a:lnTo>
                    <a:pt x="138910" y="125547"/>
                  </a:lnTo>
                  <a:cubicBezTo>
                    <a:pt x="140345" y="124914"/>
                    <a:pt x="141815" y="124274"/>
                    <a:pt x="142659" y="124070"/>
                  </a:cubicBezTo>
                  <a:cubicBezTo>
                    <a:pt x="143397" y="123894"/>
                    <a:pt x="145022" y="123149"/>
                    <a:pt x="146703" y="122389"/>
                  </a:cubicBezTo>
                  <a:cubicBezTo>
                    <a:pt x="147814" y="121883"/>
                    <a:pt x="148953" y="121362"/>
                    <a:pt x="149874" y="120990"/>
                  </a:cubicBezTo>
                  <a:cubicBezTo>
                    <a:pt x="151534" y="120314"/>
                    <a:pt x="153841" y="119344"/>
                    <a:pt x="155691" y="118556"/>
                  </a:cubicBezTo>
                  <a:lnTo>
                    <a:pt x="155691" y="118556"/>
                  </a:lnTo>
                  <a:cubicBezTo>
                    <a:pt x="156401" y="118261"/>
                    <a:pt x="157048" y="117987"/>
                    <a:pt x="157562" y="117768"/>
                  </a:cubicBezTo>
                  <a:cubicBezTo>
                    <a:pt x="158455" y="117396"/>
                    <a:pt x="159130" y="117030"/>
                    <a:pt x="159742" y="116692"/>
                  </a:cubicBezTo>
                  <a:lnTo>
                    <a:pt x="159742" y="116692"/>
                  </a:lnTo>
                  <a:cubicBezTo>
                    <a:pt x="160403" y="116334"/>
                    <a:pt x="160987" y="116010"/>
                    <a:pt x="161697" y="115764"/>
                  </a:cubicBezTo>
                  <a:cubicBezTo>
                    <a:pt x="163069" y="115286"/>
                    <a:pt x="164320" y="112086"/>
                    <a:pt x="164320" y="110553"/>
                  </a:cubicBezTo>
                  <a:lnTo>
                    <a:pt x="164320" y="101944"/>
                  </a:lnTo>
                  <a:cubicBezTo>
                    <a:pt x="164320" y="100573"/>
                    <a:pt x="165551" y="98709"/>
                    <a:pt x="166768" y="97795"/>
                  </a:cubicBezTo>
                  <a:cubicBezTo>
                    <a:pt x="167506" y="97232"/>
                    <a:pt x="168034" y="97359"/>
                    <a:pt x="168793" y="97541"/>
                  </a:cubicBezTo>
                  <a:cubicBezTo>
                    <a:pt x="169272" y="97654"/>
                    <a:pt x="169848" y="97795"/>
                    <a:pt x="170622" y="97795"/>
                  </a:cubicBezTo>
                  <a:cubicBezTo>
                    <a:pt x="172514" y="97795"/>
                    <a:pt x="171241" y="104504"/>
                    <a:pt x="170706" y="107310"/>
                  </a:cubicBezTo>
                  <a:cubicBezTo>
                    <a:pt x="170678" y="107479"/>
                    <a:pt x="170650" y="107634"/>
                    <a:pt x="170622" y="107775"/>
                  </a:cubicBezTo>
                  <a:cubicBezTo>
                    <a:pt x="170305" y="109469"/>
                    <a:pt x="170573" y="109406"/>
                    <a:pt x="171382" y="109202"/>
                  </a:cubicBezTo>
                  <a:cubicBezTo>
                    <a:pt x="171740" y="109118"/>
                    <a:pt x="172204" y="109005"/>
                    <a:pt x="172767" y="109005"/>
                  </a:cubicBezTo>
                  <a:cubicBezTo>
                    <a:pt x="174202" y="109005"/>
                    <a:pt x="174153" y="106797"/>
                    <a:pt x="174124" y="105440"/>
                  </a:cubicBezTo>
                  <a:lnTo>
                    <a:pt x="174124" y="105440"/>
                  </a:lnTo>
                  <a:cubicBezTo>
                    <a:pt x="174118" y="105046"/>
                    <a:pt x="174110" y="104729"/>
                    <a:pt x="174139" y="104553"/>
                  </a:cubicBezTo>
                  <a:cubicBezTo>
                    <a:pt x="174279" y="103773"/>
                    <a:pt x="175214" y="102401"/>
                    <a:pt x="176150" y="101944"/>
                  </a:cubicBezTo>
                  <a:cubicBezTo>
                    <a:pt x="176804" y="101628"/>
                    <a:pt x="177212" y="101825"/>
                    <a:pt x="178401" y="102394"/>
                  </a:cubicBezTo>
                  <a:lnTo>
                    <a:pt x="178401" y="102394"/>
                  </a:lnTo>
                  <a:cubicBezTo>
                    <a:pt x="178914" y="102640"/>
                    <a:pt x="179568" y="102950"/>
                    <a:pt x="180440" y="103316"/>
                  </a:cubicBezTo>
                  <a:cubicBezTo>
                    <a:pt x="182578" y="104223"/>
                    <a:pt x="182740" y="106185"/>
                    <a:pt x="182859" y="107662"/>
                  </a:cubicBezTo>
                  <a:lnTo>
                    <a:pt x="182859" y="107662"/>
                  </a:lnTo>
                  <a:cubicBezTo>
                    <a:pt x="182902" y="108204"/>
                    <a:pt x="182937" y="108675"/>
                    <a:pt x="183063" y="109005"/>
                  </a:cubicBezTo>
                  <a:cubicBezTo>
                    <a:pt x="183401" y="109877"/>
                    <a:pt x="184442" y="109364"/>
                    <a:pt x="185863" y="108654"/>
                  </a:cubicBezTo>
                  <a:cubicBezTo>
                    <a:pt x="186454" y="108365"/>
                    <a:pt x="187101" y="108042"/>
                    <a:pt x="187797" y="107775"/>
                  </a:cubicBezTo>
                  <a:cubicBezTo>
                    <a:pt x="189527" y="107092"/>
                    <a:pt x="191777" y="107402"/>
                    <a:pt x="193395" y="107620"/>
                  </a:cubicBezTo>
                  <a:cubicBezTo>
                    <a:pt x="194007" y="107704"/>
                    <a:pt x="194527" y="107775"/>
                    <a:pt x="194893" y="107775"/>
                  </a:cubicBezTo>
                  <a:cubicBezTo>
                    <a:pt x="195955" y="107775"/>
                    <a:pt x="197791" y="106143"/>
                    <a:pt x="198571" y="105327"/>
                  </a:cubicBezTo>
                  <a:cubicBezTo>
                    <a:pt x="198930" y="104145"/>
                    <a:pt x="199641" y="101480"/>
                    <a:pt x="199641" y="100256"/>
                  </a:cubicBezTo>
                  <a:cubicBezTo>
                    <a:pt x="199641" y="99215"/>
                    <a:pt x="198747" y="98807"/>
                    <a:pt x="197868" y="98414"/>
                  </a:cubicBezTo>
                  <a:cubicBezTo>
                    <a:pt x="197460" y="98224"/>
                    <a:pt x="197052" y="98041"/>
                    <a:pt x="196743" y="97795"/>
                  </a:cubicBezTo>
                  <a:cubicBezTo>
                    <a:pt x="195842" y="97077"/>
                    <a:pt x="196335" y="95038"/>
                    <a:pt x="196665" y="93666"/>
                  </a:cubicBezTo>
                  <a:cubicBezTo>
                    <a:pt x="196693" y="93554"/>
                    <a:pt x="196715" y="93441"/>
                    <a:pt x="196743" y="93343"/>
                  </a:cubicBezTo>
                  <a:cubicBezTo>
                    <a:pt x="196996" y="92260"/>
                    <a:pt x="201230" y="90396"/>
                    <a:pt x="203319" y="89601"/>
                  </a:cubicBezTo>
                  <a:lnTo>
                    <a:pt x="199641" y="88012"/>
                  </a:lnTo>
                  <a:cubicBezTo>
                    <a:pt x="198304" y="88546"/>
                    <a:pt x="195217" y="89601"/>
                    <a:pt x="193564" y="89601"/>
                  </a:cubicBezTo>
                  <a:cubicBezTo>
                    <a:pt x="192277" y="89601"/>
                    <a:pt x="191904" y="90656"/>
                    <a:pt x="191426" y="92027"/>
                  </a:cubicBezTo>
                  <a:lnTo>
                    <a:pt x="191426" y="92027"/>
                  </a:lnTo>
                  <a:cubicBezTo>
                    <a:pt x="191130" y="92857"/>
                    <a:pt x="190800" y="93800"/>
                    <a:pt x="190202" y="94693"/>
                  </a:cubicBezTo>
                  <a:cubicBezTo>
                    <a:pt x="189049" y="96409"/>
                    <a:pt x="188718" y="95910"/>
                    <a:pt x="188324" y="95305"/>
                  </a:cubicBezTo>
                  <a:cubicBezTo>
                    <a:pt x="188176" y="95080"/>
                    <a:pt x="188015" y="94834"/>
                    <a:pt x="187797" y="94693"/>
                  </a:cubicBezTo>
                  <a:cubicBezTo>
                    <a:pt x="187157" y="94278"/>
                    <a:pt x="185940" y="91127"/>
                    <a:pt x="185412" y="89601"/>
                  </a:cubicBezTo>
                  <a:cubicBezTo>
                    <a:pt x="185834" y="89024"/>
                    <a:pt x="186903" y="87632"/>
                    <a:pt x="187797" y="86739"/>
                  </a:cubicBezTo>
                  <a:cubicBezTo>
                    <a:pt x="188472" y="86063"/>
                    <a:pt x="187972" y="85262"/>
                    <a:pt x="187438" y="84411"/>
                  </a:cubicBezTo>
                  <a:cubicBezTo>
                    <a:pt x="187101" y="83862"/>
                    <a:pt x="186749" y="83292"/>
                    <a:pt x="186685" y="82730"/>
                  </a:cubicBezTo>
                  <a:cubicBezTo>
                    <a:pt x="186524" y="81274"/>
                    <a:pt x="187319" y="79206"/>
                    <a:pt x="187797" y="78257"/>
                  </a:cubicBezTo>
                  <a:cubicBezTo>
                    <a:pt x="188064" y="77722"/>
                    <a:pt x="188823" y="77490"/>
                    <a:pt x="189696" y="77216"/>
                  </a:cubicBezTo>
                  <a:cubicBezTo>
                    <a:pt x="190392" y="77005"/>
                    <a:pt x="191159" y="76773"/>
                    <a:pt x="191792" y="76344"/>
                  </a:cubicBezTo>
                  <a:cubicBezTo>
                    <a:pt x="192621" y="75795"/>
                    <a:pt x="192762" y="75022"/>
                    <a:pt x="192924" y="74150"/>
                  </a:cubicBezTo>
                  <a:cubicBezTo>
                    <a:pt x="193036" y="73524"/>
                    <a:pt x="193163" y="72848"/>
                    <a:pt x="193564" y="72173"/>
                  </a:cubicBezTo>
                  <a:cubicBezTo>
                    <a:pt x="194394" y="70767"/>
                    <a:pt x="196342" y="70844"/>
                    <a:pt x="197348" y="70886"/>
                  </a:cubicBezTo>
                  <a:cubicBezTo>
                    <a:pt x="197488" y="70893"/>
                    <a:pt x="197615" y="70900"/>
                    <a:pt x="197713" y="70900"/>
                  </a:cubicBezTo>
                  <a:cubicBezTo>
                    <a:pt x="198508" y="70900"/>
                    <a:pt x="202826" y="74895"/>
                    <a:pt x="203319" y="76344"/>
                  </a:cubicBezTo>
                  <a:cubicBezTo>
                    <a:pt x="203656" y="77328"/>
                    <a:pt x="204050" y="76681"/>
                    <a:pt x="204507" y="75915"/>
                  </a:cubicBezTo>
                  <a:cubicBezTo>
                    <a:pt x="204732" y="75549"/>
                    <a:pt x="204971" y="75155"/>
                    <a:pt x="205225" y="74895"/>
                  </a:cubicBezTo>
                  <a:cubicBezTo>
                    <a:pt x="206026" y="74100"/>
                    <a:pt x="208108" y="76667"/>
                    <a:pt x="209065" y="78257"/>
                  </a:cubicBezTo>
                  <a:cubicBezTo>
                    <a:pt x="209480" y="78946"/>
                    <a:pt x="209775" y="79368"/>
                    <a:pt x="210063" y="79776"/>
                  </a:cubicBezTo>
                  <a:cubicBezTo>
                    <a:pt x="210429" y="80296"/>
                    <a:pt x="210774" y="80782"/>
                    <a:pt x="211308" y="81773"/>
                  </a:cubicBezTo>
                  <a:cubicBezTo>
                    <a:pt x="212075" y="83173"/>
                    <a:pt x="214396" y="82990"/>
                    <a:pt x="215465" y="82730"/>
                  </a:cubicBezTo>
                  <a:cubicBezTo>
                    <a:pt x="215092" y="81823"/>
                    <a:pt x="214227" y="79670"/>
                    <a:pt x="213714" y="78257"/>
                  </a:cubicBezTo>
                  <a:cubicBezTo>
                    <a:pt x="213341" y="77209"/>
                    <a:pt x="212567" y="76674"/>
                    <a:pt x="211800" y="76147"/>
                  </a:cubicBezTo>
                  <a:cubicBezTo>
                    <a:pt x="211273" y="75788"/>
                    <a:pt x="210745" y="75422"/>
                    <a:pt x="210359" y="74895"/>
                  </a:cubicBezTo>
                  <a:cubicBezTo>
                    <a:pt x="209402" y="73601"/>
                    <a:pt x="210197" y="72989"/>
                    <a:pt x="211308" y="72173"/>
                  </a:cubicBezTo>
                  <a:cubicBezTo>
                    <a:pt x="212286" y="71456"/>
                    <a:pt x="213017" y="71990"/>
                    <a:pt x="214684" y="73214"/>
                  </a:cubicBezTo>
                  <a:cubicBezTo>
                    <a:pt x="214923" y="73390"/>
                    <a:pt x="215183" y="73580"/>
                    <a:pt x="215465" y="73784"/>
                  </a:cubicBezTo>
                  <a:cubicBezTo>
                    <a:pt x="217174" y="75008"/>
                    <a:pt x="217019" y="76956"/>
                    <a:pt x="216913" y="78243"/>
                  </a:cubicBezTo>
                  <a:cubicBezTo>
                    <a:pt x="216885" y="78644"/>
                    <a:pt x="216857" y="78981"/>
                    <a:pt x="216892" y="79206"/>
                  </a:cubicBezTo>
                  <a:cubicBezTo>
                    <a:pt x="217026" y="79973"/>
                    <a:pt x="220683" y="81872"/>
                    <a:pt x="222498" y="82730"/>
                  </a:cubicBezTo>
                  <a:cubicBezTo>
                    <a:pt x="222554" y="83581"/>
                    <a:pt x="222632" y="85578"/>
                    <a:pt x="222498" y="86739"/>
                  </a:cubicBezTo>
                  <a:cubicBezTo>
                    <a:pt x="222371" y="87899"/>
                    <a:pt x="224158" y="85515"/>
                    <a:pt x="225065" y="84179"/>
                  </a:cubicBezTo>
                  <a:cubicBezTo>
                    <a:pt x="224580" y="83060"/>
                    <a:pt x="223616" y="80662"/>
                    <a:pt x="223616" y="80022"/>
                  </a:cubicBezTo>
                  <a:cubicBezTo>
                    <a:pt x="223616" y="79389"/>
                    <a:pt x="221808" y="78580"/>
                    <a:pt x="220908" y="78257"/>
                  </a:cubicBezTo>
                  <a:cubicBezTo>
                    <a:pt x="220325" y="77132"/>
                    <a:pt x="218953" y="74670"/>
                    <a:pt x="218186" y="73784"/>
                  </a:cubicBezTo>
                  <a:cubicBezTo>
                    <a:pt x="217568" y="73059"/>
                    <a:pt x="217751" y="71934"/>
                    <a:pt x="217954" y="70661"/>
                  </a:cubicBezTo>
                  <a:cubicBezTo>
                    <a:pt x="218067" y="69965"/>
                    <a:pt x="218186" y="69233"/>
                    <a:pt x="218186" y="68495"/>
                  </a:cubicBezTo>
                  <a:cubicBezTo>
                    <a:pt x="218186" y="66962"/>
                    <a:pt x="218362" y="66737"/>
                    <a:pt x="218700" y="66287"/>
                  </a:cubicBezTo>
                  <a:lnTo>
                    <a:pt x="218700" y="66287"/>
                  </a:lnTo>
                  <a:cubicBezTo>
                    <a:pt x="218827" y="66125"/>
                    <a:pt x="218974" y="65928"/>
                    <a:pt x="219143" y="65632"/>
                  </a:cubicBezTo>
                  <a:cubicBezTo>
                    <a:pt x="219431" y="65126"/>
                    <a:pt x="220142" y="64500"/>
                    <a:pt x="220943" y="63797"/>
                  </a:cubicBezTo>
                  <a:lnTo>
                    <a:pt x="220943" y="63797"/>
                  </a:lnTo>
                  <a:cubicBezTo>
                    <a:pt x="221914" y="62939"/>
                    <a:pt x="223004" y="61982"/>
                    <a:pt x="223616" y="61005"/>
                  </a:cubicBezTo>
                  <a:cubicBezTo>
                    <a:pt x="224727" y="59211"/>
                    <a:pt x="229221" y="61005"/>
                    <a:pt x="229221" y="61954"/>
                  </a:cubicBezTo>
                  <a:lnTo>
                    <a:pt x="229221" y="68495"/>
                  </a:lnTo>
                  <a:cubicBezTo>
                    <a:pt x="229221" y="69894"/>
                    <a:pt x="229855" y="72602"/>
                    <a:pt x="230171" y="73784"/>
                  </a:cubicBezTo>
                  <a:cubicBezTo>
                    <a:pt x="230607" y="72018"/>
                    <a:pt x="231465" y="68143"/>
                    <a:pt x="231465" y="66744"/>
                  </a:cubicBezTo>
                  <a:cubicBezTo>
                    <a:pt x="231465" y="66104"/>
                    <a:pt x="231423" y="65400"/>
                    <a:pt x="231387" y="64767"/>
                  </a:cubicBezTo>
                  <a:cubicBezTo>
                    <a:pt x="231317" y="63677"/>
                    <a:pt x="231261" y="62791"/>
                    <a:pt x="231465" y="62791"/>
                  </a:cubicBezTo>
                  <a:cubicBezTo>
                    <a:pt x="231781" y="62791"/>
                    <a:pt x="233533" y="61005"/>
                    <a:pt x="234489" y="59549"/>
                  </a:cubicBezTo>
                  <a:cubicBezTo>
                    <a:pt x="235213" y="58445"/>
                    <a:pt x="236325" y="56138"/>
                    <a:pt x="237092" y="54541"/>
                  </a:cubicBezTo>
                  <a:lnTo>
                    <a:pt x="237092" y="54541"/>
                  </a:lnTo>
                  <a:cubicBezTo>
                    <a:pt x="237331" y="54042"/>
                    <a:pt x="237535" y="53613"/>
                    <a:pt x="237689" y="53311"/>
                  </a:cubicBezTo>
                  <a:cubicBezTo>
                    <a:pt x="238322" y="52038"/>
                    <a:pt x="239933" y="54260"/>
                    <a:pt x="239933" y="55399"/>
                  </a:cubicBezTo>
                  <a:cubicBezTo>
                    <a:pt x="239933" y="56011"/>
                    <a:pt x="239651" y="57362"/>
                    <a:pt x="239398" y="58599"/>
                  </a:cubicBezTo>
                  <a:lnTo>
                    <a:pt x="239398" y="58599"/>
                  </a:lnTo>
                  <a:cubicBezTo>
                    <a:pt x="239180" y="59654"/>
                    <a:pt x="238976" y="60625"/>
                    <a:pt x="238976" y="61005"/>
                  </a:cubicBezTo>
                  <a:cubicBezTo>
                    <a:pt x="238976" y="61377"/>
                    <a:pt x="238568" y="62390"/>
                    <a:pt x="238125" y="63487"/>
                  </a:cubicBezTo>
                  <a:cubicBezTo>
                    <a:pt x="237612" y="64760"/>
                    <a:pt x="237049" y="66146"/>
                    <a:pt x="237049" y="66744"/>
                  </a:cubicBezTo>
                  <a:cubicBezTo>
                    <a:pt x="237049" y="67637"/>
                    <a:pt x="238336" y="68284"/>
                    <a:pt x="238976" y="68495"/>
                  </a:cubicBezTo>
                  <a:cubicBezTo>
                    <a:pt x="238392" y="69458"/>
                    <a:pt x="237176" y="71533"/>
                    <a:pt x="237049" y="72173"/>
                  </a:cubicBezTo>
                  <a:cubicBezTo>
                    <a:pt x="237007" y="72391"/>
                    <a:pt x="236902" y="72884"/>
                    <a:pt x="236768" y="73524"/>
                  </a:cubicBezTo>
                  <a:lnTo>
                    <a:pt x="236768" y="73531"/>
                  </a:lnTo>
                  <a:lnTo>
                    <a:pt x="236768" y="73538"/>
                  </a:lnTo>
                  <a:cubicBezTo>
                    <a:pt x="236416" y="75233"/>
                    <a:pt x="235847" y="77940"/>
                    <a:pt x="235621" y="79206"/>
                  </a:cubicBezTo>
                  <a:cubicBezTo>
                    <a:pt x="235439" y="80219"/>
                    <a:pt x="234405" y="81801"/>
                    <a:pt x="233505" y="83004"/>
                  </a:cubicBezTo>
                  <a:cubicBezTo>
                    <a:pt x="234686" y="81548"/>
                    <a:pt x="236268" y="79706"/>
                    <a:pt x="237049" y="79206"/>
                  </a:cubicBezTo>
                  <a:cubicBezTo>
                    <a:pt x="237971" y="78623"/>
                    <a:pt x="238646" y="77307"/>
                    <a:pt x="239257" y="76133"/>
                  </a:cubicBezTo>
                  <a:lnTo>
                    <a:pt x="239257" y="76133"/>
                  </a:lnTo>
                  <a:cubicBezTo>
                    <a:pt x="239490" y="75683"/>
                    <a:pt x="239715" y="75254"/>
                    <a:pt x="239933" y="74895"/>
                  </a:cubicBezTo>
                  <a:cubicBezTo>
                    <a:pt x="240270" y="74353"/>
                    <a:pt x="241227" y="73981"/>
                    <a:pt x="242085" y="73657"/>
                  </a:cubicBezTo>
                  <a:cubicBezTo>
                    <a:pt x="243259" y="73207"/>
                    <a:pt x="244237" y="72827"/>
                    <a:pt x="243133" y="72173"/>
                  </a:cubicBezTo>
                  <a:cubicBezTo>
                    <a:pt x="241332" y="71104"/>
                    <a:pt x="241353" y="68221"/>
                    <a:pt x="241360" y="66962"/>
                  </a:cubicBezTo>
                  <a:cubicBezTo>
                    <a:pt x="241360" y="66884"/>
                    <a:pt x="241360" y="66814"/>
                    <a:pt x="241360" y="66744"/>
                  </a:cubicBezTo>
                  <a:cubicBezTo>
                    <a:pt x="241360" y="66258"/>
                    <a:pt x="241705" y="65429"/>
                    <a:pt x="242092" y="64500"/>
                  </a:cubicBezTo>
                  <a:cubicBezTo>
                    <a:pt x="242577" y="63333"/>
                    <a:pt x="243133" y="62003"/>
                    <a:pt x="243133" y="61005"/>
                  </a:cubicBezTo>
                  <a:lnTo>
                    <a:pt x="243133" y="56609"/>
                  </a:lnTo>
                  <a:lnTo>
                    <a:pt x="247768" y="56609"/>
                  </a:lnTo>
                  <a:cubicBezTo>
                    <a:pt x="248274" y="56609"/>
                    <a:pt x="248422" y="57875"/>
                    <a:pt x="248576" y="59197"/>
                  </a:cubicBezTo>
                  <a:cubicBezTo>
                    <a:pt x="248703" y="60337"/>
                    <a:pt x="248837" y="61511"/>
                    <a:pt x="249216" y="61954"/>
                  </a:cubicBezTo>
                  <a:cubicBezTo>
                    <a:pt x="249871" y="62721"/>
                    <a:pt x="251896" y="58712"/>
                    <a:pt x="252831" y="56609"/>
                  </a:cubicBezTo>
                  <a:cubicBezTo>
                    <a:pt x="252831" y="54548"/>
                    <a:pt x="253268" y="50427"/>
                    <a:pt x="255019" y="50427"/>
                  </a:cubicBezTo>
                  <a:cubicBezTo>
                    <a:pt x="256770" y="50427"/>
                    <a:pt x="259337" y="54548"/>
                    <a:pt x="260406" y="56609"/>
                  </a:cubicBezTo>
                  <a:lnTo>
                    <a:pt x="264380" y="62791"/>
                  </a:lnTo>
                  <a:lnTo>
                    <a:pt x="264380" y="61005"/>
                  </a:lnTo>
                  <a:cubicBezTo>
                    <a:pt x="264049" y="59936"/>
                    <a:pt x="263388" y="57566"/>
                    <a:pt x="263388" y="56609"/>
                  </a:cubicBezTo>
                  <a:cubicBezTo>
                    <a:pt x="263388" y="56011"/>
                    <a:pt x="263036" y="55315"/>
                    <a:pt x="262692" y="54619"/>
                  </a:cubicBezTo>
                  <a:cubicBezTo>
                    <a:pt x="262347" y="53922"/>
                    <a:pt x="261995" y="53233"/>
                    <a:pt x="261995" y="52635"/>
                  </a:cubicBezTo>
                  <a:cubicBezTo>
                    <a:pt x="261995" y="51440"/>
                    <a:pt x="261995" y="50427"/>
                    <a:pt x="260406" y="50427"/>
                  </a:cubicBezTo>
                  <a:cubicBezTo>
                    <a:pt x="259133" y="50427"/>
                    <a:pt x="259879" y="49365"/>
                    <a:pt x="260406" y="48837"/>
                  </a:cubicBezTo>
                  <a:cubicBezTo>
                    <a:pt x="259738" y="47972"/>
                    <a:pt x="258163" y="45848"/>
                    <a:pt x="257206" y="44245"/>
                  </a:cubicBezTo>
                  <a:cubicBezTo>
                    <a:pt x="256474" y="43014"/>
                    <a:pt x="255743" y="42923"/>
                    <a:pt x="254829" y="42803"/>
                  </a:cubicBezTo>
                  <a:cubicBezTo>
                    <a:pt x="254252" y="42726"/>
                    <a:pt x="253598" y="42641"/>
                    <a:pt x="252831" y="42255"/>
                  </a:cubicBezTo>
                  <a:cubicBezTo>
                    <a:pt x="251242" y="41460"/>
                    <a:pt x="252170" y="39941"/>
                    <a:pt x="252831" y="39280"/>
                  </a:cubicBezTo>
                  <a:cubicBezTo>
                    <a:pt x="253099" y="38478"/>
                    <a:pt x="253907" y="36670"/>
                    <a:pt x="255019" y="35876"/>
                  </a:cubicBezTo>
                  <a:cubicBezTo>
                    <a:pt x="255792" y="35327"/>
                    <a:pt x="256193" y="35383"/>
                    <a:pt x="257312" y="35545"/>
                  </a:cubicBezTo>
                  <a:cubicBezTo>
                    <a:pt x="258219" y="35679"/>
                    <a:pt x="259590" y="35876"/>
                    <a:pt x="261995" y="35876"/>
                  </a:cubicBezTo>
                  <a:cubicBezTo>
                    <a:pt x="262720" y="35876"/>
                    <a:pt x="263423" y="36192"/>
                    <a:pt x="264162" y="36530"/>
                  </a:cubicBezTo>
                  <a:cubicBezTo>
                    <a:pt x="265456" y="37113"/>
                    <a:pt x="266876" y="37753"/>
                    <a:pt x="268775" y="36874"/>
                  </a:cubicBezTo>
                  <a:cubicBezTo>
                    <a:pt x="269324" y="35911"/>
                    <a:pt x="269584" y="35805"/>
                    <a:pt x="270491" y="35433"/>
                  </a:cubicBezTo>
                  <a:cubicBezTo>
                    <a:pt x="270899" y="35271"/>
                    <a:pt x="271427" y="35053"/>
                    <a:pt x="272172" y="34687"/>
                  </a:cubicBezTo>
                  <a:cubicBezTo>
                    <a:pt x="273846" y="33850"/>
                    <a:pt x="274641" y="34181"/>
                    <a:pt x="275295" y="34455"/>
                  </a:cubicBezTo>
                  <a:cubicBezTo>
                    <a:pt x="275583" y="34575"/>
                    <a:pt x="275851" y="34687"/>
                    <a:pt x="276146" y="34687"/>
                  </a:cubicBezTo>
                  <a:cubicBezTo>
                    <a:pt x="277145" y="34687"/>
                    <a:pt x="277939" y="38063"/>
                    <a:pt x="277735" y="40665"/>
                  </a:cubicBezTo>
                  <a:cubicBezTo>
                    <a:pt x="277616" y="42255"/>
                    <a:pt x="277946" y="42501"/>
                    <a:pt x="278495" y="42895"/>
                  </a:cubicBezTo>
                  <a:cubicBezTo>
                    <a:pt x="278847" y="43155"/>
                    <a:pt x="279283" y="43471"/>
                    <a:pt x="279747" y="44245"/>
                  </a:cubicBezTo>
                  <a:cubicBezTo>
                    <a:pt x="280696" y="45834"/>
                    <a:pt x="280809" y="46249"/>
                    <a:pt x="280738" y="46256"/>
                  </a:cubicBezTo>
                  <a:cubicBezTo>
                    <a:pt x="280738" y="47642"/>
                    <a:pt x="281660" y="50870"/>
                    <a:pt x="285331" y="52635"/>
                  </a:cubicBezTo>
                  <a:cubicBezTo>
                    <a:pt x="288208" y="52635"/>
                    <a:pt x="287589" y="51165"/>
                    <a:pt x="286920" y="50427"/>
                  </a:cubicBezTo>
                  <a:lnTo>
                    <a:pt x="284318" y="47642"/>
                  </a:lnTo>
                  <a:cubicBezTo>
                    <a:pt x="284248" y="46510"/>
                    <a:pt x="284157" y="44245"/>
                    <a:pt x="284318" y="44245"/>
                  </a:cubicBezTo>
                  <a:cubicBezTo>
                    <a:pt x="284515" y="44245"/>
                    <a:pt x="286323" y="40665"/>
                    <a:pt x="286920" y="39280"/>
                  </a:cubicBezTo>
                  <a:cubicBezTo>
                    <a:pt x="287518" y="37887"/>
                    <a:pt x="288116" y="36874"/>
                    <a:pt x="289305" y="35876"/>
                  </a:cubicBezTo>
                  <a:cubicBezTo>
                    <a:pt x="289713" y="35538"/>
                    <a:pt x="290078" y="35018"/>
                    <a:pt x="290479" y="34434"/>
                  </a:cubicBezTo>
                  <a:cubicBezTo>
                    <a:pt x="291260" y="33301"/>
                    <a:pt x="292195" y="31951"/>
                    <a:pt x="293897" y="31283"/>
                  </a:cubicBezTo>
                  <a:cubicBezTo>
                    <a:pt x="294952" y="30875"/>
                    <a:pt x="295473" y="30566"/>
                    <a:pt x="295853" y="30348"/>
                  </a:cubicBezTo>
                  <a:cubicBezTo>
                    <a:pt x="296394" y="30024"/>
                    <a:pt x="296619" y="29898"/>
                    <a:pt x="297695" y="29898"/>
                  </a:cubicBezTo>
                  <a:cubicBezTo>
                    <a:pt x="298729" y="29898"/>
                    <a:pt x="298968" y="29314"/>
                    <a:pt x="299397" y="28287"/>
                  </a:cubicBezTo>
                  <a:cubicBezTo>
                    <a:pt x="299714" y="27520"/>
                    <a:pt x="300136" y="26508"/>
                    <a:pt x="301071" y="25305"/>
                  </a:cubicBezTo>
                  <a:cubicBezTo>
                    <a:pt x="302267" y="25305"/>
                    <a:pt x="303659" y="23315"/>
                    <a:pt x="303659" y="21922"/>
                  </a:cubicBezTo>
                  <a:cubicBezTo>
                    <a:pt x="302752" y="21922"/>
                    <a:pt x="301542" y="19707"/>
                    <a:pt x="300656" y="18089"/>
                  </a:cubicBezTo>
                  <a:lnTo>
                    <a:pt x="300656" y="18089"/>
                  </a:lnTo>
                  <a:cubicBezTo>
                    <a:pt x="300354" y="17526"/>
                    <a:pt x="300086" y="17041"/>
                    <a:pt x="299883" y="16739"/>
                  </a:cubicBezTo>
                  <a:cubicBezTo>
                    <a:pt x="299242" y="15782"/>
                    <a:pt x="301338" y="14481"/>
                    <a:pt x="302464" y="13954"/>
                  </a:cubicBezTo>
                  <a:lnTo>
                    <a:pt x="304869" y="13954"/>
                  </a:lnTo>
                  <a:cubicBezTo>
                    <a:pt x="304067" y="12751"/>
                    <a:pt x="302464" y="10001"/>
                    <a:pt x="302464" y="8566"/>
                  </a:cubicBezTo>
                  <a:cubicBezTo>
                    <a:pt x="302464" y="6780"/>
                    <a:pt x="305467" y="5366"/>
                    <a:pt x="307253" y="5366"/>
                  </a:cubicBezTo>
                  <a:cubicBezTo>
                    <a:pt x="309046" y="5366"/>
                    <a:pt x="310038" y="5366"/>
                    <a:pt x="311649" y="6576"/>
                  </a:cubicBezTo>
                  <a:cubicBezTo>
                    <a:pt x="311944" y="6801"/>
                    <a:pt x="312197" y="7012"/>
                    <a:pt x="312437" y="7216"/>
                  </a:cubicBezTo>
                  <a:lnTo>
                    <a:pt x="312437" y="7216"/>
                  </a:lnTo>
                  <a:cubicBezTo>
                    <a:pt x="313506" y="8116"/>
                    <a:pt x="314434" y="8897"/>
                    <a:pt x="318823" y="10353"/>
                  </a:cubicBezTo>
                  <a:cubicBezTo>
                    <a:pt x="321713" y="9670"/>
                    <a:pt x="322128" y="9931"/>
                    <a:pt x="322501" y="10156"/>
                  </a:cubicBezTo>
                  <a:cubicBezTo>
                    <a:pt x="322670" y="10261"/>
                    <a:pt x="322824" y="10353"/>
                    <a:pt x="323197" y="10353"/>
                  </a:cubicBezTo>
                  <a:cubicBezTo>
                    <a:pt x="324076" y="10353"/>
                    <a:pt x="323443" y="11436"/>
                    <a:pt x="322726" y="12652"/>
                  </a:cubicBezTo>
                  <a:lnTo>
                    <a:pt x="322726" y="12652"/>
                  </a:lnTo>
                  <a:cubicBezTo>
                    <a:pt x="322473" y="13081"/>
                    <a:pt x="322212" y="13532"/>
                    <a:pt x="322002" y="13954"/>
                  </a:cubicBezTo>
                  <a:cubicBezTo>
                    <a:pt x="321502" y="14973"/>
                    <a:pt x="320356" y="16303"/>
                    <a:pt x="319280" y="17547"/>
                  </a:cubicBezTo>
                  <a:lnTo>
                    <a:pt x="319280" y="17547"/>
                  </a:lnTo>
                  <a:cubicBezTo>
                    <a:pt x="318661" y="18258"/>
                    <a:pt x="318070" y="18947"/>
                    <a:pt x="317634" y="19538"/>
                  </a:cubicBezTo>
                  <a:cubicBezTo>
                    <a:pt x="317043" y="20333"/>
                    <a:pt x="316649" y="21254"/>
                    <a:pt x="316227" y="22224"/>
                  </a:cubicBezTo>
                  <a:lnTo>
                    <a:pt x="316227" y="22224"/>
                  </a:lnTo>
                  <a:cubicBezTo>
                    <a:pt x="315791" y="23237"/>
                    <a:pt x="315334" y="24292"/>
                    <a:pt x="314631" y="25305"/>
                  </a:cubicBezTo>
                  <a:cubicBezTo>
                    <a:pt x="313759" y="26550"/>
                    <a:pt x="313977" y="27492"/>
                    <a:pt x="314265" y="28709"/>
                  </a:cubicBezTo>
                  <a:cubicBezTo>
                    <a:pt x="314434" y="29426"/>
                    <a:pt x="314631" y="30249"/>
                    <a:pt x="314631" y="31283"/>
                  </a:cubicBezTo>
                  <a:cubicBezTo>
                    <a:pt x="314631" y="32964"/>
                    <a:pt x="314272" y="33998"/>
                    <a:pt x="313941" y="34940"/>
                  </a:cubicBezTo>
                  <a:cubicBezTo>
                    <a:pt x="313724" y="35566"/>
                    <a:pt x="313512" y="36157"/>
                    <a:pt x="313435" y="36874"/>
                  </a:cubicBezTo>
                  <a:cubicBezTo>
                    <a:pt x="313393" y="37261"/>
                    <a:pt x="313259" y="37732"/>
                    <a:pt x="313105" y="38253"/>
                  </a:cubicBezTo>
                  <a:cubicBezTo>
                    <a:pt x="312563" y="40145"/>
                    <a:pt x="311825" y="42691"/>
                    <a:pt x="314631" y="44245"/>
                  </a:cubicBezTo>
                  <a:cubicBezTo>
                    <a:pt x="316108" y="42754"/>
                    <a:pt x="316375" y="42381"/>
                    <a:pt x="316917" y="41636"/>
                  </a:cubicBezTo>
                  <a:cubicBezTo>
                    <a:pt x="317106" y="41375"/>
                    <a:pt x="317317" y="41073"/>
                    <a:pt x="317634" y="40665"/>
                  </a:cubicBezTo>
                  <a:cubicBezTo>
                    <a:pt x="318597" y="39392"/>
                    <a:pt x="318035" y="36945"/>
                    <a:pt x="317634" y="35876"/>
                  </a:cubicBezTo>
                  <a:cubicBezTo>
                    <a:pt x="317831" y="35151"/>
                    <a:pt x="318344" y="33414"/>
                    <a:pt x="318823" y="32303"/>
                  </a:cubicBezTo>
                  <a:cubicBezTo>
                    <a:pt x="319188" y="31452"/>
                    <a:pt x="320285" y="30235"/>
                    <a:pt x="321671" y="28688"/>
                  </a:cubicBezTo>
                  <a:lnTo>
                    <a:pt x="321671" y="28688"/>
                  </a:lnTo>
                  <a:cubicBezTo>
                    <a:pt x="322571" y="27689"/>
                    <a:pt x="323584" y="26557"/>
                    <a:pt x="324611" y="25305"/>
                  </a:cubicBezTo>
                  <a:cubicBezTo>
                    <a:pt x="326693" y="22745"/>
                    <a:pt x="326671" y="21985"/>
                    <a:pt x="326397" y="21922"/>
                  </a:cubicBezTo>
                  <a:cubicBezTo>
                    <a:pt x="327128" y="20192"/>
                    <a:pt x="328662" y="16415"/>
                    <a:pt x="328978" y="15149"/>
                  </a:cubicBezTo>
                  <a:cubicBezTo>
                    <a:pt x="329379" y="13553"/>
                    <a:pt x="330589" y="12343"/>
                    <a:pt x="332178" y="11351"/>
                  </a:cubicBezTo>
                  <a:cubicBezTo>
                    <a:pt x="332790" y="10972"/>
                    <a:pt x="333514" y="10325"/>
                    <a:pt x="334246" y="9677"/>
                  </a:cubicBezTo>
                  <a:lnTo>
                    <a:pt x="334246" y="9677"/>
                  </a:lnTo>
                  <a:cubicBezTo>
                    <a:pt x="335428" y="8630"/>
                    <a:pt x="336623" y="7575"/>
                    <a:pt x="337369" y="7575"/>
                  </a:cubicBezTo>
                  <a:cubicBezTo>
                    <a:pt x="338368" y="7575"/>
                    <a:pt x="337453" y="10796"/>
                    <a:pt x="336876" y="12835"/>
                  </a:cubicBezTo>
                  <a:lnTo>
                    <a:pt x="336876" y="12835"/>
                  </a:lnTo>
                  <a:cubicBezTo>
                    <a:pt x="336757" y="13278"/>
                    <a:pt x="336644" y="13665"/>
                    <a:pt x="336574" y="13954"/>
                  </a:cubicBezTo>
                  <a:cubicBezTo>
                    <a:pt x="336258" y="15241"/>
                    <a:pt x="334569" y="17140"/>
                    <a:pt x="333768" y="17927"/>
                  </a:cubicBezTo>
                  <a:lnTo>
                    <a:pt x="330589" y="21922"/>
                  </a:lnTo>
                  <a:lnTo>
                    <a:pt x="335160" y="21922"/>
                  </a:lnTo>
                  <a:lnTo>
                    <a:pt x="335160" y="23315"/>
                  </a:lnTo>
                  <a:lnTo>
                    <a:pt x="333768" y="28505"/>
                  </a:lnTo>
                  <a:lnTo>
                    <a:pt x="333768" y="34687"/>
                  </a:lnTo>
                  <a:lnTo>
                    <a:pt x="338164" y="29898"/>
                  </a:lnTo>
                  <a:lnTo>
                    <a:pt x="341343" y="28505"/>
                  </a:lnTo>
                  <a:lnTo>
                    <a:pt x="342538" y="25305"/>
                  </a:lnTo>
                  <a:lnTo>
                    <a:pt x="342538" y="23315"/>
                  </a:lnTo>
                  <a:cubicBezTo>
                    <a:pt x="343136" y="21922"/>
                    <a:pt x="344346" y="18659"/>
                    <a:pt x="344346" y="16739"/>
                  </a:cubicBezTo>
                  <a:cubicBezTo>
                    <a:pt x="344346" y="15930"/>
                    <a:pt x="344346" y="15480"/>
                    <a:pt x="344500" y="15107"/>
                  </a:cubicBezTo>
                  <a:cubicBezTo>
                    <a:pt x="344697" y="14643"/>
                    <a:pt x="345126" y="14277"/>
                    <a:pt x="346083" y="13475"/>
                  </a:cubicBezTo>
                  <a:cubicBezTo>
                    <a:pt x="346673" y="12976"/>
                    <a:pt x="347461" y="12308"/>
                    <a:pt x="348516" y="11351"/>
                  </a:cubicBezTo>
                  <a:cubicBezTo>
                    <a:pt x="349086" y="9860"/>
                    <a:pt x="348284" y="9748"/>
                    <a:pt x="347123" y="9593"/>
                  </a:cubicBezTo>
                  <a:cubicBezTo>
                    <a:pt x="346258" y="9474"/>
                    <a:pt x="345197" y="9333"/>
                    <a:pt x="344346" y="8566"/>
                  </a:cubicBezTo>
                  <a:cubicBezTo>
                    <a:pt x="342355" y="6780"/>
                    <a:pt x="344149" y="5366"/>
                    <a:pt x="344346" y="5366"/>
                  </a:cubicBezTo>
                  <a:cubicBezTo>
                    <a:pt x="344402" y="5366"/>
                    <a:pt x="344592" y="5036"/>
                    <a:pt x="344866" y="4557"/>
                  </a:cubicBezTo>
                  <a:cubicBezTo>
                    <a:pt x="345534" y="3397"/>
                    <a:pt x="346680" y="1393"/>
                    <a:pt x="347524" y="1393"/>
                  </a:cubicBezTo>
                  <a:cubicBezTo>
                    <a:pt x="348481" y="1393"/>
                    <a:pt x="350851" y="464"/>
                    <a:pt x="351920" y="0"/>
                  </a:cubicBezTo>
                  <a:lnTo>
                    <a:pt x="354107" y="3179"/>
                  </a:lnTo>
                  <a:cubicBezTo>
                    <a:pt x="355570" y="2581"/>
                    <a:pt x="358897" y="1393"/>
                    <a:pt x="360486" y="1393"/>
                  </a:cubicBezTo>
                  <a:cubicBezTo>
                    <a:pt x="361583" y="1393"/>
                    <a:pt x="361471" y="2061"/>
                    <a:pt x="361309" y="2961"/>
                  </a:cubicBezTo>
                  <a:cubicBezTo>
                    <a:pt x="361190" y="3685"/>
                    <a:pt x="361035" y="4564"/>
                    <a:pt x="361478" y="5366"/>
                  </a:cubicBezTo>
                  <a:cubicBezTo>
                    <a:pt x="361787" y="5915"/>
                    <a:pt x="362238" y="6449"/>
                    <a:pt x="362688" y="6970"/>
                  </a:cubicBezTo>
                  <a:cubicBezTo>
                    <a:pt x="363693" y="8144"/>
                    <a:pt x="364650" y="9256"/>
                    <a:pt x="363687" y="10353"/>
                  </a:cubicBezTo>
                  <a:cubicBezTo>
                    <a:pt x="363201" y="10908"/>
                    <a:pt x="362786" y="11443"/>
                    <a:pt x="362406" y="11928"/>
                  </a:cubicBezTo>
                  <a:cubicBezTo>
                    <a:pt x="361703" y="12835"/>
                    <a:pt x="361133" y="13567"/>
                    <a:pt x="360486" y="13954"/>
                  </a:cubicBezTo>
                  <a:cubicBezTo>
                    <a:pt x="360191" y="14129"/>
                    <a:pt x="359614" y="14305"/>
                    <a:pt x="358960" y="14509"/>
                  </a:cubicBezTo>
                  <a:cubicBezTo>
                    <a:pt x="357399" y="14987"/>
                    <a:pt x="355359" y="15613"/>
                    <a:pt x="355493" y="16739"/>
                  </a:cubicBezTo>
                  <a:cubicBezTo>
                    <a:pt x="355654" y="18012"/>
                    <a:pt x="359551" y="19137"/>
                    <a:pt x="361478" y="19538"/>
                  </a:cubicBezTo>
                  <a:cubicBezTo>
                    <a:pt x="359825" y="22330"/>
                    <a:pt x="357307" y="28027"/>
                    <a:pt x="360486" y="28505"/>
                  </a:cubicBezTo>
                  <a:cubicBezTo>
                    <a:pt x="363384" y="28941"/>
                    <a:pt x="363440" y="26930"/>
                    <a:pt x="363489" y="25115"/>
                  </a:cubicBezTo>
                  <a:lnTo>
                    <a:pt x="363489" y="25115"/>
                  </a:lnTo>
                  <a:cubicBezTo>
                    <a:pt x="363503" y="24447"/>
                    <a:pt x="363524" y="23800"/>
                    <a:pt x="363687" y="23315"/>
                  </a:cubicBezTo>
                  <a:cubicBezTo>
                    <a:pt x="363876" y="22745"/>
                    <a:pt x="364087" y="21950"/>
                    <a:pt x="364319" y="21057"/>
                  </a:cubicBezTo>
                  <a:cubicBezTo>
                    <a:pt x="364826" y="19144"/>
                    <a:pt x="365459" y="16774"/>
                    <a:pt x="366268" y="15149"/>
                  </a:cubicBezTo>
                  <a:cubicBezTo>
                    <a:pt x="367463" y="12758"/>
                    <a:pt x="370466" y="12343"/>
                    <a:pt x="371458" y="12343"/>
                  </a:cubicBezTo>
                  <a:cubicBezTo>
                    <a:pt x="371992" y="12343"/>
                    <a:pt x="372935" y="12927"/>
                    <a:pt x="373997" y="13588"/>
                  </a:cubicBezTo>
                  <a:cubicBezTo>
                    <a:pt x="374911" y="14158"/>
                    <a:pt x="375917" y="14776"/>
                    <a:pt x="376845" y="15149"/>
                  </a:cubicBezTo>
                  <a:cubicBezTo>
                    <a:pt x="377872" y="15557"/>
                    <a:pt x="377844" y="16274"/>
                    <a:pt x="377816" y="17048"/>
                  </a:cubicBezTo>
                  <a:cubicBezTo>
                    <a:pt x="377788" y="17780"/>
                    <a:pt x="377760" y="18553"/>
                    <a:pt x="378632" y="19144"/>
                  </a:cubicBezTo>
                  <a:cubicBezTo>
                    <a:pt x="379729" y="19882"/>
                    <a:pt x="382338" y="19559"/>
                    <a:pt x="384462" y="19292"/>
                  </a:cubicBezTo>
                  <a:cubicBezTo>
                    <a:pt x="385791" y="19123"/>
                    <a:pt x="386938" y="18982"/>
                    <a:pt x="387395" y="19144"/>
                  </a:cubicBezTo>
                  <a:cubicBezTo>
                    <a:pt x="387972" y="19341"/>
                    <a:pt x="388499" y="19939"/>
                    <a:pt x="389153" y="20684"/>
                  </a:cubicBezTo>
                  <a:cubicBezTo>
                    <a:pt x="389871" y="21500"/>
                    <a:pt x="390743" y="22485"/>
                    <a:pt x="391987" y="23315"/>
                  </a:cubicBezTo>
                  <a:cubicBezTo>
                    <a:pt x="392860" y="23891"/>
                    <a:pt x="393992" y="24792"/>
                    <a:pt x="395194" y="25748"/>
                  </a:cubicBezTo>
                  <a:cubicBezTo>
                    <a:pt x="397304" y="27415"/>
                    <a:pt x="399639" y="29265"/>
                    <a:pt x="401173" y="29898"/>
                  </a:cubicBezTo>
                  <a:cubicBezTo>
                    <a:pt x="403578" y="30889"/>
                    <a:pt x="404352" y="34687"/>
                    <a:pt x="404352" y="35876"/>
                  </a:cubicBezTo>
                  <a:cubicBezTo>
                    <a:pt x="404352" y="37071"/>
                    <a:pt x="402368" y="38682"/>
                    <a:pt x="401173" y="39280"/>
                  </a:cubicBezTo>
                  <a:cubicBezTo>
                    <a:pt x="400736" y="39491"/>
                    <a:pt x="399773" y="39842"/>
                    <a:pt x="398683" y="40236"/>
                  </a:cubicBezTo>
                  <a:lnTo>
                    <a:pt x="398683" y="40236"/>
                  </a:lnTo>
                  <a:cubicBezTo>
                    <a:pt x="396777" y="40925"/>
                    <a:pt x="394498" y="41755"/>
                    <a:pt x="393978" y="42255"/>
                  </a:cubicBezTo>
                  <a:cubicBezTo>
                    <a:pt x="393162" y="43056"/>
                    <a:pt x="391987" y="46256"/>
                    <a:pt x="391987" y="47642"/>
                  </a:cubicBezTo>
                  <a:cubicBezTo>
                    <a:pt x="391987" y="48760"/>
                    <a:pt x="388133" y="48901"/>
                    <a:pt x="386206" y="48837"/>
                  </a:cubicBezTo>
                  <a:cubicBezTo>
                    <a:pt x="384146" y="48437"/>
                    <a:pt x="379743" y="47368"/>
                    <a:pt x="378632" y="46256"/>
                  </a:cubicBezTo>
                  <a:cubicBezTo>
                    <a:pt x="377239" y="44864"/>
                    <a:pt x="370065" y="44245"/>
                    <a:pt x="368652" y="44245"/>
                  </a:cubicBezTo>
                  <a:cubicBezTo>
                    <a:pt x="367245" y="44245"/>
                    <a:pt x="367463" y="46256"/>
                    <a:pt x="368652" y="47642"/>
                  </a:cubicBezTo>
                  <a:cubicBezTo>
                    <a:pt x="369348" y="48451"/>
                    <a:pt x="371381" y="49323"/>
                    <a:pt x="373666" y="50307"/>
                  </a:cubicBezTo>
                  <a:cubicBezTo>
                    <a:pt x="375326" y="51018"/>
                    <a:pt x="377119" y="51791"/>
                    <a:pt x="378632" y="52635"/>
                  </a:cubicBezTo>
                  <a:cubicBezTo>
                    <a:pt x="379785" y="53275"/>
                    <a:pt x="380622" y="53789"/>
                    <a:pt x="381353" y="54232"/>
                  </a:cubicBezTo>
                  <a:cubicBezTo>
                    <a:pt x="382894" y="55181"/>
                    <a:pt x="383907" y="55800"/>
                    <a:pt x="386206" y="56609"/>
                  </a:cubicBezTo>
                  <a:cubicBezTo>
                    <a:pt x="388126" y="57284"/>
                    <a:pt x="389730" y="57713"/>
                    <a:pt x="391601" y="58213"/>
                  </a:cubicBezTo>
                  <a:lnTo>
                    <a:pt x="391601" y="58213"/>
                  </a:lnTo>
                  <a:lnTo>
                    <a:pt x="391601" y="58213"/>
                  </a:lnTo>
                  <a:cubicBezTo>
                    <a:pt x="393021" y="58592"/>
                    <a:pt x="394597" y="59007"/>
                    <a:pt x="396580" y="59612"/>
                  </a:cubicBezTo>
                  <a:cubicBezTo>
                    <a:pt x="398612" y="60224"/>
                    <a:pt x="399703" y="60414"/>
                    <a:pt x="400300" y="60519"/>
                  </a:cubicBezTo>
                  <a:cubicBezTo>
                    <a:pt x="400722" y="60590"/>
                    <a:pt x="400912" y="60625"/>
                    <a:pt x="401011" y="60730"/>
                  </a:cubicBezTo>
                  <a:cubicBezTo>
                    <a:pt x="401088" y="60815"/>
                    <a:pt x="401116" y="60941"/>
                    <a:pt x="401165" y="61173"/>
                  </a:cubicBezTo>
                  <a:lnTo>
                    <a:pt x="401173" y="61202"/>
                  </a:lnTo>
                  <a:cubicBezTo>
                    <a:pt x="401236" y="61497"/>
                    <a:pt x="401285" y="61870"/>
                    <a:pt x="401341" y="62348"/>
                  </a:cubicBezTo>
                  <a:cubicBezTo>
                    <a:pt x="401468" y="63452"/>
                    <a:pt x="401672" y="65126"/>
                    <a:pt x="402368" y="67778"/>
                  </a:cubicBezTo>
                  <a:cubicBezTo>
                    <a:pt x="403339" y="71491"/>
                    <a:pt x="402600" y="71765"/>
                    <a:pt x="399014" y="73080"/>
                  </a:cubicBezTo>
                  <a:lnTo>
                    <a:pt x="398767" y="73165"/>
                  </a:lnTo>
                  <a:cubicBezTo>
                    <a:pt x="396249" y="74086"/>
                    <a:pt x="393915" y="71336"/>
                    <a:pt x="392747" y="69951"/>
                  </a:cubicBezTo>
                  <a:cubicBezTo>
                    <a:pt x="392149" y="69247"/>
                    <a:pt x="391854" y="68896"/>
                    <a:pt x="391987" y="69571"/>
                  </a:cubicBezTo>
                  <a:cubicBezTo>
                    <a:pt x="392388" y="71554"/>
                    <a:pt x="390004" y="74958"/>
                    <a:pt x="387395" y="78552"/>
                  </a:cubicBezTo>
                  <a:cubicBezTo>
                    <a:pt x="385925" y="80585"/>
                    <a:pt x="384265" y="80894"/>
                    <a:pt x="382563" y="81204"/>
                  </a:cubicBezTo>
                  <a:cubicBezTo>
                    <a:pt x="381262" y="81443"/>
                    <a:pt x="379926" y="81689"/>
                    <a:pt x="378632" y="82730"/>
                  </a:cubicBezTo>
                  <a:cubicBezTo>
                    <a:pt x="376627" y="84333"/>
                    <a:pt x="376690" y="85227"/>
                    <a:pt x="376824" y="87097"/>
                  </a:cubicBezTo>
                  <a:cubicBezTo>
                    <a:pt x="376887" y="88012"/>
                    <a:pt x="376972" y="89151"/>
                    <a:pt x="376845" y="90719"/>
                  </a:cubicBezTo>
                  <a:close/>
                  <a:moveTo>
                    <a:pt x="373814" y="81239"/>
                  </a:moveTo>
                  <a:lnTo>
                    <a:pt x="371177" y="94545"/>
                  </a:lnTo>
                  <a:cubicBezTo>
                    <a:pt x="371064" y="94025"/>
                    <a:pt x="370804" y="93575"/>
                    <a:pt x="370544" y="93378"/>
                  </a:cubicBezTo>
                  <a:cubicBezTo>
                    <a:pt x="369953" y="92935"/>
                    <a:pt x="369918" y="91894"/>
                    <a:pt x="369890" y="90902"/>
                  </a:cubicBezTo>
                  <a:cubicBezTo>
                    <a:pt x="369875" y="90621"/>
                    <a:pt x="369868" y="90340"/>
                    <a:pt x="369847" y="90079"/>
                  </a:cubicBezTo>
                  <a:cubicBezTo>
                    <a:pt x="369749" y="88912"/>
                    <a:pt x="370544" y="86605"/>
                    <a:pt x="371296" y="85051"/>
                  </a:cubicBezTo>
                  <a:cubicBezTo>
                    <a:pt x="371655" y="84319"/>
                    <a:pt x="372710" y="82772"/>
                    <a:pt x="373814" y="81239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9" name="Freihandform: Form 274">
              <a:extLst>
                <a:ext uri="{FF2B5EF4-FFF2-40B4-BE49-F238E27FC236}">
                  <a16:creationId xmlns:a16="http://schemas.microsoft.com/office/drawing/2014/main" id="{6FAE2AF0-1C5F-6942-8F76-C265E1E21B85}"/>
                </a:ext>
              </a:extLst>
            </p:cNvPr>
            <p:cNvSpPr/>
            <p:nvPr/>
          </p:nvSpPr>
          <p:spPr>
            <a:xfrm>
              <a:off x="6493460" y="2931999"/>
              <a:ext cx="24432" cy="16794"/>
            </a:xfrm>
            <a:custGeom>
              <a:avLst/>
              <a:gdLst>
                <a:gd name="connsiteX0" fmla="*/ 19742 w 24432"/>
                <a:gd name="connsiteY0" fmla="*/ 7814 h 16794"/>
                <a:gd name="connsiteX1" fmla="*/ 24433 w 24432"/>
                <a:gd name="connsiteY1" fmla="*/ 2926 h 16794"/>
                <a:gd name="connsiteX2" fmla="*/ 24433 w 24432"/>
                <a:gd name="connsiteY2" fmla="*/ 0 h 16794"/>
                <a:gd name="connsiteX3" fmla="*/ 19144 w 24432"/>
                <a:gd name="connsiteY3" fmla="*/ 1948 h 16794"/>
                <a:gd name="connsiteX4" fmla="*/ 15628 w 24432"/>
                <a:gd name="connsiteY4" fmla="*/ 4297 h 16794"/>
                <a:gd name="connsiteX5" fmla="*/ 8011 w 24432"/>
                <a:gd name="connsiteY5" fmla="*/ 7814 h 16794"/>
                <a:gd name="connsiteX6" fmla="*/ 3123 w 24432"/>
                <a:gd name="connsiteY6" fmla="*/ 10732 h 16794"/>
                <a:gd name="connsiteX7" fmla="*/ 5669 w 24432"/>
                <a:gd name="connsiteY7" fmla="*/ 10732 h 16794"/>
                <a:gd name="connsiteX8" fmla="*/ 4691 w 24432"/>
                <a:gd name="connsiteY8" fmla="*/ 12111 h 16794"/>
                <a:gd name="connsiteX9" fmla="*/ 0 w 24432"/>
                <a:gd name="connsiteY9" fmla="*/ 16795 h 16794"/>
                <a:gd name="connsiteX10" fmla="*/ 5669 w 24432"/>
                <a:gd name="connsiteY10" fmla="*/ 16795 h 16794"/>
                <a:gd name="connsiteX11" fmla="*/ 12104 w 24432"/>
                <a:gd name="connsiteY11" fmla="*/ 15824 h 16794"/>
                <a:gd name="connsiteX12" fmla="*/ 14256 w 24432"/>
                <a:gd name="connsiteY12" fmla="*/ 14256 h 16794"/>
                <a:gd name="connsiteX13" fmla="*/ 19742 w 24432"/>
                <a:gd name="connsiteY13" fmla="*/ 10732 h 16794"/>
                <a:gd name="connsiteX14" fmla="*/ 19742 w 24432"/>
                <a:gd name="connsiteY14" fmla="*/ 7814 h 16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432" h="16794">
                  <a:moveTo>
                    <a:pt x="19742" y="7814"/>
                  </a:moveTo>
                  <a:lnTo>
                    <a:pt x="24433" y="2926"/>
                  </a:lnTo>
                  <a:lnTo>
                    <a:pt x="24433" y="0"/>
                  </a:lnTo>
                  <a:cubicBezTo>
                    <a:pt x="22864" y="394"/>
                    <a:pt x="19622" y="1329"/>
                    <a:pt x="19144" y="1948"/>
                  </a:cubicBezTo>
                  <a:cubicBezTo>
                    <a:pt x="18546" y="2729"/>
                    <a:pt x="16795" y="2926"/>
                    <a:pt x="15628" y="4297"/>
                  </a:cubicBezTo>
                  <a:cubicBezTo>
                    <a:pt x="14453" y="5669"/>
                    <a:pt x="9565" y="7814"/>
                    <a:pt x="8011" y="7814"/>
                  </a:cubicBezTo>
                  <a:cubicBezTo>
                    <a:pt x="6773" y="7814"/>
                    <a:pt x="4234" y="9762"/>
                    <a:pt x="3123" y="10732"/>
                  </a:cubicBezTo>
                  <a:lnTo>
                    <a:pt x="5669" y="10732"/>
                  </a:lnTo>
                  <a:lnTo>
                    <a:pt x="4691" y="12111"/>
                  </a:lnTo>
                  <a:lnTo>
                    <a:pt x="0" y="16795"/>
                  </a:lnTo>
                  <a:lnTo>
                    <a:pt x="5669" y="16795"/>
                  </a:lnTo>
                  <a:lnTo>
                    <a:pt x="12104" y="15824"/>
                  </a:lnTo>
                  <a:lnTo>
                    <a:pt x="14256" y="14256"/>
                  </a:lnTo>
                  <a:lnTo>
                    <a:pt x="19742" y="10732"/>
                  </a:lnTo>
                  <a:lnTo>
                    <a:pt x="19742" y="781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0" name="Freihandform: Form 275">
              <a:extLst>
                <a:ext uri="{FF2B5EF4-FFF2-40B4-BE49-F238E27FC236}">
                  <a16:creationId xmlns:a16="http://schemas.microsoft.com/office/drawing/2014/main" id="{8DBA23CE-D6BF-E443-B393-531BCB1E3C92}"/>
                </a:ext>
              </a:extLst>
            </p:cNvPr>
            <p:cNvSpPr/>
            <p:nvPr/>
          </p:nvSpPr>
          <p:spPr>
            <a:xfrm>
              <a:off x="6436971" y="2967762"/>
              <a:ext cx="24052" cy="20508"/>
            </a:xfrm>
            <a:custGeom>
              <a:avLst/>
              <a:gdLst>
                <a:gd name="connsiteX0" fmla="*/ 6062 w 24052"/>
                <a:gd name="connsiteY0" fmla="*/ 11724 h 20508"/>
                <a:gd name="connsiteX1" fmla="*/ 0 w 24052"/>
                <a:gd name="connsiteY1" fmla="*/ 16612 h 20508"/>
                <a:gd name="connsiteX2" fmla="*/ 2743 w 24052"/>
                <a:gd name="connsiteY2" fmla="*/ 20508 h 20508"/>
                <a:gd name="connsiteX3" fmla="*/ 6062 w 24052"/>
                <a:gd name="connsiteY3" fmla="*/ 17787 h 20508"/>
                <a:gd name="connsiteX4" fmla="*/ 10950 w 24052"/>
                <a:gd name="connsiteY4" fmla="*/ 14073 h 20508"/>
                <a:gd name="connsiteX5" fmla="*/ 14073 w 24052"/>
                <a:gd name="connsiteY5" fmla="*/ 10353 h 20508"/>
                <a:gd name="connsiteX6" fmla="*/ 18961 w 24052"/>
                <a:gd name="connsiteY6" fmla="*/ 8981 h 20508"/>
                <a:gd name="connsiteX7" fmla="*/ 24053 w 24052"/>
                <a:gd name="connsiteY7" fmla="*/ 6639 h 20508"/>
                <a:gd name="connsiteX8" fmla="*/ 24053 w 24052"/>
                <a:gd name="connsiteY8" fmla="*/ 2919 h 20508"/>
                <a:gd name="connsiteX9" fmla="*/ 16619 w 24052"/>
                <a:gd name="connsiteY9" fmla="*/ 0 h 20508"/>
                <a:gd name="connsiteX10" fmla="*/ 10950 w 24052"/>
                <a:gd name="connsiteY10" fmla="*/ 4290 h 20508"/>
                <a:gd name="connsiteX11" fmla="*/ 8412 w 24052"/>
                <a:gd name="connsiteY11" fmla="*/ 8981 h 20508"/>
                <a:gd name="connsiteX12" fmla="*/ 6062 w 24052"/>
                <a:gd name="connsiteY12" fmla="*/ 11724 h 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052" h="20508">
                  <a:moveTo>
                    <a:pt x="6062" y="11724"/>
                  </a:moveTo>
                  <a:lnTo>
                    <a:pt x="0" y="16612"/>
                  </a:lnTo>
                  <a:lnTo>
                    <a:pt x="2743" y="20508"/>
                  </a:lnTo>
                  <a:lnTo>
                    <a:pt x="6062" y="17787"/>
                  </a:lnTo>
                  <a:cubicBezTo>
                    <a:pt x="7167" y="16872"/>
                    <a:pt x="9699" y="14847"/>
                    <a:pt x="10950" y="14073"/>
                  </a:cubicBezTo>
                  <a:cubicBezTo>
                    <a:pt x="12209" y="13292"/>
                    <a:pt x="13560" y="11267"/>
                    <a:pt x="14073" y="10353"/>
                  </a:cubicBezTo>
                  <a:cubicBezTo>
                    <a:pt x="14924" y="9895"/>
                    <a:pt x="17090" y="8981"/>
                    <a:pt x="18961" y="8981"/>
                  </a:cubicBezTo>
                  <a:cubicBezTo>
                    <a:pt x="20839" y="8981"/>
                    <a:pt x="23139" y="7420"/>
                    <a:pt x="24053" y="6639"/>
                  </a:cubicBezTo>
                  <a:lnTo>
                    <a:pt x="24053" y="2919"/>
                  </a:lnTo>
                  <a:lnTo>
                    <a:pt x="16619" y="0"/>
                  </a:lnTo>
                  <a:lnTo>
                    <a:pt x="10950" y="4290"/>
                  </a:lnTo>
                  <a:cubicBezTo>
                    <a:pt x="10367" y="5338"/>
                    <a:pt x="9030" y="7743"/>
                    <a:pt x="8412" y="8981"/>
                  </a:cubicBezTo>
                  <a:cubicBezTo>
                    <a:pt x="7785" y="10219"/>
                    <a:pt x="6590" y="11330"/>
                    <a:pt x="6062" y="1172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1" name="Freihandform: Form 276">
              <a:extLst>
                <a:ext uri="{FF2B5EF4-FFF2-40B4-BE49-F238E27FC236}">
                  <a16:creationId xmlns:a16="http://schemas.microsoft.com/office/drawing/2014/main" id="{6E1AA89A-CD3E-DE4D-A9A5-B5EE8D1C8601}"/>
                </a:ext>
              </a:extLst>
            </p:cNvPr>
            <p:cNvSpPr/>
            <p:nvPr/>
          </p:nvSpPr>
          <p:spPr>
            <a:xfrm>
              <a:off x="6493460" y="2931999"/>
              <a:ext cx="24432" cy="16794"/>
            </a:xfrm>
            <a:custGeom>
              <a:avLst/>
              <a:gdLst>
                <a:gd name="connsiteX0" fmla="*/ 19742 w 24432"/>
                <a:gd name="connsiteY0" fmla="*/ 7814 h 16794"/>
                <a:gd name="connsiteX1" fmla="*/ 24433 w 24432"/>
                <a:gd name="connsiteY1" fmla="*/ 2926 h 16794"/>
                <a:gd name="connsiteX2" fmla="*/ 24433 w 24432"/>
                <a:gd name="connsiteY2" fmla="*/ 0 h 16794"/>
                <a:gd name="connsiteX3" fmla="*/ 19144 w 24432"/>
                <a:gd name="connsiteY3" fmla="*/ 1948 h 16794"/>
                <a:gd name="connsiteX4" fmla="*/ 15628 w 24432"/>
                <a:gd name="connsiteY4" fmla="*/ 4297 h 16794"/>
                <a:gd name="connsiteX5" fmla="*/ 8011 w 24432"/>
                <a:gd name="connsiteY5" fmla="*/ 7814 h 16794"/>
                <a:gd name="connsiteX6" fmla="*/ 3123 w 24432"/>
                <a:gd name="connsiteY6" fmla="*/ 10732 h 16794"/>
                <a:gd name="connsiteX7" fmla="*/ 5669 w 24432"/>
                <a:gd name="connsiteY7" fmla="*/ 10732 h 16794"/>
                <a:gd name="connsiteX8" fmla="*/ 4691 w 24432"/>
                <a:gd name="connsiteY8" fmla="*/ 12111 h 16794"/>
                <a:gd name="connsiteX9" fmla="*/ 0 w 24432"/>
                <a:gd name="connsiteY9" fmla="*/ 16795 h 16794"/>
                <a:gd name="connsiteX10" fmla="*/ 5669 w 24432"/>
                <a:gd name="connsiteY10" fmla="*/ 16795 h 16794"/>
                <a:gd name="connsiteX11" fmla="*/ 12104 w 24432"/>
                <a:gd name="connsiteY11" fmla="*/ 15824 h 16794"/>
                <a:gd name="connsiteX12" fmla="*/ 14256 w 24432"/>
                <a:gd name="connsiteY12" fmla="*/ 14256 h 16794"/>
                <a:gd name="connsiteX13" fmla="*/ 19742 w 24432"/>
                <a:gd name="connsiteY13" fmla="*/ 10732 h 16794"/>
                <a:gd name="connsiteX14" fmla="*/ 19742 w 24432"/>
                <a:gd name="connsiteY14" fmla="*/ 7814 h 16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432" h="16794">
                  <a:moveTo>
                    <a:pt x="19742" y="7814"/>
                  </a:moveTo>
                  <a:lnTo>
                    <a:pt x="24433" y="2926"/>
                  </a:lnTo>
                  <a:lnTo>
                    <a:pt x="24433" y="0"/>
                  </a:lnTo>
                  <a:cubicBezTo>
                    <a:pt x="22864" y="394"/>
                    <a:pt x="19622" y="1329"/>
                    <a:pt x="19144" y="1948"/>
                  </a:cubicBezTo>
                  <a:cubicBezTo>
                    <a:pt x="18546" y="2729"/>
                    <a:pt x="16795" y="2926"/>
                    <a:pt x="15628" y="4297"/>
                  </a:cubicBezTo>
                  <a:cubicBezTo>
                    <a:pt x="14453" y="5669"/>
                    <a:pt x="9565" y="7814"/>
                    <a:pt x="8011" y="7814"/>
                  </a:cubicBezTo>
                  <a:cubicBezTo>
                    <a:pt x="6773" y="7814"/>
                    <a:pt x="4234" y="9762"/>
                    <a:pt x="3123" y="10732"/>
                  </a:cubicBezTo>
                  <a:lnTo>
                    <a:pt x="5669" y="10732"/>
                  </a:lnTo>
                  <a:lnTo>
                    <a:pt x="4691" y="12111"/>
                  </a:lnTo>
                  <a:lnTo>
                    <a:pt x="0" y="16795"/>
                  </a:lnTo>
                  <a:lnTo>
                    <a:pt x="5669" y="16795"/>
                  </a:lnTo>
                  <a:lnTo>
                    <a:pt x="12104" y="15824"/>
                  </a:lnTo>
                  <a:lnTo>
                    <a:pt x="14256" y="14256"/>
                  </a:lnTo>
                  <a:lnTo>
                    <a:pt x="19742" y="10732"/>
                  </a:lnTo>
                  <a:lnTo>
                    <a:pt x="19742" y="781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2" name="Freihandform: Form 277">
              <a:extLst>
                <a:ext uri="{FF2B5EF4-FFF2-40B4-BE49-F238E27FC236}">
                  <a16:creationId xmlns:a16="http://schemas.microsoft.com/office/drawing/2014/main" id="{2B368A09-3346-5C48-904B-DDD157D62494}"/>
                </a:ext>
              </a:extLst>
            </p:cNvPr>
            <p:cNvSpPr/>
            <p:nvPr/>
          </p:nvSpPr>
          <p:spPr>
            <a:xfrm>
              <a:off x="6436971" y="2967762"/>
              <a:ext cx="24052" cy="20508"/>
            </a:xfrm>
            <a:custGeom>
              <a:avLst/>
              <a:gdLst>
                <a:gd name="connsiteX0" fmla="*/ 6062 w 24052"/>
                <a:gd name="connsiteY0" fmla="*/ 11724 h 20508"/>
                <a:gd name="connsiteX1" fmla="*/ 0 w 24052"/>
                <a:gd name="connsiteY1" fmla="*/ 16612 h 20508"/>
                <a:gd name="connsiteX2" fmla="*/ 2743 w 24052"/>
                <a:gd name="connsiteY2" fmla="*/ 20508 h 20508"/>
                <a:gd name="connsiteX3" fmla="*/ 6062 w 24052"/>
                <a:gd name="connsiteY3" fmla="*/ 17787 h 20508"/>
                <a:gd name="connsiteX4" fmla="*/ 10950 w 24052"/>
                <a:gd name="connsiteY4" fmla="*/ 14073 h 20508"/>
                <a:gd name="connsiteX5" fmla="*/ 14073 w 24052"/>
                <a:gd name="connsiteY5" fmla="*/ 10353 h 20508"/>
                <a:gd name="connsiteX6" fmla="*/ 18961 w 24052"/>
                <a:gd name="connsiteY6" fmla="*/ 8981 h 20508"/>
                <a:gd name="connsiteX7" fmla="*/ 24053 w 24052"/>
                <a:gd name="connsiteY7" fmla="*/ 6639 h 20508"/>
                <a:gd name="connsiteX8" fmla="*/ 24053 w 24052"/>
                <a:gd name="connsiteY8" fmla="*/ 2919 h 20508"/>
                <a:gd name="connsiteX9" fmla="*/ 16619 w 24052"/>
                <a:gd name="connsiteY9" fmla="*/ 0 h 20508"/>
                <a:gd name="connsiteX10" fmla="*/ 10950 w 24052"/>
                <a:gd name="connsiteY10" fmla="*/ 4290 h 20508"/>
                <a:gd name="connsiteX11" fmla="*/ 8412 w 24052"/>
                <a:gd name="connsiteY11" fmla="*/ 8981 h 20508"/>
                <a:gd name="connsiteX12" fmla="*/ 6062 w 24052"/>
                <a:gd name="connsiteY12" fmla="*/ 11724 h 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052" h="20508">
                  <a:moveTo>
                    <a:pt x="6062" y="11724"/>
                  </a:moveTo>
                  <a:lnTo>
                    <a:pt x="0" y="16612"/>
                  </a:lnTo>
                  <a:lnTo>
                    <a:pt x="2743" y="20508"/>
                  </a:lnTo>
                  <a:lnTo>
                    <a:pt x="6062" y="17787"/>
                  </a:lnTo>
                  <a:cubicBezTo>
                    <a:pt x="7167" y="16872"/>
                    <a:pt x="9699" y="14847"/>
                    <a:pt x="10950" y="14073"/>
                  </a:cubicBezTo>
                  <a:cubicBezTo>
                    <a:pt x="12209" y="13292"/>
                    <a:pt x="13560" y="11267"/>
                    <a:pt x="14073" y="10353"/>
                  </a:cubicBezTo>
                  <a:cubicBezTo>
                    <a:pt x="14924" y="9895"/>
                    <a:pt x="17090" y="8981"/>
                    <a:pt x="18961" y="8981"/>
                  </a:cubicBezTo>
                  <a:cubicBezTo>
                    <a:pt x="20839" y="8981"/>
                    <a:pt x="23139" y="7420"/>
                    <a:pt x="24053" y="6639"/>
                  </a:cubicBezTo>
                  <a:lnTo>
                    <a:pt x="24053" y="2919"/>
                  </a:lnTo>
                  <a:lnTo>
                    <a:pt x="16619" y="0"/>
                  </a:lnTo>
                  <a:lnTo>
                    <a:pt x="10950" y="4290"/>
                  </a:lnTo>
                  <a:cubicBezTo>
                    <a:pt x="10367" y="5338"/>
                    <a:pt x="9030" y="7743"/>
                    <a:pt x="8412" y="8981"/>
                  </a:cubicBezTo>
                  <a:cubicBezTo>
                    <a:pt x="7785" y="10219"/>
                    <a:pt x="6590" y="11330"/>
                    <a:pt x="6062" y="1172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3" name="Freihandform: Form 278">
              <a:extLst>
                <a:ext uri="{FF2B5EF4-FFF2-40B4-BE49-F238E27FC236}">
                  <a16:creationId xmlns:a16="http://schemas.microsoft.com/office/drawing/2014/main" id="{4F0BE13D-C416-344B-8AC8-CDFB3281DBD2}"/>
                </a:ext>
              </a:extLst>
            </p:cNvPr>
            <p:cNvSpPr/>
            <p:nvPr/>
          </p:nvSpPr>
          <p:spPr>
            <a:xfrm>
              <a:off x="6435217" y="3400611"/>
              <a:ext cx="18949" cy="30590"/>
            </a:xfrm>
            <a:custGeom>
              <a:avLst/>
              <a:gdLst>
                <a:gd name="connsiteX0" fmla="*/ 15271 w 18949"/>
                <a:gd name="connsiteY0" fmla="*/ 5268 h 30590"/>
                <a:gd name="connsiteX1" fmla="*/ 18949 w 18949"/>
                <a:gd name="connsiteY1" fmla="*/ 0 h 30590"/>
                <a:gd name="connsiteX2" fmla="*/ 15271 w 18949"/>
                <a:gd name="connsiteY2" fmla="*/ 1238 h 30590"/>
                <a:gd name="connsiteX3" fmla="*/ 10721 w 18949"/>
                <a:gd name="connsiteY3" fmla="*/ 3165 h 30590"/>
                <a:gd name="connsiteX4" fmla="*/ 7563 w 18949"/>
                <a:gd name="connsiteY4" fmla="*/ 3165 h 30590"/>
                <a:gd name="connsiteX5" fmla="*/ 4933 w 18949"/>
                <a:gd name="connsiteY5" fmla="*/ 6147 h 30590"/>
                <a:gd name="connsiteX6" fmla="*/ 2830 w 18949"/>
                <a:gd name="connsiteY6" fmla="*/ 8587 h 30590"/>
                <a:gd name="connsiteX7" fmla="*/ 361 w 18949"/>
                <a:gd name="connsiteY7" fmla="*/ 12624 h 30590"/>
                <a:gd name="connsiteX8" fmla="*/ 1240 w 18949"/>
                <a:gd name="connsiteY8" fmla="*/ 17533 h 30590"/>
                <a:gd name="connsiteX9" fmla="*/ 361 w 18949"/>
                <a:gd name="connsiteY9" fmla="*/ 21908 h 30590"/>
                <a:gd name="connsiteX10" fmla="*/ 361 w 18949"/>
                <a:gd name="connsiteY10" fmla="*/ 27689 h 30590"/>
                <a:gd name="connsiteX11" fmla="*/ 2830 w 18949"/>
                <a:gd name="connsiteY11" fmla="*/ 30517 h 30590"/>
                <a:gd name="connsiteX12" fmla="*/ 5277 w 18949"/>
                <a:gd name="connsiteY12" fmla="*/ 26634 h 30590"/>
                <a:gd name="connsiteX13" fmla="*/ 7563 w 18949"/>
                <a:gd name="connsiteY13" fmla="*/ 23139 h 30590"/>
                <a:gd name="connsiteX14" fmla="*/ 9666 w 18949"/>
                <a:gd name="connsiteY14" fmla="*/ 20515 h 30590"/>
                <a:gd name="connsiteX15" fmla="*/ 10721 w 18949"/>
                <a:gd name="connsiteY15" fmla="*/ 14734 h 30590"/>
                <a:gd name="connsiteX16" fmla="*/ 11930 w 18949"/>
                <a:gd name="connsiteY16" fmla="*/ 8587 h 30590"/>
                <a:gd name="connsiteX17" fmla="*/ 15271 w 18949"/>
                <a:gd name="connsiteY17" fmla="*/ 5268 h 3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949" h="30590">
                  <a:moveTo>
                    <a:pt x="15271" y="5268"/>
                  </a:moveTo>
                  <a:cubicBezTo>
                    <a:pt x="16115" y="4445"/>
                    <a:pt x="18077" y="1414"/>
                    <a:pt x="18949" y="0"/>
                  </a:cubicBezTo>
                  <a:cubicBezTo>
                    <a:pt x="18014" y="295"/>
                    <a:pt x="15974" y="950"/>
                    <a:pt x="15271" y="1238"/>
                  </a:cubicBezTo>
                  <a:cubicBezTo>
                    <a:pt x="14399" y="1589"/>
                    <a:pt x="12824" y="2110"/>
                    <a:pt x="10721" y="3165"/>
                  </a:cubicBezTo>
                  <a:cubicBezTo>
                    <a:pt x="8611" y="4213"/>
                    <a:pt x="8611" y="2623"/>
                    <a:pt x="7563" y="3165"/>
                  </a:cubicBezTo>
                  <a:cubicBezTo>
                    <a:pt x="6508" y="3699"/>
                    <a:pt x="5277" y="5268"/>
                    <a:pt x="4933" y="6147"/>
                  </a:cubicBezTo>
                  <a:cubicBezTo>
                    <a:pt x="4595" y="7019"/>
                    <a:pt x="3526" y="7891"/>
                    <a:pt x="2830" y="8587"/>
                  </a:cubicBezTo>
                  <a:cubicBezTo>
                    <a:pt x="2133" y="9284"/>
                    <a:pt x="1240" y="11394"/>
                    <a:pt x="361" y="12624"/>
                  </a:cubicBezTo>
                  <a:cubicBezTo>
                    <a:pt x="-511" y="13855"/>
                    <a:pt x="361" y="15944"/>
                    <a:pt x="1240" y="17533"/>
                  </a:cubicBezTo>
                  <a:cubicBezTo>
                    <a:pt x="2112" y="19123"/>
                    <a:pt x="1240" y="19819"/>
                    <a:pt x="361" y="21908"/>
                  </a:cubicBezTo>
                  <a:cubicBezTo>
                    <a:pt x="-511" y="23997"/>
                    <a:pt x="544" y="26634"/>
                    <a:pt x="361" y="27689"/>
                  </a:cubicBezTo>
                  <a:cubicBezTo>
                    <a:pt x="185" y="28744"/>
                    <a:pt x="1240" y="31030"/>
                    <a:pt x="2830" y="30517"/>
                  </a:cubicBezTo>
                  <a:cubicBezTo>
                    <a:pt x="4419" y="29996"/>
                    <a:pt x="4757" y="28048"/>
                    <a:pt x="5277" y="26634"/>
                  </a:cubicBezTo>
                  <a:cubicBezTo>
                    <a:pt x="5790" y="25228"/>
                    <a:pt x="6867" y="24194"/>
                    <a:pt x="7563" y="23139"/>
                  </a:cubicBezTo>
                  <a:cubicBezTo>
                    <a:pt x="8252" y="22084"/>
                    <a:pt x="8794" y="21570"/>
                    <a:pt x="9666" y="20515"/>
                  </a:cubicBezTo>
                  <a:cubicBezTo>
                    <a:pt x="10538" y="19460"/>
                    <a:pt x="11930" y="16837"/>
                    <a:pt x="10721" y="14734"/>
                  </a:cubicBezTo>
                  <a:cubicBezTo>
                    <a:pt x="9511" y="12624"/>
                    <a:pt x="11593" y="10339"/>
                    <a:pt x="11930" y="8587"/>
                  </a:cubicBezTo>
                  <a:cubicBezTo>
                    <a:pt x="12268" y="6843"/>
                    <a:pt x="14216" y="6302"/>
                    <a:pt x="15271" y="526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4" name="Freihandform: Form 279">
              <a:extLst>
                <a:ext uri="{FF2B5EF4-FFF2-40B4-BE49-F238E27FC236}">
                  <a16:creationId xmlns:a16="http://schemas.microsoft.com/office/drawing/2014/main" id="{42454A5F-B031-E44B-A735-4B85AF6E1539}"/>
                </a:ext>
              </a:extLst>
            </p:cNvPr>
            <p:cNvSpPr/>
            <p:nvPr/>
          </p:nvSpPr>
          <p:spPr>
            <a:xfrm>
              <a:off x="6408702" y="3419713"/>
              <a:ext cx="12696" cy="31564"/>
            </a:xfrm>
            <a:custGeom>
              <a:avLst/>
              <a:gdLst>
                <a:gd name="connsiteX0" fmla="*/ 11994 w 12696"/>
                <a:gd name="connsiteY0" fmla="*/ 4037 h 31564"/>
                <a:gd name="connsiteX1" fmla="*/ 11994 w 12696"/>
                <a:gd name="connsiteY1" fmla="*/ 0 h 31564"/>
                <a:gd name="connsiteX2" fmla="*/ 10067 w 12696"/>
                <a:gd name="connsiteY2" fmla="*/ 0 h 31564"/>
                <a:gd name="connsiteX3" fmla="*/ 8829 w 12696"/>
                <a:gd name="connsiteY3" fmla="*/ 5268 h 31564"/>
                <a:gd name="connsiteX4" fmla="*/ 6776 w 12696"/>
                <a:gd name="connsiteY4" fmla="*/ 8538 h 31564"/>
                <a:gd name="connsiteX5" fmla="*/ 6726 w 12696"/>
                <a:gd name="connsiteY5" fmla="*/ 8588 h 31564"/>
                <a:gd name="connsiteX6" fmla="*/ 4440 w 12696"/>
                <a:gd name="connsiteY6" fmla="*/ 12442 h 31564"/>
                <a:gd name="connsiteX7" fmla="*/ 3407 w 12696"/>
                <a:gd name="connsiteY7" fmla="*/ 15606 h 31564"/>
                <a:gd name="connsiteX8" fmla="*/ 2176 w 12696"/>
                <a:gd name="connsiteY8" fmla="*/ 19285 h 31564"/>
                <a:gd name="connsiteX9" fmla="*/ 2176 w 12696"/>
                <a:gd name="connsiteY9" fmla="*/ 24728 h 31564"/>
                <a:gd name="connsiteX10" fmla="*/ 66 w 12696"/>
                <a:gd name="connsiteY10" fmla="*/ 29462 h 31564"/>
                <a:gd name="connsiteX11" fmla="*/ 2176 w 12696"/>
                <a:gd name="connsiteY11" fmla="*/ 31564 h 31564"/>
                <a:gd name="connsiteX12" fmla="*/ 4440 w 12696"/>
                <a:gd name="connsiteY12" fmla="*/ 26121 h 31564"/>
                <a:gd name="connsiteX13" fmla="*/ 5671 w 12696"/>
                <a:gd name="connsiteY13" fmla="*/ 21746 h 31564"/>
                <a:gd name="connsiteX14" fmla="*/ 6726 w 12696"/>
                <a:gd name="connsiteY14" fmla="*/ 17709 h 31564"/>
                <a:gd name="connsiteX15" fmla="*/ 8829 w 12696"/>
                <a:gd name="connsiteY15" fmla="*/ 12442 h 31564"/>
                <a:gd name="connsiteX16" fmla="*/ 10067 w 12696"/>
                <a:gd name="connsiteY16" fmla="*/ 8588 h 31564"/>
                <a:gd name="connsiteX17" fmla="*/ 11994 w 12696"/>
                <a:gd name="connsiteY17" fmla="*/ 4037 h 31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696" h="31564">
                  <a:moveTo>
                    <a:pt x="11994" y="4037"/>
                  </a:moveTo>
                  <a:cubicBezTo>
                    <a:pt x="13267" y="2349"/>
                    <a:pt x="12521" y="647"/>
                    <a:pt x="11994" y="0"/>
                  </a:cubicBezTo>
                  <a:lnTo>
                    <a:pt x="10067" y="0"/>
                  </a:lnTo>
                  <a:cubicBezTo>
                    <a:pt x="9652" y="1350"/>
                    <a:pt x="8829" y="4283"/>
                    <a:pt x="8829" y="5268"/>
                  </a:cubicBezTo>
                  <a:cubicBezTo>
                    <a:pt x="8829" y="6485"/>
                    <a:pt x="7809" y="7504"/>
                    <a:pt x="6776" y="8538"/>
                  </a:cubicBezTo>
                  <a:lnTo>
                    <a:pt x="6726" y="8588"/>
                  </a:lnTo>
                  <a:cubicBezTo>
                    <a:pt x="5671" y="9642"/>
                    <a:pt x="5671" y="11415"/>
                    <a:pt x="4440" y="12442"/>
                  </a:cubicBezTo>
                  <a:cubicBezTo>
                    <a:pt x="3456" y="13271"/>
                    <a:pt x="3336" y="14896"/>
                    <a:pt x="3407" y="15606"/>
                  </a:cubicBezTo>
                  <a:cubicBezTo>
                    <a:pt x="2991" y="16310"/>
                    <a:pt x="2176" y="18026"/>
                    <a:pt x="2176" y="19285"/>
                  </a:cubicBezTo>
                  <a:lnTo>
                    <a:pt x="2176" y="24728"/>
                  </a:lnTo>
                  <a:cubicBezTo>
                    <a:pt x="2176" y="26318"/>
                    <a:pt x="579" y="27535"/>
                    <a:pt x="66" y="29462"/>
                  </a:cubicBezTo>
                  <a:cubicBezTo>
                    <a:pt x="-349" y="31002"/>
                    <a:pt x="1297" y="31508"/>
                    <a:pt x="2176" y="31564"/>
                  </a:cubicBezTo>
                  <a:cubicBezTo>
                    <a:pt x="2816" y="30165"/>
                    <a:pt x="4166" y="27105"/>
                    <a:pt x="4440" y="26121"/>
                  </a:cubicBezTo>
                  <a:cubicBezTo>
                    <a:pt x="4778" y="24890"/>
                    <a:pt x="5488" y="23139"/>
                    <a:pt x="5671" y="21746"/>
                  </a:cubicBezTo>
                  <a:cubicBezTo>
                    <a:pt x="5847" y="20354"/>
                    <a:pt x="6543" y="18764"/>
                    <a:pt x="6726" y="17709"/>
                  </a:cubicBezTo>
                  <a:cubicBezTo>
                    <a:pt x="6902" y="16661"/>
                    <a:pt x="8316" y="13679"/>
                    <a:pt x="8829" y="12442"/>
                  </a:cubicBezTo>
                  <a:cubicBezTo>
                    <a:pt x="9349" y="11211"/>
                    <a:pt x="9884" y="9467"/>
                    <a:pt x="10067" y="8588"/>
                  </a:cubicBezTo>
                  <a:cubicBezTo>
                    <a:pt x="10243" y="7715"/>
                    <a:pt x="10404" y="6147"/>
                    <a:pt x="11994" y="4037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5" name="Freihandform: Form 280">
              <a:extLst>
                <a:ext uri="{FF2B5EF4-FFF2-40B4-BE49-F238E27FC236}">
                  <a16:creationId xmlns:a16="http://schemas.microsoft.com/office/drawing/2014/main" id="{05CE9132-519D-2E44-827C-FE6160257B83}"/>
                </a:ext>
              </a:extLst>
            </p:cNvPr>
            <p:cNvSpPr/>
            <p:nvPr/>
          </p:nvSpPr>
          <p:spPr>
            <a:xfrm>
              <a:off x="6435217" y="3400611"/>
              <a:ext cx="18949" cy="30590"/>
            </a:xfrm>
            <a:custGeom>
              <a:avLst/>
              <a:gdLst>
                <a:gd name="connsiteX0" fmla="*/ 15271 w 18949"/>
                <a:gd name="connsiteY0" fmla="*/ 5268 h 30590"/>
                <a:gd name="connsiteX1" fmla="*/ 18949 w 18949"/>
                <a:gd name="connsiteY1" fmla="*/ 0 h 30590"/>
                <a:gd name="connsiteX2" fmla="*/ 15271 w 18949"/>
                <a:gd name="connsiteY2" fmla="*/ 1238 h 30590"/>
                <a:gd name="connsiteX3" fmla="*/ 10721 w 18949"/>
                <a:gd name="connsiteY3" fmla="*/ 3165 h 30590"/>
                <a:gd name="connsiteX4" fmla="*/ 7563 w 18949"/>
                <a:gd name="connsiteY4" fmla="*/ 3165 h 30590"/>
                <a:gd name="connsiteX5" fmla="*/ 4933 w 18949"/>
                <a:gd name="connsiteY5" fmla="*/ 6147 h 30590"/>
                <a:gd name="connsiteX6" fmla="*/ 2830 w 18949"/>
                <a:gd name="connsiteY6" fmla="*/ 8587 h 30590"/>
                <a:gd name="connsiteX7" fmla="*/ 361 w 18949"/>
                <a:gd name="connsiteY7" fmla="*/ 12624 h 30590"/>
                <a:gd name="connsiteX8" fmla="*/ 1240 w 18949"/>
                <a:gd name="connsiteY8" fmla="*/ 17533 h 30590"/>
                <a:gd name="connsiteX9" fmla="*/ 361 w 18949"/>
                <a:gd name="connsiteY9" fmla="*/ 21908 h 30590"/>
                <a:gd name="connsiteX10" fmla="*/ 361 w 18949"/>
                <a:gd name="connsiteY10" fmla="*/ 27689 h 30590"/>
                <a:gd name="connsiteX11" fmla="*/ 2830 w 18949"/>
                <a:gd name="connsiteY11" fmla="*/ 30517 h 30590"/>
                <a:gd name="connsiteX12" fmla="*/ 5277 w 18949"/>
                <a:gd name="connsiteY12" fmla="*/ 26634 h 30590"/>
                <a:gd name="connsiteX13" fmla="*/ 7563 w 18949"/>
                <a:gd name="connsiteY13" fmla="*/ 23139 h 30590"/>
                <a:gd name="connsiteX14" fmla="*/ 9666 w 18949"/>
                <a:gd name="connsiteY14" fmla="*/ 20515 h 30590"/>
                <a:gd name="connsiteX15" fmla="*/ 10721 w 18949"/>
                <a:gd name="connsiteY15" fmla="*/ 14734 h 30590"/>
                <a:gd name="connsiteX16" fmla="*/ 11930 w 18949"/>
                <a:gd name="connsiteY16" fmla="*/ 8587 h 30590"/>
                <a:gd name="connsiteX17" fmla="*/ 15271 w 18949"/>
                <a:gd name="connsiteY17" fmla="*/ 5268 h 3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949" h="30590">
                  <a:moveTo>
                    <a:pt x="15271" y="5268"/>
                  </a:moveTo>
                  <a:cubicBezTo>
                    <a:pt x="16115" y="4445"/>
                    <a:pt x="18077" y="1414"/>
                    <a:pt x="18949" y="0"/>
                  </a:cubicBezTo>
                  <a:cubicBezTo>
                    <a:pt x="18014" y="295"/>
                    <a:pt x="15974" y="950"/>
                    <a:pt x="15271" y="1238"/>
                  </a:cubicBezTo>
                  <a:cubicBezTo>
                    <a:pt x="14399" y="1589"/>
                    <a:pt x="12824" y="2110"/>
                    <a:pt x="10721" y="3165"/>
                  </a:cubicBezTo>
                  <a:cubicBezTo>
                    <a:pt x="8611" y="4213"/>
                    <a:pt x="8611" y="2623"/>
                    <a:pt x="7563" y="3165"/>
                  </a:cubicBezTo>
                  <a:cubicBezTo>
                    <a:pt x="6508" y="3699"/>
                    <a:pt x="5277" y="5268"/>
                    <a:pt x="4933" y="6147"/>
                  </a:cubicBezTo>
                  <a:cubicBezTo>
                    <a:pt x="4595" y="7019"/>
                    <a:pt x="3526" y="7891"/>
                    <a:pt x="2830" y="8587"/>
                  </a:cubicBezTo>
                  <a:cubicBezTo>
                    <a:pt x="2133" y="9284"/>
                    <a:pt x="1240" y="11394"/>
                    <a:pt x="361" y="12624"/>
                  </a:cubicBezTo>
                  <a:cubicBezTo>
                    <a:pt x="-511" y="13855"/>
                    <a:pt x="361" y="15944"/>
                    <a:pt x="1240" y="17533"/>
                  </a:cubicBezTo>
                  <a:cubicBezTo>
                    <a:pt x="2112" y="19123"/>
                    <a:pt x="1240" y="19819"/>
                    <a:pt x="361" y="21908"/>
                  </a:cubicBezTo>
                  <a:cubicBezTo>
                    <a:pt x="-511" y="23997"/>
                    <a:pt x="544" y="26634"/>
                    <a:pt x="361" y="27689"/>
                  </a:cubicBezTo>
                  <a:cubicBezTo>
                    <a:pt x="185" y="28744"/>
                    <a:pt x="1240" y="31030"/>
                    <a:pt x="2830" y="30517"/>
                  </a:cubicBezTo>
                  <a:cubicBezTo>
                    <a:pt x="4419" y="29996"/>
                    <a:pt x="4757" y="28048"/>
                    <a:pt x="5277" y="26634"/>
                  </a:cubicBezTo>
                  <a:cubicBezTo>
                    <a:pt x="5790" y="25228"/>
                    <a:pt x="6867" y="24194"/>
                    <a:pt x="7563" y="23139"/>
                  </a:cubicBezTo>
                  <a:cubicBezTo>
                    <a:pt x="8252" y="22084"/>
                    <a:pt x="8794" y="21570"/>
                    <a:pt x="9666" y="20515"/>
                  </a:cubicBezTo>
                  <a:cubicBezTo>
                    <a:pt x="10538" y="19460"/>
                    <a:pt x="11930" y="16837"/>
                    <a:pt x="10721" y="14734"/>
                  </a:cubicBezTo>
                  <a:cubicBezTo>
                    <a:pt x="9511" y="12624"/>
                    <a:pt x="11593" y="10339"/>
                    <a:pt x="11930" y="8587"/>
                  </a:cubicBezTo>
                  <a:cubicBezTo>
                    <a:pt x="12268" y="6843"/>
                    <a:pt x="14216" y="6302"/>
                    <a:pt x="15271" y="526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6" name="Freihandform: Form 281">
              <a:extLst>
                <a:ext uri="{FF2B5EF4-FFF2-40B4-BE49-F238E27FC236}">
                  <a16:creationId xmlns:a16="http://schemas.microsoft.com/office/drawing/2014/main" id="{0AE3C7BB-D1F7-EF40-827B-5FC2D8590B6B}"/>
                </a:ext>
              </a:extLst>
            </p:cNvPr>
            <p:cNvSpPr/>
            <p:nvPr/>
          </p:nvSpPr>
          <p:spPr>
            <a:xfrm>
              <a:off x="6408702" y="3419713"/>
              <a:ext cx="12696" cy="31564"/>
            </a:xfrm>
            <a:custGeom>
              <a:avLst/>
              <a:gdLst>
                <a:gd name="connsiteX0" fmla="*/ 11994 w 12696"/>
                <a:gd name="connsiteY0" fmla="*/ 4037 h 31564"/>
                <a:gd name="connsiteX1" fmla="*/ 11994 w 12696"/>
                <a:gd name="connsiteY1" fmla="*/ 0 h 31564"/>
                <a:gd name="connsiteX2" fmla="*/ 10067 w 12696"/>
                <a:gd name="connsiteY2" fmla="*/ 0 h 31564"/>
                <a:gd name="connsiteX3" fmla="*/ 8829 w 12696"/>
                <a:gd name="connsiteY3" fmla="*/ 5268 h 31564"/>
                <a:gd name="connsiteX4" fmla="*/ 6776 w 12696"/>
                <a:gd name="connsiteY4" fmla="*/ 8538 h 31564"/>
                <a:gd name="connsiteX5" fmla="*/ 6726 w 12696"/>
                <a:gd name="connsiteY5" fmla="*/ 8588 h 31564"/>
                <a:gd name="connsiteX6" fmla="*/ 4440 w 12696"/>
                <a:gd name="connsiteY6" fmla="*/ 12442 h 31564"/>
                <a:gd name="connsiteX7" fmla="*/ 3407 w 12696"/>
                <a:gd name="connsiteY7" fmla="*/ 15606 h 31564"/>
                <a:gd name="connsiteX8" fmla="*/ 2176 w 12696"/>
                <a:gd name="connsiteY8" fmla="*/ 19285 h 31564"/>
                <a:gd name="connsiteX9" fmla="*/ 2176 w 12696"/>
                <a:gd name="connsiteY9" fmla="*/ 24728 h 31564"/>
                <a:gd name="connsiteX10" fmla="*/ 66 w 12696"/>
                <a:gd name="connsiteY10" fmla="*/ 29462 h 31564"/>
                <a:gd name="connsiteX11" fmla="*/ 2176 w 12696"/>
                <a:gd name="connsiteY11" fmla="*/ 31564 h 31564"/>
                <a:gd name="connsiteX12" fmla="*/ 4440 w 12696"/>
                <a:gd name="connsiteY12" fmla="*/ 26121 h 31564"/>
                <a:gd name="connsiteX13" fmla="*/ 5671 w 12696"/>
                <a:gd name="connsiteY13" fmla="*/ 21746 h 31564"/>
                <a:gd name="connsiteX14" fmla="*/ 6726 w 12696"/>
                <a:gd name="connsiteY14" fmla="*/ 17709 h 31564"/>
                <a:gd name="connsiteX15" fmla="*/ 8829 w 12696"/>
                <a:gd name="connsiteY15" fmla="*/ 12442 h 31564"/>
                <a:gd name="connsiteX16" fmla="*/ 10067 w 12696"/>
                <a:gd name="connsiteY16" fmla="*/ 8588 h 31564"/>
                <a:gd name="connsiteX17" fmla="*/ 11994 w 12696"/>
                <a:gd name="connsiteY17" fmla="*/ 4037 h 31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696" h="31564">
                  <a:moveTo>
                    <a:pt x="11994" y="4037"/>
                  </a:moveTo>
                  <a:cubicBezTo>
                    <a:pt x="13267" y="2349"/>
                    <a:pt x="12521" y="647"/>
                    <a:pt x="11994" y="0"/>
                  </a:cubicBezTo>
                  <a:lnTo>
                    <a:pt x="10067" y="0"/>
                  </a:lnTo>
                  <a:cubicBezTo>
                    <a:pt x="9652" y="1350"/>
                    <a:pt x="8829" y="4283"/>
                    <a:pt x="8829" y="5268"/>
                  </a:cubicBezTo>
                  <a:cubicBezTo>
                    <a:pt x="8829" y="6485"/>
                    <a:pt x="7809" y="7504"/>
                    <a:pt x="6776" y="8538"/>
                  </a:cubicBezTo>
                  <a:lnTo>
                    <a:pt x="6726" y="8588"/>
                  </a:lnTo>
                  <a:cubicBezTo>
                    <a:pt x="5671" y="9642"/>
                    <a:pt x="5671" y="11415"/>
                    <a:pt x="4440" y="12442"/>
                  </a:cubicBezTo>
                  <a:cubicBezTo>
                    <a:pt x="3456" y="13271"/>
                    <a:pt x="3336" y="14896"/>
                    <a:pt x="3407" y="15606"/>
                  </a:cubicBezTo>
                  <a:cubicBezTo>
                    <a:pt x="2991" y="16310"/>
                    <a:pt x="2176" y="18026"/>
                    <a:pt x="2176" y="19285"/>
                  </a:cubicBezTo>
                  <a:lnTo>
                    <a:pt x="2176" y="24728"/>
                  </a:lnTo>
                  <a:cubicBezTo>
                    <a:pt x="2176" y="26318"/>
                    <a:pt x="579" y="27535"/>
                    <a:pt x="66" y="29462"/>
                  </a:cubicBezTo>
                  <a:cubicBezTo>
                    <a:pt x="-349" y="31002"/>
                    <a:pt x="1297" y="31508"/>
                    <a:pt x="2176" y="31564"/>
                  </a:cubicBezTo>
                  <a:cubicBezTo>
                    <a:pt x="2816" y="30165"/>
                    <a:pt x="4166" y="27105"/>
                    <a:pt x="4440" y="26121"/>
                  </a:cubicBezTo>
                  <a:cubicBezTo>
                    <a:pt x="4778" y="24890"/>
                    <a:pt x="5488" y="23139"/>
                    <a:pt x="5671" y="21746"/>
                  </a:cubicBezTo>
                  <a:cubicBezTo>
                    <a:pt x="5847" y="20354"/>
                    <a:pt x="6543" y="18764"/>
                    <a:pt x="6726" y="17709"/>
                  </a:cubicBezTo>
                  <a:cubicBezTo>
                    <a:pt x="6902" y="16661"/>
                    <a:pt x="8316" y="13679"/>
                    <a:pt x="8829" y="12442"/>
                  </a:cubicBezTo>
                  <a:cubicBezTo>
                    <a:pt x="9349" y="11211"/>
                    <a:pt x="9884" y="9467"/>
                    <a:pt x="10067" y="8588"/>
                  </a:cubicBezTo>
                  <a:cubicBezTo>
                    <a:pt x="10243" y="7715"/>
                    <a:pt x="10404" y="6147"/>
                    <a:pt x="11994" y="4037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7" name="Freihandform: Form 282">
              <a:extLst>
                <a:ext uri="{FF2B5EF4-FFF2-40B4-BE49-F238E27FC236}">
                  <a16:creationId xmlns:a16="http://schemas.microsoft.com/office/drawing/2014/main" id="{93F3C274-7672-824B-AC4B-8F69EB709501}"/>
                </a:ext>
              </a:extLst>
            </p:cNvPr>
            <p:cNvSpPr/>
            <p:nvPr/>
          </p:nvSpPr>
          <p:spPr>
            <a:xfrm>
              <a:off x="6131406" y="3314252"/>
              <a:ext cx="13777" cy="28617"/>
            </a:xfrm>
            <a:custGeom>
              <a:avLst/>
              <a:gdLst>
                <a:gd name="connsiteX0" fmla="*/ 10915 w 13777"/>
                <a:gd name="connsiteY0" fmla="*/ 3573 h 28617"/>
                <a:gd name="connsiteX1" fmla="*/ 12702 w 13777"/>
                <a:gd name="connsiteY1" fmla="*/ 0 h 28617"/>
                <a:gd name="connsiteX2" fmla="*/ 13778 w 13777"/>
                <a:gd name="connsiteY2" fmla="*/ 1611 h 28617"/>
                <a:gd name="connsiteX3" fmla="*/ 10915 w 13777"/>
                <a:gd name="connsiteY3" fmla="*/ 7153 h 28617"/>
                <a:gd name="connsiteX4" fmla="*/ 10198 w 13777"/>
                <a:gd name="connsiteY4" fmla="*/ 11267 h 28617"/>
                <a:gd name="connsiteX5" fmla="*/ 7694 w 13777"/>
                <a:gd name="connsiteY5" fmla="*/ 11267 h 28617"/>
                <a:gd name="connsiteX6" fmla="*/ 10198 w 13777"/>
                <a:gd name="connsiteY6" fmla="*/ 15023 h 28617"/>
                <a:gd name="connsiteX7" fmla="*/ 10915 w 13777"/>
                <a:gd name="connsiteY7" fmla="*/ 18068 h 28617"/>
                <a:gd name="connsiteX8" fmla="*/ 7694 w 13777"/>
                <a:gd name="connsiteY8" fmla="*/ 21824 h 28617"/>
                <a:gd name="connsiteX9" fmla="*/ 7694 w 13777"/>
                <a:gd name="connsiteY9" fmla="*/ 26472 h 28617"/>
                <a:gd name="connsiteX10" fmla="*/ 6084 w 13777"/>
                <a:gd name="connsiteY10" fmla="*/ 28618 h 28617"/>
                <a:gd name="connsiteX11" fmla="*/ 4114 w 13777"/>
                <a:gd name="connsiteY11" fmla="*/ 26472 h 28617"/>
                <a:gd name="connsiteX12" fmla="*/ 4114 w 13777"/>
                <a:gd name="connsiteY12" fmla="*/ 23075 h 28617"/>
                <a:gd name="connsiteX13" fmla="*/ 0 w 13777"/>
                <a:gd name="connsiteY13" fmla="*/ 21824 h 28617"/>
                <a:gd name="connsiteX14" fmla="*/ 0 w 13777"/>
                <a:gd name="connsiteY14" fmla="*/ 18068 h 28617"/>
                <a:gd name="connsiteX15" fmla="*/ 4114 w 13777"/>
                <a:gd name="connsiteY15" fmla="*/ 15564 h 28617"/>
                <a:gd name="connsiteX16" fmla="*/ 2152 w 13777"/>
                <a:gd name="connsiteY16" fmla="*/ 14129 h 28617"/>
                <a:gd name="connsiteX17" fmla="*/ 2152 w 13777"/>
                <a:gd name="connsiteY17" fmla="*/ 11267 h 28617"/>
                <a:gd name="connsiteX18" fmla="*/ 4114 w 13777"/>
                <a:gd name="connsiteY18" fmla="*/ 8405 h 28617"/>
                <a:gd name="connsiteX19" fmla="*/ 7694 w 13777"/>
                <a:gd name="connsiteY19" fmla="*/ 8405 h 28617"/>
                <a:gd name="connsiteX20" fmla="*/ 7694 w 13777"/>
                <a:gd name="connsiteY20" fmla="*/ 5366 h 28617"/>
                <a:gd name="connsiteX21" fmla="*/ 10915 w 13777"/>
                <a:gd name="connsiteY21" fmla="*/ 3573 h 28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777" h="28617">
                  <a:moveTo>
                    <a:pt x="10915" y="3573"/>
                  </a:moveTo>
                  <a:lnTo>
                    <a:pt x="12702" y="0"/>
                  </a:lnTo>
                  <a:lnTo>
                    <a:pt x="13778" y="1611"/>
                  </a:lnTo>
                  <a:cubicBezTo>
                    <a:pt x="13180" y="3095"/>
                    <a:pt x="11773" y="6295"/>
                    <a:pt x="10915" y="7153"/>
                  </a:cubicBezTo>
                  <a:cubicBezTo>
                    <a:pt x="9839" y="8229"/>
                    <a:pt x="10198" y="10015"/>
                    <a:pt x="10198" y="11267"/>
                  </a:cubicBezTo>
                  <a:cubicBezTo>
                    <a:pt x="10198" y="12266"/>
                    <a:pt x="8531" y="11682"/>
                    <a:pt x="7694" y="11267"/>
                  </a:cubicBezTo>
                  <a:cubicBezTo>
                    <a:pt x="8348" y="12223"/>
                    <a:pt x="9769" y="14305"/>
                    <a:pt x="10198" y="15023"/>
                  </a:cubicBezTo>
                  <a:cubicBezTo>
                    <a:pt x="10627" y="15740"/>
                    <a:pt x="10859" y="17351"/>
                    <a:pt x="10915" y="18068"/>
                  </a:cubicBezTo>
                  <a:lnTo>
                    <a:pt x="7694" y="21824"/>
                  </a:lnTo>
                  <a:lnTo>
                    <a:pt x="7694" y="26472"/>
                  </a:lnTo>
                  <a:lnTo>
                    <a:pt x="6084" y="28618"/>
                  </a:lnTo>
                  <a:lnTo>
                    <a:pt x="4114" y="26472"/>
                  </a:lnTo>
                  <a:lnTo>
                    <a:pt x="4114" y="23075"/>
                  </a:lnTo>
                  <a:cubicBezTo>
                    <a:pt x="4114" y="22358"/>
                    <a:pt x="1371" y="21943"/>
                    <a:pt x="0" y="21824"/>
                  </a:cubicBezTo>
                  <a:lnTo>
                    <a:pt x="0" y="18068"/>
                  </a:lnTo>
                  <a:lnTo>
                    <a:pt x="4114" y="15564"/>
                  </a:lnTo>
                  <a:lnTo>
                    <a:pt x="2152" y="14129"/>
                  </a:lnTo>
                  <a:lnTo>
                    <a:pt x="2152" y="11267"/>
                  </a:lnTo>
                  <a:lnTo>
                    <a:pt x="4114" y="8405"/>
                  </a:lnTo>
                  <a:lnTo>
                    <a:pt x="7694" y="8405"/>
                  </a:lnTo>
                  <a:lnTo>
                    <a:pt x="7694" y="5366"/>
                  </a:lnTo>
                  <a:lnTo>
                    <a:pt x="10915" y="357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8" name="Freihandform: Form 283">
              <a:extLst>
                <a:ext uri="{FF2B5EF4-FFF2-40B4-BE49-F238E27FC236}">
                  <a16:creationId xmlns:a16="http://schemas.microsoft.com/office/drawing/2014/main" id="{91D01409-EDC7-5E4F-9717-21B74E234541}"/>
                </a:ext>
              </a:extLst>
            </p:cNvPr>
            <p:cNvSpPr/>
            <p:nvPr/>
          </p:nvSpPr>
          <p:spPr>
            <a:xfrm>
              <a:off x="6104399" y="3360579"/>
              <a:ext cx="17709" cy="19048"/>
            </a:xfrm>
            <a:custGeom>
              <a:avLst/>
              <a:gdLst>
                <a:gd name="connsiteX0" fmla="*/ 14305 w 17709"/>
                <a:gd name="connsiteY0" fmla="*/ 1076 h 19048"/>
                <a:gd name="connsiteX1" fmla="*/ 6435 w 17709"/>
                <a:gd name="connsiteY1" fmla="*/ 1076 h 19048"/>
                <a:gd name="connsiteX2" fmla="*/ 4649 w 17709"/>
                <a:gd name="connsiteY2" fmla="*/ 3938 h 19048"/>
                <a:gd name="connsiteX3" fmla="*/ 0 w 17709"/>
                <a:gd name="connsiteY3" fmla="*/ 8770 h 19048"/>
                <a:gd name="connsiteX4" fmla="*/ 1428 w 17709"/>
                <a:gd name="connsiteY4" fmla="*/ 15564 h 19048"/>
                <a:gd name="connsiteX5" fmla="*/ 8763 w 17709"/>
                <a:gd name="connsiteY5" fmla="*/ 18968 h 19048"/>
                <a:gd name="connsiteX6" fmla="*/ 8763 w 17709"/>
                <a:gd name="connsiteY6" fmla="*/ 15564 h 19048"/>
                <a:gd name="connsiteX7" fmla="*/ 2679 w 17709"/>
                <a:gd name="connsiteY7" fmla="*/ 13602 h 19048"/>
                <a:gd name="connsiteX8" fmla="*/ 6435 w 17709"/>
                <a:gd name="connsiteY8" fmla="*/ 8770 h 19048"/>
                <a:gd name="connsiteX9" fmla="*/ 8763 w 17709"/>
                <a:gd name="connsiteY9" fmla="*/ 12343 h 19048"/>
                <a:gd name="connsiteX10" fmla="*/ 11801 w 17709"/>
                <a:gd name="connsiteY10" fmla="*/ 8770 h 19048"/>
                <a:gd name="connsiteX11" fmla="*/ 17709 w 17709"/>
                <a:gd name="connsiteY11" fmla="*/ 0 h 19048"/>
                <a:gd name="connsiteX12" fmla="*/ 14305 w 17709"/>
                <a:gd name="connsiteY12" fmla="*/ 1076 h 1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709" h="19048">
                  <a:moveTo>
                    <a:pt x="14305" y="1076"/>
                  </a:moveTo>
                  <a:lnTo>
                    <a:pt x="6435" y="1076"/>
                  </a:lnTo>
                  <a:lnTo>
                    <a:pt x="4649" y="3938"/>
                  </a:lnTo>
                  <a:lnTo>
                    <a:pt x="0" y="8770"/>
                  </a:lnTo>
                  <a:cubicBezTo>
                    <a:pt x="295" y="11035"/>
                    <a:pt x="999" y="15564"/>
                    <a:pt x="1428" y="15564"/>
                  </a:cubicBezTo>
                  <a:cubicBezTo>
                    <a:pt x="1962" y="15564"/>
                    <a:pt x="7687" y="18251"/>
                    <a:pt x="8763" y="18968"/>
                  </a:cubicBezTo>
                  <a:cubicBezTo>
                    <a:pt x="9621" y="19538"/>
                    <a:pt x="9122" y="16936"/>
                    <a:pt x="8763" y="15564"/>
                  </a:cubicBezTo>
                  <a:lnTo>
                    <a:pt x="2679" y="13602"/>
                  </a:lnTo>
                  <a:lnTo>
                    <a:pt x="6435" y="8770"/>
                  </a:lnTo>
                  <a:lnTo>
                    <a:pt x="8763" y="12343"/>
                  </a:lnTo>
                  <a:lnTo>
                    <a:pt x="11801" y="8770"/>
                  </a:lnTo>
                  <a:lnTo>
                    <a:pt x="17709" y="0"/>
                  </a:lnTo>
                  <a:lnTo>
                    <a:pt x="14305" y="107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9" name="Freihandform: Form 284">
              <a:extLst>
                <a:ext uri="{FF2B5EF4-FFF2-40B4-BE49-F238E27FC236}">
                  <a16:creationId xmlns:a16="http://schemas.microsoft.com/office/drawing/2014/main" id="{CA4B4ACD-0C52-6446-82D2-FB1C2F058724}"/>
                </a:ext>
              </a:extLst>
            </p:cNvPr>
            <p:cNvSpPr/>
            <p:nvPr/>
          </p:nvSpPr>
          <p:spPr>
            <a:xfrm>
              <a:off x="6045919" y="3387058"/>
              <a:ext cx="14312" cy="20053"/>
            </a:xfrm>
            <a:custGeom>
              <a:avLst/>
              <a:gdLst>
                <a:gd name="connsiteX0" fmla="*/ 13060 w 14312"/>
                <a:gd name="connsiteY0" fmla="*/ 6259 h 20053"/>
                <a:gd name="connsiteX1" fmla="*/ 14312 w 14312"/>
                <a:gd name="connsiteY1" fmla="*/ 0 h 20053"/>
                <a:gd name="connsiteX2" fmla="*/ 11809 w 14312"/>
                <a:gd name="connsiteY2" fmla="*/ 0 h 20053"/>
                <a:gd name="connsiteX3" fmla="*/ 7336 w 14312"/>
                <a:gd name="connsiteY3" fmla="*/ 3756 h 20053"/>
                <a:gd name="connsiteX4" fmla="*/ 3038 w 14312"/>
                <a:gd name="connsiteY4" fmla="*/ 7870 h 20053"/>
                <a:gd name="connsiteX5" fmla="*/ 0 w 14312"/>
                <a:gd name="connsiteY5" fmla="*/ 10374 h 20053"/>
                <a:gd name="connsiteX6" fmla="*/ 3038 w 14312"/>
                <a:gd name="connsiteY6" fmla="*/ 14847 h 20053"/>
                <a:gd name="connsiteX7" fmla="*/ 1435 w 14312"/>
                <a:gd name="connsiteY7" fmla="*/ 18764 h 20053"/>
                <a:gd name="connsiteX8" fmla="*/ 4473 w 14312"/>
                <a:gd name="connsiteY8" fmla="*/ 20016 h 20053"/>
                <a:gd name="connsiteX9" fmla="*/ 7336 w 14312"/>
                <a:gd name="connsiteY9" fmla="*/ 17154 h 20053"/>
                <a:gd name="connsiteX10" fmla="*/ 7427 w 14312"/>
                <a:gd name="connsiteY10" fmla="*/ 17062 h 20053"/>
                <a:gd name="connsiteX11" fmla="*/ 11809 w 14312"/>
                <a:gd name="connsiteY11" fmla="*/ 12167 h 20053"/>
                <a:gd name="connsiteX12" fmla="*/ 13060 w 14312"/>
                <a:gd name="connsiteY12" fmla="*/ 9122 h 20053"/>
                <a:gd name="connsiteX13" fmla="*/ 13060 w 14312"/>
                <a:gd name="connsiteY13" fmla="*/ 6259 h 20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12" h="20053">
                  <a:moveTo>
                    <a:pt x="13060" y="6259"/>
                  </a:moveTo>
                  <a:lnTo>
                    <a:pt x="14312" y="0"/>
                  </a:lnTo>
                  <a:lnTo>
                    <a:pt x="11809" y="0"/>
                  </a:lnTo>
                  <a:lnTo>
                    <a:pt x="7336" y="3756"/>
                  </a:lnTo>
                  <a:lnTo>
                    <a:pt x="3038" y="7870"/>
                  </a:lnTo>
                  <a:lnTo>
                    <a:pt x="0" y="10374"/>
                  </a:lnTo>
                  <a:lnTo>
                    <a:pt x="3038" y="14847"/>
                  </a:lnTo>
                  <a:lnTo>
                    <a:pt x="1435" y="18764"/>
                  </a:lnTo>
                  <a:cubicBezTo>
                    <a:pt x="2145" y="19060"/>
                    <a:pt x="3756" y="19728"/>
                    <a:pt x="4473" y="20016"/>
                  </a:cubicBezTo>
                  <a:cubicBezTo>
                    <a:pt x="5366" y="20375"/>
                    <a:pt x="6442" y="18047"/>
                    <a:pt x="7336" y="17154"/>
                  </a:cubicBezTo>
                  <a:lnTo>
                    <a:pt x="7427" y="17062"/>
                  </a:lnTo>
                  <a:cubicBezTo>
                    <a:pt x="8412" y="16078"/>
                    <a:pt x="11112" y="13377"/>
                    <a:pt x="11809" y="12167"/>
                  </a:cubicBezTo>
                  <a:cubicBezTo>
                    <a:pt x="12378" y="11161"/>
                    <a:pt x="12878" y="9720"/>
                    <a:pt x="13060" y="9122"/>
                  </a:cubicBezTo>
                  <a:lnTo>
                    <a:pt x="13060" y="625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0" name="Freihandform: Form 285">
              <a:extLst>
                <a:ext uri="{FF2B5EF4-FFF2-40B4-BE49-F238E27FC236}">
                  <a16:creationId xmlns:a16="http://schemas.microsoft.com/office/drawing/2014/main" id="{59EA344F-4954-D64A-AFBE-7B7D9BB19816}"/>
                </a:ext>
              </a:extLst>
            </p:cNvPr>
            <p:cNvSpPr/>
            <p:nvPr/>
          </p:nvSpPr>
          <p:spPr>
            <a:xfrm>
              <a:off x="6041446" y="3410296"/>
              <a:ext cx="5907" cy="21618"/>
            </a:xfrm>
            <a:custGeom>
              <a:avLst/>
              <a:gdLst>
                <a:gd name="connsiteX0" fmla="*/ 5908 w 5907"/>
                <a:gd name="connsiteY0" fmla="*/ 0 h 21618"/>
                <a:gd name="connsiteX1" fmla="*/ 0 w 5907"/>
                <a:gd name="connsiteY1" fmla="*/ 1069 h 21618"/>
                <a:gd name="connsiteX2" fmla="*/ 0 w 5907"/>
                <a:gd name="connsiteY2" fmla="*/ 3573 h 21618"/>
                <a:gd name="connsiteX3" fmla="*/ 535 w 5907"/>
                <a:gd name="connsiteY3" fmla="*/ 6084 h 21618"/>
                <a:gd name="connsiteX4" fmla="*/ 535 w 5907"/>
                <a:gd name="connsiteY4" fmla="*/ 8229 h 21618"/>
                <a:gd name="connsiteX5" fmla="*/ 0 w 5907"/>
                <a:gd name="connsiteY5" fmla="*/ 13236 h 21618"/>
                <a:gd name="connsiteX6" fmla="*/ 0 w 5907"/>
                <a:gd name="connsiteY6" fmla="*/ 16992 h 21618"/>
                <a:gd name="connsiteX7" fmla="*/ 0 w 5907"/>
                <a:gd name="connsiteY7" fmla="*/ 21465 h 21618"/>
                <a:gd name="connsiteX8" fmla="*/ 1969 w 5907"/>
                <a:gd name="connsiteY8" fmla="*/ 19137 h 21618"/>
                <a:gd name="connsiteX9" fmla="*/ 4473 w 5907"/>
                <a:gd name="connsiteY9" fmla="*/ 15564 h 21618"/>
                <a:gd name="connsiteX10" fmla="*/ 4473 w 5907"/>
                <a:gd name="connsiteY10" fmla="*/ 11626 h 21618"/>
                <a:gd name="connsiteX11" fmla="*/ 3397 w 5907"/>
                <a:gd name="connsiteY11" fmla="*/ 7511 h 21618"/>
                <a:gd name="connsiteX12" fmla="*/ 5908 w 5907"/>
                <a:gd name="connsiteY12" fmla="*/ 3573 h 21618"/>
                <a:gd name="connsiteX13" fmla="*/ 5908 w 5907"/>
                <a:gd name="connsiteY13" fmla="*/ 0 h 21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07" h="21618">
                  <a:moveTo>
                    <a:pt x="5908" y="0"/>
                  </a:moveTo>
                  <a:lnTo>
                    <a:pt x="0" y="1069"/>
                  </a:lnTo>
                  <a:lnTo>
                    <a:pt x="0" y="3573"/>
                  </a:lnTo>
                  <a:lnTo>
                    <a:pt x="535" y="6084"/>
                  </a:lnTo>
                  <a:lnTo>
                    <a:pt x="535" y="8229"/>
                  </a:lnTo>
                  <a:cubicBezTo>
                    <a:pt x="359" y="9361"/>
                    <a:pt x="0" y="11949"/>
                    <a:pt x="0" y="13236"/>
                  </a:cubicBezTo>
                  <a:lnTo>
                    <a:pt x="0" y="16992"/>
                  </a:lnTo>
                  <a:lnTo>
                    <a:pt x="0" y="21465"/>
                  </a:lnTo>
                  <a:cubicBezTo>
                    <a:pt x="0" y="22182"/>
                    <a:pt x="1315" y="20213"/>
                    <a:pt x="1969" y="19137"/>
                  </a:cubicBezTo>
                  <a:cubicBezTo>
                    <a:pt x="2447" y="18188"/>
                    <a:pt x="3615" y="16134"/>
                    <a:pt x="4473" y="15564"/>
                  </a:cubicBezTo>
                  <a:cubicBezTo>
                    <a:pt x="5331" y="14987"/>
                    <a:pt x="4832" y="12702"/>
                    <a:pt x="4473" y="11626"/>
                  </a:cubicBezTo>
                  <a:lnTo>
                    <a:pt x="3397" y="7511"/>
                  </a:lnTo>
                  <a:lnTo>
                    <a:pt x="5908" y="3573"/>
                  </a:lnTo>
                  <a:lnTo>
                    <a:pt x="5908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1" name="Freihandform: Form 286">
              <a:extLst>
                <a:ext uri="{FF2B5EF4-FFF2-40B4-BE49-F238E27FC236}">
                  <a16:creationId xmlns:a16="http://schemas.microsoft.com/office/drawing/2014/main" id="{126B20DD-32D9-504C-A7D7-927D21F3DC5D}"/>
                </a:ext>
              </a:extLst>
            </p:cNvPr>
            <p:cNvSpPr/>
            <p:nvPr/>
          </p:nvSpPr>
          <p:spPr>
            <a:xfrm>
              <a:off x="6131406" y="3314252"/>
              <a:ext cx="13777" cy="28617"/>
            </a:xfrm>
            <a:custGeom>
              <a:avLst/>
              <a:gdLst>
                <a:gd name="connsiteX0" fmla="*/ 10915 w 13777"/>
                <a:gd name="connsiteY0" fmla="*/ 3573 h 28617"/>
                <a:gd name="connsiteX1" fmla="*/ 12702 w 13777"/>
                <a:gd name="connsiteY1" fmla="*/ 0 h 28617"/>
                <a:gd name="connsiteX2" fmla="*/ 13778 w 13777"/>
                <a:gd name="connsiteY2" fmla="*/ 1611 h 28617"/>
                <a:gd name="connsiteX3" fmla="*/ 10915 w 13777"/>
                <a:gd name="connsiteY3" fmla="*/ 7153 h 28617"/>
                <a:gd name="connsiteX4" fmla="*/ 10198 w 13777"/>
                <a:gd name="connsiteY4" fmla="*/ 11267 h 28617"/>
                <a:gd name="connsiteX5" fmla="*/ 7694 w 13777"/>
                <a:gd name="connsiteY5" fmla="*/ 11267 h 28617"/>
                <a:gd name="connsiteX6" fmla="*/ 10198 w 13777"/>
                <a:gd name="connsiteY6" fmla="*/ 15023 h 28617"/>
                <a:gd name="connsiteX7" fmla="*/ 10915 w 13777"/>
                <a:gd name="connsiteY7" fmla="*/ 18068 h 28617"/>
                <a:gd name="connsiteX8" fmla="*/ 7694 w 13777"/>
                <a:gd name="connsiteY8" fmla="*/ 21824 h 28617"/>
                <a:gd name="connsiteX9" fmla="*/ 7694 w 13777"/>
                <a:gd name="connsiteY9" fmla="*/ 26472 h 28617"/>
                <a:gd name="connsiteX10" fmla="*/ 6084 w 13777"/>
                <a:gd name="connsiteY10" fmla="*/ 28618 h 28617"/>
                <a:gd name="connsiteX11" fmla="*/ 4114 w 13777"/>
                <a:gd name="connsiteY11" fmla="*/ 26472 h 28617"/>
                <a:gd name="connsiteX12" fmla="*/ 4114 w 13777"/>
                <a:gd name="connsiteY12" fmla="*/ 23075 h 28617"/>
                <a:gd name="connsiteX13" fmla="*/ 0 w 13777"/>
                <a:gd name="connsiteY13" fmla="*/ 21824 h 28617"/>
                <a:gd name="connsiteX14" fmla="*/ 0 w 13777"/>
                <a:gd name="connsiteY14" fmla="*/ 18068 h 28617"/>
                <a:gd name="connsiteX15" fmla="*/ 4114 w 13777"/>
                <a:gd name="connsiteY15" fmla="*/ 15564 h 28617"/>
                <a:gd name="connsiteX16" fmla="*/ 2152 w 13777"/>
                <a:gd name="connsiteY16" fmla="*/ 14129 h 28617"/>
                <a:gd name="connsiteX17" fmla="*/ 2152 w 13777"/>
                <a:gd name="connsiteY17" fmla="*/ 11267 h 28617"/>
                <a:gd name="connsiteX18" fmla="*/ 4114 w 13777"/>
                <a:gd name="connsiteY18" fmla="*/ 8405 h 28617"/>
                <a:gd name="connsiteX19" fmla="*/ 7694 w 13777"/>
                <a:gd name="connsiteY19" fmla="*/ 8405 h 28617"/>
                <a:gd name="connsiteX20" fmla="*/ 7694 w 13777"/>
                <a:gd name="connsiteY20" fmla="*/ 5366 h 28617"/>
                <a:gd name="connsiteX21" fmla="*/ 10915 w 13777"/>
                <a:gd name="connsiteY21" fmla="*/ 3573 h 28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777" h="28617">
                  <a:moveTo>
                    <a:pt x="10915" y="3573"/>
                  </a:moveTo>
                  <a:lnTo>
                    <a:pt x="12702" y="0"/>
                  </a:lnTo>
                  <a:lnTo>
                    <a:pt x="13778" y="1611"/>
                  </a:lnTo>
                  <a:cubicBezTo>
                    <a:pt x="13180" y="3095"/>
                    <a:pt x="11773" y="6295"/>
                    <a:pt x="10915" y="7153"/>
                  </a:cubicBezTo>
                  <a:cubicBezTo>
                    <a:pt x="9839" y="8229"/>
                    <a:pt x="10198" y="10015"/>
                    <a:pt x="10198" y="11267"/>
                  </a:cubicBezTo>
                  <a:cubicBezTo>
                    <a:pt x="10198" y="12266"/>
                    <a:pt x="8531" y="11682"/>
                    <a:pt x="7694" y="11267"/>
                  </a:cubicBezTo>
                  <a:cubicBezTo>
                    <a:pt x="8348" y="12223"/>
                    <a:pt x="9769" y="14305"/>
                    <a:pt x="10198" y="15023"/>
                  </a:cubicBezTo>
                  <a:cubicBezTo>
                    <a:pt x="10627" y="15740"/>
                    <a:pt x="10859" y="17351"/>
                    <a:pt x="10915" y="18068"/>
                  </a:cubicBezTo>
                  <a:lnTo>
                    <a:pt x="7694" y="21824"/>
                  </a:lnTo>
                  <a:lnTo>
                    <a:pt x="7694" y="26472"/>
                  </a:lnTo>
                  <a:lnTo>
                    <a:pt x="6084" y="28618"/>
                  </a:lnTo>
                  <a:lnTo>
                    <a:pt x="4114" y="26472"/>
                  </a:lnTo>
                  <a:lnTo>
                    <a:pt x="4114" y="23075"/>
                  </a:lnTo>
                  <a:cubicBezTo>
                    <a:pt x="4114" y="22358"/>
                    <a:pt x="1371" y="21943"/>
                    <a:pt x="0" y="21824"/>
                  </a:cubicBezTo>
                  <a:lnTo>
                    <a:pt x="0" y="18068"/>
                  </a:lnTo>
                  <a:lnTo>
                    <a:pt x="4114" y="15564"/>
                  </a:lnTo>
                  <a:lnTo>
                    <a:pt x="2152" y="14129"/>
                  </a:lnTo>
                  <a:lnTo>
                    <a:pt x="2152" y="11267"/>
                  </a:lnTo>
                  <a:lnTo>
                    <a:pt x="4114" y="8405"/>
                  </a:lnTo>
                  <a:lnTo>
                    <a:pt x="7694" y="8405"/>
                  </a:lnTo>
                  <a:lnTo>
                    <a:pt x="7694" y="5366"/>
                  </a:lnTo>
                  <a:lnTo>
                    <a:pt x="10915" y="357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2" name="Freihandform: Form 287">
              <a:extLst>
                <a:ext uri="{FF2B5EF4-FFF2-40B4-BE49-F238E27FC236}">
                  <a16:creationId xmlns:a16="http://schemas.microsoft.com/office/drawing/2014/main" id="{FF9BDAE8-8923-484B-97F8-9106AE89F1B8}"/>
                </a:ext>
              </a:extLst>
            </p:cNvPr>
            <p:cNvSpPr/>
            <p:nvPr/>
          </p:nvSpPr>
          <p:spPr>
            <a:xfrm>
              <a:off x="6104399" y="3360579"/>
              <a:ext cx="17709" cy="19048"/>
            </a:xfrm>
            <a:custGeom>
              <a:avLst/>
              <a:gdLst>
                <a:gd name="connsiteX0" fmla="*/ 14305 w 17709"/>
                <a:gd name="connsiteY0" fmla="*/ 1076 h 19048"/>
                <a:gd name="connsiteX1" fmla="*/ 6435 w 17709"/>
                <a:gd name="connsiteY1" fmla="*/ 1076 h 19048"/>
                <a:gd name="connsiteX2" fmla="*/ 4649 w 17709"/>
                <a:gd name="connsiteY2" fmla="*/ 3938 h 19048"/>
                <a:gd name="connsiteX3" fmla="*/ 0 w 17709"/>
                <a:gd name="connsiteY3" fmla="*/ 8770 h 19048"/>
                <a:gd name="connsiteX4" fmla="*/ 1428 w 17709"/>
                <a:gd name="connsiteY4" fmla="*/ 15564 h 19048"/>
                <a:gd name="connsiteX5" fmla="*/ 8763 w 17709"/>
                <a:gd name="connsiteY5" fmla="*/ 18968 h 19048"/>
                <a:gd name="connsiteX6" fmla="*/ 8763 w 17709"/>
                <a:gd name="connsiteY6" fmla="*/ 15564 h 19048"/>
                <a:gd name="connsiteX7" fmla="*/ 2679 w 17709"/>
                <a:gd name="connsiteY7" fmla="*/ 13602 h 19048"/>
                <a:gd name="connsiteX8" fmla="*/ 6435 w 17709"/>
                <a:gd name="connsiteY8" fmla="*/ 8770 h 19048"/>
                <a:gd name="connsiteX9" fmla="*/ 8763 w 17709"/>
                <a:gd name="connsiteY9" fmla="*/ 12343 h 19048"/>
                <a:gd name="connsiteX10" fmla="*/ 11801 w 17709"/>
                <a:gd name="connsiteY10" fmla="*/ 8770 h 19048"/>
                <a:gd name="connsiteX11" fmla="*/ 17709 w 17709"/>
                <a:gd name="connsiteY11" fmla="*/ 0 h 19048"/>
                <a:gd name="connsiteX12" fmla="*/ 14305 w 17709"/>
                <a:gd name="connsiteY12" fmla="*/ 1076 h 1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709" h="19048">
                  <a:moveTo>
                    <a:pt x="14305" y="1076"/>
                  </a:moveTo>
                  <a:lnTo>
                    <a:pt x="6435" y="1076"/>
                  </a:lnTo>
                  <a:lnTo>
                    <a:pt x="4649" y="3938"/>
                  </a:lnTo>
                  <a:lnTo>
                    <a:pt x="0" y="8770"/>
                  </a:lnTo>
                  <a:cubicBezTo>
                    <a:pt x="295" y="11035"/>
                    <a:pt x="999" y="15564"/>
                    <a:pt x="1428" y="15564"/>
                  </a:cubicBezTo>
                  <a:cubicBezTo>
                    <a:pt x="1962" y="15564"/>
                    <a:pt x="7687" y="18251"/>
                    <a:pt x="8763" y="18968"/>
                  </a:cubicBezTo>
                  <a:cubicBezTo>
                    <a:pt x="9621" y="19538"/>
                    <a:pt x="9122" y="16936"/>
                    <a:pt x="8763" y="15564"/>
                  </a:cubicBezTo>
                  <a:lnTo>
                    <a:pt x="2679" y="13602"/>
                  </a:lnTo>
                  <a:lnTo>
                    <a:pt x="6435" y="8770"/>
                  </a:lnTo>
                  <a:lnTo>
                    <a:pt x="8763" y="12343"/>
                  </a:lnTo>
                  <a:lnTo>
                    <a:pt x="11801" y="8770"/>
                  </a:lnTo>
                  <a:lnTo>
                    <a:pt x="17709" y="0"/>
                  </a:lnTo>
                  <a:lnTo>
                    <a:pt x="14305" y="107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3" name="Freihandform: Form 288">
              <a:extLst>
                <a:ext uri="{FF2B5EF4-FFF2-40B4-BE49-F238E27FC236}">
                  <a16:creationId xmlns:a16="http://schemas.microsoft.com/office/drawing/2014/main" id="{A48DD09B-DFDF-6743-A15D-AE361345ABAD}"/>
                </a:ext>
              </a:extLst>
            </p:cNvPr>
            <p:cNvSpPr/>
            <p:nvPr/>
          </p:nvSpPr>
          <p:spPr>
            <a:xfrm>
              <a:off x="6045919" y="3387058"/>
              <a:ext cx="14312" cy="20053"/>
            </a:xfrm>
            <a:custGeom>
              <a:avLst/>
              <a:gdLst>
                <a:gd name="connsiteX0" fmla="*/ 13060 w 14312"/>
                <a:gd name="connsiteY0" fmla="*/ 6259 h 20053"/>
                <a:gd name="connsiteX1" fmla="*/ 14312 w 14312"/>
                <a:gd name="connsiteY1" fmla="*/ 0 h 20053"/>
                <a:gd name="connsiteX2" fmla="*/ 11809 w 14312"/>
                <a:gd name="connsiteY2" fmla="*/ 0 h 20053"/>
                <a:gd name="connsiteX3" fmla="*/ 7336 w 14312"/>
                <a:gd name="connsiteY3" fmla="*/ 3756 h 20053"/>
                <a:gd name="connsiteX4" fmla="*/ 3038 w 14312"/>
                <a:gd name="connsiteY4" fmla="*/ 7870 h 20053"/>
                <a:gd name="connsiteX5" fmla="*/ 0 w 14312"/>
                <a:gd name="connsiteY5" fmla="*/ 10374 h 20053"/>
                <a:gd name="connsiteX6" fmla="*/ 3038 w 14312"/>
                <a:gd name="connsiteY6" fmla="*/ 14847 h 20053"/>
                <a:gd name="connsiteX7" fmla="*/ 1435 w 14312"/>
                <a:gd name="connsiteY7" fmla="*/ 18764 h 20053"/>
                <a:gd name="connsiteX8" fmla="*/ 4473 w 14312"/>
                <a:gd name="connsiteY8" fmla="*/ 20016 h 20053"/>
                <a:gd name="connsiteX9" fmla="*/ 7336 w 14312"/>
                <a:gd name="connsiteY9" fmla="*/ 17154 h 20053"/>
                <a:gd name="connsiteX10" fmla="*/ 7427 w 14312"/>
                <a:gd name="connsiteY10" fmla="*/ 17062 h 20053"/>
                <a:gd name="connsiteX11" fmla="*/ 11809 w 14312"/>
                <a:gd name="connsiteY11" fmla="*/ 12167 h 20053"/>
                <a:gd name="connsiteX12" fmla="*/ 13060 w 14312"/>
                <a:gd name="connsiteY12" fmla="*/ 9122 h 20053"/>
                <a:gd name="connsiteX13" fmla="*/ 13060 w 14312"/>
                <a:gd name="connsiteY13" fmla="*/ 6259 h 20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12" h="20053">
                  <a:moveTo>
                    <a:pt x="13060" y="6259"/>
                  </a:moveTo>
                  <a:lnTo>
                    <a:pt x="14312" y="0"/>
                  </a:lnTo>
                  <a:lnTo>
                    <a:pt x="11809" y="0"/>
                  </a:lnTo>
                  <a:lnTo>
                    <a:pt x="7336" y="3756"/>
                  </a:lnTo>
                  <a:lnTo>
                    <a:pt x="3038" y="7870"/>
                  </a:lnTo>
                  <a:lnTo>
                    <a:pt x="0" y="10374"/>
                  </a:lnTo>
                  <a:lnTo>
                    <a:pt x="3038" y="14847"/>
                  </a:lnTo>
                  <a:lnTo>
                    <a:pt x="1435" y="18764"/>
                  </a:lnTo>
                  <a:cubicBezTo>
                    <a:pt x="2145" y="19060"/>
                    <a:pt x="3756" y="19728"/>
                    <a:pt x="4473" y="20016"/>
                  </a:cubicBezTo>
                  <a:cubicBezTo>
                    <a:pt x="5366" y="20375"/>
                    <a:pt x="6442" y="18047"/>
                    <a:pt x="7336" y="17154"/>
                  </a:cubicBezTo>
                  <a:lnTo>
                    <a:pt x="7427" y="17062"/>
                  </a:lnTo>
                  <a:cubicBezTo>
                    <a:pt x="8412" y="16078"/>
                    <a:pt x="11112" y="13377"/>
                    <a:pt x="11809" y="12167"/>
                  </a:cubicBezTo>
                  <a:cubicBezTo>
                    <a:pt x="12378" y="11161"/>
                    <a:pt x="12878" y="9720"/>
                    <a:pt x="13060" y="9122"/>
                  </a:cubicBezTo>
                  <a:lnTo>
                    <a:pt x="13060" y="625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4" name="Freihandform: Form 289">
              <a:extLst>
                <a:ext uri="{FF2B5EF4-FFF2-40B4-BE49-F238E27FC236}">
                  <a16:creationId xmlns:a16="http://schemas.microsoft.com/office/drawing/2014/main" id="{E662450F-2B76-BD44-B0D3-855CCB13EC9D}"/>
                </a:ext>
              </a:extLst>
            </p:cNvPr>
            <p:cNvSpPr/>
            <p:nvPr/>
          </p:nvSpPr>
          <p:spPr>
            <a:xfrm>
              <a:off x="6041446" y="3410296"/>
              <a:ext cx="5907" cy="21618"/>
            </a:xfrm>
            <a:custGeom>
              <a:avLst/>
              <a:gdLst>
                <a:gd name="connsiteX0" fmla="*/ 5908 w 5907"/>
                <a:gd name="connsiteY0" fmla="*/ 0 h 21618"/>
                <a:gd name="connsiteX1" fmla="*/ 0 w 5907"/>
                <a:gd name="connsiteY1" fmla="*/ 1069 h 21618"/>
                <a:gd name="connsiteX2" fmla="*/ 0 w 5907"/>
                <a:gd name="connsiteY2" fmla="*/ 3573 h 21618"/>
                <a:gd name="connsiteX3" fmla="*/ 535 w 5907"/>
                <a:gd name="connsiteY3" fmla="*/ 6084 h 21618"/>
                <a:gd name="connsiteX4" fmla="*/ 535 w 5907"/>
                <a:gd name="connsiteY4" fmla="*/ 8229 h 21618"/>
                <a:gd name="connsiteX5" fmla="*/ 0 w 5907"/>
                <a:gd name="connsiteY5" fmla="*/ 13236 h 21618"/>
                <a:gd name="connsiteX6" fmla="*/ 0 w 5907"/>
                <a:gd name="connsiteY6" fmla="*/ 16992 h 21618"/>
                <a:gd name="connsiteX7" fmla="*/ 0 w 5907"/>
                <a:gd name="connsiteY7" fmla="*/ 21465 h 21618"/>
                <a:gd name="connsiteX8" fmla="*/ 1969 w 5907"/>
                <a:gd name="connsiteY8" fmla="*/ 19137 h 21618"/>
                <a:gd name="connsiteX9" fmla="*/ 4473 w 5907"/>
                <a:gd name="connsiteY9" fmla="*/ 15564 h 21618"/>
                <a:gd name="connsiteX10" fmla="*/ 4473 w 5907"/>
                <a:gd name="connsiteY10" fmla="*/ 11626 h 21618"/>
                <a:gd name="connsiteX11" fmla="*/ 3397 w 5907"/>
                <a:gd name="connsiteY11" fmla="*/ 7511 h 21618"/>
                <a:gd name="connsiteX12" fmla="*/ 5908 w 5907"/>
                <a:gd name="connsiteY12" fmla="*/ 3573 h 21618"/>
                <a:gd name="connsiteX13" fmla="*/ 5908 w 5907"/>
                <a:gd name="connsiteY13" fmla="*/ 0 h 21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07" h="21618">
                  <a:moveTo>
                    <a:pt x="5908" y="0"/>
                  </a:moveTo>
                  <a:lnTo>
                    <a:pt x="0" y="1069"/>
                  </a:lnTo>
                  <a:lnTo>
                    <a:pt x="0" y="3573"/>
                  </a:lnTo>
                  <a:lnTo>
                    <a:pt x="535" y="6084"/>
                  </a:lnTo>
                  <a:lnTo>
                    <a:pt x="535" y="8229"/>
                  </a:lnTo>
                  <a:cubicBezTo>
                    <a:pt x="359" y="9361"/>
                    <a:pt x="0" y="11949"/>
                    <a:pt x="0" y="13236"/>
                  </a:cubicBezTo>
                  <a:lnTo>
                    <a:pt x="0" y="16992"/>
                  </a:lnTo>
                  <a:lnTo>
                    <a:pt x="0" y="21465"/>
                  </a:lnTo>
                  <a:cubicBezTo>
                    <a:pt x="0" y="22182"/>
                    <a:pt x="1315" y="20213"/>
                    <a:pt x="1969" y="19137"/>
                  </a:cubicBezTo>
                  <a:cubicBezTo>
                    <a:pt x="2447" y="18188"/>
                    <a:pt x="3615" y="16134"/>
                    <a:pt x="4473" y="15564"/>
                  </a:cubicBezTo>
                  <a:cubicBezTo>
                    <a:pt x="5331" y="14987"/>
                    <a:pt x="4832" y="12702"/>
                    <a:pt x="4473" y="11626"/>
                  </a:cubicBezTo>
                  <a:lnTo>
                    <a:pt x="3397" y="7511"/>
                  </a:lnTo>
                  <a:lnTo>
                    <a:pt x="5908" y="3573"/>
                  </a:lnTo>
                  <a:lnTo>
                    <a:pt x="5908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5" name="Freihandform: Form 290">
              <a:extLst>
                <a:ext uri="{FF2B5EF4-FFF2-40B4-BE49-F238E27FC236}">
                  <a16:creationId xmlns:a16="http://schemas.microsoft.com/office/drawing/2014/main" id="{9C857302-AE36-494A-B2B6-B70C1D080B34}"/>
                </a:ext>
              </a:extLst>
            </p:cNvPr>
            <p:cNvSpPr/>
            <p:nvPr/>
          </p:nvSpPr>
          <p:spPr>
            <a:xfrm>
              <a:off x="6041805" y="3266505"/>
              <a:ext cx="17174" cy="12342"/>
            </a:xfrm>
            <a:custGeom>
              <a:avLst/>
              <a:gdLst>
                <a:gd name="connsiteX0" fmla="*/ 10374 w 17174"/>
                <a:gd name="connsiteY0" fmla="*/ 3756 h 12342"/>
                <a:gd name="connsiteX1" fmla="*/ 8229 w 17174"/>
                <a:gd name="connsiteY1" fmla="*/ 0 h 12342"/>
                <a:gd name="connsiteX2" fmla="*/ 7335 w 17174"/>
                <a:gd name="connsiteY2" fmla="*/ 0 h 12342"/>
                <a:gd name="connsiteX3" fmla="*/ 3938 w 17174"/>
                <a:gd name="connsiteY3" fmla="*/ 0 h 12342"/>
                <a:gd name="connsiteX4" fmla="*/ 3938 w 17174"/>
                <a:gd name="connsiteY4" fmla="*/ 3756 h 12342"/>
                <a:gd name="connsiteX5" fmla="*/ 0 w 17174"/>
                <a:gd name="connsiteY5" fmla="*/ 8587 h 12342"/>
                <a:gd name="connsiteX6" fmla="*/ 5190 w 17174"/>
                <a:gd name="connsiteY6" fmla="*/ 8587 h 12342"/>
                <a:gd name="connsiteX7" fmla="*/ 7335 w 17174"/>
                <a:gd name="connsiteY7" fmla="*/ 8587 h 12342"/>
                <a:gd name="connsiteX8" fmla="*/ 9663 w 17174"/>
                <a:gd name="connsiteY8" fmla="*/ 12343 h 12342"/>
                <a:gd name="connsiteX9" fmla="*/ 12702 w 17174"/>
                <a:gd name="connsiteY9" fmla="*/ 11626 h 12342"/>
                <a:gd name="connsiteX10" fmla="*/ 12702 w 17174"/>
                <a:gd name="connsiteY10" fmla="*/ 8587 h 12342"/>
                <a:gd name="connsiteX11" fmla="*/ 12702 w 17174"/>
                <a:gd name="connsiteY11" fmla="*/ 5725 h 12342"/>
                <a:gd name="connsiteX12" fmla="*/ 17175 w 17174"/>
                <a:gd name="connsiteY12" fmla="*/ 3756 h 12342"/>
                <a:gd name="connsiteX13" fmla="*/ 17175 w 17174"/>
                <a:gd name="connsiteY13" fmla="*/ 0 h 12342"/>
                <a:gd name="connsiteX14" fmla="*/ 12702 w 17174"/>
                <a:gd name="connsiteY14" fmla="*/ 0 h 12342"/>
                <a:gd name="connsiteX15" fmla="*/ 10374 w 17174"/>
                <a:gd name="connsiteY15" fmla="*/ 3756 h 1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74" h="12342">
                  <a:moveTo>
                    <a:pt x="10374" y="3756"/>
                  </a:moveTo>
                  <a:lnTo>
                    <a:pt x="8229" y="0"/>
                  </a:lnTo>
                  <a:lnTo>
                    <a:pt x="7335" y="0"/>
                  </a:lnTo>
                  <a:lnTo>
                    <a:pt x="3938" y="0"/>
                  </a:lnTo>
                  <a:lnTo>
                    <a:pt x="3938" y="3756"/>
                  </a:lnTo>
                  <a:lnTo>
                    <a:pt x="0" y="8587"/>
                  </a:lnTo>
                  <a:cubicBezTo>
                    <a:pt x="1428" y="8946"/>
                    <a:pt x="4473" y="9445"/>
                    <a:pt x="5190" y="8587"/>
                  </a:cubicBezTo>
                  <a:cubicBezTo>
                    <a:pt x="5901" y="7729"/>
                    <a:pt x="6920" y="8229"/>
                    <a:pt x="7335" y="8587"/>
                  </a:cubicBezTo>
                  <a:lnTo>
                    <a:pt x="9663" y="12343"/>
                  </a:lnTo>
                  <a:lnTo>
                    <a:pt x="12702" y="11626"/>
                  </a:lnTo>
                  <a:lnTo>
                    <a:pt x="12702" y="8587"/>
                  </a:lnTo>
                  <a:lnTo>
                    <a:pt x="12702" y="5725"/>
                  </a:lnTo>
                  <a:lnTo>
                    <a:pt x="17175" y="3756"/>
                  </a:lnTo>
                  <a:lnTo>
                    <a:pt x="17175" y="0"/>
                  </a:lnTo>
                  <a:lnTo>
                    <a:pt x="12702" y="0"/>
                  </a:lnTo>
                  <a:lnTo>
                    <a:pt x="10374" y="375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6" name="Freihandform: Form 291">
              <a:extLst>
                <a:ext uri="{FF2B5EF4-FFF2-40B4-BE49-F238E27FC236}">
                  <a16:creationId xmlns:a16="http://schemas.microsoft.com/office/drawing/2014/main" id="{7499FB55-981D-7A4B-9A96-242D6533DB62}"/>
                </a:ext>
              </a:extLst>
            </p:cNvPr>
            <p:cNvSpPr/>
            <p:nvPr/>
          </p:nvSpPr>
          <p:spPr>
            <a:xfrm>
              <a:off x="6049140" y="3289222"/>
              <a:ext cx="5366" cy="7335"/>
            </a:xfrm>
            <a:custGeom>
              <a:avLst/>
              <a:gdLst>
                <a:gd name="connsiteX0" fmla="*/ 5366 w 5366"/>
                <a:gd name="connsiteY0" fmla="*/ 2328 h 7335"/>
                <a:gd name="connsiteX1" fmla="*/ 2328 w 5366"/>
                <a:gd name="connsiteY1" fmla="*/ 0 h 7335"/>
                <a:gd name="connsiteX2" fmla="*/ 0 w 5366"/>
                <a:gd name="connsiteY2" fmla="*/ 0 h 7335"/>
                <a:gd name="connsiteX3" fmla="*/ 893 w 5366"/>
                <a:gd name="connsiteY3" fmla="*/ 4656 h 7335"/>
                <a:gd name="connsiteX4" fmla="*/ 4290 w 5366"/>
                <a:gd name="connsiteY4" fmla="*/ 7336 h 7335"/>
                <a:gd name="connsiteX5" fmla="*/ 5366 w 5366"/>
                <a:gd name="connsiteY5" fmla="*/ 2328 h 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66" h="7335">
                  <a:moveTo>
                    <a:pt x="5366" y="2328"/>
                  </a:moveTo>
                  <a:lnTo>
                    <a:pt x="2328" y="0"/>
                  </a:lnTo>
                  <a:lnTo>
                    <a:pt x="0" y="0"/>
                  </a:lnTo>
                  <a:lnTo>
                    <a:pt x="893" y="4656"/>
                  </a:lnTo>
                  <a:lnTo>
                    <a:pt x="4290" y="7336"/>
                  </a:lnTo>
                  <a:lnTo>
                    <a:pt x="5366" y="232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7" name="Freihandform: Form 292">
              <a:extLst>
                <a:ext uri="{FF2B5EF4-FFF2-40B4-BE49-F238E27FC236}">
                  <a16:creationId xmlns:a16="http://schemas.microsoft.com/office/drawing/2014/main" id="{D5959310-F368-1C4E-8BC4-7E2F0BCF310A}"/>
                </a:ext>
              </a:extLst>
            </p:cNvPr>
            <p:cNvSpPr/>
            <p:nvPr/>
          </p:nvSpPr>
          <p:spPr>
            <a:xfrm>
              <a:off x="6041805" y="3266505"/>
              <a:ext cx="17174" cy="12342"/>
            </a:xfrm>
            <a:custGeom>
              <a:avLst/>
              <a:gdLst>
                <a:gd name="connsiteX0" fmla="*/ 10374 w 17174"/>
                <a:gd name="connsiteY0" fmla="*/ 3756 h 12342"/>
                <a:gd name="connsiteX1" fmla="*/ 8229 w 17174"/>
                <a:gd name="connsiteY1" fmla="*/ 0 h 12342"/>
                <a:gd name="connsiteX2" fmla="*/ 7335 w 17174"/>
                <a:gd name="connsiteY2" fmla="*/ 0 h 12342"/>
                <a:gd name="connsiteX3" fmla="*/ 3938 w 17174"/>
                <a:gd name="connsiteY3" fmla="*/ 0 h 12342"/>
                <a:gd name="connsiteX4" fmla="*/ 3938 w 17174"/>
                <a:gd name="connsiteY4" fmla="*/ 3756 h 12342"/>
                <a:gd name="connsiteX5" fmla="*/ 0 w 17174"/>
                <a:gd name="connsiteY5" fmla="*/ 8587 h 12342"/>
                <a:gd name="connsiteX6" fmla="*/ 5190 w 17174"/>
                <a:gd name="connsiteY6" fmla="*/ 8587 h 12342"/>
                <a:gd name="connsiteX7" fmla="*/ 7335 w 17174"/>
                <a:gd name="connsiteY7" fmla="*/ 8587 h 12342"/>
                <a:gd name="connsiteX8" fmla="*/ 9663 w 17174"/>
                <a:gd name="connsiteY8" fmla="*/ 12343 h 12342"/>
                <a:gd name="connsiteX9" fmla="*/ 12702 w 17174"/>
                <a:gd name="connsiteY9" fmla="*/ 11626 h 12342"/>
                <a:gd name="connsiteX10" fmla="*/ 12702 w 17174"/>
                <a:gd name="connsiteY10" fmla="*/ 8587 h 12342"/>
                <a:gd name="connsiteX11" fmla="*/ 12702 w 17174"/>
                <a:gd name="connsiteY11" fmla="*/ 5725 h 12342"/>
                <a:gd name="connsiteX12" fmla="*/ 17175 w 17174"/>
                <a:gd name="connsiteY12" fmla="*/ 3756 h 12342"/>
                <a:gd name="connsiteX13" fmla="*/ 17175 w 17174"/>
                <a:gd name="connsiteY13" fmla="*/ 0 h 12342"/>
                <a:gd name="connsiteX14" fmla="*/ 12702 w 17174"/>
                <a:gd name="connsiteY14" fmla="*/ 0 h 12342"/>
                <a:gd name="connsiteX15" fmla="*/ 10374 w 17174"/>
                <a:gd name="connsiteY15" fmla="*/ 3756 h 1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74" h="12342">
                  <a:moveTo>
                    <a:pt x="10374" y="3756"/>
                  </a:moveTo>
                  <a:lnTo>
                    <a:pt x="8229" y="0"/>
                  </a:lnTo>
                  <a:lnTo>
                    <a:pt x="7335" y="0"/>
                  </a:lnTo>
                  <a:lnTo>
                    <a:pt x="3938" y="0"/>
                  </a:lnTo>
                  <a:lnTo>
                    <a:pt x="3938" y="3756"/>
                  </a:lnTo>
                  <a:lnTo>
                    <a:pt x="0" y="8587"/>
                  </a:lnTo>
                  <a:cubicBezTo>
                    <a:pt x="1428" y="8946"/>
                    <a:pt x="4473" y="9445"/>
                    <a:pt x="5190" y="8587"/>
                  </a:cubicBezTo>
                  <a:cubicBezTo>
                    <a:pt x="5901" y="7729"/>
                    <a:pt x="6920" y="8229"/>
                    <a:pt x="7335" y="8587"/>
                  </a:cubicBezTo>
                  <a:lnTo>
                    <a:pt x="9663" y="12343"/>
                  </a:lnTo>
                  <a:lnTo>
                    <a:pt x="12702" y="11626"/>
                  </a:lnTo>
                  <a:lnTo>
                    <a:pt x="12702" y="8587"/>
                  </a:lnTo>
                  <a:lnTo>
                    <a:pt x="12702" y="5725"/>
                  </a:lnTo>
                  <a:lnTo>
                    <a:pt x="17175" y="3756"/>
                  </a:lnTo>
                  <a:lnTo>
                    <a:pt x="17175" y="0"/>
                  </a:lnTo>
                  <a:lnTo>
                    <a:pt x="12702" y="0"/>
                  </a:lnTo>
                  <a:lnTo>
                    <a:pt x="10374" y="375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8" name="Freihandform: Form 293">
              <a:extLst>
                <a:ext uri="{FF2B5EF4-FFF2-40B4-BE49-F238E27FC236}">
                  <a16:creationId xmlns:a16="http://schemas.microsoft.com/office/drawing/2014/main" id="{22DDABCC-51EE-AC44-A43B-C382A1F40118}"/>
                </a:ext>
              </a:extLst>
            </p:cNvPr>
            <p:cNvSpPr/>
            <p:nvPr/>
          </p:nvSpPr>
          <p:spPr>
            <a:xfrm>
              <a:off x="6049140" y="3289222"/>
              <a:ext cx="5366" cy="7335"/>
            </a:xfrm>
            <a:custGeom>
              <a:avLst/>
              <a:gdLst>
                <a:gd name="connsiteX0" fmla="*/ 5366 w 5366"/>
                <a:gd name="connsiteY0" fmla="*/ 2328 h 7335"/>
                <a:gd name="connsiteX1" fmla="*/ 2328 w 5366"/>
                <a:gd name="connsiteY1" fmla="*/ 0 h 7335"/>
                <a:gd name="connsiteX2" fmla="*/ 0 w 5366"/>
                <a:gd name="connsiteY2" fmla="*/ 0 h 7335"/>
                <a:gd name="connsiteX3" fmla="*/ 893 w 5366"/>
                <a:gd name="connsiteY3" fmla="*/ 4656 h 7335"/>
                <a:gd name="connsiteX4" fmla="*/ 4290 w 5366"/>
                <a:gd name="connsiteY4" fmla="*/ 7336 h 7335"/>
                <a:gd name="connsiteX5" fmla="*/ 5366 w 5366"/>
                <a:gd name="connsiteY5" fmla="*/ 2328 h 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66" h="7335">
                  <a:moveTo>
                    <a:pt x="5366" y="2328"/>
                  </a:moveTo>
                  <a:lnTo>
                    <a:pt x="2328" y="0"/>
                  </a:lnTo>
                  <a:lnTo>
                    <a:pt x="0" y="0"/>
                  </a:lnTo>
                  <a:lnTo>
                    <a:pt x="893" y="4656"/>
                  </a:lnTo>
                  <a:lnTo>
                    <a:pt x="4290" y="7336"/>
                  </a:lnTo>
                  <a:lnTo>
                    <a:pt x="5366" y="232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9" name="Freihandform: Form 294">
              <a:extLst>
                <a:ext uri="{FF2B5EF4-FFF2-40B4-BE49-F238E27FC236}">
                  <a16:creationId xmlns:a16="http://schemas.microsoft.com/office/drawing/2014/main" id="{A7A07671-C672-C147-9A74-EC7433685A57}"/>
                </a:ext>
              </a:extLst>
            </p:cNvPr>
            <p:cNvSpPr/>
            <p:nvPr/>
          </p:nvSpPr>
          <p:spPr>
            <a:xfrm>
              <a:off x="6529322" y="3931220"/>
              <a:ext cx="45757" cy="12722"/>
            </a:xfrm>
            <a:custGeom>
              <a:avLst/>
              <a:gdLst>
                <a:gd name="connsiteX0" fmla="*/ 7631 w 45757"/>
                <a:gd name="connsiteY0" fmla="*/ 0 h 12722"/>
                <a:gd name="connsiteX1" fmla="*/ 0 w 45757"/>
                <a:gd name="connsiteY1" fmla="*/ 0 h 12722"/>
                <a:gd name="connsiteX2" fmla="*/ 0 w 45757"/>
                <a:gd name="connsiteY2" fmla="*/ 5943 h 12722"/>
                <a:gd name="connsiteX3" fmla="*/ 7631 w 45757"/>
                <a:gd name="connsiteY3" fmla="*/ 5943 h 12722"/>
                <a:gd name="connsiteX4" fmla="*/ 14826 w 45757"/>
                <a:gd name="connsiteY4" fmla="*/ 10177 h 12722"/>
                <a:gd name="connsiteX5" fmla="*/ 21184 w 45757"/>
                <a:gd name="connsiteY5" fmla="*/ 12723 h 12722"/>
                <a:gd name="connsiteX6" fmla="*/ 27527 w 45757"/>
                <a:gd name="connsiteY6" fmla="*/ 12723 h 12722"/>
                <a:gd name="connsiteX7" fmla="*/ 32198 w 45757"/>
                <a:gd name="connsiteY7" fmla="*/ 10177 h 12722"/>
                <a:gd name="connsiteX8" fmla="*/ 45757 w 45757"/>
                <a:gd name="connsiteY8" fmla="*/ 10177 h 12722"/>
                <a:gd name="connsiteX9" fmla="*/ 42789 w 45757"/>
                <a:gd name="connsiteY9" fmla="*/ 5943 h 12722"/>
                <a:gd name="connsiteX10" fmla="*/ 32198 w 45757"/>
                <a:gd name="connsiteY10" fmla="*/ 5943 h 12722"/>
                <a:gd name="connsiteX11" fmla="*/ 27527 w 45757"/>
                <a:gd name="connsiteY11" fmla="*/ 2131 h 12722"/>
                <a:gd name="connsiteX12" fmla="*/ 21184 w 45757"/>
                <a:gd name="connsiteY12" fmla="*/ 2131 h 12722"/>
                <a:gd name="connsiteX13" fmla="*/ 14826 w 45757"/>
                <a:gd name="connsiteY13" fmla="*/ 2131 h 12722"/>
                <a:gd name="connsiteX14" fmla="*/ 7631 w 45757"/>
                <a:gd name="connsiteY14" fmla="*/ 0 h 12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5757" h="12722">
                  <a:moveTo>
                    <a:pt x="7631" y="0"/>
                  </a:moveTo>
                  <a:lnTo>
                    <a:pt x="0" y="0"/>
                  </a:lnTo>
                  <a:lnTo>
                    <a:pt x="0" y="5943"/>
                  </a:lnTo>
                  <a:lnTo>
                    <a:pt x="7631" y="5943"/>
                  </a:lnTo>
                  <a:lnTo>
                    <a:pt x="14826" y="10177"/>
                  </a:lnTo>
                  <a:lnTo>
                    <a:pt x="21184" y="12723"/>
                  </a:lnTo>
                  <a:lnTo>
                    <a:pt x="27527" y="12723"/>
                  </a:lnTo>
                  <a:lnTo>
                    <a:pt x="32198" y="10177"/>
                  </a:lnTo>
                  <a:lnTo>
                    <a:pt x="45757" y="10177"/>
                  </a:lnTo>
                  <a:lnTo>
                    <a:pt x="42789" y="5943"/>
                  </a:lnTo>
                  <a:lnTo>
                    <a:pt x="32198" y="5943"/>
                  </a:lnTo>
                  <a:lnTo>
                    <a:pt x="27527" y="2131"/>
                  </a:lnTo>
                  <a:lnTo>
                    <a:pt x="21184" y="2131"/>
                  </a:lnTo>
                  <a:lnTo>
                    <a:pt x="14826" y="2131"/>
                  </a:lnTo>
                  <a:lnTo>
                    <a:pt x="7631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0" name="Freihandform: Form 295">
              <a:extLst>
                <a:ext uri="{FF2B5EF4-FFF2-40B4-BE49-F238E27FC236}">
                  <a16:creationId xmlns:a16="http://schemas.microsoft.com/office/drawing/2014/main" id="{DEA752FC-18E7-E241-A491-E1A80DBD92CE}"/>
                </a:ext>
              </a:extLst>
            </p:cNvPr>
            <p:cNvSpPr/>
            <p:nvPr/>
          </p:nvSpPr>
          <p:spPr>
            <a:xfrm>
              <a:off x="6823639" y="4217710"/>
              <a:ext cx="153681" cy="99673"/>
            </a:xfrm>
            <a:custGeom>
              <a:avLst/>
              <a:gdLst>
                <a:gd name="connsiteX0" fmla="*/ 140670 w 153681"/>
                <a:gd name="connsiteY0" fmla="*/ 50794 h 99673"/>
                <a:gd name="connsiteX1" fmla="*/ 153681 w 153681"/>
                <a:gd name="connsiteY1" fmla="*/ 35673 h 99673"/>
                <a:gd name="connsiteX2" fmla="*/ 140670 w 153681"/>
                <a:gd name="connsiteY2" fmla="*/ 4728 h 99673"/>
                <a:gd name="connsiteX3" fmla="*/ 129417 w 153681"/>
                <a:gd name="connsiteY3" fmla="*/ 156 h 99673"/>
                <a:gd name="connsiteX4" fmla="*/ 101988 w 153681"/>
                <a:gd name="connsiteY4" fmla="*/ 156 h 99673"/>
                <a:gd name="connsiteX5" fmla="*/ 81241 w 153681"/>
                <a:gd name="connsiteY5" fmla="*/ 18794 h 99673"/>
                <a:gd name="connsiteX6" fmla="*/ 54867 w 153681"/>
                <a:gd name="connsiteY6" fmla="*/ 33915 h 99673"/>
                <a:gd name="connsiteX7" fmla="*/ 38339 w 153681"/>
                <a:gd name="connsiteY7" fmla="*/ 23365 h 99673"/>
                <a:gd name="connsiteX8" fmla="*/ 13020 w 153681"/>
                <a:gd name="connsiteY8" fmla="*/ 18794 h 99673"/>
                <a:gd name="connsiteX9" fmla="*/ 9 w 153681"/>
                <a:gd name="connsiteY9" fmla="*/ 45871 h 99673"/>
                <a:gd name="connsiteX10" fmla="*/ 9 w 153681"/>
                <a:gd name="connsiteY10" fmla="*/ 83850 h 99673"/>
                <a:gd name="connsiteX11" fmla="*/ 9152 w 153681"/>
                <a:gd name="connsiteY11" fmla="*/ 99674 h 99673"/>
                <a:gd name="connsiteX12" fmla="*/ 33768 w 153681"/>
                <a:gd name="connsiteY12" fmla="*/ 89124 h 99673"/>
                <a:gd name="connsiteX13" fmla="*/ 67175 w 153681"/>
                <a:gd name="connsiteY13" fmla="*/ 81740 h 99673"/>
                <a:gd name="connsiteX14" fmla="*/ 104098 w 153681"/>
                <a:gd name="connsiteY14" fmla="*/ 62750 h 99673"/>
                <a:gd name="connsiteX15" fmla="*/ 140670 w 153681"/>
                <a:gd name="connsiteY15" fmla="*/ 50794 h 9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3681" h="99673">
                  <a:moveTo>
                    <a:pt x="140670" y="50794"/>
                  </a:moveTo>
                  <a:cubicBezTo>
                    <a:pt x="144328" y="45168"/>
                    <a:pt x="150868" y="38367"/>
                    <a:pt x="153681" y="35673"/>
                  </a:cubicBezTo>
                  <a:cubicBezTo>
                    <a:pt x="150045" y="26059"/>
                    <a:pt x="142358" y="6416"/>
                    <a:pt x="140670" y="4728"/>
                  </a:cubicBezTo>
                  <a:cubicBezTo>
                    <a:pt x="138560" y="2618"/>
                    <a:pt x="131879" y="156"/>
                    <a:pt x="129417" y="156"/>
                  </a:cubicBezTo>
                  <a:cubicBezTo>
                    <a:pt x="126956" y="156"/>
                    <a:pt x="104098" y="-195"/>
                    <a:pt x="101988" y="156"/>
                  </a:cubicBezTo>
                  <a:cubicBezTo>
                    <a:pt x="99879" y="508"/>
                    <a:pt x="82999" y="15629"/>
                    <a:pt x="81241" y="18794"/>
                  </a:cubicBezTo>
                  <a:cubicBezTo>
                    <a:pt x="79483" y="21959"/>
                    <a:pt x="60493" y="32508"/>
                    <a:pt x="54867" y="33915"/>
                  </a:cubicBezTo>
                  <a:cubicBezTo>
                    <a:pt x="49241" y="35322"/>
                    <a:pt x="39746" y="27234"/>
                    <a:pt x="38339" y="23365"/>
                  </a:cubicBezTo>
                  <a:cubicBezTo>
                    <a:pt x="36933" y="19497"/>
                    <a:pt x="21460" y="18794"/>
                    <a:pt x="13020" y="18794"/>
                  </a:cubicBezTo>
                  <a:cubicBezTo>
                    <a:pt x="6269" y="18794"/>
                    <a:pt x="1535" y="36848"/>
                    <a:pt x="9" y="45871"/>
                  </a:cubicBezTo>
                  <a:cubicBezTo>
                    <a:pt x="129" y="57827"/>
                    <a:pt x="290" y="82162"/>
                    <a:pt x="9" y="83850"/>
                  </a:cubicBezTo>
                  <a:cubicBezTo>
                    <a:pt x="-272" y="85537"/>
                    <a:pt x="5987" y="95103"/>
                    <a:pt x="9152" y="99674"/>
                  </a:cubicBezTo>
                  <a:lnTo>
                    <a:pt x="33768" y="89124"/>
                  </a:lnTo>
                  <a:lnTo>
                    <a:pt x="67175" y="81740"/>
                  </a:lnTo>
                  <a:cubicBezTo>
                    <a:pt x="78779" y="75642"/>
                    <a:pt x="102411" y="63313"/>
                    <a:pt x="104098" y="62750"/>
                  </a:cubicBezTo>
                  <a:cubicBezTo>
                    <a:pt x="106208" y="62047"/>
                    <a:pt x="136099" y="57827"/>
                    <a:pt x="140670" y="5079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1" name="Freihandform: Form 296">
              <a:extLst>
                <a:ext uri="{FF2B5EF4-FFF2-40B4-BE49-F238E27FC236}">
                  <a16:creationId xmlns:a16="http://schemas.microsoft.com/office/drawing/2014/main" id="{CF0A6CE5-9659-5647-A759-2F0212900941}"/>
                </a:ext>
              </a:extLst>
            </p:cNvPr>
            <p:cNvSpPr/>
            <p:nvPr/>
          </p:nvSpPr>
          <p:spPr>
            <a:xfrm>
              <a:off x="6968896" y="4118348"/>
              <a:ext cx="109700" cy="135737"/>
            </a:xfrm>
            <a:custGeom>
              <a:avLst/>
              <a:gdLst>
                <a:gd name="connsiteX0" fmla="*/ 90008 w 109700"/>
                <a:gd name="connsiteY0" fmla="*/ 83342 h 135737"/>
                <a:gd name="connsiteX1" fmla="*/ 109701 w 109700"/>
                <a:gd name="connsiteY1" fmla="*/ 46067 h 135737"/>
                <a:gd name="connsiteX2" fmla="*/ 90008 w 109700"/>
                <a:gd name="connsiteY2" fmla="*/ 25671 h 135737"/>
                <a:gd name="connsiteX3" fmla="*/ 52733 w 109700"/>
                <a:gd name="connsiteY3" fmla="*/ 0 h 135737"/>
                <a:gd name="connsiteX4" fmla="*/ 41128 w 109700"/>
                <a:gd name="connsiteY4" fmla="*/ 35869 h 135737"/>
                <a:gd name="connsiteX5" fmla="*/ 44997 w 109700"/>
                <a:gd name="connsiteY5" fmla="*/ 72089 h 135737"/>
                <a:gd name="connsiteX6" fmla="*/ 33744 w 109700"/>
                <a:gd name="connsiteY6" fmla="*/ 88616 h 135737"/>
                <a:gd name="connsiteX7" fmla="*/ 4557 w 109700"/>
                <a:gd name="connsiteY7" fmla="*/ 99166 h 135737"/>
                <a:gd name="connsiteX8" fmla="*/ 7721 w 109700"/>
                <a:gd name="connsiteY8" fmla="*/ 135738 h 135737"/>
                <a:gd name="connsiteX9" fmla="*/ 41128 w 109700"/>
                <a:gd name="connsiteY9" fmla="*/ 126947 h 135737"/>
                <a:gd name="connsiteX10" fmla="*/ 90008 w 109700"/>
                <a:gd name="connsiteY10" fmla="*/ 83342 h 13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700" h="135737">
                  <a:moveTo>
                    <a:pt x="90008" y="83342"/>
                  </a:moveTo>
                  <a:cubicBezTo>
                    <a:pt x="100417" y="76590"/>
                    <a:pt x="107471" y="55681"/>
                    <a:pt x="109701" y="46067"/>
                  </a:cubicBezTo>
                  <a:cubicBezTo>
                    <a:pt x="109701" y="40792"/>
                    <a:pt x="91766" y="29539"/>
                    <a:pt x="90008" y="25671"/>
                  </a:cubicBezTo>
                  <a:cubicBezTo>
                    <a:pt x="88602" y="22576"/>
                    <a:pt x="64570" y="7265"/>
                    <a:pt x="52733" y="0"/>
                  </a:cubicBezTo>
                  <a:cubicBezTo>
                    <a:pt x="48865" y="9614"/>
                    <a:pt x="41128" y="30242"/>
                    <a:pt x="41128" y="35869"/>
                  </a:cubicBezTo>
                  <a:cubicBezTo>
                    <a:pt x="41128" y="42902"/>
                    <a:pt x="45348" y="67869"/>
                    <a:pt x="44997" y="72089"/>
                  </a:cubicBezTo>
                  <a:cubicBezTo>
                    <a:pt x="44645" y="76309"/>
                    <a:pt x="35502" y="86858"/>
                    <a:pt x="33744" y="88616"/>
                  </a:cubicBezTo>
                  <a:cubicBezTo>
                    <a:pt x="31985" y="90375"/>
                    <a:pt x="16513" y="93540"/>
                    <a:pt x="4557" y="99166"/>
                  </a:cubicBezTo>
                  <a:cubicBezTo>
                    <a:pt x="-5008" y="103667"/>
                    <a:pt x="2679" y="125420"/>
                    <a:pt x="7721" y="135738"/>
                  </a:cubicBezTo>
                  <a:cubicBezTo>
                    <a:pt x="17448" y="133748"/>
                    <a:pt x="37753" y="129197"/>
                    <a:pt x="41128" y="126947"/>
                  </a:cubicBezTo>
                  <a:cubicBezTo>
                    <a:pt x="45348" y="124133"/>
                    <a:pt x="76997" y="91781"/>
                    <a:pt x="90008" y="8334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2" name="Freihandform: Form 297">
              <a:extLst>
                <a:ext uri="{FF2B5EF4-FFF2-40B4-BE49-F238E27FC236}">
                  <a16:creationId xmlns:a16="http://schemas.microsoft.com/office/drawing/2014/main" id="{E0278FB0-4A35-0F42-A0C9-0CC81086F8A9}"/>
                </a:ext>
              </a:extLst>
            </p:cNvPr>
            <p:cNvSpPr/>
            <p:nvPr/>
          </p:nvSpPr>
          <p:spPr>
            <a:xfrm>
              <a:off x="6953056" y="4114128"/>
              <a:ext cx="69275" cy="47824"/>
            </a:xfrm>
            <a:custGeom>
              <a:avLst/>
              <a:gdLst>
                <a:gd name="connsiteX0" fmla="*/ 29539 w 69275"/>
                <a:gd name="connsiteY0" fmla="*/ 42550 h 47824"/>
                <a:gd name="connsiteX1" fmla="*/ 0 w 69275"/>
                <a:gd name="connsiteY1" fmla="*/ 17934 h 47824"/>
                <a:gd name="connsiteX2" fmla="*/ 24264 w 69275"/>
                <a:gd name="connsiteY2" fmla="*/ 22857 h 47824"/>
                <a:gd name="connsiteX3" fmla="*/ 51341 w 69275"/>
                <a:gd name="connsiteY3" fmla="*/ 9495 h 47824"/>
                <a:gd name="connsiteX4" fmla="*/ 69276 w 69275"/>
                <a:gd name="connsiteY4" fmla="*/ 0 h 47824"/>
                <a:gd name="connsiteX5" fmla="*/ 60133 w 69275"/>
                <a:gd name="connsiteY5" fmla="*/ 28836 h 47824"/>
                <a:gd name="connsiteX6" fmla="*/ 51341 w 69275"/>
                <a:gd name="connsiteY6" fmla="*/ 47825 h 47824"/>
                <a:gd name="connsiteX7" fmla="*/ 29539 w 69275"/>
                <a:gd name="connsiteY7" fmla="*/ 42550 h 47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275" h="47824">
                  <a:moveTo>
                    <a:pt x="29539" y="42550"/>
                  </a:moveTo>
                  <a:cubicBezTo>
                    <a:pt x="17161" y="43113"/>
                    <a:pt x="4691" y="26374"/>
                    <a:pt x="0" y="17934"/>
                  </a:cubicBezTo>
                  <a:cubicBezTo>
                    <a:pt x="5275" y="18870"/>
                    <a:pt x="17512" y="21170"/>
                    <a:pt x="24264" y="22857"/>
                  </a:cubicBezTo>
                  <a:cubicBezTo>
                    <a:pt x="32704" y="24967"/>
                    <a:pt x="43605" y="17934"/>
                    <a:pt x="51341" y="9495"/>
                  </a:cubicBezTo>
                  <a:cubicBezTo>
                    <a:pt x="57530" y="2743"/>
                    <a:pt x="65879" y="352"/>
                    <a:pt x="69276" y="0"/>
                  </a:cubicBezTo>
                  <a:lnTo>
                    <a:pt x="60133" y="28836"/>
                  </a:lnTo>
                  <a:lnTo>
                    <a:pt x="51341" y="47825"/>
                  </a:lnTo>
                  <a:cubicBezTo>
                    <a:pt x="49231" y="45834"/>
                    <a:pt x="41917" y="41987"/>
                    <a:pt x="29539" y="4255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3" name="Freihandform: Form 298">
              <a:extLst>
                <a:ext uri="{FF2B5EF4-FFF2-40B4-BE49-F238E27FC236}">
                  <a16:creationId xmlns:a16="http://schemas.microsoft.com/office/drawing/2014/main" id="{1D51010E-D54E-CE4E-92D8-F034DC66A39C}"/>
                </a:ext>
              </a:extLst>
            </p:cNvPr>
            <p:cNvSpPr/>
            <p:nvPr/>
          </p:nvSpPr>
          <p:spPr>
            <a:xfrm>
              <a:off x="6700570" y="3995621"/>
              <a:ext cx="313906" cy="257097"/>
            </a:xfrm>
            <a:custGeom>
              <a:avLst/>
              <a:gdLst>
                <a:gd name="connsiteX0" fmla="*/ 58023 w 313906"/>
                <a:gd name="connsiteY0" fmla="*/ 0 h 257097"/>
                <a:gd name="connsiteX1" fmla="*/ 46770 w 313906"/>
                <a:gd name="connsiteY1" fmla="*/ 8088 h 257097"/>
                <a:gd name="connsiteX2" fmla="*/ 46770 w 313906"/>
                <a:gd name="connsiteY2" fmla="*/ 30945 h 257097"/>
                <a:gd name="connsiteX3" fmla="*/ 28836 w 313906"/>
                <a:gd name="connsiteY3" fmla="*/ 47825 h 257097"/>
                <a:gd name="connsiteX4" fmla="*/ 5626 w 313906"/>
                <a:gd name="connsiteY4" fmla="*/ 57319 h 257097"/>
                <a:gd name="connsiteX5" fmla="*/ 0 w 313906"/>
                <a:gd name="connsiteY5" fmla="*/ 65407 h 257097"/>
                <a:gd name="connsiteX6" fmla="*/ 94595 w 313906"/>
                <a:gd name="connsiteY6" fmla="*/ 223299 h 257097"/>
                <a:gd name="connsiteX7" fmla="*/ 122727 w 313906"/>
                <a:gd name="connsiteY7" fmla="*/ 257058 h 257097"/>
                <a:gd name="connsiteX8" fmla="*/ 136090 w 313906"/>
                <a:gd name="connsiteY8" fmla="*/ 243695 h 257097"/>
                <a:gd name="connsiteX9" fmla="*/ 156485 w 313906"/>
                <a:gd name="connsiteY9" fmla="*/ 241937 h 257097"/>
                <a:gd name="connsiteX10" fmla="*/ 174771 w 313906"/>
                <a:gd name="connsiteY10" fmla="*/ 254948 h 257097"/>
                <a:gd name="connsiteX11" fmla="*/ 208530 w 313906"/>
                <a:gd name="connsiteY11" fmla="*/ 236311 h 257097"/>
                <a:gd name="connsiteX12" fmla="*/ 252838 w 313906"/>
                <a:gd name="connsiteY12" fmla="*/ 223299 h 257097"/>
                <a:gd name="connsiteX13" fmla="*/ 267608 w 313906"/>
                <a:gd name="connsiteY13" fmla="*/ 232442 h 257097"/>
                <a:gd name="connsiteX14" fmla="*/ 288004 w 313906"/>
                <a:gd name="connsiteY14" fmla="*/ 216618 h 257097"/>
                <a:gd name="connsiteX15" fmla="*/ 313674 w 313906"/>
                <a:gd name="connsiteY15" fmla="*/ 196926 h 257097"/>
                <a:gd name="connsiteX16" fmla="*/ 309806 w 313906"/>
                <a:gd name="connsiteY16" fmla="*/ 153672 h 257097"/>
                <a:gd name="connsiteX17" fmla="*/ 302421 w 313906"/>
                <a:gd name="connsiteY17" fmla="*/ 164925 h 257097"/>
                <a:gd name="connsiteX18" fmla="*/ 277454 w 313906"/>
                <a:gd name="connsiteY18" fmla="*/ 160354 h 257097"/>
                <a:gd name="connsiteX19" fmla="*/ 252838 w 313906"/>
                <a:gd name="connsiteY19" fmla="*/ 137145 h 257097"/>
                <a:gd name="connsiteX20" fmla="*/ 234201 w 313906"/>
                <a:gd name="connsiteY20" fmla="*/ 111474 h 257097"/>
                <a:gd name="connsiteX21" fmla="*/ 201145 w 313906"/>
                <a:gd name="connsiteY21" fmla="*/ 65407 h 257097"/>
                <a:gd name="connsiteX22" fmla="*/ 191299 w 313906"/>
                <a:gd name="connsiteY22" fmla="*/ 57319 h 257097"/>
                <a:gd name="connsiteX23" fmla="*/ 174771 w 313906"/>
                <a:gd name="connsiteY23" fmla="*/ 49583 h 257097"/>
                <a:gd name="connsiteX24" fmla="*/ 154024 w 313906"/>
                <a:gd name="connsiteY24" fmla="*/ 51341 h 257097"/>
                <a:gd name="connsiteX25" fmla="*/ 122727 w 313906"/>
                <a:gd name="connsiteY25" fmla="*/ 33407 h 257097"/>
                <a:gd name="connsiteX26" fmla="*/ 88265 w 313906"/>
                <a:gd name="connsiteY26" fmla="*/ 8088 h 257097"/>
                <a:gd name="connsiteX27" fmla="*/ 58023 w 313906"/>
                <a:gd name="connsiteY27" fmla="*/ 0 h 257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3906" h="257097">
                  <a:moveTo>
                    <a:pt x="58023" y="0"/>
                  </a:moveTo>
                  <a:cubicBezTo>
                    <a:pt x="55209" y="0"/>
                    <a:pt x="53803" y="6330"/>
                    <a:pt x="46770" y="8088"/>
                  </a:cubicBezTo>
                  <a:lnTo>
                    <a:pt x="46770" y="30945"/>
                  </a:lnTo>
                  <a:cubicBezTo>
                    <a:pt x="46770" y="34462"/>
                    <a:pt x="32000" y="43253"/>
                    <a:pt x="28836" y="47825"/>
                  </a:cubicBezTo>
                  <a:cubicBezTo>
                    <a:pt x="26304" y="51482"/>
                    <a:pt x="12308" y="55681"/>
                    <a:pt x="5626" y="57319"/>
                  </a:cubicBezTo>
                  <a:cubicBezTo>
                    <a:pt x="3749" y="56264"/>
                    <a:pt x="0" y="56405"/>
                    <a:pt x="0" y="65407"/>
                  </a:cubicBezTo>
                  <a:cubicBezTo>
                    <a:pt x="0" y="74410"/>
                    <a:pt x="63065" y="174420"/>
                    <a:pt x="94595" y="223299"/>
                  </a:cubicBezTo>
                  <a:cubicBezTo>
                    <a:pt x="102450" y="235023"/>
                    <a:pt x="119069" y="258183"/>
                    <a:pt x="122727" y="257058"/>
                  </a:cubicBezTo>
                  <a:cubicBezTo>
                    <a:pt x="126384" y="255933"/>
                    <a:pt x="133157" y="247683"/>
                    <a:pt x="136090" y="243695"/>
                  </a:cubicBezTo>
                  <a:cubicBezTo>
                    <a:pt x="140309" y="242872"/>
                    <a:pt x="150297" y="241374"/>
                    <a:pt x="156485" y="241937"/>
                  </a:cubicBezTo>
                  <a:cubicBezTo>
                    <a:pt x="164222" y="242640"/>
                    <a:pt x="168793" y="253542"/>
                    <a:pt x="174771" y="254948"/>
                  </a:cubicBezTo>
                  <a:cubicBezTo>
                    <a:pt x="180750" y="256355"/>
                    <a:pt x="188838" y="256003"/>
                    <a:pt x="208530" y="236311"/>
                  </a:cubicBezTo>
                  <a:cubicBezTo>
                    <a:pt x="228223" y="216618"/>
                    <a:pt x="238772" y="221190"/>
                    <a:pt x="252838" y="223299"/>
                  </a:cubicBezTo>
                  <a:cubicBezTo>
                    <a:pt x="264091" y="224987"/>
                    <a:pt x="267376" y="230100"/>
                    <a:pt x="267608" y="232442"/>
                  </a:cubicBezTo>
                  <a:cubicBezTo>
                    <a:pt x="267959" y="228806"/>
                    <a:pt x="272531" y="220557"/>
                    <a:pt x="288004" y="216618"/>
                  </a:cubicBezTo>
                  <a:cubicBezTo>
                    <a:pt x="307344" y="211695"/>
                    <a:pt x="312268" y="198684"/>
                    <a:pt x="313674" y="196926"/>
                  </a:cubicBezTo>
                  <a:cubicBezTo>
                    <a:pt x="314800" y="195519"/>
                    <a:pt x="311564" y="167506"/>
                    <a:pt x="309806" y="153672"/>
                  </a:cubicBezTo>
                  <a:cubicBezTo>
                    <a:pt x="308399" y="157773"/>
                    <a:pt x="304953" y="165769"/>
                    <a:pt x="302421" y="164925"/>
                  </a:cubicBezTo>
                  <a:cubicBezTo>
                    <a:pt x="299256" y="163870"/>
                    <a:pt x="286949" y="161760"/>
                    <a:pt x="277454" y="160354"/>
                  </a:cubicBezTo>
                  <a:cubicBezTo>
                    <a:pt x="269858" y="159228"/>
                    <a:pt x="257881" y="144410"/>
                    <a:pt x="252838" y="137145"/>
                  </a:cubicBezTo>
                  <a:lnTo>
                    <a:pt x="234201" y="111474"/>
                  </a:lnTo>
                  <a:lnTo>
                    <a:pt x="201145" y="65407"/>
                  </a:lnTo>
                  <a:lnTo>
                    <a:pt x="191299" y="57319"/>
                  </a:lnTo>
                  <a:cubicBezTo>
                    <a:pt x="186495" y="54738"/>
                    <a:pt x="176459" y="49583"/>
                    <a:pt x="174771" y="49583"/>
                  </a:cubicBezTo>
                  <a:cubicBezTo>
                    <a:pt x="172661" y="49583"/>
                    <a:pt x="159299" y="51341"/>
                    <a:pt x="154024" y="51341"/>
                  </a:cubicBezTo>
                  <a:cubicBezTo>
                    <a:pt x="148749" y="51341"/>
                    <a:pt x="124485" y="36572"/>
                    <a:pt x="122727" y="33407"/>
                  </a:cubicBezTo>
                  <a:cubicBezTo>
                    <a:pt x="120969" y="30242"/>
                    <a:pt x="93188" y="11253"/>
                    <a:pt x="88265" y="8088"/>
                  </a:cubicBezTo>
                  <a:cubicBezTo>
                    <a:pt x="83342" y="4923"/>
                    <a:pt x="60836" y="0"/>
                    <a:pt x="58023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4" name="Freihandform: Form 299">
              <a:extLst>
                <a:ext uri="{FF2B5EF4-FFF2-40B4-BE49-F238E27FC236}">
                  <a16:creationId xmlns:a16="http://schemas.microsoft.com/office/drawing/2014/main" id="{D51601E9-AE7A-9B4D-B6ED-B2A0B7366EE3}"/>
                </a:ext>
              </a:extLst>
            </p:cNvPr>
            <p:cNvSpPr/>
            <p:nvPr/>
          </p:nvSpPr>
          <p:spPr>
            <a:xfrm>
              <a:off x="6876384" y="3486966"/>
              <a:ext cx="637909" cy="337328"/>
            </a:xfrm>
            <a:custGeom>
              <a:avLst/>
              <a:gdLst>
                <a:gd name="connsiteX0" fmla="*/ 70342 w 637909"/>
                <a:gd name="connsiteY0" fmla="*/ 203773 h 337328"/>
                <a:gd name="connsiteX1" fmla="*/ 40803 w 637909"/>
                <a:gd name="connsiteY1" fmla="*/ 222059 h 337328"/>
                <a:gd name="connsiteX2" fmla="*/ 35529 w 637909"/>
                <a:gd name="connsiteY2" fmla="*/ 213619 h 337328"/>
                <a:gd name="connsiteX3" fmla="*/ 30254 w 637909"/>
                <a:gd name="connsiteY3" fmla="*/ 200257 h 337328"/>
                <a:gd name="connsiteX4" fmla="*/ 21462 w 637909"/>
                <a:gd name="connsiteY4" fmla="*/ 184081 h 337328"/>
                <a:gd name="connsiteX5" fmla="*/ 9858 w 637909"/>
                <a:gd name="connsiteY5" fmla="*/ 176696 h 337328"/>
                <a:gd name="connsiteX6" fmla="*/ 12 w 637909"/>
                <a:gd name="connsiteY6" fmla="*/ 144344 h 337328"/>
                <a:gd name="connsiteX7" fmla="*/ 9858 w 637909"/>
                <a:gd name="connsiteY7" fmla="*/ 126761 h 337328"/>
                <a:gd name="connsiteX8" fmla="*/ 21462 w 637909"/>
                <a:gd name="connsiteY8" fmla="*/ 126761 h 337328"/>
                <a:gd name="connsiteX9" fmla="*/ 30254 w 637909"/>
                <a:gd name="connsiteY9" fmla="*/ 118321 h 337328"/>
                <a:gd name="connsiteX10" fmla="*/ 67881 w 637909"/>
                <a:gd name="connsiteY10" fmla="*/ 86673 h 337328"/>
                <a:gd name="connsiteX11" fmla="*/ 101991 w 637909"/>
                <a:gd name="connsiteY11" fmla="*/ 86673 h 337328"/>
                <a:gd name="connsiteX12" fmla="*/ 126958 w 637909"/>
                <a:gd name="connsiteY12" fmla="*/ 100739 h 337328"/>
                <a:gd name="connsiteX13" fmla="*/ 144893 w 637909"/>
                <a:gd name="connsiteY13" fmla="*/ 109530 h 337328"/>
                <a:gd name="connsiteX14" fmla="*/ 218388 w 637909"/>
                <a:gd name="connsiteY14" fmla="*/ 104607 h 337328"/>
                <a:gd name="connsiteX15" fmla="*/ 220850 w 637909"/>
                <a:gd name="connsiteY15" fmla="*/ 86673 h 337328"/>
                <a:gd name="connsiteX16" fmla="*/ 218388 w 637909"/>
                <a:gd name="connsiteY16" fmla="*/ 59595 h 337328"/>
                <a:gd name="connsiteX17" fmla="*/ 237377 w 637909"/>
                <a:gd name="connsiteY17" fmla="*/ 37793 h 337328"/>
                <a:gd name="connsiteX18" fmla="*/ 262696 w 637909"/>
                <a:gd name="connsiteY18" fmla="*/ 27947 h 337328"/>
                <a:gd name="connsiteX19" fmla="*/ 306653 w 637909"/>
                <a:gd name="connsiteY19" fmla="*/ 1924 h 337328"/>
                <a:gd name="connsiteX20" fmla="*/ 357642 w 637909"/>
                <a:gd name="connsiteY20" fmla="*/ 1924 h 337328"/>
                <a:gd name="connsiteX21" fmla="*/ 395621 w 637909"/>
                <a:gd name="connsiteY21" fmla="*/ 21265 h 337328"/>
                <a:gd name="connsiteX22" fmla="*/ 430083 w 637909"/>
                <a:gd name="connsiteY22" fmla="*/ 34980 h 337328"/>
                <a:gd name="connsiteX23" fmla="*/ 456105 w 637909"/>
                <a:gd name="connsiteY23" fmla="*/ 27947 h 337328"/>
                <a:gd name="connsiteX24" fmla="*/ 480018 w 637909"/>
                <a:gd name="connsiteY24" fmla="*/ 34980 h 337328"/>
                <a:gd name="connsiteX25" fmla="*/ 499007 w 637909"/>
                <a:gd name="connsiteY25" fmla="*/ 59595 h 337328"/>
                <a:gd name="connsiteX26" fmla="*/ 522568 w 637909"/>
                <a:gd name="connsiteY26" fmla="*/ 112343 h 337328"/>
                <a:gd name="connsiteX27" fmla="*/ 568634 w 637909"/>
                <a:gd name="connsiteY27" fmla="*/ 112343 h 337328"/>
                <a:gd name="connsiteX28" fmla="*/ 614701 w 637909"/>
                <a:gd name="connsiteY28" fmla="*/ 138717 h 337328"/>
                <a:gd name="connsiteX29" fmla="*/ 637910 w 637909"/>
                <a:gd name="connsiteY29" fmla="*/ 148212 h 337328"/>
                <a:gd name="connsiteX30" fmla="*/ 630525 w 637909"/>
                <a:gd name="connsiteY30" fmla="*/ 160520 h 337328"/>
                <a:gd name="connsiteX31" fmla="*/ 605909 w 637909"/>
                <a:gd name="connsiteY31" fmla="*/ 174938 h 337328"/>
                <a:gd name="connsiteX32" fmla="*/ 605909 w 637909"/>
                <a:gd name="connsiteY32" fmla="*/ 199553 h 337328"/>
                <a:gd name="connsiteX33" fmla="*/ 596766 w 637909"/>
                <a:gd name="connsiteY33" fmla="*/ 210454 h 337328"/>
                <a:gd name="connsiteX34" fmla="*/ 568634 w 637909"/>
                <a:gd name="connsiteY34" fmla="*/ 203773 h 337328"/>
                <a:gd name="connsiteX35" fmla="*/ 554216 w 637909"/>
                <a:gd name="connsiteY35" fmla="*/ 241752 h 337328"/>
                <a:gd name="connsiteX36" fmla="*/ 515183 w 637909"/>
                <a:gd name="connsiteY36" fmla="*/ 257576 h 337328"/>
                <a:gd name="connsiteX37" fmla="*/ 529249 w 637909"/>
                <a:gd name="connsiteY37" fmla="*/ 292741 h 337328"/>
                <a:gd name="connsiteX38" fmla="*/ 515183 w 637909"/>
                <a:gd name="connsiteY38" fmla="*/ 292741 h 337328"/>
                <a:gd name="connsiteX39" fmla="*/ 465600 w 637909"/>
                <a:gd name="connsiteY39" fmla="*/ 296609 h 337328"/>
                <a:gd name="connsiteX40" fmla="*/ 435709 w 637909"/>
                <a:gd name="connsiteY40" fmla="*/ 292741 h 337328"/>
                <a:gd name="connsiteX41" fmla="*/ 395621 w 637909"/>
                <a:gd name="connsiteY41" fmla="*/ 296609 h 337328"/>
                <a:gd name="connsiteX42" fmla="*/ 357642 w 637909"/>
                <a:gd name="connsiteY42" fmla="*/ 322983 h 337328"/>
                <a:gd name="connsiteX43" fmla="*/ 338653 w 637909"/>
                <a:gd name="connsiteY43" fmla="*/ 337049 h 337328"/>
                <a:gd name="connsiteX44" fmla="*/ 316147 w 637909"/>
                <a:gd name="connsiteY44" fmla="*/ 329313 h 337328"/>
                <a:gd name="connsiteX45" fmla="*/ 290125 w 637909"/>
                <a:gd name="connsiteY45" fmla="*/ 281488 h 337328"/>
                <a:gd name="connsiteX46" fmla="*/ 269378 w 637909"/>
                <a:gd name="connsiteY46" fmla="*/ 272345 h 337328"/>
                <a:gd name="connsiteX47" fmla="*/ 240894 w 637909"/>
                <a:gd name="connsiteY47" fmla="*/ 286763 h 337328"/>
                <a:gd name="connsiteX48" fmla="*/ 220850 w 637909"/>
                <a:gd name="connsiteY48" fmla="*/ 257576 h 337328"/>
                <a:gd name="connsiteX49" fmla="*/ 182519 w 637909"/>
                <a:gd name="connsiteY49" fmla="*/ 241752 h 337328"/>
                <a:gd name="connsiteX50" fmla="*/ 150519 w 637909"/>
                <a:gd name="connsiteY50" fmla="*/ 250543 h 337328"/>
                <a:gd name="connsiteX51" fmla="*/ 144893 w 637909"/>
                <a:gd name="connsiteY51" fmla="*/ 292741 h 337328"/>
                <a:gd name="connsiteX52" fmla="*/ 134343 w 637909"/>
                <a:gd name="connsiteY52" fmla="*/ 315247 h 337328"/>
                <a:gd name="connsiteX53" fmla="*/ 124497 w 637909"/>
                <a:gd name="connsiteY53" fmla="*/ 307511 h 337328"/>
                <a:gd name="connsiteX54" fmla="*/ 101991 w 637909"/>
                <a:gd name="connsiteY54" fmla="*/ 303994 h 337328"/>
                <a:gd name="connsiteX55" fmla="*/ 79485 w 637909"/>
                <a:gd name="connsiteY55" fmla="*/ 286763 h 337328"/>
                <a:gd name="connsiteX56" fmla="*/ 70342 w 637909"/>
                <a:gd name="connsiteY56" fmla="*/ 257576 h 337328"/>
                <a:gd name="connsiteX57" fmla="*/ 96364 w 637909"/>
                <a:gd name="connsiteY57" fmla="*/ 241752 h 337328"/>
                <a:gd name="connsiteX58" fmla="*/ 105859 w 637909"/>
                <a:gd name="connsiteY58" fmla="*/ 210454 h 337328"/>
                <a:gd name="connsiteX59" fmla="*/ 70342 w 637909"/>
                <a:gd name="connsiteY59" fmla="*/ 203773 h 337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637909" h="337328">
                  <a:moveTo>
                    <a:pt x="70342" y="203773"/>
                  </a:moveTo>
                  <a:cubicBezTo>
                    <a:pt x="52337" y="201804"/>
                    <a:pt x="43145" y="215145"/>
                    <a:pt x="40803" y="222059"/>
                  </a:cubicBezTo>
                  <a:lnTo>
                    <a:pt x="35529" y="213619"/>
                  </a:lnTo>
                  <a:cubicBezTo>
                    <a:pt x="33770" y="210335"/>
                    <a:pt x="30254" y="203070"/>
                    <a:pt x="30254" y="200257"/>
                  </a:cubicBezTo>
                  <a:cubicBezTo>
                    <a:pt x="30254" y="197443"/>
                    <a:pt x="24395" y="188300"/>
                    <a:pt x="21462" y="184081"/>
                  </a:cubicBezTo>
                  <a:cubicBezTo>
                    <a:pt x="18417" y="182554"/>
                    <a:pt x="11827" y="178946"/>
                    <a:pt x="9858" y="176696"/>
                  </a:cubicBezTo>
                  <a:cubicBezTo>
                    <a:pt x="7396" y="173883"/>
                    <a:pt x="-340" y="154190"/>
                    <a:pt x="12" y="144344"/>
                  </a:cubicBezTo>
                  <a:cubicBezTo>
                    <a:pt x="363" y="134497"/>
                    <a:pt x="6341" y="130629"/>
                    <a:pt x="9858" y="126761"/>
                  </a:cubicBezTo>
                  <a:cubicBezTo>
                    <a:pt x="12671" y="123667"/>
                    <a:pt x="18769" y="125474"/>
                    <a:pt x="21462" y="126761"/>
                  </a:cubicBezTo>
                  <a:cubicBezTo>
                    <a:pt x="23101" y="125122"/>
                    <a:pt x="27159" y="121135"/>
                    <a:pt x="30254" y="118321"/>
                  </a:cubicBezTo>
                  <a:cubicBezTo>
                    <a:pt x="34122" y="114805"/>
                    <a:pt x="62957" y="90189"/>
                    <a:pt x="67881" y="86673"/>
                  </a:cubicBezTo>
                  <a:cubicBezTo>
                    <a:pt x="72804" y="83156"/>
                    <a:pt x="96364" y="86673"/>
                    <a:pt x="101991" y="86673"/>
                  </a:cubicBezTo>
                  <a:cubicBezTo>
                    <a:pt x="107617" y="86673"/>
                    <a:pt x="118870" y="94409"/>
                    <a:pt x="126958" y="100739"/>
                  </a:cubicBezTo>
                  <a:cubicBezTo>
                    <a:pt x="133429" y="105803"/>
                    <a:pt x="141608" y="108707"/>
                    <a:pt x="144893" y="109530"/>
                  </a:cubicBezTo>
                  <a:cubicBezTo>
                    <a:pt x="166343" y="108707"/>
                    <a:pt x="211074" y="106576"/>
                    <a:pt x="218388" y="104607"/>
                  </a:cubicBezTo>
                  <a:cubicBezTo>
                    <a:pt x="227531" y="102145"/>
                    <a:pt x="220850" y="94057"/>
                    <a:pt x="220850" y="86673"/>
                  </a:cubicBezTo>
                  <a:cubicBezTo>
                    <a:pt x="220850" y="79288"/>
                    <a:pt x="218388" y="65925"/>
                    <a:pt x="218388" y="59595"/>
                  </a:cubicBezTo>
                  <a:cubicBezTo>
                    <a:pt x="218388" y="53266"/>
                    <a:pt x="231399" y="42364"/>
                    <a:pt x="237377" y="37793"/>
                  </a:cubicBezTo>
                  <a:cubicBezTo>
                    <a:pt x="243355" y="33222"/>
                    <a:pt x="254960" y="27947"/>
                    <a:pt x="262696" y="27947"/>
                  </a:cubicBezTo>
                  <a:cubicBezTo>
                    <a:pt x="270433" y="27947"/>
                    <a:pt x="297158" y="5441"/>
                    <a:pt x="306653" y="1924"/>
                  </a:cubicBezTo>
                  <a:cubicBezTo>
                    <a:pt x="316147" y="-1592"/>
                    <a:pt x="346741" y="518"/>
                    <a:pt x="357642" y="1924"/>
                  </a:cubicBezTo>
                  <a:cubicBezTo>
                    <a:pt x="368544" y="3331"/>
                    <a:pt x="381203" y="10364"/>
                    <a:pt x="395621" y="21265"/>
                  </a:cubicBezTo>
                  <a:cubicBezTo>
                    <a:pt x="410039" y="32167"/>
                    <a:pt x="420940" y="34980"/>
                    <a:pt x="430083" y="34980"/>
                  </a:cubicBezTo>
                  <a:cubicBezTo>
                    <a:pt x="439226" y="34980"/>
                    <a:pt x="450479" y="29353"/>
                    <a:pt x="456105" y="27947"/>
                  </a:cubicBezTo>
                  <a:cubicBezTo>
                    <a:pt x="461732" y="26540"/>
                    <a:pt x="474391" y="31815"/>
                    <a:pt x="480018" y="34980"/>
                  </a:cubicBezTo>
                  <a:cubicBezTo>
                    <a:pt x="485644" y="38145"/>
                    <a:pt x="494435" y="53266"/>
                    <a:pt x="499007" y="59595"/>
                  </a:cubicBezTo>
                  <a:cubicBezTo>
                    <a:pt x="503578" y="65925"/>
                    <a:pt x="517644" y="106717"/>
                    <a:pt x="522568" y="112343"/>
                  </a:cubicBezTo>
                  <a:cubicBezTo>
                    <a:pt x="527491" y="117970"/>
                    <a:pt x="554216" y="110585"/>
                    <a:pt x="568634" y="112343"/>
                  </a:cubicBezTo>
                  <a:cubicBezTo>
                    <a:pt x="583052" y="114102"/>
                    <a:pt x="596766" y="125003"/>
                    <a:pt x="614701" y="138717"/>
                  </a:cubicBezTo>
                  <a:cubicBezTo>
                    <a:pt x="629048" y="149689"/>
                    <a:pt x="636151" y="149619"/>
                    <a:pt x="637910" y="148212"/>
                  </a:cubicBezTo>
                  <a:lnTo>
                    <a:pt x="630525" y="160520"/>
                  </a:lnTo>
                  <a:cubicBezTo>
                    <a:pt x="625250" y="165675"/>
                    <a:pt x="612942" y="175781"/>
                    <a:pt x="605909" y="174938"/>
                  </a:cubicBezTo>
                  <a:cubicBezTo>
                    <a:pt x="598876" y="174094"/>
                    <a:pt x="602977" y="190994"/>
                    <a:pt x="605909" y="199553"/>
                  </a:cubicBezTo>
                  <a:lnTo>
                    <a:pt x="596766" y="210454"/>
                  </a:lnTo>
                  <a:lnTo>
                    <a:pt x="568634" y="203773"/>
                  </a:lnTo>
                  <a:cubicBezTo>
                    <a:pt x="566053" y="211629"/>
                    <a:pt x="559562" y="230217"/>
                    <a:pt x="554216" y="241752"/>
                  </a:cubicBezTo>
                  <a:cubicBezTo>
                    <a:pt x="548871" y="253286"/>
                    <a:pt x="525965" y="257105"/>
                    <a:pt x="515183" y="257576"/>
                  </a:cubicBezTo>
                  <a:lnTo>
                    <a:pt x="529249" y="292741"/>
                  </a:lnTo>
                  <a:lnTo>
                    <a:pt x="515183" y="292741"/>
                  </a:lnTo>
                  <a:cubicBezTo>
                    <a:pt x="501349" y="294028"/>
                    <a:pt x="472070" y="296609"/>
                    <a:pt x="465600" y="296609"/>
                  </a:cubicBezTo>
                  <a:cubicBezTo>
                    <a:pt x="457512" y="296609"/>
                    <a:pt x="443446" y="292741"/>
                    <a:pt x="435709" y="292741"/>
                  </a:cubicBezTo>
                  <a:cubicBezTo>
                    <a:pt x="427973" y="292741"/>
                    <a:pt x="409335" y="292741"/>
                    <a:pt x="395621" y="296609"/>
                  </a:cubicBezTo>
                  <a:cubicBezTo>
                    <a:pt x="381906" y="300478"/>
                    <a:pt x="363621" y="319115"/>
                    <a:pt x="357642" y="322983"/>
                  </a:cubicBezTo>
                  <a:cubicBezTo>
                    <a:pt x="351664" y="326852"/>
                    <a:pt x="345335" y="335291"/>
                    <a:pt x="338653" y="337049"/>
                  </a:cubicBezTo>
                  <a:cubicBezTo>
                    <a:pt x="331972" y="338808"/>
                    <a:pt x="327400" y="331775"/>
                    <a:pt x="316147" y="329313"/>
                  </a:cubicBezTo>
                  <a:cubicBezTo>
                    <a:pt x="304895" y="326852"/>
                    <a:pt x="291883" y="286763"/>
                    <a:pt x="290125" y="281488"/>
                  </a:cubicBezTo>
                  <a:cubicBezTo>
                    <a:pt x="288367" y="276214"/>
                    <a:pt x="277114" y="273752"/>
                    <a:pt x="269378" y="272345"/>
                  </a:cubicBezTo>
                  <a:cubicBezTo>
                    <a:pt x="261641" y="270939"/>
                    <a:pt x="246169" y="282543"/>
                    <a:pt x="240894" y="286763"/>
                  </a:cubicBezTo>
                  <a:cubicBezTo>
                    <a:pt x="235619" y="290983"/>
                    <a:pt x="223663" y="266016"/>
                    <a:pt x="220850" y="257576"/>
                  </a:cubicBezTo>
                  <a:cubicBezTo>
                    <a:pt x="218036" y="249136"/>
                    <a:pt x="191311" y="245268"/>
                    <a:pt x="182519" y="241752"/>
                  </a:cubicBezTo>
                  <a:cubicBezTo>
                    <a:pt x="173728" y="238235"/>
                    <a:pt x="156145" y="241752"/>
                    <a:pt x="150519" y="250543"/>
                  </a:cubicBezTo>
                  <a:cubicBezTo>
                    <a:pt x="144893" y="259334"/>
                    <a:pt x="144893" y="280082"/>
                    <a:pt x="144893" y="292741"/>
                  </a:cubicBezTo>
                  <a:cubicBezTo>
                    <a:pt x="144893" y="302869"/>
                    <a:pt x="137859" y="311963"/>
                    <a:pt x="134343" y="315247"/>
                  </a:cubicBezTo>
                  <a:lnTo>
                    <a:pt x="124497" y="307511"/>
                  </a:lnTo>
                  <a:cubicBezTo>
                    <a:pt x="118286" y="306688"/>
                    <a:pt x="105085" y="304838"/>
                    <a:pt x="101991" y="303994"/>
                  </a:cubicBezTo>
                  <a:cubicBezTo>
                    <a:pt x="98123" y="302939"/>
                    <a:pt x="83353" y="289225"/>
                    <a:pt x="79485" y="286763"/>
                  </a:cubicBezTo>
                  <a:cubicBezTo>
                    <a:pt x="75617" y="284302"/>
                    <a:pt x="70342" y="260741"/>
                    <a:pt x="70342" y="257576"/>
                  </a:cubicBezTo>
                  <a:cubicBezTo>
                    <a:pt x="70342" y="254411"/>
                    <a:pt x="81243" y="244565"/>
                    <a:pt x="96364" y="241752"/>
                  </a:cubicBezTo>
                  <a:cubicBezTo>
                    <a:pt x="111486" y="238938"/>
                    <a:pt x="105859" y="222059"/>
                    <a:pt x="105859" y="210454"/>
                  </a:cubicBezTo>
                  <a:cubicBezTo>
                    <a:pt x="105859" y="198850"/>
                    <a:pt x="92848" y="206235"/>
                    <a:pt x="70342" y="203773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5" name="Freihandform: Form 300">
              <a:extLst>
                <a:ext uri="{FF2B5EF4-FFF2-40B4-BE49-F238E27FC236}">
                  <a16:creationId xmlns:a16="http://schemas.microsoft.com/office/drawing/2014/main" id="{A41E2B8C-472A-4E43-A087-156EAE1C9168}"/>
                </a:ext>
              </a:extLst>
            </p:cNvPr>
            <p:cNvSpPr/>
            <p:nvPr/>
          </p:nvSpPr>
          <p:spPr>
            <a:xfrm>
              <a:off x="6778285" y="3761421"/>
              <a:ext cx="110770" cy="56777"/>
            </a:xfrm>
            <a:custGeom>
              <a:avLst/>
              <a:gdLst>
                <a:gd name="connsiteX0" fmla="*/ 34462 w 110770"/>
                <a:gd name="connsiteY0" fmla="*/ 7385 h 56777"/>
                <a:gd name="connsiteX1" fmla="*/ 3165 w 110770"/>
                <a:gd name="connsiteY1" fmla="*/ 0 h 56777"/>
                <a:gd name="connsiteX2" fmla="*/ 0 w 110770"/>
                <a:gd name="connsiteY2" fmla="*/ 3517 h 56777"/>
                <a:gd name="connsiteX3" fmla="*/ 10198 w 110770"/>
                <a:gd name="connsiteY3" fmla="*/ 18989 h 56777"/>
                <a:gd name="connsiteX4" fmla="*/ 27781 w 110770"/>
                <a:gd name="connsiteY4" fmla="*/ 41495 h 56777"/>
                <a:gd name="connsiteX5" fmla="*/ 62594 w 110770"/>
                <a:gd name="connsiteY5" fmla="*/ 55913 h 56777"/>
                <a:gd name="connsiteX6" fmla="*/ 95650 w 110770"/>
                <a:gd name="connsiteY6" fmla="*/ 54858 h 56777"/>
                <a:gd name="connsiteX7" fmla="*/ 110771 w 110770"/>
                <a:gd name="connsiteY7" fmla="*/ 48176 h 56777"/>
                <a:gd name="connsiteX8" fmla="*/ 100221 w 110770"/>
                <a:gd name="connsiteY8" fmla="*/ 41495 h 56777"/>
                <a:gd name="connsiteX9" fmla="*/ 86858 w 110770"/>
                <a:gd name="connsiteY9" fmla="*/ 30242 h 56777"/>
                <a:gd name="connsiteX10" fmla="*/ 62594 w 110770"/>
                <a:gd name="connsiteY10" fmla="*/ 16176 h 56777"/>
                <a:gd name="connsiteX11" fmla="*/ 34462 w 110770"/>
                <a:gd name="connsiteY11" fmla="*/ 7385 h 56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0770" h="56777">
                  <a:moveTo>
                    <a:pt x="34462" y="7385"/>
                  </a:moveTo>
                  <a:cubicBezTo>
                    <a:pt x="32211" y="5697"/>
                    <a:pt x="12659" y="1758"/>
                    <a:pt x="3165" y="0"/>
                  </a:cubicBezTo>
                  <a:lnTo>
                    <a:pt x="0" y="3517"/>
                  </a:lnTo>
                  <a:cubicBezTo>
                    <a:pt x="2813" y="7265"/>
                    <a:pt x="8791" y="15613"/>
                    <a:pt x="10198" y="18989"/>
                  </a:cubicBezTo>
                  <a:cubicBezTo>
                    <a:pt x="11956" y="23209"/>
                    <a:pt x="26022" y="39737"/>
                    <a:pt x="27781" y="41495"/>
                  </a:cubicBezTo>
                  <a:cubicBezTo>
                    <a:pt x="29539" y="43253"/>
                    <a:pt x="53100" y="53451"/>
                    <a:pt x="62594" y="55913"/>
                  </a:cubicBezTo>
                  <a:cubicBezTo>
                    <a:pt x="70190" y="57882"/>
                    <a:pt x="87794" y="56032"/>
                    <a:pt x="95650" y="54858"/>
                  </a:cubicBezTo>
                  <a:lnTo>
                    <a:pt x="110771" y="48176"/>
                  </a:lnTo>
                  <a:lnTo>
                    <a:pt x="100221" y="41495"/>
                  </a:lnTo>
                  <a:lnTo>
                    <a:pt x="86858" y="30242"/>
                  </a:lnTo>
                  <a:cubicBezTo>
                    <a:pt x="80648" y="25903"/>
                    <a:pt x="67095" y="17020"/>
                    <a:pt x="62594" y="16176"/>
                  </a:cubicBezTo>
                  <a:cubicBezTo>
                    <a:pt x="56968" y="15121"/>
                    <a:pt x="37275" y="9495"/>
                    <a:pt x="34462" y="738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6" name="Freihandform: Form 301">
              <a:extLst>
                <a:ext uri="{FF2B5EF4-FFF2-40B4-BE49-F238E27FC236}">
                  <a16:creationId xmlns:a16="http://schemas.microsoft.com/office/drawing/2014/main" id="{487AC6D4-5A2D-9147-AFF9-4E1953E03B8C}"/>
                </a:ext>
              </a:extLst>
            </p:cNvPr>
            <p:cNvSpPr/>
            <p:nvPr/>
          </p:nvSpPr>
          <p:spPr>
            <a:xfrm>
              <a:off x="6567647" y="3802916"/>
              <a:ext cx="270770" cy="121380"/>
            </a:xfrm>
            <a:custGeom>
              <a:avLst/>
              <a:gdLst>
                <a:gd name="connsiteX0" fmla="*/ 36570 w 270770"/>
                <a:gd name="connsiteY0" fmla="*/ 36572 h 121380"/>
                <a:gd name="connsiteX1" fmla="*/ 4921 w 270770"/>
                <a:gd name="connsiteY1" fmla="*/ 32000 h 121380"/>
                <a:gd name="connsiteX2" fmla="*/ 701 w 270770"/>
                <a:gd name="connsiteY2" fmla="*/ 73847 h 121380"/>
                <a:gd name="connsiteX3" fmla="*/ 11954 w 270770"/>
                <a:gd name="connsiteY3" fmla="*/ 93891 h 121380"/>
                <a:gd name="connsiteX4" fmla="*/ 39032 w 270770"/>
                <a:gd name="connsiteY4" fmla="*/ 116749 h 121380"/>
                <a:gd name="connsiteX5" fmla="*/ 58373 w 270770"/>
                <a:gd name="connsiteY5" fmla="*/ 119914 h 121380"/>
                <a:gd name="connsiteX6" fmla="*/ 69977 w 270770"/>
                <a:gd name="connsiteY6" fmla="*/ 103386 h 121380"/>
                <a:gd name="connsiteX7" fmla="*/ 78768 w 270770"/>
                <a:gd name="connsiteY7" fmla="*/ 103386 h 121380"/>
                <a:gd name="connsiteX8" fmla="*/ 92483 w 270770"/>
                <a:gd name="connsiteY8" fmla="*/ 119914 h 121380"/>
                <a:gd name="connsiteX9" fmla="*/ 110417 w 270770"/>
                <a:gd name="connsiteY9" fmla="*/ 115694 h 121380"/>
                <a:gd name="connsiteX10" fmla="*/ 125538 w 270770"/>
                <a:gd name="connsiteY10" fmla="*/ 103386 h 121380"/>
                <a:gd name="connsiteX11" fmla="*/ 145582 w 270770"/>
                <a:gd name="connsiteY11" fmla="*/ 103386 h 121380"/>
                <a:gd name="connsiteX12" fmla="*/ 172660 w 270770"/>
                <a:gd name="connsiteY12" fmla="*/ 103386 h 121380"/>
                <a:gd name="connsiteX13" fmla="*/ 231737 w 270770"/>
                <a:gd name="connsiteY13" fmla="*/ 103386 h 121380"/>
                <a:gd name="connsiteX14" fmla="*/ 238419 w 270770"/>
                <a:gd name="connsiteY14" fmla="*/ 91078 h 121380"/>
                <a:gd name="connsiteX15" fmla="*/ 270771 w 270770"/>
                <a:gd name="connsiteY15" fmla="*/ 84045 h 121380"/>
                <a:gd name="connsiteX16" fmla="*/ 270771 w 270770"/>
                <a:gd name="connsiteY16" fmla="*/ 73847 h 121380"/>
                <a:gd name="connsiteX17" fmla="*/ 266903 w 270770"/>
                <a:gd name="connsiteY17" fmla="*/ 58023 h 121380"/>
                <a:gd name="connsiteX18" fmla="*/ 270771 w 270770"/>
                <a:gd name="connsiteY18" fmla="*/ 38682 h 121380"/>
                <a:gd name="connsiteX19" fmla="*/ 266903 w 270770"/>
                <a:gd name="connsiteY19" fmla="*/ 15121 h 121380"/>
                <a:gd name="connsiteX20" fmla="*/ 238419 w 270770"/>
                <a:gd name="connsiteY20" fmla="*/ 6681 h 121380"/>
                <a:gd name="connsiteX21" fmla="*/ 207825 w 270770"/>
                <a:gd name="connsiteY21" fmla="*/ 15121 h 121380"/>
                <a:gd name="connsiteX22" fmla="*/ 164923 w 270770"/>
                <a:gd name="connsiteY22" fmla="*/ 21802 h 121380"/>
                <a:gd name="connsiteX23" fmla="*/ 125538 w 270770"/>
                <a:gd name="connsiteY23" fmla="*/ 0 h 121380"/>
                <a:gd name="connsiteX24" fmla="*/ 103736 w 270770"/>
                <a:gd name="connsiteY24" fmla="*/ 6681 h 121380"/>
                <a:gd name="connsiteX25" fmla="*/ 69977 w 270770"/>
                <a:gd name="connsiteY25" fmla="*/ 21802 h 121380"/>
                <a:gd name="connsiteX26" fmla="*/ 36570 w 270770"/>
                <a:gd name="connsiteY26" fmla="*/ 36572 h 12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70770" h="121380">
                  <a:moveTo>
                    <a:pt x="36570" y="36572"/>
                  </a:moveTo>
                  <a:cubicBezTo>
                    <a:pt x="30944" y="40229"/>
                    <a:pt x="13129" y="35046"/>
                    <a:pt x="4921" y="32000"/>
                  </a:cubicBezTo>
                  <a:cubicBezTo>
                    <a:pt x="-2112" y="42198"/>
                    <a:pt x="350" y="66111"/>
                    <a:pt x="701" y="73847"/>
                  </a:cubicBezTo>
                  <a:cubicBezTo>
                    <a:pt x="1053" y="81583"/>
                    <a:pt x="9141" y="91078"/>
                    <a:pt x="11954" y="93891"/>
                  </a:cubicBezTo>
                  <a:cubicBezTo>
                    <a:pt x="14768" y="96704"/>
                    <a:pt x="36570" y="115694"/>
                    <a:pt x="39032" y="116749"/>
                  </a:cubicBezTo>
                  <a:cubicBezTo>
                    <a:pt x="41001" y="117593"/>
                    <a:pt x="52746" y="119210"/>
                    <a:pt x="58373" y="119914"/>
                  </a:cubicBezTo>
                  <a:cubicBezTo>
                    <a:pt x="60954" y="115813"/>
                    <a:pt x="66883" y="106762"/>
                    <a:pt x="69977" y="103386"/>
                  </a:cubicBezTo>
                  <a:cubicBezTo>
                    <a:pt x="73845" y="99166"/>
                    <a:pt x="74197" y="103386"/>
                    <a:pt x="78768" y="103386"/>
                  </a:cubicBezTo>
                  <a:cubicBezTo>
                    <a:pt x="83340" y="103386"/>
                    <a:pt x="88615" y="115694"/>
                    <a:pt x="92483" y="119914"/>
                  </a:cubicBezTo>
                  <a:cubicBezTo>
                    <a:pt x="96351" y="124133"/>
                    <a:pt x="108307" y="118155"/>
                    <a:pt x="110417" y="115694"/>
                  </a:cubicBezTo>
                  <a:cubicBezTo>
                    <a:pt x="112105" y="113724"/>
                    <a:pt x="121199" y="106670"/>
                    <a:pt x="125538" y="103386"/>
                  </a:cubicBezTo>
                  <a:cubicBezTo>
                    <a:pt x="131045" y="104912"/>
                    <a:pt x="142769" y="107043"/>
                    <a:pt x="145582" y="103386"/>
                  </a:cubicBezTo>
                  <a:cubicBezTo>
                    <a:pt x="149099" y="98814"/>
                    <a:pt x="164923" y="103386"/>
                    <a:pt x="172660" y="103386"/>
                  </a:cubicBezTo>
                  <a:lnTo>
                    <a:pt x="231737" y="103386"/>
                  </a:lnTo>
                  <a:cubicBezTo>
                    <a:pt x="237083" y="103386"/>
                    <a:pt x="238419" y="95178"/>
                    <a:pt x="238419" y="91078"/>
                  </a:cubicBezTo>
                  <a:lnTo>
                    <a:pt x="270771" y="84045"/>
                  </a:lnTo>
                  <a:lnTo>
                    <a:pt x="270771" y="73847"/>
                  </a:lnTo>
                  <a:cubicBezTo>
                    <a:pt x="270771" y="70682"/>
                    <a:pt x="264793" y="61188"/>
                    <a:pt x="266903" y="58023"/>
                  </a:cubicBezTo>
                  <a:cubicBezTo>
                    <a:pt x="268590" y="55491"/>
                    <a:pt x="270187" y="44076"/>
                    <a:pt x="270771" y="38682"/>
                  </a:cubicBezTo>
                  <a:cubicBezTo>
                    <a:pt x="268077" y="33055"/>
                    <a:pt x="268590" y="17934"/>
                    <a:pt x="266903" y="15121"/>
                  </a:cubicBezTo>
                  <a:cubicBezTo>
                    <a:pt x="264793" y="11605"/>
                    <a:pt x="245100" y="6681"/>
                    <a:pt x="238419" y="6681"/>
                  </a:cubicBezTo>
                  <a:cubicBezTo>
                    <a:pt x="231737" y="6681"/>
                    <a:pt x="213803" y="15121"/>
                    <a:pt x="207825" y="15121"/>
                  </a:cubicBezTo>
                  <a:cubicBezTo>
                    <a:pt x="201847" y="15121"/>
                    <a:pt x="170901" y="21802"/>
                    <a:pt x="164923" y="21802"/>
                  </a:cubicBezTo>
                  <a:cubicBezTo>
                    <a:pt x="158945" y="21802"/>
                    <a:pt x="128351" y="0"/>
                    <a:pt x="125538" y="0"/>
                  </a:cubicBezTo>
                  <a:cubicBezTo>
                    <a:pt x="122725" y="0"/>
                    <a:pt x="107956" y="2813"/>
                    <a:pt x="103736" y="6681"/>
                  </a:cubicBezTo>
                  <a:cubicBezTo>
                    <a:pt x="99516" y="10550"/>
                    <a:pt x="75604" y="21802"/>
                    <a:pt x="69977" y="21802"/>
                  </a:cubicBezTo>
                  <a:cubicBezTo>
                    <a:pt x="64351" y="21802"/>
                    <a:pt x="43603" y="32000"/>
                    <a:pt x="36570" y="3657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7" name="Freihandform: Form 302">
              <a:extLst>
                <a:ext uri="{FF2B5EF4-FFF2-40B4-BE49-F238E27FC236}">
                  <a16:creationId xmlns:a16="http://schemas.microsoft.com/office/drawing/2014/main" id="{D8703D53-1F2B-774C-B79C-48FC089292C1}"/>
                </a:ext>
              </a:extLst>
            </p:cNvPr>
            <p:cNvSpPr/>
            <p:nvPr/>
          </p:nvSpPr>
          <p:spPr>
            <a:xfrm>
              <a:off x="6778285" y="3761421"/>
              <a:ext cx="110770" cy="56777"/>
            </a:xfrm>
            <a:custGeom>
              <a:avLst/>
              <a:gdLst>
                <a:gd name="connsiteX0" fmla="*/ 34462 w 110770"/>
                <a:gd name="connsiteY0" fmla="*/ 7385 h 56777"/>
                <a:gd name="connsiteX1" fmla="*/ 3165 w 110770"/>
                <a:gd name="connsiteY1" fmla="*/ 0 h 56777"/>
                <a:gd name="connsiteX2" fmla="*/ 0 w 110770"/>
                <a:gd name="connsiteY2" fmla="*/ 3517 h 56777"/>
                <a:gd name="connsiteX3" fmla="*/ 10198 w 110770"/>
                <a:gd name="connsiteY3" fmla="*/ 18989 h 56777"/>
                <a:gd name="connsiteX4" fmla="*/ 27781 w 110770"/>
                <a:gd name="connsiteY4" fmla="*/ 41495 h 56777"/>
                <a:gd name="connsiteX5" fmla="*/ 62594 w 110770"/>
                <a:gd name="connsiteY5" fmla="*/ 55913 h 56777"/>
                <a:gd name="connsiteX6" fmla="*/ 95650 w 110770"/>
                <a:gd name="connsiteY6" fmla="*/ 54858 h 56777"/>
                <a:gd name="connsiteX7" fmla="*/ 110771 w 110770"/>
                <a:gd name="connsiteY7" fmla="*/ 48176 h 56777"/>
                <a:gd name="connsiteX8" fmla="*/ 100221 w 110770"/>
                <a:gd name="connsiteY8" fmla="*/ 41495 h 56777"/>
                <a:gd name="connsiteX9" fmla="*/ 86858 w 110770"/>
                <a:gd name="connsiteY9" fmla="*/ 30242 h 56777"/>
                <a:gd name="connsiteX10" fmla="*/ 62594 w 110770"/>
                <a:gd name="connsiteY10" fmla="*/ 16176 h 56777"/>
                <a:gd name="connsiteX11" fmla="*/ 34462 w 110770"/>
                <a:gd name="connsiteY11" fmla="*/ 7385 h 56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0770" h="56777">
                  <a:moveTo>
                    <a:pt x="34462" y="7385"/>
                  </a:moveTo>
                  <a:cubicBezTo>
                    <a:pt x="32211" y="5697"/>
                    <a:pt x="12659" y="1758"/>
                    <a:pt x="3165" y="0"/>
                  </a:cubicBezTo>
                  <a:lnTo>
                    <a:pt x="0" y="3517"/>
                  </a:lnTo>
                  <a:cubicBezTo>
                    <a:pt x="2813" y="7265"/>
                    <a:pt x="8791" y="15613"/>
                    <a:pt x="10198" y="18989"/>
                  </a:cubicBezTo>
                  <a:cubicBezTo>
                    <a:pt x="11956" y="23209"/>
                    <a:pt x="26022" y="39737"/>
                    <a:pt x="27781" y="41495"/>
                  </a:cubicBezTo>
                  <a:cubicBezTo>
                    <a:pt x="29539" y="43253"/>
                    <a:pt x="53100" y="53451"/>
                    <a:pt x="62594" y="55913"/>
                  </a:cubicBezTo>
                  <a:cubicBezTo>
                    <a:pt x="70190" y="57882"/>
                    <a:pt x="87794" y="56032"/>
                    <a:pt x="95650" y="54858"/>
                  </a:cubicBezTo>
                  <a:lnTo>
                    <a:pt x="110771" y="48176"/>
                  </a:lnTo>
                  <a:lnTo>
                    <a:pt x="100221" y="41495"/>
                  </a:lnTo>
                  <a:lnTo>
                    <a:pt x="86858" y="30242"/>
                  </a:lnTo>
                  <a:cubicBezTo>
                    <a:pt x="80648" y="25903"/>
                    <a:pt x="67095" y="17020"/>
                    <a:pt x="62594" y="16176"/>
                  </a:cubicBezTo>
                  <a:cubicBezTo>
                    <a:pt x="56968" y="15121"/>
                    <a:pt x="37275" y="9495"/>
                    <a:pt x="34462" y="738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8" name="Freihandform: Form 303">
              <a:extLst>
                <a:ext uri="{FF2B5EF4-FFF2-40B4-BE49-F238E27FC236}">
                  <a16:creationId xmlns:a16="http://schemas.microsoft.com/office/drawing/2014/main" id="{CB034825-1100-6A48-98A7-351CD48319D1}"/>
                </a:ext>
              </a:extLst>
            </p:cNvPr>
            <p:cNvSpPr/>
            <p:nvPr/>
          </p:nvSpPr>
          <p:spPr>
            <a:xfrm>
              <a:off x="6567647" y="3802916"/>
              <a:ext cx="270770" cy="121380"/>
            </a:xfrm>
            <a:custGeom>
              <a:avLst/>
              <a:gdLst>
                <a:gd name="connsiteX0" fmla="*/ 36570 w 270770"/>
                <a:gd name="connsiteY0" fmla="*/ 36572 h 121380"/>
                <a:gd name="connsiteX1" fmla="*/ 4921 w 270770"/>
                <a:gd name="connsiteY1" fmla="*/ 32000 h 121380"/>
                <a:gd name="connsiteX2" fmla="*/ 701 w 270770"/>
                <a:gd name="connsiteY2" fmla="*/ 73847 h 121380"/>
                <a:gd name="connsiteX3" fmla="*/ 11954 w 270770"/>
                <a:gd name="connsiteY3" fmla="*/ 93891 h 121380"/>
                <a:gd name="connsiteX4" fmla="*/ 39032 w 270770"/>
                <a:gd name="connsiteY4" fmla="*/ 116749 h 121380"/>
                <a:gd name="connsiteX5" fmla="*/ 58373 w 270770"/>
                <a:gd name="connsiteY5" fmla="*/ 119914 h 121380"/>
                <a:gd name="connsiteX6" fmla="*/ 69977 w 270770"/>
                <a:gd name="connsiteY6" fmla="*/ 103386 h 121380"/>
                <a:gd name="connsiteX7" fmla="*/ 78768 w 270770"/>
                <a:gd name="connsiteY7" fmla="*/ 103386 h 121380"/>
                <a:gd name="connsiteX8" fmla="*/ 92483 w 270770"/>
                <a:gd name="connsiteY8" fmla="*/ 119914 h 121380"/>
                <a:gd name="connsiteX9" fmla="*/ 110417 w 270770"/>
                <a:gd name="connsiteY9" fmla="*/ 115694 h 121380"/>
                <a:gd name="connsiteX10" fmla="*/ 125538 w 270770"/>
                <a:gd name="connsiteY10" fmla="*/ 103386 h 121380"/>
                <a:gd name="connsiteX11" fmla="*/ 145582 w 270770"/>
                <a:gd name="connsiteY11" fmla="*/ 103386 h 121380"/>
                <a:gd name="connsiteX12" fmla="*/ 172660 w 270770"/>
                <a:gd name="connsiteY12" fmla="*/ 103386 h 121380"/>
                <a:gd name="connsiteX13" fmla="*/ 231737 w 270770"/>
                <a:gd name="connsiteY13" fmla="*/ 103386 h 121380"/>
                <a:gd name="connsiteX14" fmla="*/ 238419 w 270770"/>
                <a:gd name="connsiteY14" fmla="*/ 91078 h 121380"/>
                <a:gd name="connsiteX15" fmla="*/ 270771 w 270770"/>
                <a:gd name="connsiteY15" fmla="*/ 84045 h 121380"/>
                <a:gd name="connsiteX16" fmla="*/ 270771 w 270770"/>
                <a:gd name="connsiteY16" fmla="*/ 73847 h 121380"/>
                <a:gd name="connsiteX17" fmla="*/ 266903 w 270770"/>
                <a:gd name="connsiteY17" fmla="*/ 58023 h 121380"/>
                <a:gd name="connsiteX18" fmla="*/ 270771 w 270770"/>
                <a:gd name="connsiteY18" fmla="*/ 38682 h 121380"/>
                <a:gd name="connsiteX19" fmla="*/ 266903 w 270770"/>
                <a:gd name="connsiteY19" fmla="*/ 15121 h 121380"/>
                <a:gd name="connsiteX20" fmla="*/ 238419 w 270770"/>
                <a:gd name="connsiteY20" fmla="*/ 6681 h 121380"/>
                <a:gd name="connsiteX21" fmla="*/ 207825 w 270770"/>
                <a:gd name="connsiteY21" fmla="*/ 15121 h 121380"/>
                <a:gd name="connsiteX22" fmla="*/ 164923 w 270770"/>
                <a:gd name="connsiteY22" fmla="*/ 21802 h 121380"/>
                <a:gd name="connsiteX23" fmla="*/ 125538 w 270770"/>
                <a:gd name="connsiteY23" fmla="*/ 0 h 121380"/>
                <a:gd name="connsiteX24" fmla="*/ 103736 w 270770"/>
                <a:gd name="connsiteY24" fmla="*/ 6681 h 121380"/>
                <a:gd name="connsiteX25" fmla="*/ 69977 w 270770"/>
                <a:gd name="connsiteY25" fmla="*/ 21802 h 121380"/>
                <a:gd name="connsiteX26" fmla="*/ 36570 w 270770"/>
                <a:gd name="connsiteY26" fmla="*/ 36572 h 12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70770" h="121380">
                  <a:moveTo>
                    <a:pt x="36570" y="36572"/>
                  </a:moveTo>
                  <a:cubicBezTo>
                    <a:pt x="30944" y="40229"/>
                    <a:pt x="13129" y="35046"/>
                    <a:pt x="4921" y="32000"/>
                  </a:cubicBezTo>
                  <a:cubicBezTo>
                    <a:pt x="-2112" y="42198"/>
                    <a:pt x="350" y="66111"/>
                    <a:pt x="701" y="73847"/>
                  </a:cubicBezTo>
                  <a:cubicBezTo>
                    <a:pt x="1053" y="81583"/>
                    <a:pt x="9141" y="91078"/>
                    <a:pt x="11954" y="93891"/>
                  </a:cubicBezTo>
                  <a:cubicBezTo>
                    <a:pt x="14768" y="96704"/>
                    <a:pt x="36570" y="115694"/>
                    <a:pt x="39032" y="116749"/>
                  </a:cubicBezTo>
                  <a:cubicBezTo>
                    <a:pt x="41001" y="117593"/>
                    <a:pt x="52746" y="119210"/>
                    <a:pt x="58373" y="119914"/>
                  </a:cubicBezTo>
                  <a:cubicBezTo>
                    <a:pt x="60954" y="115813"/>
                    <a:pt x="66883" y="106762"/>
                    <a:pt x="69977" y="103386"/>
                  </a:cubicBezTo>
                  <a:cubicBezTo>
                    <a:pt x="73845" y="99166"/>
                    <a:pt x="74197" y="103386"/>
                    <a:pt x="78768" y="103386"/>
                  </a:cubicBezTo>
                  <a:cubicBezTo>
                    <a:pt x="83340" y="103386"/>
                    <a:pt x="88615" y="115694"/>
                    <a:pt x="92483" y="119914"/>
                  </a:cubicBezTo>
                  <a:cubicBezTo>
                    <a:pt x="96351" y="124133"/>
                    <a:pt x="108307" y="118155"/>
                    <a:pt x="110417" y="115694"/>
                  </a:cubicBezTo>
                  <a:cubicBezTo>
                    <a:pt x="112105" y="113724"/>
                    <a:pt x="121199" y="106670"/>
                    <a:pt x="125538" y="103386"/>
                  </a:cubicBezTo>
                  <a:cubicBezTo>
                    <a:pt x="131045" y="104912"/>
                    <a:pt x="142769" y="107043"/>
                    <a:pt x="145582" y="103386"/>
                  </a:cubicBezTo>
                  <a:cubicBezTo>
                    <a:pt x="149099" y="98814"/>
                    <a:pt x="164923" y="103386"/>
                    <a:pt x="172660" y="103386"/>
                  </a:cubicBezTo>
                  <a:lnTo>
                    <a:pt x="231737" y="103386"/>
                  </a:lnTo>
                  <a:cubicBezTo>
                    <a:pt x="237083" y="103386"/>
                    <a:pt x="238419" y="95178"/>
                    <a:pt x="238419" y="91078"/>
                  </a:cubicBezTo>
                  <a:lnTo>
                    <a:pt x="270771" y="84045"/>
                  </a:lnTo>
                  <a:lnTo>
                    <a:pt x="270771" y="73847"/>
                  </a:lnTo>
                  <a:cubicBezTo>
                    <a:pt x="270771" y="70682"/>
                    <a:pt x="264793" y="61188"/>
                    <a:pt x="266903" y="58023"/>
                  </a:cubicBezTo>
                  <a:cubicBezTo>
                    <a:pt x="268590" y="55491"/>
                    <a:pt x="270187" y="44076"/>
                    <a:pt x="270771" y="38682"/>
                  </a:cubicBezTo>
                  <a:cubicBezTo>
                    <a:pt x="268077" y="33055"/>
                    <a:pt x="268590" y="17934"/>
                    <a:pt x="266903" y="15121"/>
                  </a:cubicBezTo>
                  <a:cubicBezTo>
                    <a:pt x="264793" y="11605"/>
                    <a:pt x="245100" y="6681"/>
                    <a:pt x="238419" y="6681"/>
                  </a:cubicBezTo>
                  <a:cubicBezTo>
                    <a:pt x="231737" y="6681"/>
                    <a:pt x="213803" y="15121"/>
                    <a:pt x="207825" y="15121"/>
                  </a:cubicBezTo>
                  <a:cubicBezTo>
                    <a:pt x="201847" y="15121"/>
                    <a:pt x="170901" y="21802"/>
                    <a:pt x="164923" y="21802"/>
                  </a:cubicBezTo>
                  <a:cubicBezTo>
                    <a:pt x="158945" y="21802"/>
                    <a:pt x="128351" y="0"/>
                    <a:pt x="125538" y="0"/>
                  </a:cubicBezTo>
                  <a:cubicBezTo>
                    <a:pt x="122725" y="0"/>
                    <a:pt x="107956" y="2813"/>
                    <a:pt x="103736" y="6681"/>
                  </a:cubicBezTo>
                  <a:cubicBezTo>
                    <a:pt x="99516" y="10550"/>
                    <a:pt x="75604" y="21802"/>
                    <a:pt x="69977" y="21802"/>
                  </a:cubicBezTo>
                  <a:cubicBezTo>
                    <a:pt x="64351" y="21802"/>
                    <a:pt x="43603" y="32000"/>
                    <a:pt x="36570" y="3657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9" name="Freihandform: Form 304">
              <a:extLst>
                <a:ext uri="{FF2B5EF4-FFF2-40B4-BE49-F238E27FC236}">
                  <a16:creationId xmlns:a16="http://schemas.microsoft.com/office/drawing/2014/main" id="{A0E3FC5B-B32F-F94E-94FB-B115AC59CBB7}"/>
                </a:ext>
              </a:extLst>
            </p:cNvPr>
            <p:cNvSpPr/>
            <p:nvPr/>
          </p:nvSpPr>
          <p:spPr>
            <a:xfrm>
              <a:off x="6681580" y="3903840"/>
              <a:ext cx="110418" cy="150567"/>
            </a:xfrm>
            <a:custGeom>
              <a:avLst/>
              <a:gdLst>
                <a:gd name="connsiteX0" fmla="*/ 106902 w 110418"/>
                <a:gd name="connsiteY0" fmla="*/ 33759 h 150567"/>
                <a:gd name="connsiteX1" fmla="*/ 110419 w 110418"/>
                <a:gd name="connsiteY1" fmla="*/ 6330 h 150567"/>
                <a:gd name="connsiteX2" fmla="*/ 110419 w 110418"/>
                <a:gd name="connsiteY2" fmla="*/ 0 h 150567"/>
                <a:gd name="connsiteX3" fmla="*/ 40792 w 110418"/>
                <a:gd name="connsiteY3" fmla="*/ 0 h 150567"/>
                <a:gd name="connsiteX4" fmla="*/ 31649 w 110418"/>
                <a:gd name="connsiteY4" fmla="*/ 30242 h 150567"/>
                <a:gd name="connsiteX5" fmla="*/ 40792 w 110418"/>
                <a:gd name="connsiteY5" fmla="*/ 40792 h 150567"/>
                <a:gd name="connsiteX6" fmla="*/ 26374 w 110418"/>
                <a:gd name="connsiteY6" fmla="*/ 66111 h 150567"/>
                <a:gd name="connsiteX7" fmla="*/ 0 w 110418"/>
                <a:gd name="connsiteY7" fmla="*/ 119914 h 150567"/>
                <a:gd name="connsiteX8" fmla="*/ 9846 w 110418"/>
                <a:gd name="connsiteY8" fmla="*/ 147342 h 150567"/>
                <a:gd name="connsiteX9" fmla="*/ 40792 w 110418"/>
                <a:gd name="connsiteY9" fmla="*/ 143123 h 150567"/>
                <a:gd name="connsiteX10" fmla="*/ 61539 w 110418"/>
                <a:gd name="connsiteY10" fmla="*/ 124485 h 150567"/>
                <a:gd name="connsiteX11" fmla="*/ 68221 w 110418"/>
                <a:gd name="connsiteY11" fmla="*/ 101276 h 150567"/>
                <a:gd name="connsiteX12" fmla="*/ 74550 w 110418"/>
                <a:gd name="connsiteY12" fmla="*/ 84748 h 150567"/>
                <a:gd name="connsiteX13" fmla="*/ 74550 w 110418"/>
                <a:gd name="connsiteY13" fmla="*/ 66111 h 150567"/>
                <a:gd name="connsiteX14" fmla="*/ 94595 w 110418"/>
                <a:gd name="connsiteY14" fmla="*/ 56616 h 150567"/>
                <a:gd name="connsiteX15" fmla="*/ 106902 w 110418"/>
                <a:gd name="connsiteY15" fmla="*/ 33759 h 150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0418" h="150567">
                  <a:moveTo>
                    <a:pt x="106902" y="33759"/>
                  </a:moveTo>
                  <a:cubicBezTo>
                    <a:pt x="106902" y="26163"/>
                    <a:pt x="109244" y="12308"/>
                    <a:pt x="110419" y="6330"/>
                  </a:cubicBezTo>
                  <a:lnTo>
                    <a:pt x="110419" y="0"/>
                  </a:lnTo>
                  <a:lnTo>
                    <a:pt x="40792" y="0"/>
                  </a:lnTo>
                  <a:cubicBezTo>
                    <a:pt x="37978" y="8440"/>
                    <a:pt x="32211" y="26304"/>
                    <a:pt x="31649" y="30242"/>
                  </a:cubicBezTo>
                  <a:cubicBezTo>
                    <a:pt x="30945" y="35165"/>
                    <a:pt x="37275" y="39385"/>
                    <a:pt x="40792" y="40792"/>
                  </a:cubicBezTo>
                  <a:cubicBezTo>
                    <a:pt x="44308" y="42198"/>
                    <a:pt x="35869" y="56616"/>
                    <a:pt x="26374" y="66111"/>
                  </a:cubicBezTo>
                  <a:cubicBezTo>
                    <a:pt x="18778" y="73706"/>
                    <a:pt x="5626" y="105144"/>
                    <a:pt x="0" y="119914"/>
                  </a:cubicBezTo>
                  <a:cubicBezTo>
                    <a:pt x="1639" y="126243"/>
                    <a:pt x="5908" y="140591"/>
                    <a:pt x="9846" y="147342"/>
                  </a:cubicBezTo>
                  <a:cubicBezTo>
                    <a:pt x="14769" y="155782"/>
                    <a:pt x="33055" y="145233"/>
                    <a:pt x="40792" y="143123"/>
                  </a:cubicBezTo>
                  <a:cubicBezTo>
                    <a:pt x="48528" y="141013"/>
                    <a:pt x="56616" y="130111"/>
                    <a:pt x="61539" y="124485"/>
                  </a:cubicBezTo>
                  <a:cubicBezTo>
                    <a:pt x="65478" y="119984"/>
                    <a:pt x="67637" y="107135"/>
                    <a:pt x="68221" y="101276"/>
                  </a:cubicBezTo>
                  <a:lnTo>
                    <a:pt x="74550" y="84748"/>
                  </a:lnTo>
                  <a:lnTo>
                    <a:pt x="74550" y="66111"/>
                  </a:lnTo>
                  <a:cubicBezTo>
                    <a:pt x="74550" y="60484"/>
                    <a:pt x="84748" y="61188"/>
                    <a:pt x="94595" y="56616"/>
                  </a:cubicBezTo>
                  <a:cubicBezTo>
                    <a:pt x="104441" y="52045"/>
                    <a:pt x="106902" y="43253"/>
                    <a:pt x="106902" y="33759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0" name="Freihandform: Form 305">
              <a:extLst>
                <a:ext uri="{FF2B5EF4-FFF2-40B4-BE49-F238E27FC236}">
                  <a16:creationId xmlns:a16="http://schemas.microsoft.com/office/drawing/2014/main" id="{76AF6320-1F3F-7642-881E-282F99C568DD}"/>
                </a:ext>
              </a:extLst>
            </p:cNvPr>
            <p:cNvSpPr/>
            <p:nvPr/>
          </p:nvSpPr>
          <p:spPr>
            <a:xfrm>
              <a:off x="6751285" y="3879928"/>
              <a:ext cx="146615" cy="167035"/>
            </a:xfrm>
            <a:custGeom>
              <a:avLst/>
              <a:gdLst>
                <a:gd name="connsiteX0" fmla="*/ 94166 w 146615"/>
                <a:gd name="connsiteY0" fmla="*/ 22506 h 167035"/>
                <a:gd name="connsiteX1" fmla="*/ 85726 w 146615"/>
                <a:gd name="connsiteY1" fmla="*/ 8791 h 167035"/>
                <a:gd name="connsiteX2" fmla="*/ 69198 w 146615"/>
                <a:gd name="connsiteY2" fmla="*/ 0 h 167035"/>
                <a:gd name="connsiteX3" fmla="*/ 41769 w 146615"/>
                <a:gd name="connsiteY3" fmla="*/ 10901 h 167035"/>
                <a:gd name="connsiteX4" fmla="*/ 36565 w 146615"/>
                <a:gd name="connsiteY4" fmla="*/ 23912 h 167035"/>
                <a:gd name="connsiteX5" fmla="*/ 40714 w 146615"/>
                <a:gd name="connsiteY5" fmla="*/ 23912 h 167035"/>
                <a:gd name="connsiteX6" fmla="*/ 40714 w 146615"/>
                <a:gd name="connsiteY6" fmla="*/ 30242 h 167035"/>
                <a:gd name="connsiteX7" fmla="*/ 37198 w 146615"/>
                <a:gd name="connsiteY7" fmla="*/ 57671 h 167035"/>
                <a:gd name="connsiteX8" fmla="*/ 24890 w 146615"/>
                <a:gd name="connsiteY8" fmla="*/ 80528 h 167035"/>
                <a:gd name="connsiteX9" fmla="*/ 14249 w 146615"/>
                <a:gd name="connsiteY9" fmla="*/ 84052 h 167035"/>
                <a:gd name="connsiteX10" fmla="*/ 4846 w 146615"/>
                <a:gd name="connsiteY10" fmla="*/ 90023 h 167035"/>
                <a:gd name="connsiteX11" fmla="*/ 4846 w 146615"/>
                <a:gd name="connsiteY11" fmla="*/ 108661 h 167035"/>
                <a:gd name="connsiteX12" fmla="*/ 0 w 146615"/>
                <a:gd name="connsiteY12" fmla="*/ 121320 h 167035"/>
                <a:gd name="connsiteX13" fmla="*/ 605 w 146615"/>
                <a:gd name="connsiteY13" fmla="*/ 121608 h 167035"/>
                <a:gd name="connsiteX14" fmla="*/ 4023 w 146615"/>
                <a:gd name="connsiteY14" fmla="*/ 118198 h 167035"/>
                <a:gd name="connsiteX15" fmla="*/ 7307 w 146615"/>
                <a:gd name="connsiteY15" fmla="*/ 115694 h 167035"/>
                <a:gd name="connsiteX16" fmla="*/ 37550 w 146615"/>
                <a:gd name="connsiteY16" fmla="*/ 123782 h 167035"/>
                <a:gd name="connsiteX17" fmla="*/ 72012 w 146615"/>
                <a:gd name="connsiteY17" fmla="*/ 149101 h 167035"/>
                <a:gd name="connsiteX18" fmla="*/ 103309 w 146615"/>
                <a:gd name="connsiteY18" fmla="*/ 167035 h 167035"/>
                <a:gd name="connsiteX19" fmla="*/ 117663 w 146615"/>
                <a:gd name="connsiteY19" fmla="*/ 165861 h 167035"/>
                <a:gd name="connsiteX20" fmla="*/ 124056 w 146615"/>
                <a:gd name="connsiteY20" fmla="*/ 165277 h 167035"/>
                <a:gd name="connsiteX21" fmla="*/ 124759 w 146615"/>
                <a:gd name="connsiteY21" fmla="*/ 165410 h 167035"/>
                <a:gd name="connsiteX22" fmla="*/ 131793 w 146615"/>
                <a:gd name="connsiteY22" fmla="*/ 160354 h 167035"/>
                <a:gd name="connsiteX23" fmla="*/ 145859 w 146615"/>
                <a:gd name="connsiteY23" fmla="*/ 145936 h 167035"/>
                <a:gd name="connsiteX24" fmla="*/ 140935 w 146615"/>
                <a:gd name="connsiteY24" fmla="*/ 131166 h 167035"/>
                <a:gd name="connsiteX25" fmla="*/ 137433 w 146615"/>
                <a:gd name="connsiteY25" fmla="*/ 118633 h 167035"/>
                <a:gd name="connsiteX26" fmla="*/ 136012 w 146615"/>
                <a:gd name="connsiteY26" fmla="*/ 109364 h 167035"/>
                <a:gd name="connsiteX27" fmla="*/ 125477 w 146615"/>
                <a:gd name="connsiteY27" fmla="*/ 99630 h 167035"/>
                <a:gd name="connsiteX28" fmla="*/ 120540 w 146615"/>
                <a:gd name="connsiteY28" fmla="*/ 95298 h 167035"/>
                <a:gd name="connsiteX29" fmla="*/ 108232 w 146615"/>
                <a:gd name="connsiteY29" fmla="*/ 74902 h 167035"/>
                <a:gd name="connsiteX30" fmla="*/ 117023 w 146615"/>
                <a:gd name="connsiteY30" fmla="*/ 51341 h 167035"/>
                <a:gd name="connsiteX31" fmla="*/ 109842 w 146615"/>
                <a:gd name="connsiteY31" fmla="*/ 35531 h 167035"/>
                <a:gd name="connsiteX32" fmla="*/ 109842 w 146615"/>
                <a:gd name="connsiteY32" fmla="*/ 35531 h 167035"/>
                <a:gd name="connsiteX33" fmla="*/ 108232 w 146615"/>
                <a:gd name="connsiteY33" fmla="*/ 32352 h 167035"/>
                <a:gd name="connsiteX34" fmla="*/ 101100 w 146615"/>
                <a:gd name="connsiteY34" fmla="*/ 26873 h 167035"/>
                <a:gd name="connsiteX35" fmla="*/ 94166 w 146615"/>
                <a:gd name="connsiteY35" fmla="*/ 22506 h 167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46615" h="167035">
                  <a:moveTo>
                    <a:pt x="94166" y="22506"/>
                  </a:moveTo>
                  <a:cubicBezTo>
                    <a:pt x="90508" y="18849"/>
                    <a:pt x="87013" y="11837"/>
                    <a:pt x="85726" y="8791"/>
                  </a:cubicBezTo>
                  <a:lnTo>
                    <a:pt x="69198" y="0"/>
                  </a:lnTo>
                  <a:lnTo>
                    <a:pt x="41769" y="10901"/>
                  </a:lnTo>
                  <a:lnTo>
                    <a:pt x="36565" y="23912"/>
                  </a:lnTo>
                  <a:lnTo>
                    <a:pt x="40714" y="23912"/>
                  </a:lnTo>
                  <a:lnTo>
                    <a:pt x="40714" y="30242"/>
                  </a:lnTo>
                  <a:cubicBezTo>
                    <a:pt x="39540" y="36220"/>
                    <a:pt x="37198" y="50075"/>
                    <a:pt x="37198" y="57671"/>
                  </a:cubicBezTo>
                  <a:cubicBezTo>
                    <a:pt x="37198" y="67166"/>
                    <a:pt x="34736" y="75957"/>
                    <a:pt x="24890" y="80528"/>
                  </a:cubicBezTo>
                  <a:cubicBezTo>
                    <a:pt x="21212" y="82237"/>
                    <a:pt x="17477" y="83208"/>
                    <a:pt x="14249" y="84052"/>
                  </a:cubicBezTo>
                  <a:cubicBezTo>
                    <a:pt x="8841" y="85459"/>
                    <a:pt x="4846" y="86500"/>
                    <a:pt x="4846" y="90023"/>
                  </a:cubicBezTo>
                  <a:lnTo>
                    <a:pt x="4846" y="108661"/>
                  </a:lnTo>
                  <a:lnTo>
                    <a:pt x="0" y="121320"/>
                  </a:lnTo>
                  <a:lnTo>
                    <a:pt x="605" y="121608"/>
                  </a:lnTo>
                  <a:cubicBezTo>
                    <a:pt x="2047" y="120526"/>
                    <a:pt x="3109" y="119267"/>
                    <a:pt x="4023" y="118198"/>
                  </a:cubicBezTo>
                  <a:cubicBezTo>
                    <a:pt x="5212" y="116791"/>
                    <a:pt x="6140" y="115694"/>
                    <a:pt x="7307" y="115694"/>
                  </a:cubicBezTo>
                  <a:cubicBezTo>
                    <a:pt x="10121" y="115694"/>
                    <a:pt x="32626" y="120617"/>
                    <a:pt x="37550" y="123782"/>
                  </a:cubicBezTo>
                  <a:cubicBezTo>
                    <a:pt x="42473" y="126947"/>
                    <a:pt x="70253" y="145936"/>
                    <a:pt x="72012" y="149101"/>
                  </a:cubicBezTo>
                  <a:cubicBezTo>
                    <a:pt x="73770" y="152266"/>
                    <a:pt x="98034" y="167035"/>
                    <a:pt x="103309" y="167035"/>
                  </a:cubicBezTo>
                  <a:cubicBezTo>
                    <a:pt x="106537" y="167035"/>
                    <a:pt x="112803" y="166374"/>
                    <a:pt x="117663" y="165861"/>
                  </a:cubicBezTo>
                  <a:cubicBezTo>
                    <a:pt x="120730" y="165544"/>
                    <a:pt x="123240" y="165277"/>
                    <a:pt x="124056" y="165277"/>
                  </a:cubicBezTo>
                  <a:cubicBezTo>
                    <a:pt x="124218" y="165277"/>
                    <a:pt x="124457" y="165326"/>
                    <a:pt x="124759" y="165410"/>
                  </a:cubicBezTo>
                  <a:lnTo>
                    <a:pt x="131793" y="160354"/>
                  </a:lnTo>
                  <a:cubicBezTo>
                    <a:pt x="136012" y="156718"/>
                    <a:pt x="144733" y="148749"/>
                    <a:pt x="145859" y="145936"/>
                  </a:cubicBezTo>
                  <a:cubicBezTo>
                    <a:pt x="147265" y="142419"/>
                    <a:pt x="147265" y="135035"/>
                    <a:pt x="140935" y="131166"/>
                  </a:cubicBezTo>
                  <a:cubicBezTo>
                    <a:pt x="137314" y="128951"/>
                    <a:pt x="137377" y="123634"/>
                    <a:pt x="137433" y="118633"/>
                  </a:cubicBezTo>
                  <a:cubicBezTo>
                    <a:pt x="137475" y="114885"/>
                    <a:pt x="137518" y="111319"/>
                    <a:pt x="136012" y="109364"/>
                  </a:cubicBezTo>
                  <a:cubicBezTo>
                    <a:pt x="133853" y="106558"/>
                    <a:pt x="129169" y="102690"/>
                    <a:pt x="125477" y="99630"/>
                  </a:cubicBezTo>
                  <a:cubicBezTo>
                    <a:pt x="123149" y="97710"/>
                    <a:pt x="121215" y="96114"/>
                    <a:pt x="120540" y="95298"/>
                  </a:cubicBezTo>
                  <a:cubicBezTo>
                    <a:pt x="119133" y="93610"/>
                    <a:pt x="111748" y="81000"/>
                    <a:pt x="108232" y="74902"/>
                  </a:cubicBezTo>
                  <a:cubicBezTo>
                    <a:pt x="111165" y="67749"/>
                    <a:pt x="117023" y="53029"/>
                    <a:pt x="117023" y="51341"/>
                  </a:cubicBezTo>
                  <a:cubicBezTo>
                    <a:pt x="117023" y="49604"/>
                    <a:pt x="112733" y="41193"/>
                    <a:pt x="109842" y="35531"/>
                  </a:cubicBezTo>
                  <a:lnTo>
                    <a:pt x="109842" y="35531"/>
                  </a:lnTo>
                  <a:cubicBezTo>
                    <a:pt x="109224" y="34314"/>
                    <a:pt x="108668" y="33224"/>
                    <a:pt x="108232" y="32352"/>
                  </a:cubicBezTo>
                  <a:cubicBezTo>
                    <a:pt x="106860" y="29616"/>
                    <a:pt x="104082" y="28294"/>
                    <a:pt x="101100" y="26873"/>
                  </a:cubicBezTo>
                  <a:cubicBezTo>
                    <a:pt x="98709" y="25734"/>
                    <a:pt x="96198" y="24538"/>
                    <a:pt x="94166" y="2250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1" name="Freihandform: Form 306">
              <a:extLst>
                <a:ext uri="{FF2B5EF4-FFF2-40B4-BE49-F238E27FC236}">
                  <a16:creationId xmlns:a16="http://schemas.microsoft.com/office/drawing/2014/main" id="{72AE203D-1AE1-B648-B156-797E20D88AB2}"/>
                </a:ext>
              </a:extLst>
            </p:cNvPr>
            <p:cNvSpPr/>
            <p:nvPr/>
          </p:nvSpPr>
          <p:spPr>
            <a:xfrm>
              <a:off x="6834549" y="3816868"/>
              <a:ext cx="30215" cy="30170"/>
            </a:xfrm>
            <a:custGeom>
              <a:avLst/>
              <a:gdLst>
                <a:gd name="connsiteX0" fmla="*/ 29539 w 30215"/>
                <a:gd name="connsiteY0" fmla="*/ 23323 h 30170"/>
                <a:gd name="connsiteX1" fmla="*/ 27077 w 30215"/>
                <a:gd name="connsiteY1" fmla="*/ 3631 h 30170"/>
                <a:gd name="connsiteX2" fmla="*/ 10550 w 30215"/>
                <a:gd name="connsiteY2" fmla="*/ 466 h 30170"/>
                <a:gd name="connsiteX3" fmla="*/ 0 w 30215"/>
                <a:gd name="connsiteY3" fmla="*/ 466 h 30170"/>
                <a:gd name="connsiteX4" fmla="*/ 5275 w 30215"/>
                <a:gd name="connsiteY4" fmla="*/ 27192 h 30170"/>
                <a:gd name="connsiteX5" fmla="*/ 19693 w 30215"/>
                <a:gd name="connsiteY5" fmla="*/ 30005 h 30170"/>
                <a:gd name="connsiteX6" fmla="*/ 29539 w 30215"/>
                <a:gd name="connsiteY6" fmla="*/ 23323 h 3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215" h="30170">
                  <a:moveTo>
                    <a:pt x="29539" y="23323"/>
                  </a:moveTo>
                  <a:cubicBezTo>
                    <a:pt x="31508" y="18541"/>
                    <a:pt x="28716" y="8202"/>
                    <a:pt x="27077" y="3631"/>
                  </a:cubicBezTo>
                  <a:lnTo>
                    <a:pt x="10550" y="466"/>
                  </a:lnTo>
                  <a:cubicBezTo>
                    <a:pt x="7033" y="114"/>
                    <a:pt x="0" y="-378"/>
                    <a:pt x="0" y="466"/>
                  </a:cubicBezTo>
                  <a:cubicBezTo>
                    <a:pt x="0" y="1310"/>
                    <a:pt x="3517" y="18632"/>
                    <a:pt x="5275" y="27192"/>
                  </a:cubicBezTo>
                  <a:cubicBezTo>
                    <a:pt x="9262" y="27895"/>
                    <a:pt x="17723" y="29442"/>
                    <a:pt x="19693" y="30005"/>
                  </a:cubicBezTo>
                  <a:cubicBezTo>
                    <a:pt x="22154" y="30708"/>
                    <a:pt x="27077" y="29302"/>
                    <a:pt x="29539" y="2332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2" name="Freihandform: Form 307">
              <a:extLst>
                <a:ext uri="{FF2B5EF4-FFF2-40B4-BE49-F238E27FC236}">
                  <a16:creationId xmlns:a16="http://schemas.microsoft.com/office/drawing/2014/main" id="{EB43CB9B-7C0B-284B-869E-CC81F2CF04BE}"/>
                </a:ext>
              </a:extLst>
            </p:cNvPr>
            <p:cNvSpPr/>
            <p:nvPr/>
          </p:nvSpPr>
          <p:spPr>
            <a:xfrm>
              <a:off x="6860923" y="3808191"/>
              <a:ext cx="51046" cy="55580"/>
            </a:xfrm>
            <a:custGeom>
              <a:avLst/>
              <a:gdLst>
                <a:gd name="connsiteX0" fmla="*/ 34814 w 51046"/>
                <a:gd name="connsiteY0" fmla="*/ 55561 h 55580"/>
                <a:gd name="connsiteX1" fmla="*/ 1758 w 51046"/>
                <a:gd name="connsiteY1" fmla="*/ 38682 h 55580"/>
                <a:gd name="connsiteX2" fmla="*/ 3165 w 51046"/>
                <a:gd name="connsiteY2" fmla="*/ 20748 h 55580"/>
                <a:gd name="connsiteX3" fmla="*/ 0 w 51046"/>
                <a:gd name="connsiteY3" fmla="*/ 8440 h 55580"/>
                <a:gd name="connsiteX4" fmla="*/ 11605 w 51046"/>
                <a:gd name="connsiteY4" fmla="*/ 8440 h 55580"/>
                <a:gd name="connsiteX5" fmla="*/ 26374 w 51046"/>
                <a:gd name="connsiteY5" fmla="*/ 0 h 55580"/>
                <a:gd name="connsiteX6" fmla="*/ 41143 w 51046"/>
                <a:gd name="connsiteY6" fmla="*/ 2462 h 55580"/>
                <a:gd name="connsiteX7" fmla="*/ 47121 w 51046"/>
                <a:gd name="connsiteY7" fmla="*/ 15121 h 55580"/>
                <a:gd name="connsiteX8" fmla="*/ 50990 w 51046"/>
                <a:gd name="connsiteY8" fmla="*/ 41143 h 55580"/>
                <a:gd name="connsiteX9" fmla="*/ 41143 w 51046"/>
                <a:gd name="connsiteY9" fmla="*/ 46770 h 55580"/>
                <a:gd name="connsiteX10" fmla="*/ 34814 w 51046"/>
                <a:gd name="connsiteY10" fmla="*/ 55561 h 55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046" h="55580">
                  <a:moveTo>
                    <a:pt x="34814" y="55561"/>
                  </a:moveTo>
                  <a:cubicBezTo>
                    <a:pt x="30313" y="56124"/>
                    <a:pt x="10901" y="44540"/>
                    <a:pt x="1758" y="38682"/>
                  </a:cubicBezTo>
                  <a:cubicBezTo>
                    <a:pt x="2462" y="34462"/>
                    <a:pt x="3727" y="24967"/>
                    <a:pt x="3165" y="20748"/>
                  </a:cubicBezTo>
                  <a:cubicBezTo>
                    <a:pt x="2602" y="16528"/>
                    <a:pt x="823" y="10782"/>
                    <a:pt x="0" y="8440"/>
                  </a:cubicBezTo>
                  <a:lnTo>
                    <a:pt x="11605" y="8440"/>
                  </a:lnTo>
                  <a:lnTo>
                    <a:pt x="26374" y="0"/>
                  </a:lnTo>
                  <a:cubicBezTo>
                    <a:pt x="30474" y="232"/>
                    <a:pt x="39174" y="1055"/>
                    <a:pt x="41143" y="2462"/>
                  </a:cubicBezTo>
                  <a:cubicBezTo>
                    <a:pt x="43605" y="4220"/>
                    <a:pt x="46418" y="12659"/>
                    <a:pt x="47121" y="15121"/>
                  </a:cubicBezTo>
                  <a:cubicBezTo>
                    <a:pt x="47825" y="17583"/>
                    <a:pt x="50286" y="35869"/>
                    <a:pt x="50990" y="41143"/>
                  </a:cubicBezTo>
                  <a:cubicBezTo>
                    <a:pt x="51693" y="46418"/>
                    <a:pt x="45715" y="45715"/>
                    <a:pt x="41143" y="46770"/>
                  </a:cubicBezTo>
                  <a:cubicBezTo>
                    <a:pt x="36572" y="47825"/>
                    <a:pt x="40440" y="54858"/>
                    <a:pt x="34814" y="5556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3" name="Freihandform: Form 308">
              <a:extLst>
                <a:ext uri="{FF2B5EF4-FFF2-40B4-BE49-F238E27FC236}">
                  <a16:creationId xmlns:a16="http://schemas.microsoft.com/office/drawing/2014/main" id="{15BC4713-32E0-114B-A662-BDE272713F7F}"/>
                </a:ext>
              </a:extLst>
            </p:cNvPr>
            <p:cNvSpPr/>
            <p:nvPr/>
          </p:nvSpPr>
          <p:spPr>
            <a:xfrm>
              <a:off x="6834878" y="3843708"/>
              <a:ext cx="298802" cy="272627"/>
            </a:xfrm>
            <a:custGeom>
              <a:avLst/>
              <a:gdLst>
                <a:gd name="connsiteX0" fmla="*/ 237388 w 298802"/>
                <a:gd name="connsiteY0" fmla="*/ 269366 h 272627"/>
                <a:gd name="connsiteX1" fmla="*/ 267630 w 298802"/>
                <a:gd name="connsiteY1" fmla="*/ 269366 h 272627"/>
                <a:gd name="connsiteX2" fmla="*/ 275367 w 298802"/>
                <a:gd name="connsiteY2" fmla="*/ 260575 h 272627"/>
                <a:gd name="connsiteX3" fmla="*/ 297521 w 298802"/>
                <a:gd name="connsiteY3" fmla="*/ 238421 h 272627"/>
                <a:gd name="connsiteX4" fmla="*/ 284510 w 298802"/>
                <a:gd name="connsiteY4" fmla="*/ 213805 h 272627"/>
                <a:gd name="connsiteX5" fmla="*/ 275353 w 298802"/>
                <a:gd name="connsiteY5" fmla="*/ 180377 h 272627"/>
                <a:gd name="connsiteX6" fmla="*/ 275367 w 298802"/>
                <a:gd name="connsiteY6" fmla="*/ 180046 h 272627"/>
                <a:gd name="connsiteX7" fmla="*/ 263762 w 298802"/>
                <a:gd name="connsiteY7" fmla="*/ 143474 h 272627"/>
                <a:gd name="connsiteX8" fmla="*/ 263762 w 298802"/>
                <a:gd name="connsiteY8" fmla="*/ 78770 h 272627"/>
                <a:gd name="connsiteX9" fmla="*/ 198706 w 298802"/>
                <a:gd name="connsiteY9" fmla="*/ 40440 h 272627"/>
                <a:gd name="connsiteX10" fmla="*/ 172684 w 298802"/>
                <a:gd name="connsiteY10" fmla="*/ 43605 h 272627"/>
                <a:gd name="connsiteX11" fmla="*/ 159673 w 298802"/>
                <a:gd name="connsiteY11" fmla="*/ 57319 h 272627"/>
                <a:gd name="connsiteX12" fmla="*/ 135409 w 298802"/>
                <a:gd name="connsiteY12" fmla="*/ 69627 h 272627"/>
                <a:gd name="connsiteX13" fmla="*/ 106222 w 298802"/>
                <a:gd name="connsiteY13" fmla="*/ 63649 h 272627"/>
                <a:gd name="connsiteX14" fmla="*/ 68947 w 298802"/>
                <a:gd name="connsiteY14" fmla="*/ 32704 h 272627"/>
                <a:gd name="connsiteX15" fmla="*/ 60155 w 298802"/>
                <a:gd name="connsiteY15" fmla="*/ 19693 h 272627"/>
                <a:gd name="connsiteX16" fmla="*/ 43628 w 298802"/>
                <a:gd name="connsiteY16" fmla="*/ 13011 h 272627"/>
                <a:gd name="connsiteX17" fmla="*/ 27803 w 298802"/>
                <a:gd name="connsiteY17" fmla="*/ 3165 h 272627"/>
                <a:gd name="connsiteX18" fmla="*/ 21122 w 298802"/>
                <a:gd name="connsiteY18" fmla="*/ 3165 h 272627"/>
                <a:gd name="connsiteX19" fmla="*/ 3539 w 298802"/>
                <a:gd name="connsiteY19" fmla="*/ 0 h 272627"/>
                <a:gd name="connsiteX20" fmla="*/ 3539 w 298802"/>
                <a:gd name="connsiteY20" fmla="*/ 4571 h 272627"/>
                <a:gd name="connsiteX21" fmla="*/ 23 w 298802"/>
                <a:gd name="connsiteY21" fmla="*/ 19693 h 272627"/>
                <a:gd name="connsiteX22" fmla="*/ 3539 w 298802"/>
                <a:gd name="connsiteY22" fmla="*/ 32704 h 272627"/>
                <a:gd name="connsiteX23" fmla="*/ 3539 w 298802"/>
                <a:gd name="connsiteY23" fmla="*/ 37627 h 272627"/>
                <a:gd name="connsiteX24" fmla="*/ 2133 w 298802"/>
                <a:gd name="connsiteY24" fmla="*/ 44660 h 272627"/>
                <a:gd name="connsiteX25" fmla="*/ 8111 w 298802"/>
                <a:gd name="connsiteY25" fmla="*/ 57319 h 272627"/>
                <a:gd name="connsiteX26" fmla="*/ 22177 w 298802"/>
                <a:gd name="connsiteY26" fmla="*/ 65056 h 272627"/>
                <a:gd name="connsiteX27" fmla="*/ 33781 w 298802"/>
                <a:gd name="connsiteY27" fmla="*/ 87562 h 272627"/>
                <a:gd name="connsiteX28" fmla="*/ 25342 w 298802"/>
                <a:gd name="connsiteY28" fmla="*/ 110771 h 272627"/>
                <a:gd name="connsiteX29" fmla="*/ 36243 w 298802"/>
                <a:gd name="connsiteY29" fmla="*/ 130463 h 272627"/>
                <a:gd name="connsiteX30" fmla="*/ 48551 w 298802"/>
                <a:gd name="connsiteY30" fmla="*/ 143474 h 272627"/>
                <a:gd name="connsiteX31" fmla="*/ 53474 w 298802"/>
                <a:gd name="connsiteY31" fmla="*/ 149101 h 272627"/>
                <a:gd name="connsiteX32" fmla="*/ 53474 w 298802"/>
                <a:gd name="connsiteY32" fmla="*/ 165628 h 272627"/>
                <a:gd name="connsiteX33" fmla="*/ 61913 w 298802"/>
                <a:gd name="connsiteY33" fmla="*/ 174771 h 272627"/>
                <a:gd name="connsiteX34" fmla="*/ 61913 w 298802"/>
                <a:gd name="connsiteY34" fmla="*/ 180046 h 272627"/>
                <a:gd name="connsiteX35" fmla="*/ 67540 w 298802"/>
                <a:gd name="connsiteY35" fmla="*/ 182859 h 272627"/>
                <a:gd name="connsiteX36" fmla="*/ 89694 w 298802"/>
                <a:gd name="connsiteY36" fmla="*/ 182859 h 272627"/>
                <a:gd name="connsiteX37" fmla="*/ 106222 w 298802"/>
                <a:gd name="connsiteY37" fmla="*/ 200442 h 272627"/>
                <a:gd name="connsiteX38" fmla="*/ 135057 w 298802"/>
                <a:gd name="connsiteY38" fmla="*/ 235607 h 272627"/>
                <a:gd name="connsiteX39" fmla="*/ 160728 w 298802"/>
                <a:gd name="connsiteY39" fmla="*/ 249322 h 272627"/>
                <a:gd name="connsiteX40" fmla="*/ 188157 w 298802"/>
                <a:gd name="connsiteY40" fmla="*/ 242289 h 272627"/>
                <a:gd name="connsiteX41" fmla="*/ 201168 w 298802"/>
                <a:gd name="connsiteY41" fmla="*/ 238421 h 272627"/>
                <a:gd name="connsiteX42" fmla="*/ 207498 w 298802"/>
                <a:gd name="connsiteY42" fmla="*/ 256355 h 272627"/>
                <a:gd name="connsiteX43" fmla="*/ 237388 w 298802"/>
                <a:gd name="connsiteY43" fmla="*/ 269366 h 272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98802" h="272627">
                  <a:moveTo>
                    <a:pt x="237388" y="269366"/>
                  </a:moveTo>
                  <a:cubicBezTo>
                    <a:pt x="252861" y="275274"/>
                    <a:pt x="263994" y="271828"/>
                    <a:pt x="267630" y="269366"/>
                  </a:cubicBezTo>
                  <a:cubicBezTo>
                    <a:pt x="270211" y="267256"/>
                    <a:pt x="275367" y="262544"/>
                    <a:pt x="275367" y="260575"/>
                  </a:cubicBezTo>
                  <a:cubicBezTo>
                    <a:pt x="275367" y="258113"/>
                    <a:pt x="293301" y="249322"/>
                    <a:pt x="297521" y="238421"/>
                  </a:cubicBezTo>
                  <a:cubicBezTo>
                    <a:pt x="301741" y="227519"/>
                    <a:pt x="295059" y="221893"/>
                    <a:pt x="284510" y="213805"/>
                  </a:cubicBezTo>
                  <a:cubicBezTo>
                    <a:pt x="274045" y="205780"/>
                    <a:pt x="274649" y="193958"/>
                    <a:pt x="275353" y="180377"/>
                  </a:cubicBezTo>
                  <a:lnTo>
                    <a:pt x="275367" y="180046"/>
                  </a:lnTo>
                  <a:cubicBezTo>
                    <a:pt x="276070" y="166332"/>
                    <a:pt x="267630" y="155430"/>
                    <a:pt x="263762" y="143474"/>
                  </a:cubicBezTo>
                  <a:cubicBezTo>
                    <a:pt x="259894" y="131518"/>
                    <a:pt x="266224" y="103738"/>
                    <a:pt x="263762" y="78770"/>
                  </a:cubicBezTo>
                  <a:cubicBezTo>
                    <a:pt x="261301" y="53803"/>
                    <a:pt x="202926" y="41847"/>
                    <a:pt x="198706" y="40440"/>
                  </a:cubicBezTo>
                  <a:cubicBezTo>
                    <a:pt x="194487" y="39033"/>
                    <a:pt x="179717" y="41495"/>
                    <a:pt x="172684" y="43605"/>
                  </a:cubicBezTo>
                  <a:cubicBezTo>
                    <a:pt x="165651" y="45715"/>
                    <a:pt x="159321" y="51693"/>
                    <a:pt x="159673" y="57319"/>
                  </a:cubicBezTo>
                  <a:cubicBezTo>
                    <a:pt x="160025" y="62946"/>
                    <a:pt x="150882" y="69276"/>
                    <a:pt x="135409" y="69627"/>
                  </a:cubicBezTo>
                  <a:cubicBezTo>
                    <a:pt x="119936" y="69979"/>
                    <a:pt x="121343" y="65056"/>
                    <a:pt x="106222" y="63649"/>
                  </a:cubicBezTo>
                  <a:cubicBezTo>
                    <a:pt x="91101" y="62243"/>
                    <a:pt x="71408" y="37627"/>
                    <a:pt x="68947" y="32704"/>
                  </a:cubicBezTo>
                  <a:cubicBezTo>
                    <a:pt x="66485" y="27781"/>
                    <a:pt x="62617" y="19693"/>
                    <a:pt x="60155" y="19693"/>
                  </a:cubicBezTo>
                  <a:cubicBezTo>
                    <a:pt x="57694" y="19693"/>
                    <a:pt x="47144" y="14769"/>
                    <a:pt x="43628" y="13011"/>
                  </a:cubicBezTo>
                  <a:cubicBezTo>
                    <a:pt x="40814" y="11605"/>
                    <a:pt x="31903" y="5859"/>
                    <a:pt x="27803" y="3165"/>
                  </a:cubicBezTo>
                  <a:cubicBezTo>
                    <a:pt x="26397" y="2933"/>
                    <a:pt x="23091" y="2602"/>
                    <a:pt x="21122" y="3165"/>
                  </a:cubicBezTo>
                  <a:cubicBezTo>
                    <a:pt x="19153" y="3728"/>
                    <a:pt x="8582" y="1287"/>
                    <a:pt x="3539" y="0"/>
                  </a:cubicBezTo>
                  <a:lnTo>
                    <a:pt x="3539" y="4571"/>
                  </a:lnTo>
                  <a:cubicBezTo>
                    <a:pt x="3539" y="7033"/>
                    <a:pt x="-329" y="15121"/>
                    <a:pt x="23" y="19693"/>
                  </a:cubicBezTo>
                  <a:cubicBezTo>
                    <a:pt x="304" y="23350"/>
                    <a:pt x="2484" y="29890"/>
                    <a:pt x="3539" y="32704"/>
                  </a:cubicBezTo>
                  <a:lnTo>
                    <a:pt x="3539" y="37627"/>
                  </a:lnTo>
                  <a:cubicBezTo>
                    <a:pt x="3539" y="38752"/>
                    <a:pt x="2604" y="42782"/>
                    <a:pt x="2133" y="44660"/>
                  </a:cubicBezTo>
                  <a:cubicBezTo>
                    <a:pt x="3539" y="47705"/>
                    <a:pt x="6704" y="54506"/>
                    <a:pt x="8111" y="57319"/>
                  </a:cubicBezTo>
                  <a:cubicBezTo>
                    <a:pt x="9869" y="60836"/>
                    <a:pt x="20067" y="64001"/>
                    <a:pt x="22177" y="65056"/>
                  </a:cubicBezTo>
                  <a:cubicBezTo>
                    <a:pt x="24287" y="66111"/>
                    <a:pt x="33078" y="85803"/>
                    <a:pt x="33781" y="87562"/>
                  </a:cubicBezTo>
                  <a:cubicBezTo>
                    <a:pt x="34344" y="88968"/>
                    <a:pt x="28387" y="103618"/>
                    <a:pt x="25342" y="110771"/>
                  </a:cubicBezTo>
                  <a:lnTo>
                    <a:pt x="36243" y="130463"/>
                  </a:lnTo>
                  <a:cubicBezTo>
                    <a:pt x="38824" y="133396"/>
                    <a:pt x="44893" y="140098"/>
                    <a:pt x="48551" y="143474"/>
                  </a:cubicBezTo>
                  <a:cubicBezTo>
                    <a:pt x="53122" y="147694"/>
                    <a:pt x="53474" y="147342"/>
                    <a:pt x="53474" y="149101"/>
                  </a:cubicBezTo>
                  <a:lnTo>
                    <a:pt x="53474" y="165628"/>
                  </a:lnTo>
                  <a:lnTo>
                    <a:pt x="61913" y="174771"/>
                  </a:lnTo>
                  <a:lnTo>
                    <a:pt x="61913" y="180046"/>
                  </a:lnTo>
                  <a:lnTo>
                    <a:pt x="67540" y="182859"/>
                  </a:lnTo>
                  <a:cubicBezTo>
                    <a:pt x="73286" y="182627"/>
                    <a:pt x="85755" y="182297"/>
                    <a:pt x="89694" y="182859"/>
                  </a:cubicBezTo>
                  <a:cubicBezTo>
                    <a:pt x="94617" y="183563"/>
                    <a:pt x="103057" y="193409"/>
                    <a:pt x="106222" y="200442"/>
                  </a:cubicBezTo>
                  <a:cubicBezTo>
                    <a:pt x="109387" y="207475"/>
                    <a:pt x="128376" y="228926"/>
                    <a:pt x="135057" y="235607"/>
                  </a:cubicBezTo>
                  <a:cubicBezTo>
                    <a:pt x="141739" y="242289"/>
                    <a:pt x="152992" y="246157"/>
                    <a:pt x="160728" y="249322"/>
                  </a:cubicBezTo>
                  <a:cubicBezTo>
                    <a:pt x="168464" y="252487"/>
                    <a:pt x="185695" y="246157"/>
                    <a:pt x="188157" y="242289"/>
                  </a:cubicBezTo>
                  <a:cubicBezTo>
                    <a:pt x="190618" y="238421"/>
                    <a:pt x="196596" y="238069"/>
                    <a:pt x="201168" y="238421"/>
                  </a:cubicBezTo>
                  <a:cubicBezTo>
                    <a:pt x="205739" y="238772"/>
                    <a:pt x="205388" y="250025"/>
                    <a:pt x="207498" y="256355"/>
                  </a:cubicBezTo>
                  <a:cubicBezTo>
                    <a:pt x="209608" y="262685"/>
                    <a:pt x="218047" y="261981"/>
                    <a:pt x="237388" y="26936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4" name="Freihandform: Form 309">
              <a:extLst>
                <a:ext uri="{FF2B5EF4-FFF2-40B4-BE49-F238E27FC236}">
                  <a16:creationId xmlns:a16="http://schemas.microsoft.com/office/drawing/2014/main" id="{4BCA763D-1130-0742-BC0B-30A484443D65}"/>
                </a:ext>
              </a:extLst>
            </p:cNvPr>
            <p:cNvSpPr/>
            <p:nvPr/>
          </p:nvSpPr>
          <p:spPr>
            <a:xfrm>
              <a:off x="6974507" y="3784982"/>
              <a:ext cx="202551" cy="149170"/>
            </a:xfrm>
            <a:custGeom>
              <a:avLst/>
              <a:gdLst>
                <a:gd name="connsiteX0" fmla="*/ 112529 w 202551"/>
                <a:gd name="connsiteY0" fmla="*/ 19341 h 149170"/>
                <a:gd name="connsiteX1" fmla="*/ 88968 w 202551"/>
                <a:gd name="connsiteY1" fmla="*/ 0 h 149170"/>
                <a:gd name="connsiteX2" fmla="*/ 69979 w 202551"/>
                <a:gd name="connsiteY2" fmla="*/ 16176 h 149170"/>
                <a:gd name="connsiteX3" fmla="*/ 49231 w 202551"/>
                <a:gd name="connsiteY3" fmla="*/ 29187 h 149170"/>
                <a:gd name="connsiteX4" fmla="*/ 32704 w 202551"/>
                <a:gd name="connsiteY4" fmla="*/ 13714 h 149170"/>
                <a:gd name="connsiteX5" fmla="*/ 23561 w 202551"/>
                <a:gd name="connsiteY5" fmla="*/ 9846 h 149170"/>
                <a:gd name="connsiteX6" fmla="*/ 2110 w 202551"/>
                <a:gd name="connsiteY6" fmla="*/ 5978 h 149170"/>
                <a:gd name="connsiteX7" fmla="*/ 0 w 202551"/>
                <a:gd name="connsiteY7" fmla="*/ 41495 h 149170"/>
                <a:gd name="connsiteX8" fmla="*/ 18638 w 202551"/>
                <a:gd name="connsiteY8" fmla="*/ 53100 h 149170"/>
                <a:gd name="connsiteX9" fmla="*/ 23561 w 202551"/>
                <a:gd name="connsiteY9" fmla="*/ 72792 h 149170"/>
                <a:gd name="connsiteX10" fmla="*/ 23561 w 202551"/>
                <a:gd name="connsiteY10" fmla="*/ 107254 h 149170"/>
                <a:gd name="connsiteX11" fmla="*/ 38682 w 202551"/>
                <a:gd name="connsiteY11" fmla="*/ 100221 h 149170"/>
                <a:gd name="connsiteX12" fmla="*/ 57671 w 202551"/>
                <a:gd name="connsiteY12" fmla="*/ 100221 h 149170"/>
                <a:gd name="connsiteX13" fmla="*/ 108309 w 202551"/>
                <a:gd name="connsiteY13" fmla="*/ 116397 h 149170"/>
                <a:gd name="connsiteX14" fmla="*/ 128353 w 202551"/>
                <a:gd name="connsiteY14" fmla="*/ 141013 h 149170"/>
                <a:gd name="connsiteX15" fmla="*/ 142419 w 202551"/>
                <a:gd name="connsiteY15" fmla="*/ 149101 h 149170"/>
                <a:gd name="connsiteX16" fmla="*/ 164222 w 202551"/>
                <a:gd name="connsiteY16" fmla="*/ 136793 h 149170"/>
                <a:gd name="connsiteX17" fmla="*/ 194112 w 202551"/>
                <a:gd name="connsiteY17" fmla="*/ 109364 h 149170"/>
                <a:gd name="connsiteX18" fmla="*/ 202552 w 202551"/>
                <a:gd name="connsiteY18" fmla="*/ 97759 h 149170"/>
                <a:gd name="connsiteX19" fmla="*/ 183563 w 202551"/>
                <a:gd name="connsiteY19" fmla="*/ 86858 h 149170"/>
                <a:gd name="connsiteX20" fmla="*/ 151562 w 202551"/>
                <a:gd name="connsiteY20" fmla="*/ 58374 h 149170"/>
                <a:gd name="connsiteX21" fmla="*/ 139606 w 202551"/>
                <a:gd name="connsiteY21" fmla="*/ 35869 h 149170"/>
                <a:gd name="connsiteX22" fmla="*/ 128353 w 202551"/>
                <a:gd name="connsiteY22" fmla="*/ 32352 h 149170"/>
                <a:gd name="connsiteX23" fmla="*/ 112529 w 202551"/>
                <a:gd name="connsiteY23" fmla="*/ 19341 h 149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02551" h="149170">
                  <a:moveTo>
                    <a:pt x="112529" y="19341"/>
                  </a:moveTo>
                  <a:cubicBezTo>
                    <a:pt x="112248" y="15965"/>
                    <a:pt x="96705" y="5043"/>
                    <a:pt x="88968" y="0"/>
                  </a:cubicBezTo>
                  <a:cubicBezTo>
                    <a:pt x="80880" y="0"/>
                    <a:pt x="73847" y="13714"/>
                    <a:pt x="69979" y="16176"/>
                  </a:cubicBezTo>
                  <a:cubicBezTo>
                    <a:pt x="66111" y="18638"/>
                    <a:pt x="57671" y="27077"/>
                    <a:pt x="49231" y="29187"/>
                  </a:cubicBezTo>
                  <a:cubicBezTo>
                    <a:pt x="42480" y="30875"/>
                    <a:pt x="35397" y="19573"/>
                    <a:pt x="32704" y="13714"/>
                  </a:cubicBezTo>
                  <a:cubicBezTo>
                    <a:pt x="31881" y="13011"/>
                    <a:pt x="28906" y="11253"/>
                    <a:pt x="23561" y="9846"/>
                  </a:cubicBezTo>
                  <a:cubicBezTo>
                    <a:pt x="18216" y="8440"/>
                    <a:pt x="7033" y="6681"/>
                    <a:pt x="2110" y="5978"/>
                  </a:cubicBezTo>
                  <a:cubicBezTo>
                    <a:pt x="1407" y="15944"/>
                    <a:pt x="0" y="36994"/>
                    <a:pt x="0" y="41495"/>
                  </a:cubicBezTo>
                  <a:cubicBezTo>
                    <a:pt x="0" y="47121"/>
                    <a:pt x="12659" y="49935"/>
                    <a:pt x="18638" y="53100"/>
                  </a:cubicBezTo>
                  <a:cubicBezTo>
                    <a:pt x="24616" y="56264"/>
                    <a:pt x="23561" y="61539"/>
                    <a:pt x="23561" y="72792"/>
                  </a:cubicBezTo>
                  <a:lnTo>
                    <a:pt x="23561" y="107254"/>
                  </a:lnTo>
                  <a:lnTo>
                    <a:pt x="38682" y="100221"/>
                  </a:lnTo>
                  <a:cubicBezTo>
                    <a:pt x="41847" y="100102"/>
                    <a:pt x="50075" y="99940"/>
                    <a:pt x="57671" y="100221"/>
                  </a:cubicBezTo>
                  <a:cubicBezTo>
                    <a:pt x="67166" y="100573"/>
                    <a:pt x="98463" y="111826"/>
                    <a:pt x="108309" y="116397"/>
                  </a:cubicBezTo>
                  <a:cubicBezTo>
                    <a:pt x="116186" y="120054"/>
                    <a:pt x="124956" y="134331"/>
                    <a:pt x="128353" y="141013"/>
                  </a:cubicBezTo>
                  <a:cubicBezTo>
                    <a:pt x="132102" y="143355"/>
                    <a:pt x="140169" y="148257"/>
                    <a:pt x="142419" y="149101"/>
                  </a:cubicBezTo>
                  <a:cubicBezTo>
                    <a:pt x="145233" y="150156"/>
                    <a:pt x="163167" y="138903"/>
                    <a:pt x="164222" y="136793"/>
                  </a:cubicBezTo>
                  <a:cubicBezTo>
                    <a:pt x="165066" y="135105"/>
                    <a:pt x="184498" y="117804"/>
                    <a:pt x="194112" y="109364"/>
                  </a:cubicBezTo>
                  <a:lnTo>
                    <a:pt x="202552" y="97759"/>
                  </a:lnTo>
                  <a:cubicBezTo>
                    <a:pt x="197980" y="94946"/>
                    <a:pt x="187783" y="88828"/>
                    <a:pt x="183563" y="86858"/>
                  </a:cubicBezTo>
                  <a:cubicBezTo>
                    <a:pt x="178288" y="84397"/>
                    <a:pt x="152266" y="60836"/>
                    <a:pt x="151562" y="58374"/>
                  </a:cubicBezTo>
                  <a:cubicBezTo>
                    <a:pt x="150859" y="55913"/>
                    <a:pt x="141013" y="37275"/>
                    <a:pt x="139606" y="35869"/>
                  </a:cubicBezTo>
                  <a:cubicBezTo>
                    <a:pt x="138200" y="34462"/>
                    <a:pt x="131870" y="32704"/>
                    <a:pt x="128353" y="32352"/>
                  </a:cubicBezTo>
                  <a:cubicBezTo>
                    <a:pt x="124837" y="32000"/>
                    <a:pt x="112881" y="23561"/>
                    <a:pt x="112529" y="1934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5" name="Freihandform: Form 310">
              <a:extLst>
                <a:ext uri="{FF2B5EF4-FFF2-40B4-BE49-F238E27FC236}">
                  <a16:creationId xmlns:a16="http://schemas.microsoft.com/office/drawing/2014/main" id="{8E28EE35-BFBA-FF40-B0D5-83D427336C73}"/>
                </a:ext>
              </a:extLst>
            </p:cNvPr>
            <p:cNvSpPr/>
            <p:nvPr/>
          </p:nvSpPr>
          <p:spPr>
            <a:xfrm>
              <a:off x="6991759" y="3727370"/>
              <a:ext cx="237883" cy="164346"/>
            </a:xfrm>
            <a:custGeom>
              <a:avLst/>
              <a:gdLst>
                <a:gd name="connsiteX0" fmla="*/ 113 w 237883"/>
                <a:gd name="connsiteY0" fmla="*/ 66108 h 164346"/>
                <a:gd name="connsiteX1" fmla="*/ 0 w 237883"/>
                <a:gd name="connsiteY1" fmla="*/ 65841 h 164346"/>
                <a:gd name="connsiteX2" fmla="*/ 9122 w 237883"/>
                <a:gd name="connsiteY2" fmla="*/ 67107 h 164346"/>
                <a:gd name="connsiteX3" fmla="*/ 12083 w 237883"/>
                <a:gd name="connsiteY3" fmla="*/ 69435 h 164346"/>
                <a:gd name="connsiteX4" fmla="*/ 6309 w 237883"/>
                <a:gd name="connsiteY4" fmla="*/ 67458 h 164346"/>
                <a:gd name="connsiteX5" fmla="*/ 113 w 237883"/>
                <a:gd name="connsiteY5" fmla="*/ 66108 h 164346"/>
                <a:gd name="connsiteX6" fmla="*/ 182191 w 237883"/>
                <a:gd name="connsiteY6" fmla="*/ 159648 h 164346"/>
                <a:gd name="connsiteX7" fmla="*/ 213432 w 237883"/>
                <a:gd name="connsiteY7" fmla="*/ 164163 h 164346"/>
                <a:gd name="connsiteX8" fmla="*/ 220740 w 237883"/>
                <a:gd name="connsiteY8" fmla="*/ 153634 h 164346"/>
                <a:gd name="connsiteX9" fmla="*/ 220465 w 237883"/>
                <a:gd name="connsiteY9" fmla="*/ 147283 h 164346"/>
                <a:gd name="connsiteX10" fmla="*/ 214895 w 237883"/>
                <a:gd name="connsiteY10" fmla="*/ 134961 h 164346"/>
                <a:gd name="connsiteX11" fmla="*/ 214895 w 237883"/>
                <a:gd name="connsiteY11" fmla="*/ 134961 h 164346"/>
                <a:gd name="connsiteX12" fmla="*/ 209564 w 237883"/>
                <a:gd name="connsiteY12" fmla="*/ 125833 h 164346"/>
                <a:gd name="connsiteX13" fmla="*/ 223201 w 237883"/>
                <a:gd name="connsiteY13" fmla="*/ 116753 h 164346"/>
                <a:gd name="connsiteX14" fmla="*/ 236641 w 237883"/>
                <a:gd name="connsiteY14" fmla="*/ 111063 h 164346"/>
                <a:gd name="connsiteX15" fmla="*/ 229172 w 237883"/>
                <a:gd name="connsiteY15" fmla="*/ 93586 h 164346"/>
                <a:gd name="connsiteX16" fmla="*/ 223279 w 237883"/>
                <a:gd name="connsiteY16" fmla="*/ 96645 h 164346"/>
                <a:gd name="connsiteX17" fmla="*/ 212778 w 237883"/>
                <a:gd name="connsiteY17" fmla="*/ 93832 h 164346"/>
                <a:gd name="connsiteX18" fmla="*/ 200773 w 237883"/>
                <a:gd name="connsiteY18" fmla="*/ 88909 h 164346"/>
                <a:gd name="connsiteX19" fmla="*/ 174919 w 237883"/>
                <a:gd name="connsiteY19" fmla="*/ 41591 h 164346"/>
                <a:gd name="connsiteX20" fmla="*/ 174750 w 237883"/>
                <a:gd name="connsiteY20" fmla="*/ 41084 h 164346"/>
                <a:gd name="connsiteX21" fmla="*/ 154003 w 237883"/>
                <a:gd name="connsiteY21" fmla="*/ 31941 h 164346"/>
                <a:gd name="connsiteX22" fmla="*/ 125519 w 237883"/>
                <a:gd name="connsiteY22" fmla="*/ 46359 h 164346"/>
                <a:gd name="connsiteX23" fmla="*/ 105475 w 237883"/>
                <a:gd name="connsiteY23" fmla="*/ 17172 h 164346"/>
                <a:gd name="connsiteX24" fmla="*/ 78088 w 237883"/>
                <a:gd name="connsiteY24" fmla="*/ 4541 h 164346"/>
                <a:gd name="connsiteX25" fmla="*/ 67145 w 237883"/>
                <a:gd name="connsiteY25" fmla="*/ 1348 h 164346"/>
                <a:gd name="connsiteX26" fmla="*/ 35144 w 237883"/>
                <a:gd name="connsiteY26" fmla="*/ 10139 h 164346"/>
                <a:gd name="connsiteX27" fmla="*/ 29518 w 237883"/>
                <a:gd name="connsiteY27" fmla="*/ 52337 h 164346"/>
                <a:gd name="connsiteX28" fmla="*/ 18968 w 237883"/>
                <a:gd name="connsiteY28" fmla="*/ 74843 h 164346"/>
                <a:gd name="connsiteX29" fmla="*/ 16036 w 237883"/>
                <a:gd name="connsiteY29" fmla="*/ 72536 h 164346"/>
                <a:gd name="connsiteX30" fmla="*/ 31979 w 237883"/>
                <a:gd name="connsiteY30" fmla="*/ 86799 h 164346"/>
                <a:gd name="connsiteX31" fmla="*/ 48704 w 237883"/>
                <a:gd name="connsiteY31" fmla="*/ 76833 h 164346"/>
                <a:gd name="connsiteX32" fmla="*/ 52727 w 237883"/>
                <a:gd name="connsiteY32" fmla="*/ 73788 h 164346"/>
                <a:gd name="connsiteX33" fmla="*/ 57453 w 237883"/>
                <a:gd name="connsiteY33" fmla="*/ 68647 h 164346"/>
                <a:gd name="connsiteX34" fmla="*/ 71716 w 237883"/>
                <a:gd name="connsiteY34" fmla="*/ 57612 h 164346"/>
                <a:gd name="connsiteX35" fmla="*/ 95277 w 237883"/>
                <a:gd name="connsiteY35" fmla="*/ 76953 h 164346"/>
                <a:gd name="connsiteX36" fmla="*/ 111101 w 237883"/>
                <a:gd name="connsiteY36" fmla="*/ 89964 h 164346"/>
                <a:gd name="connsiteX37" fmla="*/ 122354 w 237883"/>
                <a:gd name="connsiteY37" fmla="*/ 93481 h 164346"/>
                <a:gd name="connsiteX38" fmla="*/ 134310 w 237883"/>
                <a:gd name="connsiteY38" fmla="*/ 115986 h 164346"/>
                <a:gd name="connsiteX39" fmla="*/ 166311 w 237883"/>
                <a:gd name="connsiteY39" fmla="*/ 144470 h 164346"/>
                <a:gd name="connsiteX40" fmla="*/ 185300 w 237883"/>
                <a:gd name="connsiteY40" fmla="*/ 155371 h 164346"/>
                <a:gd name="connsiteX41" fmla="*/ 182191 w 237883"/>
                <a:gd name="connsiteY41" fmla="*/ 159648 h 164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7883" h="164346">
                  <a:moveTo>
                    <a:pt x="113" y="66108"/>
                  </a:moveTo>
                  <a:lnTo>
                    <a:pt x="0" y="65841"/>
                  </a:lnTo>
                  <a:cubicBezTo>
                    <a:pt x="3425" y="66340"/>
                    <a:pt x="6773" y="66797"/>
                    <a:pt x="9122" y="67107"/>
                  </a:cubicBezTo>
                  <a:lnTo>
                    <a:pt x="12083" y="69435"/>
                  </a:lnTo>
                  <a:cubicBezTo>
                    <a:pt x="10620" y="68787"/>
                    <a:pt x="8700" y="68091"/>
                    <a:pt x="6309" y="67458"/>
                  </a:cubicBezTo>
                  <a:cubicBezTo>
                    <a:pt x="4677" y="67029"/>
                    <a:pt x="2497" y="66565"/>
                    <a:pt x="113" y="66108"/>
                  </a:cubicBezTo>
                  <a:close/>
                  <a:moveTo>
                    <a:pt x="182191" y="159648"/>
                  </a:moveTo>
                  <a:cubicBezTo>
                    <a:pt x="190610" y="160836"/>
                    <a:pt x="205189" y="162911"/>
                    <a:pt x="213432" y="164163"/>
                  </a:cubicBezTo>
                  <a:cubicBezTo>
                    <a:pt x="221970" y="165457"/>
                    <a:pt x="221373" y="159704"/>
                    <a:pt x="220740" y="153634"/>
                  </a:cubicBezTo>
                  <a:cubicBezTo>
                    <a:pt x="220514" y="151454"/>
                    <a:pt x="220283" y="149232"/>
                    <a:pt x="220465" y="147283"/>
                  </a:cubicBezTo>
                  <a:cubicBezTo>
                    <a:pt x="220873" y="143035"/>
                    <a:pt x="217898" y="139020"/>
                    <a:pt x="214895" y="134961"/>
                  </a:cubicBezTo>
                  <a:lnTo>
                    <a:pt x="214895" y="134961"/>
                  </a:lnTo>
                  <a:cubicBezTo>
                    <a:pt x="212687" y="131972"/>
                    <a:pt x="210457" y="128969"/>
                    <a:pt x="209564" y="125833"/>
                  </a:cubicBezTo>
                  <a:cubicBezTo>
                    <a:pt x="208305" y="121423"/>
                    <a:pt x="215570" y="119144"/>
                    <a:pt x="223201" y="116753"/>
                  </a:cubicBezTo>
                  <a:cubicBezTo>
                    <a:pt x="228349" y="115135"/>
                    <a:pt x="233666" y="113468"/>
                    <a:pt x="236641" y="111063"/>
                  </a:cubicBezTo>
                  <a:cubicBezTo>
                    <a:pt x="240242" y="108145"/>
                    <a:pt x="235481" y="100718"/>
                    <a:pt x="229172" y="93586"/>
                  </a:cubicBezTo>
                  <a:cubicBezTo>
                    <a:pt x="227238" y="95000"/>
                    <a:pt x="225276" y="96118"/>
                    <a:pt x="223279" y="96645"/>
                  </a:cubicBezTo>
                  <a:cubicBezTo>
                    <a:pt x="219628" y="97609"/>
                    <a:pt x="216604" y="95942"/>
                    <a:pt x="212778" y="93832"/>
                  </a:cubicBezTo>
                  <a:cubicBezTo>
                    <a:pt x="209599" y="92081"/>
                    <a:pt x="205872" y="90027"/>
                    <a:pt x="200773" y="88909"/>
                  </a:cubicBezTo>
                  <a:cubicBezTo>
                    <a:pt x="189822" y="86511"/>
                    <a:pt x="177212" y="48504"/>
                    <a:pt x="174919" y="41591"/>
                  </a:cubicBezTo>
                  <a:cubicBezTo>
                    <a:pt x="174856" y="41394"/>
                    <a:pt x="174800" y="41225"/>
                    <a:pt x="174750" y="41084"/>
                  </a:cubicBezTo>
                  <a:cubicBezTo>
                    <a:pt x="172992" y="35810"/>
                    <a:pt x="161739" y="33348"/>
                    <a:pt x="154003" y="31941"/>
                  </a:cubicBezTo>
                  <a:cubicBezTo>
                    <a:pt x="146267" y="30535"/>
                    <a:pt x="130794" y="42139"/>
                    <a:pt x="125519" y="46359"/>
                  </a:cubicBezTo>
                  <a:cubicBezTo>
                    <a:pt x="120244" y="50579"/>
                    <a:pt x="108288" y="25612"/>
                    <a:pt x="105475" y="17172"/>
                  </a:cubicBezTo>
                  <a:cubicBezTo>
                    <a:pt x="103464" y="11145"/>
                    <a:pt x="89250" y="7445"/>
                    <a:pt x="78088" y="4541"/>
                  </a:cubicBezTo>
                  <a:cubicBezTo>
                    <a:pt x="73629" y="3387"/>
                    <a:pt x="69655" y="2353"/>
                    <a:pt x="67145" y="1348"/>
                  </a:cubicBezTo>
                  <a:cubicBezTo>
                    <a:pt x="58353" y="-2169"/>
                    <a:pt x="40771" y="1348"/>
                    <a:pt x="35144" y="10139"/>
                  </a:cubicBezTo>
                  <a:cubicBezTo>
                    <a:pt x="29518" y="18930"/>
                    <a:pt x="29518" y="39678"/>
                    <a:pt x="29518" y="52337"/>
                  </a:cubicBezTo>
                  <a:cubicBezTo>
                    <a:pt x="29518" y="62465"/>
                    <a:pt x="22485" y="71559"/>
                    <a:pt x="18968" y="74843"/>
                  </a:cubicBezTo>
                  <a:lnTo>
                    <a:pt x="16036" y="72536"/>
                  </a:lnTo>
                  <a:cubicBezTo>
                    <a:pt x="19067" y="78606"/>
                    <a:pt x="25671" y="88375"/>
                    <a:pt x="31979" y="86799"/>
                  </a:cubicBezTo>
                  <a:cubicBezTo>
                    <a:pt x="38147" y="85259"/>
                    <a:pt x="44322" y="80329"/>
                    <a:pt x="48704" y="76833"/>
                  </a:cubicBezTo>
                  <a:cubicBezTo>
                    <a:pt x="50314" y="75546"/>
                    <a:pt x="51686" y="74449"/>
                    <a:pt x="52727" y="73788"/>
                  </a:cubicBezTo>
                  <a:cubicBezTo>
                    <a:pt x="53993" y="72986"/>
                    <a:pt x="55589" y="70982"/>
                    <a:pt x="57453" y="68647"/>
                  </a:cubicBezTo>
                  <a:cubicBezTo>
                    <a:pt x="61300" y="63829"/>
                    <a:pt x="66272" y="57612"/>
                    <a:pt x="71716" y="57612"/>
                  </a:cubicBezTo>
                  <a:cubicBezTo>
                    <a:pt x="79453" y="62655"/>
                    <a:pt x="94996" y="73577"/>
                    <a:pt x="95277" y="76953"/>
                  </a:cubicBezTo>
                  <a:cubicBezTo>
                    <a:pt x="95629" y="81173"/>
                    <a:pt x="107585" y="89612"/>
                    <a:pt x="111101" y="89964"/>
                  </a:cubicBezTo>
                  <a:cubicBezTo>
                    <a:pt x="114618" y="90316"/>
                    <a:pt x="120948" y="92074"/>
                    <a:pt x="122354" y="93481"/>
                  </a:cubicBezTo>
                  <a:cubicBezTo>
                    <a:pt x="123761" y="94887"/>
                    <a:pt x="133607" y="113525"/>
                    <a:pt x="134310" y="115986"/>
                  </a:cubicBezTo>
                  <a:cubicBezTo>
                    <a:pt x="135014" y="118448"/>
                    <a:pt x="161036" y="142009"/>
                    <a:pt x="166311" y="144470"/>
                  </a:cubicBezTo>
                  <a:cubicBezTo>
                    <a:pt x="170531" y="146439"/>
                    <a:pt x="180729" y="152558"/>
                    <a:pt x="185300" y="155371"/>
                  </a:cubicBezTo>
                  <a:lnTo>
                    <a:pt x="182191" y="15964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6" name="Freihandform: Form 311">
              <a:extLst>
                <a:ext uri="{FF2B5EF4-FFF2-40B4-BE49-F238E27FC236}">
                  <a16:creationId xmlns:a16="http://schemas.microsoft.com/office/drawing/2014/main" id="{F2A508A0-E6B5-F743-94C5-03F8AF84F367}"/>
                </a:ext>
              </a:extLst>
            </p:cNvPr>
            <p:cNvSpPr/>
            <p:nvPr/>
          </p:nvSpPr>
          <p:spPr>
            <a:xfrm>
              <a:off x="7222422" y="3805026"/>
              <a:ext cx="55912" cy="34145"/>
            </a:xfrm>
            <a:custGeom>
              <a:avLst/>
              <a:gdLst>
                <a:gd name="connsiteX0" fmla="*/ 21099 w 55912"/>
                <a:gd name="connsiteY0" fmla="*/ 26726 h 34145"/>
                <a:gd name="connsiteX1" fmla="*/ 6681 w 55912"/>
                <a:gd name="connsiteY1" fmla="*/ 24616 h 34145"/>
                <a:gd name="connsiteX2" fmla="*/ 4571 w 55912"/>
                <a:gd name="connsiteY2" fmla="*/ 24616 h 34145"/>
                <a:gd name="connsiteX3" fmla="*/ 0 w 55912"/>
                <a:gd name="connsiteY3" fmla="*/ 16879 h 34145"/>
                <a:gd name="connsiteX4" fmla="*/ 4571 w 55912"/>
                <a:gd name="connsiteY4" fmla="*/ 11956 h 34145"/>
                <a:gd name="connsiteX5" fmla="*/ 21099 w 55912"/>
                <a:gd name="connsiteY5" fmla="*/ 0 h 34145"/>
                <a:gd name="connsiteX6" fmla="*/ 30945 w 55912"/>
                <a:gd name="connsiteY6" fmla="*/ 8088 h 34145"/>
                <a:gd name="connsiteX7" fmla="*/ 52045 w 55912"/>
                <a:gd name="connsiteY7" fmla="*/ 11956 h 34145"/>
                <a:gd name="connsiteX8" fmla="*/ 55913 w 55912"/>
                <a:gd name="connsiteY8" fmla="*/ 26726 h 34145"/>
                <a:gd name="connsiteX9" fmla="*/ 38330 w 55912"/>
                <a:gd name="connsiteY9" fmla="*/ 33759 h 34145"/>
                <a:gd name="connsiteX10" fmla="*/ 21099 w 55912"/>
                <a:gd name="connsiteY10" fmla="*/ 26726 h 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912" h="34145">
                  <a:moveTo>
                    <a:pt x="21099" y="26726"/>
                  </a:moveTo>
                  <a:cubicBezTo>
                    <a:pt x="18848" y="23350"/>
                    <a:pt x="10550" y="23912"/>
                    <a:pt x="6681" y="24616"/>
                  </a:cubicBezTo>
                  <a:lnTo>
                    <a:pt x="4571" y="24616"/>
                  </a:lnTo>
                  <a:lnTo>
                    <a:pt x="0" y="16879"/>
                  </a:lnTo>
                  <a:lnTo>
                    <a:pt x="4571" y="11956"/>
                  </a:lnTo>
                  <a:lnTo>
                    <a:pt x="21099" y="0"/>
                  </a:lnTo>
                  <a:cubicBezTo>
                    <a:pt x="23090" y="1878"/>
                    <a:pt x="27851" y="6119"/>
                    <a:pt x="30945" y="8088"/>
                  </a:cubicBezTo>
                  <a:cubicBezTo>
                    <a:pt x="34814" y="10550"/>
                    <a:pt x="49583" y="11253"/>
                    <a:pt x="52045" y="11956"/>
                  </a:cubicBezTo>
                  <a:cubicBezTo>
                    <a:pt x="54506" y="12659"/>
                    <a:pt x="55913" y="22857"/>
                    <a:pt x="55913" y="26726"/>
                  </a:cubicBezTo>
                  <a:cubicBezTo>
                    <a:pt x="55913" y="30594"/>
                    <a:pt x="43253" y="32000"/>
                    <a:pt x="38330" y="33759"/>
                  </a:cubicBezTo>
                  <a:cubicBezTo>
                    <a:pt x="33407" y="35517"/>
                    <a:pt x="23912" y="30945"/>
                    <a:pt x="21099" y="2672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7" name="Freihandform: Form 312">
              <a:extLst>
                <a:ext uri="{FF2B5EF4-FFF2-40B4-BE49-F238E27FC236}">
                  <a16:creationId xmlns:a16="http://schemas.microsoft.com/office/drawing/2014/main" id="{6A22260E-4CC3-D54B-9738-D9D3C9F751BB}"/>
                </a:ext>
              </a:extLst>
            </p:cNvPr>
            <p:cNvSpPr/>
            <p:nvPr/>
          </p:nvSpPr>
          <p:spPr>
            <a:xfrm>
              <a:off x="7201724" y="3779615"/>
              <a:ext cx="203205" cy="124886"/>
            </a:xfrm>
            <a:custGeom>
              <a:avLst/>
              <a:gdLst>
                <a:gd name="connsiteX0" fmla="*/ 75204 w 203205"/>
                <a:gd name="connsiteY0" fmla="*/ 123522 h 124886"/>
                <a:gd name="connsiteX1" fmla="*/ 116347 w 203205"/>
                <a:gd name="connsiteY1" fmla="*/ 113676 h 124886"/>
                <a:gd name="connsiteX2" fmla="*/ 113182 w 203205"/>
                <a:gd name="connsiteY2" fmla="*/ 98554 h 124886"/>
                <a:gd name="connsiteX3" fmla="*/ 107556 w 203205"/>
                <a:gd name="connsiteY3" fmla="*/ 93631 h 124886"/>
                <a:gd name="connsiteX4" fmla="*/ 99116 w 203205"/>
                <a:gd name="connsiteY4" fmla="*/ 84137 h 124886"/>
                <a:gd name="connsiteX5" fmla="*/ 100875 w 203205"/>
                <a:gd name="connsiteY5" fmla="*/ 68312 h 124886"/>
                <a:gd name="connsiteX6" fmla="*/ 121974 w 203205"/>
                <a:gd name="connsiteY6" fmla="*/ 56004 h 124886"/>
                <a:gd name="connsiteX7" fmla="*/ 135688 w 203205"/>
                <a:gd name="connsiteY7" fmla="*/ 56004 h 124886"/>
                <a:gd name="connsiteX8" fmla="*/ 143073 w 203205"/>
                <a:gd name="connsiteY8" fmla="*/ 50026 h 124886"/>
                <a:gd name="connsiteX9" fmla="*/ 150106 w 203205"/>
                <a:gd name="connsiteY9" fmla="*/ 45455 h 124886"/>
                <a:gd name="connsiteX10" fmla="*/ 150106 w 203205"/>
                <a:gd name="connsiteY10" fmla="*/ 45455 h 124886"/>
                <a:gd name="connsiteX11" fmla="*/ 163117 w 203205"/>
                <a:gd name="connsiteY11" fmla="*/ 42290 h 124886"/>
                <a:gd name="connsiteX12" fmla="*/ 169798 w 203205"/>
                <a:gd name="connsiteY12" fmla="*/ 35609 h 124886"/>
                <a:gd name="connsiteX13" fmla="*/ 181403 w 203205"/>
                <a:gd name="connsiteY13" fmla="*/ 29982 h 124886"/>
                <a:gd name="connsiteX14" fmla="*/ 195821 w 203205"/>
                <a:gd name="connsiteY14" fmla="*/ 19433 h 124886"/>
                <a:gd name="connsiteX15" fmla="*/ 198282 w 203205"/>
                <a:gd name="connsiteY15" fmla="*/ 4663 h 124886"/>
                <a:gd name="connsiteX16" fmla="*/ 203205 w 203205"/>
                <a:gd name="connsiteY16" fmla="*/ 92 h 124886"/>
                <a:gd name="connsiteX17" fmla="*/ 191249 w 203205"/>
                <a:gd name="connsiteY17" fmla="*/ 92 h 124886"/>
                <a:gd name="connsiteX18" fmla="*/ 165227 w 203205"/>
                <a:gd name="connsiteY18" fmla="*/ 1850 h 124886"/>
                <a:gd name="connsiteX19" fmla="*/ 139556 w 203205"/>
                <a:gd name="connsiteY19" fmla="*/ 3257 h 124886"/>
                <a:gd name="connsiteX20" fmla="*/ 107556 w 203205"/>
                <a:gd name="connsiteY20" fmla="*/ 92 h 124886"/>
                <a:gd name="connsiteX21" fmla="*/ 68874 w 203205"/>
                <a:gd name="connsiteY21" fmla="*/ 4663 h 124886"/>
                <a:gd name="connsiteX22" fmla="*/ 41445 w 203205"/>
                <a:gd name="connsiteY22" fmla="*/ 24356 h 124886"/>
                <a:gd name="connsiteX23" fmla="*/ 46720 w 203205"/>
                <a:gd name="connsiteY23" fmla="*/ 29982 h 124886"/>
                <a:gd name="connsiteX24" fmla="*/ 59731 w 203205"/>
                <a:gd name="connsiteY24" fmla="*/ 35609 h 124886"/>
                <a:gd name="connsiteX25" fmla="*/ 73797 w 203205"/>
                <a:gd name="connsiteY25" fmla="*/ 38774 h 124886"/>
                <a:gd name="connsiteX26" fmla="*/ 75204 w 203205"/>
                <a:gd name="connsiteY26" fmla="*/ 52488 h 124886"/>
                <a:gd name="connsiteX27" fmla="*/ 68874 w 203205"/>
                <a:gd name="connsiteY27" fmla="*/ 57763 h 124886"/>
                <a:gd name="connsiteX28" fmla="*/ 68874 w 203205"/>
                <a:gd name="connsiteY28" fmla="*/ 57763 h 124886"/>
                <a:gd name="connsiteX29" fmla="*/ 53050 w 203205"/>
                <a:gd name="connsiteY29" fmla="*/ 59169 h 124886"/>
                <a:gd name="connsiteX30" fmla="*/ 39335 w 203205"/>
                <a:gd name="connsiteY30" fmla="*/ 50026 h 124886"/>
                <a:gd name="connsiteX31" fmla="*/ 27379 w 203205"/>
                <a:gd name="connsiteY31" fmla="*/ 50026 h 124886"/>
                <a:gd name="connsiteX32" fmla="*/ 27379 w 203205"/>
                <a:gd name="connsiteY32" fmla="*/ 54598 h 124886"/>
                <a:gd name="connsiteX33" fmla="*/ 23863 w 203205"/>
                <a:gd name="connsiteY33" fmla="*/ 60576 h 124886"/>
                <a:gd name="connsiteX34" fmla="*/ 302 w 203205"/>
                <a:gd name="connsiteY34" fmla="*/ 71477 h 124886"/>
                <a:gd name="connsiteX35" fmla="*/ 4522 w 203205"/>
                <a:gd name="connsiteY35" fmla="*/ 81675 h 124886"/>
                <a:gd name="connsiteX36" fmla="*/ 10500 w 203205"/>
                <a:gd name="connsiteY36" fmla="*/ 93631 h 124886"/>
                <a:gd name="connsiteX37" fmla="*/ 10500 w 203205"/>
                <a:gd name="connsiteY37" fmla="*/ 108752 h 124886"/>
                <a:gd name="connsiteX38" fmla="*/ 18588 w 203205"/>
                <a:gd name="connsiteY38" fmla="*/ 108752 h 124886"/>
                <a:gd name="connsiteX39" fmla="*/ 56566 w 203205"/>
                <a:gd name="connsiteY39" fmla="*/ 104181 h 124886"/>
                <a:gd name="connsiteX40" fmla="*/ 57973 w 203205"/>
                <a:gd name="connsiteY40" fmla="*/ 121764 h 124886"/>
                <a:gd name="connsiteX41" fmla="*/ 75204 w 203205"/>
                <a:gd name="connsiteY41" fmla="*/ 123522 h 124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3205" h="124886">
                  <a:moveTo>
                    <a:pt x="75204" y="123522"/>
                  </a:moveTo>
                  <a:cubicBezTo>
                    <a:pt x="82237" y="122678"/>
                    <a:pt x="105566" y="116608"/>
                    <a:pt x="116347" y="113676"/>
                  </a:cubicBezTo>
                  <a:lnTo>
                    <a:pt x="113182" y="98554"/>
                  </a:lnTo>
                  <a:cubicBezTo>
                    <a:pt x="113534" y="97380"/>
                    <a:pt x="112901" y="94757"/>
                    <a:pt x="107556" y="93631"/>
                  </a:cubicBezTo>
                  <a:cubicBezTo>
                    <a:pt x="100875" y="92225"/>
                    <a:pt x="99820" y="88005"/>
                    <a:pt x="99116" y="84137"/>
                  </a:cubicBezTo>
                  <a:cubicBezTo>
                    <a:pt x="98413" y="80269"/>
                    <a:pt x="98413" y="74642"/>
                    <a:pt x="100875" y="68312"/>
                  </a:cubicBezTo>
                  <a:cubicBezTo>
                    <a:pt x="103336" y="61983"/>
                    <a:pt x="117754" y="57763"/>
                    <a:pt x="121974" y="56004"/>
                  </a:cubicBezTo>
                  <a:cubicBezTo>
                    <a:pt x="126194" y="54246"/>
                    <a:pt x="132523" y="56004"/>
                    <a:pt x="135688" y="56004"/>
                  </a:cubicBezTo>
                  <a:cubicBezTo>
                    <a:pt x="138853" y="56004"/>
                    <a:pt x="141666" y="52488"/>
                    <a:pt x="143073" y="50026"/>
                  </a:cubicBezTo>
                  <a:cubicBezTo>
                    <a:pt x="144479" y="47565"/>
                    <a:pt x="147293" y="46510"/>
                    <a:pt x="150106" y="45455"/>
                  </a:cubicBezTo>
                  <a:lnTo>
                    <a:pt x="150106" y="45455"/>
                  </a:lnTo>
                  <a:cubicBezTo>
                    <a:pt x="152357" y="44611"/>
                    <a:pt x="159720" y="42993"/>
                    <a:pt x="163117" y="42290"/>
                  </a:cubicBezTo>
                  <a:lnTo>
                    <a:pt x="169798" y="35609"/>
                  </a:lnTo>
                  <a:cubicBezTo>
                    <a:pt x="172963" y="34202"/>
                    <a:pt x="179715" y="31108"/>
                    <a:pt x="181403" y="29982"/>
                  </a:cubicBezTo>
                  <a:cubicBezTo>
                    <a:pt x="183513" y="28576"/>
                    <a:pt x="193711" y="21894"/>
                    <a:pt x="195821" y="19433"/>
                  </a:cubicBezTo>
                  <a:cubicBezTo>
                    <a:pt x="197509" y="17463"/>
                    <a:pt x="198163" y="8764"/>
                    <a:pt x="198282" y="4663"/>
                  </a:cubicBezTo>
                  <a:lnTo>
                    <a:pt x="203205" y="92"/>
                  </a:lnTo>
                  <a:lnTo>
                    <a:pt x="191249" y="92"/>
                  </a:lnTo>
                  <a:cubicBezTo>
                    <a:pt x="183865" y="563"/>
                    <a:pt x="168321" y="1569"/>
                    <a:pt x="165227" y="1850"/>
                  </a:cubicBezTo>
                  <a:cubicBezTo>
                    <a:pt x="161359" y="2202"/>
                    <a:pt x="151513" y="3257"/>
                    <a:pt x="139556" y="3257"/>
                  </a:cubicBezTo>
                  <a:cubicBezTo>
                    <a:pt x="127600" y="3257"/>
                    <a:pt x="116347" y="795"/>
                    <a:pt x="107556" y="92"/>
                  </a:cubicBezTo>
                  <a:cubicBezTo>
                    <a:pt x="98765" y="-612"/>
                    <a:pt x="79072" y="2905"/>
                    <a:pt x="68874" y="4663"/>
                  </a:cubicBezTo>
                  <a:cubicBezTo>
                    <a:pt x="60716" y="6070"/>
                    <a:pt x="47191" y="18378"/>
                    <a:pt x="41445" y="24356"/>
                  </a:cubicBezTo>
                  <a:cubicBezTo>
                    <a:pt x="42620" y="25530"/>
                    <a:pt x="45313" y="28294"/>
                    <a:pt x="46720" y="29982"/>
                  </a:cubicBezTo>
                  <a:cubicBezTo>
                    <a:pt x="48478" y="32092"/>
                    <a:pt x="56566" y="34554"/>
                    <a:pt x="59731" y="35609"/>
                  </a:cubicBezTo>
                  <a:cubicBezTo>
                    <a:pt x="62896" y="36664"/>
                    <a:pt x="71687" y="37367"/>
                    <a:pt x="73797" y="38774"/>
                  </a:cubicBezTo>
                  <a:cubicBezTo>
                    <a:pt x="75907" y="40180"/>
                    <a:pt x="76611" y="50026"/>
                    <a:pt x="75204" y="52488"/>
                  </a:cubicBezTo>
                  <a:cubicBezTo>
                    <a:pt x="73797" y="54950"/>
                    <a:pt x="71336" y="56356"/>
                    <a:pt x="68874" y="57763"/>
                  </a:cubicBezTo>
                  <a:lnTo>
                    <a:pt x="68874" y="57763"/>
                  </a:lnTo>
                  <a:cubicBezTo>
                    <a:pt x="66413" y="59169"/>
                    <a:pt x="56566" y="59169"/>
                    <a:pt x="53050" y="59169"/>
                  </a:cubicBezTo>
                  <a:cubicBezTo>
                    <a:pt x="49533" y="59169"/>
                    <a:pt x="41445" y="52488"/>
                    <a:pt x="39335" y="50026"/>
                  </a:cubicBezTo>
                  <a:cubicBezTo>
                    <a:pt x="37225" y="47565"/>
                    <a:pt x="30192" y="50026"/>
                    <a:pt x="27379" y="50026"/>
                  </a:cubicBezTo>
                  <a:cubicBezTo>
                    <a:pt x="24566" y="50026"/>
                    <a:pt x="27379" y="53191"/>
                    <a:pt x="27379" y="54598"/>
                  </a:cubicBezTo>
                  <a:cubicBezTo>
                    <a:pt x="27379" y="56004"/>
                    <a:pt x="25973" y="59169"/>
                    <a:pt x="23863" y="60576"/>
                  </a:cubicBezTo>
                  <a:cubicBezTo>
                    <a:pt x="21753" y="61983"/>
                    <a:pt x="1708" y="69016"/>
                    <a:pt x="302" y="71477"/>
                  </a:cubicBezTo>
                  <a:cubicBezTo>
                    <a:pt x="-1105" y="73939"/>
                    <a:pt x="2763" y="78862"/>
                    <a:pt x="4522" y="81675"/>
                  </a:cubicBezTo>
                  <a:cubicBezTo>
                    <a:pt x="6280" y="84488"/>
                    <a:pt x="10500" y="92576"/>
                    <a:pt x="10500" y="93631"/>
                  </a:cubicBezTo>
                  <a:lnTo>
                    <a:pt x="10500" y="108752"/>
                  </a:lnTo>
                  <a:lnTo>
                    <a:pt x="18588" y="108752"/>
                  </a:lnTo>
                  <a:cubicBezTo>
                    <a:pt x="21753" y="108752"/>
                    <a:pt x="54456" y="103829"/>
                    <a:pt x="56566" y="104181"/>
                  </a:cubicBezTo>
                  <a:cubicBezTo>
                    <a:pt x="58676" y="104533"/>
                    <a:pt x="56918" y="116840"/>
                    <a:pt x="57973" y="121764"/>
                  </a:cubicBezTo>
                  <a:cubicBezTo>
                    <a:pt x="59028" y="126687"/>
                    <a:pt x="66413" y="124577"/>
                    <a:pt x="75204" y="12352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8" name="Freihandform: Form 313">
              <a:extLst>
                <a:ext uri="{FF2B5EF4-FFF2-40B4-BE49-F238E27FC236}">
                  <a16:creationId xmlns:a16="http://schemas.microsoft.com/office/drawing/2014/main" id="{7B5B31F5-C0E6-AA44-8DAA-29D78DD4B637}"/>
                </a:ext>
              </a:extLst>
            </p:cNvPr>
            <p:cNvSpPr/>
            <p:nvPr/>
          </p:nvSpPr>
          <p:spPr>
            <a:xfrm>
              <a:off x="7102860" y="3894365"/>
              <a:ext cx="257139" cy="241566"/>
            </a:xfrm>
            <a:custGeom>
              <a:avLst/>
              <a:gdLst>
                <a:gd name="connsiteX0" fmla="*/ 41495 w 257139"/>
                <a:gd name="connsiteY0" fmla="*/ 209214 h 241566"/>
                <a:gd name="connsiteX1" fmla="*/ 0 w 257139"/>
                <a:gd name="connsiteY1" fmla="*/ 221170 h 241566"/>
                <a:gd name="connsiteX2" fmla="*/ 4923 w 257139"/>
                <a:gd name="connsiteY2" fmla="*/ 216950 h 241566"/>
                <a:gd name="connsiteX3" fmla="*/ 15824 w 257139"/>
                <a:gd name="connsiteY3" fmla="*/ 203588 h 241566"/>
                <a:gd name="connsiteX4" fmla="*/ 30242 w 257139"/>
                <a:gd name="connsiteY4" fmla="*/ 183192 h 241566"/>
                <a:gd name="connsiteX5" fmla="*/ 18989 w 257139"/>
                <a:gd name="connsiteY5" fmla="*/ 164202 h 241566"/>
                <a:gd name="connsiteX6" fmla="*/ 8088 w 257139"/>
                <a:gd name="connsiteY6" fmla="*/ 146620 h 241566"/>
                <a:gd name="connsiteX7" fmla="*/ 18989 w 257139"/>
                <a:gd name="connsiteY7" fmla="*/ 146620 h 241566"/>
                <a:gd name="connsiteX8" fmla="*/ 60484 w 257139"/>
                <a:gd name="connsiteY8" fmla="*/ 145213 h 241566"/>
                <a:gd name="connsiteX9" fmla="*/ 74550 w 257139"/>
                <a:gd name="connsiteY9" fmla="*/ 137125 h 241566"/>
                <a:gd name="connsiteX10" fmla="*/ 83693 w 257139"/>
                <a:gd name="connsiteY10" fmla="*/ 125169 h 241566"/>
                <a:gd name="connsiteX11" fmla="*/ 103386 w 257139"/>
                <a:gd name="connsiteY11" fmla="*/ 112510 h 241566"/>
                <a:gd name="connsiteX12" fmla="*/ 120265 w 257139"/>
                <a:gd name="connsiteY12" fmla="*/ 108993 h 241566"/>
                <a:gd name="connsiteX13" fmla="*/ 126595 w 257139"/>
                <a:gd name="connsiteY13" fmla="*/ 86839 h 241566"/>
                <a:gd name="connsiteX14" fmla="*/ 141013 w 257139"/>
                <a:gd name="connsiteY14" fmla="*/ 67850 h 241566"/>
                <a:gd name="connsiteX15" fmla="*/ 156134 w 257139"/>
                <a:gd name="connsiteY15" fmla="*/ 54487 h 241566"/>
                <a:gd name="connsiteX16" fmla="*/ 159299 w 257139"/>
                <a:gd name="connsiteY16" fmla="*/ 11234 h 241566"/>
                <a:gd name="connsiteX17" fmla="*/ 172661 w 257139"/>
                <a:gd name="connsiteY17" fmla="*/ 9827 h 241566"/>
                <a:gd name="connsiteX18" fmla="*/ 196222 w 257139"/>
                <a:gd name="connsiteY18" fmla="*/ 4201 h 241566"/>
                <a:gd name="connsiteX19" fmla="*/ 214860 w 257139"/>
                <a:gd name="connsiteY19" fmla="*/ 332 h 241566"/>
                <a:gd name="connsiteX20" fmla="*/ 230684 w 257139"/>
                <a:gd name="connsiteY20" fmla="*/ 18618 h 241566"/>
                <a:gd name="connsiteX21" fmla="*/ 238421 w 257139"/>
                <a:gd name="connsiteY21" fmla="*/ 31981 h 241566"/>
                <a:gd name="connsiteX22" fmla="*/ 257058 w 257139"/>
                <a:gd name="connsiteY22" fmla="*/ 39366 h 241566"/>
                <a:gd name="connsiteX23" fmla="*/ 235607 w 257139"/>
                <a:gd name="connsiteY23" fmla="*/ 51322 h 241566"/>
                <a:gd name="connsiteX24" fmla="*/ 204310 w 257139"/>
                <a:gd name="connsiteY24" fmla="*/ 51322 h 241566"/>
                <a:gd name="connsiteX25" fmla="*/ 196222 w 257139"/>
                <a:gd name="connsiteY25" fmla="*/ 62575 h 241566"/>
                <a:gd name="connsiteX26" fmla="*/ 209585 w 257139"/>
                <a:gd name="connsiteY26" fmla="*/ 84729 h 241566"/>
                <a:gd name="connsiteX27" fmla="*/ 217321 w 257139"/>
                <a:gd name="connsiteY27" fmla="*/ 93169 h 241566"/>
                <a:gd name="connsiteX28" fmla="*/ 207827 w 257139"/>
                <a:gd name="connsiteY28" fmla="*/ 104422 h 241566"/>
                <a:gd name="connsiteX29" fmla="*/ 209585 w 257139"/>
                <a:gd name="connsiteY29" fmla="*/ 116729 h 241566"/>
                <a:gd name="connsiteX30" fmla="*/ 189189 w 257139"/>
                <a:gd name="connsiteY30" fmla="*/ 145213 h 241566"/>
                <a:gd name="connsiteX31" fmla="*/ 167387 w 257139"/>
                <a:gd name="connsiteY31" fmla="*/ 169829 h 241566"/>
                <a:gd name="connsiteX32" fmla="*/ 149101 w 257139"/>
                <a:gd name="connsiteY32" fmla="*/ 169829 h 241566"/>
                <a:gd name="connsiteX33" fmla="*/ 132573 w 257139"/>
                <a:gd name="connsiteY33" fmla="*/ 184950 h 241566"/>
                <a:gd name="connsiteX34" fmla="*/ 141013 w 257139"/>
                <a:gd name="connsiteY34" fmla="*/ 194093 h 241566"/>
                <a:gd name="connsiteX35" fmla="*/ 143826 w 257139"/>
                <a:gd name="connsiteY35" fmla="*/ 209214 h 241566"/>
                <a:gd name="connsiteX36" fmla="*/ 155431 w 257139"/>
                <a:gd name="connsiteY36" fmla="*/ 221170 h 241566"/>
                <a:gd name="connsiteX37" fmla="*/ 152969 w 257139"/>
                <a:gd name="connsiteY37" fmla="*/ 230665 h 241566"/>
                <a:gd name="connsiteX38" fmla="*/ 126947 w 257139"/>
                <a:gd name="connsiteY38" fmla="*/ 232071 h 241566"/>
                <a:gd name="connsiteX39" fmla="*/ 125540 w 257139"/>
                <a:gd name="connsiteY39" fmla="*/ 241566 h 241566"/>
                <a:gd name="connsiteX40" fmla="*/ 102683 w 257139"/>
                <a:gd name="connsiteY40" fmla="*/ 236291 h 241566"/>
                <a:gd name="connsiteX41" fmla="*/ 88968 w 257139"/>
                <a:gd name="connsiteY41" fmla="*/ 216950 h 241566"/>
                <a:gd name="connsiteX42" fmla="*/ 41495 w 257139"/>
                <a:gd name="connsiteY42" fmla="*/ 209214 h 241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7139" h="241566">
                  <a:moveTo>
                    <a:pt x="41495" y="209214"/>
                  </a:moveTo>
                  <a:cubicBezTo>
                    <a:pt x="28836" y="209214"/>
                    <a:pt x="19693" y="215192"/>
                    <a:pt x="0" y="221170"/>
                  </a:cubicBezTo>
                  <a:lnTo>
                    <a:pt x="4923" y="216950"/>
                  </a:lnTo>
                  <a:cubicBezTo>
                    <a:pt x="6449" y="213786"/>
                    <a:pt x="10760" y="206682"/>
                    <a:pt x="15824" y="203588"/>
                  </a:cubicBezTo>
                  <a:cubicBezTo>
                    <a:pt x="22154" y="199719"/>
                    <a:pt x="29187" y="189521"/>
                    <a:pt x="30242" y="183192"/>
                  </a:cubicBezTo>
                  <a:cubicBezTo>
                    <a:pt x="31297" y="176862"/>
                    <a:pt x="28484" y="169829"/>
                    <a:pt x="18989" y="164202"/>
                  </a:cubicBezTo>
                  <a:cubicBezTo>
                    <a:pt x="11394" y="159701"/>
                    <a:pt x="8559" y="150608"/>
                    <a:pt x="8088" y="146620"/>
                  </a:cubicBezTo>
                  <a:lnTo>
                    <a:pt x="18989" y="146620"/>
                  </a:lnTo>
                  <a:lnTo>
                    <a:pt x="60484" y="145213"/>
                  </a:lnTo>
                  <a:cubicBezTo>
                    <a:pt x="63297" y="143455"/>
                    <a:pt x="70049" y="139376"/>
                    <a:pt x="74550" y="137125"/>
                  </a:cubicBezTo>
                  <a:cubicBezTo>
                    <a:pt x="79051" y="134875"/>
                    <a:pt x="82519" y="128214"/>
                    <a:pt x="83693" y="125169"/>
                  </a:cubicBezTo>
                  <a:cubicBezTo>
                    <a:pt x="89320" y="121420"/>
                    <a:pt x="101135" y="113635"/>
                    <a:pt x="103386" y="112510"/>
                  </a:cubicBezTo>
                  <a:cubicBezTo>
                    <a:pt x="105637" y="111384"/>
                    <a:pt x="115574" y="109696"/>
                    <a:pt x="120265" y="108993"/>
                  </a:cubicBezTo>
                  <a:cubicBezTo>
                    <a:pt x="122375" y="102079"/>
                    <a:pt x="126595" y="87964"/>
                    <a:pt x="126595" y="86839"/>
                  </a:cubicBezTo>
                  <a:cubicBezTo>
                    <a:pt x="126595" y="85432"/>
                    <a:pt x="141013" y="69608"/>
                    <a:pt x="141013" y="67850"/>
                  </a:cubicBezTo>
                  <a:cubicBezTo>
                    <a:pt x="141013" y="66443"/>
                    <a:pt x="151091" y="58355"/>
                    <a:pt x="156134" y="54487"/>
                  </a:cubicBezTo>
                  <a:cubicBezTo>
                    <a:pt x="157308" y="40772"/>
                    <a:pt x="159580" y="12921"/>
                    <a:pt x="159299" y="11234"/>
                  </a:cubicBezTo>
                  <a:cubicBezTo>
                    <a:pt x="159017" y="9546"/>
                    <a:pt x="168090" y="9595"/>
                    <a:pt x="172661" y="9827"/>
                  </a:cubicBezTo>
                  <a:lnTo>
                    <a:pt x="196222" y="4201"/>
                  </a:lnTo>
                  <a:cubicBezTo>
                    <a:pt x="201729" y="2323"/>
                    <a:pt x="213172" y="-1074"/>
                    <a:pt x="214860" y="332"/>
                  </a:cubicBezTo>
                  <a:cubicBezTo>
                    <a:pt x="216970" y="2091"/>
                    <a:pt x="228926" y="16508"/>
                    <a:pt x="230684" y="18618"/>
                  </a:cubicBezTo>
                  <a:cubicBezTo>
                    <a:pt x="232442" y="20728"/>
                    <a:pt x="235607" y="29871"/>
                    <a:pt x="238421" y="31981"/>
                  </a:cubicBezTo>
                  <a:cubicBezTo>
                    <a:pt x="241234" y="34091"/>
                    <a:pt x="258465" y="36553"/>
                    <a:pt x="257058" y="39366"/>
                  </a:cubicBezTo>
                  <a:cubicBezTo>
                    <a:pt x="255652" y="42179"/>
                    <a:pt x="241585" y="49915"/>
                    <a:pt x="235607" y="51322"/>
                  </a:cubicBezTo>
                  <a:cubicBezTo>
                    <a:pt x="229629" y="52729"/>
                    <a:pt x="209585" y="49564"/>
                    <a:pt x="204310" y="51322"/>
                  </a:cubicBezTo>
                  <a:cubicBezTo>
                    <a:pt x="199035" y="53080"/>
                    <a:pt x="197629" y="58707"/>
                    <a:pt x="196222" y="62575"/>
                  </a:cubicBezTo>
                  <a:cubicBezTo>
                    <a:pt x="194816" y="66443"/>
                    <a:pt x="205717" y="80158"/>
                    <a:pt x="209585" y="84729"/>
                  </a:cubicBezTo>
                  <a:cubicBezTo>
                    <a:pt x="212680" y="88386"/>
                    <a:pt x="216034" y="91882"/>
                    <a:pt x="217321" y="93169"/>
                  </a:cubicBezTo>
                  <a:lnTo>
                    <a:pt x="207827" y="104422"/>
                  </a:lnTo>
                  <a:lnTo>
                    <a:pt x="209585" y="116729"/>
                  </a:lnTo>
                  <a:lnTo>
                    <a:pt x="189189" y="145213"/>
                  </a:lnTo>
                  <a:lnTo>
                    <a:pt x="167387" y="169829"/>
                  </a:lnTo>
                  <a:lnTo>
                    <a:pt x="149101" y="169829"/>
                  </a:lnTo>
                  <a:lnTo>
                    <a:pt x="132573" y="184950"/>
                  </a:lnTo>
                  <a:lnTo>
                    <a:pt x="141013" y="194093"/>
                  </a:lnTo>
                  <a:lnTo>
                    <a:pt x="143826" y="209214"/>
                  </a:lnTo>
                  <a:lnTo>
                    <a:pt x="155431" y="221170"/>
                  </a:lnTo>
                  <a:lnTo>
                    <a:pt x="152969" y="230665"/>
                  </a:lnTo>
                  <a:lnTo>
                    <a:pt x="126947" y="232071"/>
                  </a:lnTo>
                  <a:lnTo>
                    <a:pt x="125540" y="241566"/>
                  </a:lnTo>
                  <a:cubicBezTo>
                    <a:pt x="119330" y="240743"/>
                    <a:pt x="106058" y="238542"/>
                    <a:pt x="102683" y="236291"/>
                  </a:cubicBezTo>
                  <a:cubicBezTo>
                    <a:pt x="98463" y="233478"/>
                    <a:pt x="93188" y="221170"/>
                    <a:pt x="88968" y="216950"/>
                  </a:cubicBezTo>
                  <a:cubicBezTo>
                    <a:pt x="84748" y="212731"/>
                    <a:pt x="54155" y="209214"/>
                    <a:pt x="41495" y="20921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9" name="Freihandform: Form 314">
              <a:extLst>
                <a:ext uri="{FF2B5EF4-FFF2-40B4-BE49-F238E27FC236}">
                  <a16:creationId xmlns:a16="http://schemas.microsoft.com/office/drawing/2014/main" id="{D2A64006-BD37-0D4A-8228-047A476D9B18}"/>
                </a:ext>
              </a:extLst>
            </p:cNvPr>
            <p:cNvSpPr/>
            <p:nvPr/>
          </p:nvSpPr>
          <p:spPr>
            <a:xfrm>
              <a:off x="7097483" y="3883444"/>
              <a:ext cx="164084" cy="156599"/>
            </a:xfrm>
            <a:custGeom>
              <a:avLst/>
              <a:gdLst>
                <a:gd name="connsiteX0" fmla="*/ 108411 w 164084"/>
                <a:gd name="connsiteY0" fmla="*/ 7385 h 156599"/>
                <a:gd name="connsiteX1" fmla="*/ 78169 w 164084"/>
                <a:gd name="connsiteY1" fmla="*/ 2813 h 156599"/>
                <a:gd name="connsiteX2" fmla="*/ 52499 w 164084"/>
                <a:gd name="connsiteY2" fmla="*/ 27429 h 156599"/>
                <a:gd name="connsiteX3" fmla="*/ 19795 w 164084"/>
                <a:gd name="connsiteY3" fmla="*/ 49935 h 156599"/>
                <a:gd name="connsiteX4" fmla="*/ 2212 w 164084"/>
                <a:gd name="connsiteY4" fmla="*/ 39385 h 156599"/>
                <a:gd name="connsiteX5" fmla="*/ 102 w 164084"/>
                <a:gd name="connsiteY5" fmla="*/ 100924 h 156599"/>
                <a:gd name="connsiteX6" fmla="*/ 5377 w 164084"/>
                <a:gd name="connsiteY6" fmla="*/ 112881 h 156599"/>
                <a:gd name="connsiteX7" fmla="*/ 13113 w 164084"/>
                <a:gd name="connsiteY7" fmla="*/ 137848 h 156599"/>
                <a:gd name="connsiteX8" fmla="*/ 13113 w 164084"/>
                <a:gd name="connsiteY8" fmla="*/ 156134 h 156599"/>
                <a:gd name="connsiteX9" fmla="*/ 67268 w 164084"/>
                <a:gd name="connsiteY9" fmla="*/ 156134 h 156599"/>
                <a:gd name="connsiteX10" fmla="*/ 88016 w 164084"/>
                <a:gd name="connsiteY10" fmla="*/ 137848 h 156599"/>
                <a:gd name="connsiteX11" fmla="*/ 108411 w 164084"/>
                <a:gd name="connsiteY11" fmla="*/ 124837 h 156599"/>
                <a:gd name="connsiteX12" fmla="*/ 125642 w 164084"/>
                <a:gd name="connsiteY12" fmla="*/ 119562 h 156599"/>
                <a:gd name="connsiteX13" fmla="*/ 132324 w 164084"/>
                <a:gd name="connsiteY13" fmla="*/ 97759 h 156599"/>
                <a:gd name="connsiteX14" fmla="*/ 147093 w 164084"/>
                <a:gd name="connsiteY14" fmla="*/ 79474 h 156599"/>
                <a:gd name="connsiteX15" fmla="*/ 160104 w 164084"/>
                <a:gd name="connsiteY15" fmla="*/ 65407 h 156599"/>
                <a:gd name="connsiteX16" fmla="*/ 163621 w 164084"/>
                <a:gd name="connsiteY16" fmla="*/ 19341 h 156599"/>
                <a:gd name="connsiteX17" fmla="*/ 160104 w 164084"/>
                <a:gd name="connsiteY17" fmla="*/ 0 h 156599"/>
                <a:gd name="connsiteX18" fmla="*/ 117203 w 164084"/>
                <a:gd name="connsiteY18" fmla="*/ 4923 h 156599"/>
                <a:gd name="connsiteX19" fmla="*/ 108411 w 164084"/>
                <a:gd name="connsiteY19" fmla="*/ 7385 h 15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4084" h="156599">
                  <a:moveTo>
                    <a:pt x="108411" y="7385"/>
                  </a:moveTo>
                  <a:cubicBezTo>
                    <a:pt x="105317" y="7666"/>
                    <a:pt x="86961" y="4452"/>
                    <a:pt x="78169" y="2813"/>
                  </a:cubicBezTo>
                  <a:cubicBezTo>
                    <a:pt x="72311" y="8320"/>
                    <a:pt x="58969" y="20959"/>
                    <a:pt x="52499" y="27429"/>
                  </a:cubicBezTo>
                  <a:cubicBezTo>
                    <a:pt x="44411" y="35517"/>
                    <a:pt x="26125" y="49231"/>
                    <a:pt x="19795" y="49935"/>
                  </a:cubicBezTo>
                  <a:cubicBezTo>
                    <a:pt x="13465" y="50638"/>
                    <a:pt x="1861" y="37275"/>
                    <a:pt x="2212" y="39385"/>
                  </a:cubicBezTo>
                  <a:cubicBezTo>
                    <a:pt x="2564" y="41495"/>
                    <a:pt x="-601" y="97759"/>
                    <a:pt x="102" y="100924"/>
                  </a:cubicBezTo>
                  <a:cubicBezTo>
                    <a:pt x="806" y="104089"/>
                    <a:pt x="2564" y="108309"/>
                    <a:pt x="5377" y="112881"/>
                  </a:cubicBezTo>
                  <a:cubicBezTo>
                    <a:pt x="8190" y="117452"/>
                    <a:pt x="13113" y="132573"/>
                    <a:pt x="13113" y="137848"/>
                  </a:cubicBezTo>
                  <a:lnTo>
                    <a:pt x="13113" y="156134"/>
                  </a:lnTo>
                  <a:cubicBezTo>
                    <a:pt x="30112" y="156485"/>
                    <a:pt x="64736" y="156978"/>
                    <a:pt x="67268" y="156134"/>
                  </a:cubicBezTo>
                  <a:cubicBezTo>
                    <a:pt x="70433" y="155079"/>
                    <a:pt x="87312" y="141364"/>
                    <a:pt x="88016" y="137848"/>
                  </a:cubicBezTo>
                  <a:cubicBezTo>
                    <a:pt x="88719" y="134331"/>
                    <a:pt x="103137" y="128002"/>
                    <a:pt x="108411" y="124837"/>
                  </a:cubicBezTo>
                  <a:cubicBezTo>
                    <a:pt x="112631" y="122305"/>
                    <a:pt x="121655" y="120265"/>
                    <a:pt x="125642" y="119562"/>
                  </a:cubicBezTo>
                  <a:lnTo>
                    <a:pt x="132324" y="97759"/>
                  </a:lnTo>
                  <a:cubicBezTo>
                    <a:pt x="136776" y="92604"/>
                    <a:pt x="145968" y="81724"/>
                    <a:pt x="147093" y="79474"/>
                  </a:cubicBezTo>
                  <a:cubicBezTo>
                    <a:pt x="148219" y="77223"/>
                    <a:pt x="156236" y="69156"/>
                    <a:pt x="160104" y="65407"/>
                  </a:cubicBezTo>
                  <a:cubicBezTo>
                    <a:pt x="161982" y="50870"/>
                    <a:pt x="165309" y="21310"/>
                    <a:pt x="163621" y="19341"/>
                  </a:cubicBezTo>
                  <a:cubicBezTo>
                    <a:pt x="161933" y="17372"/>
                    <a:pt x="160575" y="5626"/>
                    <a:pt x="160104" y="0"/>
                  </a:cubicBezTo>
                  <a:lnTo>
                    <a:pt x="117203" y="4923"/>
                  </a:lnTo>
                  <a:cubicBezTo>
                    <a:pt x="115564" y="5626"/>
                    <a:pt x="111506" y="7103"/>
                    <a:pt x="108411" y="7385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0" name="Freihandform: Form 315">
              <a:extLst>
                <a:ext uri="{FF2B5EF4-FFF2-40B4-BE49-F238E27FC236}">
                  <a16:creationId xmlns:a16="http://schemas.microsoft.com/office/drawing/2014/main" id="{D135485F-40E1-4947-AD4F-B4E9D0A70D53}"/>
                </a:ext>
              </a:extLst>
            </p:cNvPr>
            <p:cNvSpPr/>
            <p:nvPr/>
          </p:nvSpPr>
          <p:spPr>
            <a:xfrm>
              <a:off x="8076235" y="3785333"/>
              <a:ext cx="91078" cy="97056"/>
            </a:xfrm>
            <a:custGeom>
              <a:avLst/>
              <a:gdLst>
                <a:gd name="connsiteX0" fmla="*/ 82287 w 91078"/>
                <a:gd name="connsiteY0" fmla="*/ 36572 h 97056"/>
                <a:gd name="connsiteX1" fmla="*/ 91078 w 91078"/>
                <a:gd name="connsiteY1" fmla="*/ 10550 h 97056"/>
                <a:gd name="connsiteX2" fmla="*/ 80528 w 91078"/>
                <a:gd name="connsiteY2" fmla="*/ 0 h 97056"/>
                <a:gd name="connsiteX3" fmla="*/ 77012 w 91078"/>
                <a:gd name="connsiteY3" fmla="*/ 8088 h 97056"/>
                <a:gd name="connsiteX4" fmla="*/ 69627 w 91078"/>
                <a:gd name="connsiteY4" fmla="*/ 10550 h 97056"/>
                <a:gd name="connsiteX5" fmla="*/ 53803 w 91078"/>
                <a:gd name="connsiteY5" fmla="*/ 17583 h 97056"/>
                <a:gd name="connsiteX6" fmla="*/ 52045 w 91078"/>
                <a:gd name="connsiteY6" fmla="*/ 23561 h 97056"/>
                <a:gd name="connsiteX7" fmla="*/ 52045 w 91078"/>
                <a:gd name="connsiteY7" fmla="*/ 31649 h 97056"/>
                <a:gd name="connsiteX8" fmla="*/ 32000 w 91078"/>
                <a:gd name="connsiteY8" fmla="*/ 21802 h 97056"/>
                <a:gd name="connsiteX9" fmla="*/ 26726 w 91078"/>
                <a:gd name="connsiteY9" fmla="*/ 33407 h 97056"/>
                <a:gd name="connsiteX10" fmla="*/ 11956 w 91078"/>
                <a:gd name="connsiteY10" fmla="*/ 42550 h 97056"/>
                <a:gd name="connsiteX11" fmla="*/ 0 w 91078"/>
                <a:gd name="connsiteY11" fmla="*/ 57671 h 97056"/>
                <a:gd name="connsiteX12" fmla="*/ 6330 w 91078"/>
                <a:gd name="connsiteY12" fmla="*/ 60836 h 97056"/>
                <a:gd name="connsiteX13" fmla="*/ 19341 w 91078"/>
                <a:gd name="connsiteY13" fmla="*/ 72792 h 97056"/>
                <a:gd name="connsiteX14" fmla="*/ 19341 w 91078"/>
                <a:gd name="connsiteY14" fmla="*/ 90726 h 97056"/>
                <a:gd name="connsiteX15" fmla="*/ 30242 w 91078"/>
                <a:gd name="connsiteY15" fmla="*/ 97056 h 97056"/>
                <a:gd name="connsiteX16" fmla="*/ 58374 w 91078"/>
                <a:gd name="connsiteY16" fmla="*/ 84748 h 97056"/>
                <a:gd name="connsiteX17" fmla="*/ 43253 w 91078"/>
                <a:gd name="connsiteY17" fmla="*/ 71034 h 97056"/>
                <a:gd name="connsiteX18" fmla="*/ 52045 w 91078"/>
                <a:gd name="connsiteY18" fmla="*/ 54858 h 97056"/>
                <a:gd name="connsiteX19" fmla="*/ 82287 w 91078"/>
                <a:gd name="connsiteY19" fmla="*/ 36572 h 9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1078" h="97056">
                  <a:moveTo>
                    <a:pt x="82287" y="36572"/>
                  </a:moveTo>
                  <a:cubicBezTo>
                    <a:pt x="86225" y="29820"/>
                    <a:pt x="89791" y="16408"/>
                    <a:pt x="91078" y="10550"/>
                  </a:cubicBezTo>
                  <a:lnTo>
                    <a:pt x="80528" y="0"/>
                  </a:lnTo>
                  <a:lnTo>
                    <a:pt x="77012" y="8088"/>
                  </a:lnTo>
                  <a:lnTo>
                    <a:pt x="69627" y="10550"/>
                  </a:lnTo>
                  <a:lnTo>
                    <a:pt x="53803" y="17583"/>
                  </a:lnTo>
                  <a:lnTo>
                    <a:pt x="52045" y="23561"/>
                  </a:lnTo>
                  <a:cubicBezTo>
                    <a:pt x="52867" y="25671"/>
                    <a:pt x="54014" y="30242"/>
                    <a:pt x="52045" y="31649"/>
                  </a:cubicBezTo>
                  <a:cubicBezTo>
                    <a:pt x="50075" y="33055"/>
                    <a:pt x="37859" y="25671"/>
                    <a:pt x="32000" y="21802"/>
                  </a:cubicBezTo>
                  <a:lnTo>
                    <a:pt x="26726" y="33407"/>
                  </a:lnTo>
                  <a:lnTo>
                    <a:pt x="11956" y="42550"/>
                  </a:lnTo>
                  <a:lnTo>
                    <a:pt x="0" y="57671"/>
                  </a:lnTo>
                  <a:lnTo>
                    <a:pt x="6330" y="60836"/>
                  </a:lnTo>
                  <a:cubicBezTo>
                    <a:pt x="10669" y="64233"/>
                    <a:pt x="19341" y="71385"/>
                    <a:pt x="19341" y="72792"/>
                  </a:cubicBezTo>
                  <a:cubicBezTo>
                    <a:pt x="19341" y="74550"/>
                    <a:pt x="18989" y="84748"/>
                    <a:pt x="19341" y="90726"/>
                  </a:cubicBezTo>
                  <a:cubicBezTo>
                    <a:pt x="19622" y="95509"/>
                    <a:pt x="26726" y="96937"/>
                    <a:pt x="30242" y="97056"/>
                  </a:cubicBezTo>
                  <a:lnTo>
                    <a:pt x="58374" y="84748"/>
                  </a:lnTo>
                  <a:cubicBezTo>
                    <a:pt x="55329" y="82167"/>
                    <a:pt x="48036" y="75816"/>
                    <a:pt x="43253" y="71034"/>
                  </a:cubicBezTo>
                  <a:cubicBezTo>
                    <a:pt x="37275" y="65056"/>
                    <a:pt x="48528" y="59078"/>
                    <a:pt x="52045" y="54858"/>
                  </a:cubicBezTo>
                  <a:cubicBezTo>
                    <a:pt x="55561" y="50638"/>
                    <a:pt x="77364" y="45012"/>
                    <a:pt x="82287" y="3657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1" name="Freihandform: Form 316">
              <a:extLst>
                <a:ext uri="{FF2B5EF4-FFF2-40B4-BE49-F238E27FC236}">
                  <a16:creationId xmlns:a16="http://schemas.microsoft.com/office/drawing/2014/main" id="{88C52FE5-A3D5-6E49-8EC0-C36D51F0E914}"/>
                </a:ext>
              </a:extLst>
            </p:cNvPr>
            <p:cNvSpPr/>
            <p:nvPr/>
          </p:nvSpPr>
          <p:spPr>
            <a:xfrm>
              <a:off x="8108587" y="3871136"/>
              <a:ext cx="43761" cy="70242"/>
            </a:xfrm>
            <a:custGeom>
              <a:avLst/>
              <a:gdLst>
                <a:gd name="connsiteX0" fmla="*/ 6330 w 43761"/>
                <a:gd name="connsiteY0" fmla="*/ 21802 h 70242"/>
                <a:gd name="connsiteX1" fmla="*/ 0 w 43761"/>
                <a:gd name="connsiteY1" fmla="*/ 12308 h 70242"/>
                <a:gd name="connsiteX2" fmla="*/ 24616 w 43761"/>
                <a:gd name="connsiteY2" fmla="*/ 0 h 70242"/>
                <a:gd name="connsiteX3" fmla="*/ 31649 w 43761"/>
                <a:gd name="connsiteY3" fmla="*/ 14418 h 70242"/>
                <a:gd name="connsiteX4" fmla="*/ 43605 w 43761"/>
                <a:gd name="connsiteY4" fmla="*/ 21802 h 70242"/>
                <a:gd name="connsiteX5" fmla="*/ 43605 w 43761"/>
                <a:gd name="connsiteY5" fmla="*/ 37275 h 70242"/>
                <a:gd name="connsiteX6" fmla="*/ 43605 w 43761"/>
                <a:gd name="connsiteY6" fmla="*/ 55561 h 70242"/>
                <a:gd name="connsiteX7" fmla="*/ 35517 w 43761"/>
                <a:gd name="connsiteY7" fmla="*/ 61539 h 70242"/>
                <a:gd name="connsiteX8" fmla="*/ 24616 w 43761"/>
                <a:gd name="connsiteY8" fmla="*/ 68924 h 70242"/>
                <a:gd name="connsiteX9" fmla="*/ 6330 w 43761"/>
                <a:gd name="connsiteY9" fmla="*/ 68924 h 70242"/>
                <a:gd name="connsiteX10" fmla="*/ 6330 w 43761"/>
                <a:gd name="connsiteY10" fmla="*/ 47825 h 70242"/>
                <a:gd name="connsiteX11" fmla="*/ 6330 w 43761"/>
                <a:gd name="connsiteY11" fmla="*/ 21802 h 70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761" h="70242">
                  <a:moveTo>
                    <a:pt x="6330" y="21802"/>
                  </a:moveTo>
                  <a:cubicBezTo>
                    <a:pt x="5486" y="18989"/>
                    <a:pt x="1758" y="14298"/>
                    <a:pt x="0" y="12308"/>
                  </a:cubicBezTo>
                  <a:lnTo>
                    <a:pt x="24616" y="0"/>
                  </a:lnTo>
                  <a:cubicBezTo>
                    <a:pt x="26374" y="3636"/>
                    <a:pt x="30242" y="11605"/>
                    <a:pt x="31649" y="14418"/>
                  </a:cubicBezTo>
                  <a:cubicBezTo>
                    <a:pt x="33407" y="17934"/>
                    <a:pt x="43605" y="20396"/>
                    <a:pt x="43605" y="21802"/>
                  </a:cubicBezTo>
                  <a:lnTo>
                    <a:pt x="43605" y="37275"/>
                  </a:lnTo>
                  <a:cubicBezTo>
                    <a:pt x="43605" y="39385"/>
                    <a:pt x="43957" y="52396"/>
                    <a:pt x="43605" y="55561"/>
                  </a:cubicBezTo>
                  <a:cubicBezTo>
                    <a:pt x="43253" y="58726"/>
                    <a:pt x="39385" y="60484"/>
                    <a:pt x="35517" y="61539"/>
                  </a:cubicBezTo>
                  <a:cubicBezTo>
                    <a:pt x="31649" y="62594"/>
                    <a:pt x="30594" y="67166"/>
                    <a:pt x="24616" y="68924"/>
                  </a:cubicBezTo>
                  <a:cubicBezTo>
                    <a:pt x="18638" y="70682"/>
                    <a:pt x="12308" y="70682"/>
                    <a:pt x="6330" y="68924"/>
                  </a:cubicBezTo>
                  <a:cubicBezTo>
                    <a:pt x="352" y="67166"/>
                    <a:pt x="6330" y="49583"/>
                    <a:pt x="6330" y="47825"/>
                  </a:cubicBezTo>
                  <a:cubicBezTo>
                    <a:pt x="6330" y="46067"/>
                    <a:pt x="7385" y="25319"/>
                    <a:pt x="6330" y="2180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2" name="Freihandform: Form 317">
              <a:extLst>
                <a:ext uri="{FF2B5EF4-FFF2-40B4-BE49-F238E27FC236}">
                  <a16:creationId xmlns:a16="http://schemas.microsoft.com/office/drawing/2014/main" id="{B3C9A2DF-9A9B-3042-B44D-0103521ACFB7}"/>
                </a:ext>
              </a:extLst>
            </p:cNvPr>
            <p:cNvSpPr/>
            <p:nvPr/>
          </p:nvSpPr>
          <p:spPr>
            <a:xfrm>
              <a:off x="7587054" y="4059271"/>
              <a:ext cx="118538" cy="209398"/>
            </a:xfrm>
            <a:custGeom>
              <a:avLst/>
              <a:gdLst>
                <a:gd name="connsiteX0" fmla="*/ 3197 w 118538"/>
                <a:gd name="connsiteY0" fmla="*/ 135386 h 209398"/>
                <a:gd name="connsiteX1" fmla="*/ 1087 w 118538"/>
                <a:gd name="connsiteY1" fmla="*/ 104089 h 209398"/>
                <a:gd name="connsiteX2" fmla="*/ 6362 w 118538"/>
                <a:gd name="connsiteY2" fmla="*/ 96353 h 209398"/>
                <a:gd name="connsiteX3" fmla="*/ 9175 w 118538"/>
                <a:gd name="connsiteY3" fmla="*/ 91430 h 209398"/>
                <a:gd name="connsiteX4" fmla="*/ 9175 w 118538"/>
                <a:gd name="connsiteY4" fmla="*/ 78067 h 209398"/>
                <a:gd name="connsiteX5" fmla="*/ 14801 w 118538"/>
                <a:gd name="connsiteY5" fmla="*/ 72792 h 209398"/>
                <a:gd name="connsiteX6" fmla="*/ 22186 w 118538"/>
                <a:gd name="connsiteY6" fmla="*/ 68221 h 209398"/>
                <a:gd name="connsiteX7" fmla="*/ 33087 w 118538"/>
                <a:gd name="connsiteY7" fmla="*/ 51693 h 209398"/>
                <a:gd name="connsiteX8" fmla="*/ 39417 w 118538"/>
                <a:gd name="connsiteY8" fmla="*/ 28836 h 209398"/>
                <a:gd name="connsiteX9" fmla="*/ 58758 w 118538"/>
                <a:gd name="connsiteY9" fmla="*/ 18989 h 209398"/>
                <a:gd name="connsiteX10" fmla="*/ 63329 w 118538"/>
                <a:gd name="connsiteY10" fmla="*/ 18989 h 209398"/>
                <a:gd name="connsiteX11" fmla="*/ 70011 w 118538"/>
                <a:gd name="connsiteY11" fmla="*/ 3165 h 209398"/>
                <a:gd name="connsiteX12" fmla="*/ 77747 w 118538"/>
                <a:gd name="connsiteY12" fmla="*/ 0 h 209398"/>
                <a:gd name="connsiteX13" fmla="*/ 84780 w 118538"/>
                <a:gd name="connsiteY13" fmla="*/ 6681 h 209398"/>
                <a:gd name="connsiteX14" fmla="*/ 92868 w 118538"/>
                <a:gd name="connsiteY14" fmla="*/ 14769 h 209398"/>
                <a:gd name="connsiteX15" fmla="*/ 92868 w 118538"/>
                <a:gd name="connsiteY15" fmla="*/ 37275 h 209398"/>
                <a:gd name="connsiteX16" fmla="*/ 86187 w 118538"/>
                <a:gd name="connsiteY16" fmla="*/ 46067 h 209398"/>
                <a:gd name="connsiteX17" fmla="*/ 77747 w 118538"/>
                <a:gd name="connsiteY17" fmla="*/ 59078 h 209398"/>
                <a:gd name="connsiteX18" fmla="*/ 77747 w 118538"/>
                <a:gd name="connsiteY18" fmla="*/ 74199 h 209398"/>
                <a:gd name="connsiteX19" fmla="*/ 87945 w 118538"/>
                <a:gd name="connsiteY19" fmla="*/ 74199 h 209398"/>
                <a:gd name="connsiteX20" fmla="*/ 92868 w 118538"/>
                <a:gd name="connsiteY20" fmla="*/ 74199 h 209398"/>
                <a:gd name="connsiteX21" fmla="*/ 98143 w 118538"/>
                <a:gd name="connsiteY21" fmla="*/ 88616 h 209398"/>
                <a:gd name="connsiteX22" fmla="*/ 104121 w 118538"/>
                <a:gd name="connsiteY22" fmla="*/ 92836 h 209398"/>
                <a:gd name="connsiteX23" fmla="*/ 102715 w 118538"/>
                <a:gd name="connsiteY23" fmla="*/ 98463 h 209398"/>
                <a:gd name="connsiteX24" fmla="*/ 101308 w 118538"/>
                <a:gd name="connsiteY24" fmla="*/ 102683 h 209398"/>
                <a:gd name="connsiteX25" fmla="*/ 101308 w 118538"/>
                <a:gd name="connsiteY25" fmla="*/ 107254 h 209398"/>
                <a:gd name="connsiteX26" fmla="*/ 116429 w 118538"/>
                <a:gd name="connsiteY26" fmla="*/ 114639 h 209398"/>
                <a:gd name="connsiteX27" fmla="*/ 118539 w 118538"/>
                <a:gd name="connsiteY27" fmla="*/ 132925 h 209398"/>
                <a:gd name="connsiteX28" fmla="*/ 107286 w 118538"/>
                <a:gd name="connsiteY28" fmla="*/ 142419 h 209398"/>
                <a:gd name="connsiteX29" fmla="*/ 82670 w 118538"/>
                <a:gd name="connsiteY29" fmla="*/ 152969 h 209398"/>
                <a:gd name="connsiteX30" fmla="*/ 71066 w 118538"/>
                <a:gd name="connsiteY30" fmla="*/ 172661 h 209398"/>
                <a:gd name="connsiteX31" fmla="*/ 82670 w 118538"/>
                <a:gd name="connsiteY31" fmla="*/ 186376 h 209398"/>
                <a:gd name="connsiteX32" fmla="*/ 69308 w 118538"/>
                <a:gd name="connsiteY32" fmla="*/ 189189 h 209398"/>
                <a:gd name="connsiteX33" fmla="*/ 57703 w 118538"/>
                <a:gd name="connsiteY33" fmla="*/ 200090 h 209398"/>
                <a:gd name="connsiteX34" fmla="*/ 38714 w 118538"/>
                <a:gd name="connsiteY34" fmla="*/ 209233 h 209398"/>
                <a:gd name="connsiteX35" fmla="*/ 25703 w 118538"/>
                <a:gd name="connsiteY35" fmla="*/ 202552 h 209398"/>
                <a:gd name="connsiteX36" fmla="*/ 33439 w 118538"/>
                <a:gd name="connsiteY36" fmla="*/ 189189 h 209398"/>
                <a:gd name="connsiteX37" fmla="*/ 35197 w 118538"/>
                <a:gd name="connsiteY37" fmla="*/ 171255 h 209398"/>
                <a:gd name="connsiteX38" fmla="*/ 22186 w 118538"/>
                <a:gd name="connsiteY38" fmla="*/ 148397 h 209398"/>
                <a:gd name="connsiteX39" fmla="*/ 3197 w 118538"/>
                <a:gd name="connsiteY39" fmla="*/ 135386 h 20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18538" h="209398">
                  <a:moveTo>
                    <a:pt x="3197" y="135386"/>
                  </a:moveTo>
                  <a:cubicBezTo>
                    <a:pt x="-1304" y="132573"/>
                    <a:pt x="-88" y="113352"/>
                    <a:pt x="1087" y="104089"/>
                  </a:cubicBezTo>
                  <a:lnTo>
                    <a:pt x="6362" y="96353"/>
                  </a:lnTo>
                  <a:lnTo>
                    <a:pt x="9175" y="91430"/>
                  </a:lnTo>
                  <a:lnTo>
                    <a:pt x="9175" y="78067"/>
                  </a:lnTo>
                  <a:lnTo>
                    <a:pt x="14801" y="72792"/>
                  </a:lnTo>
                  <a:lnTo>
                    <a:pt x="22186" y="68221"/>
                  </a:lnTo>
                  <a:lnTo>
                    <a:pt x="33087" y="51693"/>
                  </a:lnTo>
                  <a:lnTo>
                    <a:pt x="39417" y="28836"/>
                  </a:lnTo>
                  <a:lnTo>
                    <a:pt x="58758" y="18989"/>
                  </a:lnTo>
                  <a:lnTo>
                    <a:pt x="63329" y="18989"/>
                  </a:lnTo>
                  <a:lnTo>
                    <a:pt x="70011" y="3165"/>
                  </a:lnTo>
                  <a:lnTo>
                    <a:pt x="77747" y="0"/>
                  </a:lnTo>
                  <a:lnTo>
                    <a:pt x="84780" y="6681"/>
                  </a:lnTo>
                  <a:lnTo>
                    <a:pt x="92868" y="14769"/>
                  </a:lnTo>
                  <a:lnTo>
                    <a:pt x="92868" y="37275"/>
                  </a:lnTo>
                  <a:lnTo>
                    <a:pt x="86187" y="46067"/>
                  </a:lnTo>
                  <a:lnTo>
                    <a:pt x="77747" y="59078"/>
                  </a:lnTo>
                  <a:lnTo>
                    <a:pt x="77747" y="74199"/>
                  </a:lnTo>
                  <a:lnTo>
                    <a:pt x="87945" y="74199"/>
                  </a:lnTo>
                  <a:lnTo>
                    <a:pt x="92868" y="74199"/>
                  </a:lnTo>
                  <a:lnTo>
                    <a:pt x="98143" y="88616"/>
                  </a:lnTo>
                  <a:lnTo>
                    <a:pt x="104121" y="92836"/>
                  </a:lnTo>
                  <a:lnTo>
                    <a:pt x="102715" y="98463"/>
                  </a:lnTo>
                  <a:lnTo>
                    <a:pt x="101308" y="102683"/>
                  </a:lnTo>
                  <a:lnTo>
                    <a:pt x="101308" y="107254"/>
                  </a:lnTo>
                  <a:lnTo>
                    <a:pt x="116429" y="114639"/>
                  </a:lnTo>
                  <a:cubicBezTo>
                    <a:pt x="117132" y="119914"/>
                    <a:pt x="118539" y="130955"/>
                    <a:pt x="118539" y="132925"/>
                  </a:cubicBezTo>
                  <a:cubicBezTo>
                    <a:pt x="118539" y="135386"/>
                    <a:pt x="109044" y="141364"/>
                    <a:pt x="107286" y="142419"/>
                  </a:cubicBezTo>
                  <a:cubicBezTo>
                    <a:pt x="105528" y="143474"/>
                    <a:pt x="87945" y="149804"/>
                    <a:pt x="82670" y="152969"/>
                  </a:cubicBezTo>
                  <a:cubicBezTo>
                    <a:pt x="78451" y="155501"/>
                    <a:pt x="73176" y="167155"/>
                    <a:pt x="71066" y="172661"/>
                  </a:cubicBezTo>
                  <a:lnTo>
                    <a:pt x="82670" y="186376"/>
                  </a:lnTo>
                  <a:cubicBezTo>
                    <a:pt x="78570" y="187311"/>
                    <a:pt x="70152" y="189189"/>
                    <a:pt x="69308" y="189189"/>
                  </a:cubicBezTo>
                  <a:cubicBezTo>
                    <a:pt x="68253" y="189189"/>
                    <a:pt x="58758" y="195519"/>
                    <a:pt x="57703" y="200090"/>
                  </a:cubicBezTo>
                  <a:cubicBezTo>
                    <a:pt x="56648" y="204662"/>
                    <a:pt x="43989" y="208178"/>
                    <a:pt x="38714" y="209233"/>
                  </a:cubicBezTo>
                  <a:cubicBezTo>
                    <a:pt x="33439" y="210288"/>
                    <a:pt x="28516" y="206068"/>
                    <a:pt x="25703" y="202552"/>
                  </a:cubicBezTo>
                  <a:cubicBezTo>
                    <a:pt x="22889" y="199035"/>
                    <a:pt x="30977" y="192706"/>
                    <a:pt x="33439" y="189189"/>
                  </a:cubicBezTo>
                  <a:cubicBezTo>
                    <a:pt x="35901" y="185673"/>
                    <a:pt x="35901" y="175826"/>
                    <a:pt x="35197" y="171255"/>
                  </a:cubicBezTo>
                  <a:cubicBezTo>
                    <a:pt x="34494" y="166683"/>
                    <a:pt x="23593" y="152266"/>
                    <a:pt x="22186" y="148397"/>
                  </a:cubicBezTo>
                  <a:cubicBezTo>
                    <a:pt x="20779" y="144529"/>
                    <a:pt x="8823" y="138903"/>
                    <a:pt x="3197" y="13538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3" name="Freihandform: Form 318">
              <a:extLst>
                <a:ext uri="{FF2B5EF4-FFF2-40B4-BE49-F238E27FC236}">
                  <a16:creationId xmlns:a16="http://schemas.microsoft.com/office/drawing/2014/main" id="{BA39C804-DC5B-144B-9BDA-86F3F06B1093}"/>
                </a:ext>
              </a:extLst>
            </p:cNvPr>
            <p:cNvSpPr/>
            <p:nvPr/>
          </p:nvSpPr>
          <p:spPr>
            <a:xfrm>
              <a:off x="7519217" y="4095491"/>
              <a:ext cx="65759" cy="70682"/>
            </a:xfrm>
            <a:custGeom>
              <a:avLst/>
              <a:gdLst>
                <a:gd name="connsiteX0" fmla="*/ 50638 w 65759"/>
                <a:gd name="connsiteY0" fmla="*/ 62946 h 70682"/>
                <a:gd name="connsiteX1" fmla="*/ 65759 w 65759"/>
                <a:gd name="connsiteY1" fmla="*/ 62946 h 70682"/>
                <a:gd name="connsiteX2" fmla="*/ 56968 w 65759"/>
                <a:gd name="connsiteY2" fmla="*/ 45012 h 70682"/>
                <a:gd name="connsiteX3" fmla="*/ 50638 w 65759"/>
                <a:gd name="connsiteY3" fmla="*/ 49231 h 70682"/>
                <a:gd name="connsiteX4" fmla="*/ 46770 w 65759"/>
                <a:gd name="connsiteY4" fmla="*/ 41847 h 70682"/>
                <a:gd name="connsiteX5" fmla="*/ 56968 w 65759"/>
                <a:gd name="connsiteY5" fmla="*/ 32704 h 70682"/>
                <a:gd name="connsiteX6" fmla="*/ 61188 w 65759"/>
                <a:gd name="connsiteY6" fmla="*/ 17583 h 70682"/>
                <a:gd name="connsiteX7" fmla="*/ 31297 w 65759"/>
                <a:gd name="connsiteY7" fmla="*/ 11956 h 70682"/>
                <a:gd name="connsiteX8" fmla="*/ 24616 w 65759"/>
                <a:gd name="connsiteY8" fmla="*/ 4571 h 70682"/>
                <a:gd name="connsiteX9" fmla="*/ 7736 w 65759"/>
                <a:gd name="connsiteY9" fmla="*/ 0 h 70682"/>
                <a:gd name="connsiteX10" fmla="*/ 0 w 65759"/>
                <a:gd name="connsiteY10" fmla="*/ 7033 h 70682"/>
                <a:gd name="connsiteX11" fmla="*/ 10550 w 65759"/>
                <a:gd name="connsiteY11" fmla="*/ 15473 h 70682"/>
                <a:gd name="connsiteX12" fmla="*/ 6681 w 65759"/>
                <a:gd name="connsiteY12" fmla="*/ 15473 h 70682"/>
                <a:gd name="connsiteX13" fmla="*/ 4571 w 65759"/>
                <a:gd name="connsiteY13" fmla="*/ 26374 h 70682"/>
                <a:gd name="connsiteX14" fmla="*/ 6681 w 65759"/>
                <a:gd name="connsiteY14" fmla="*/ 32704 h 70682"/>
                <a:gd name="connsiteX15" fmla="*/ 7736 w 65759"/>
                <a:gd name="connsiteY15" fmla="*/ 40088 h 70682"/>
                <a:gd name="connsiteX16" fmla="*/ 14066 w 65759"/>
                <a:gd name="connsiteY16" fmla="*/ 66111 h 70682"/>
                <a:gd name="connsiteX17" fmla="*/ 16879 w 65759"/>
                <a:gd name="connsiteY17" fmla="*/ 70682 h 70682"/>
                <a:gd name="connsiteX18" fmla="*/ 31297 w 65759"/>
                <a:gd name="connsiteY18" fmla="*/ 70682 h 70682"/>
                <a:gd name="connsiteX19" fmla="*/ 37275 w 65759"/>
                <a:gd name="connsiteY19" fmla="*/ 66111 h 70682"/>
                <a:gd name="connsiteX20" fmla="*/ 50638 w 65759"/>
                <a:gd name="connsiteY20" fmla="*/ 62946 h 7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759" h="70682">
                  <a:moveTo>
                    <a:pt x="50638" y="62946"/>
                  </a:moveTo>
                  <a:lnTo>
                    <a:pt x="65759" y="62946"/>
                  </a:lnTo>
                  <a:lnTo>
                    <a:pt x="56968" y="45012"/>
                  </a:lnTo>
                  <a:lnTo>
                    <a:pt x="50638" y="49231"/>
                  </a:lnTo>
                  <a:lnTo>
                    <a:pt x="46770" y="41847"/>
                  </a:lnTo>
                  <a:lnTo>
                    <a:pt x="56968" y="32704"/>
                  </a:lnTo>
                  <a:lnTo>
                    <a:pt x="61188" y="17583"/>
                  </a:lnTo>
                  <a:lnTo>
                    <a:pt x="31297" y="11956"/>
                  </a:lnTo>
                  <a:lnTo>
                    <a:pt x="24616" y="4571"/>
                  </a:lnTo>
                  <a:lnTo>
                    <a:pt x="7736" y="0"/>
                  </a:lnTo>
                  <a:lnTo>
                    <a:pt x="0" y="7033"/>
                  </a:lnTo>
                  <a:lnTo>
                    <a:pt x="10550" y="15473"/>
                  </a:lnTo>
                  <a:lnTo>
                    <a:pt x="6681" y="15473"/>
                  </a:lnTo>
                  <a:lnTo>
                    <a:pt x="4571" y="26374"/>
                  </a:lnTo>
                  <a:lnTo>
                    <a:pt x="6681" y="32704"/>
                  </a:lnTo>
                  <a:lnTo>
                    <a:pt x="7736" y="40088"/>
                  </a:lnTo>
                  <a:lnTo>
                    <a:pt x="14066" y="66111"/>
                  </a:lnTo>
                  <a:lnTo>
                    <a:pt x="16879" y="70682"/>
                  </a:lnTo>
                  <a:lnTo>
                    <a:pt x="31297" y="70682"/>
                  </a:lnTo>
                  <a:cubicBezTo>
                    <a:pt x="33175" y="69508"/>
                    <a:pt x="36994" y="66955"/>
                    <a:pt x="37275" y="66111"/>
                  </a:cubicBezTo>
                  <a:cubicBezTo>
                    <a:pt x="37627" y="65056"/>
                    <a:pt x="48528" y="62946"/>
                    <a:pt x="50638" y="629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4" name="Freihandform: Form 319">
              <a:extLst>
                <a:ext uri="{FF2B5EF4-FFF2-40B4-BE49-F238E27FC236}">
                  <a16:creationId xmlns:a16="http://schemas.microsoft.com/office/drawing/2014/main" id="{44E0A304-59D8-0049-82D7-9750D3519F9E}"/>
                </a:ext>
              </a:extLst>
            </p:cNvPr>
            <p:cNvSpPr/>
            <p:nvPr/>
          </p:nvSpPr>
          <p:spPr>
            <a:xfrm>
              <a:off x="7735835" y="4145411"/>
              <a:ext cx="81583" cy="70696"/>
            </a:xfrm>
            <a:custGeom>
              <a:avLst/>
              <a:gdLst>
                <a:gd name="connsiteX0" fmla="*/ 71386 w 81583"/>
                <a:gd name="connsiteY0" fmla="*/ 42213 h 70696"/>
                <a:gd name="connsiteX1" fmla="*/ 81583 w 81583"/>
                <a:gd name="connsiteY1" fmla="*/ 29202 h 70696"/>
                <a:gd name="connsiteX2" fmla="*/ 80177 w 81583"/>
                <a:gd name="connsiteY2" fmla="*/ 26740 h 70696"/>
                <a:gd name="connsiteX3" fmla="*/ 67869 w 81583"/>
                <a:gd name="connsiteY3" fmla="*/ 21114 h 70696"/>
                <a:gd name="connsiteX4" fmla="*/ 64704 w 81583"/>
                <a:gd name="connsiteY4" fmla="*/ 8102 h 70696"/>
                <a:gd name="connsiteX5" fmla="*/ 55913 w 81583"/>
                <a:gd name="connsiteY5" fmla="*/ 3531 h 70696"/>
                <a:gd name="connsiteX6" fmla="*/ 47121 w 81583"/>
                <a:gd name="connsiteY6" fmla="*/ 14 h 70696"/>
                <a:gd name="connsiteX7" fmla="*/ 35165 w 81583"/>
                <a:gd name="connsiteY7" fmla="*/ 5641 h 70696"/>
                <a:gd name="connsiteX8" fmla="*/ 25671 w 81583"/>
                <a:gd name="connsiteY8" fmla="*/ 8102 h 70696"/>
                <a:gd name="connsiteX9" fmla="*/ 15473 w 81583"/>
                <a:gd name="connsiteY9" fmla="*/ 9861 h 70696"/>
                <a:gd name="connsiteX10" fmla="*/ 2813 w 81583"/>
                <a:gd name="connsiteY10" fmla="*/ 11619 h 70696"/>
                <a:gd name="connsiteX11" fmla="*/ 0 w 81583"/>
                <a:gd name="connsiteY11" fmla="*/ 16190 h 70696"/>
                <a:gd name="connsiteX12" fmla="*/ 9143 w 81583"/>
                <a:gd name="connsiteY12" fmla="*/ 29202 h 70696"/>
                <a:gd name="connsiteX13" fmla="*/ 23209 w 81583"/>
                <a:gd name="connsiteY13" fmla="*/ 37993 h 70696"/>
                <a:gd name="connsiteX14" fmla="*/ 35165 w 81583"/>
                <a:gd name="connsiteY14" fmla="*/ 46784 h 70696"/>
                <a:gd name="connsiteX15" fmla="*/ 36572 w 81583"/>
                <a:gd name="connsiteY15" fmla="*/ 70697 h 70696"/>
                <a:gd name="connsiteX16" fmla="*/ 47121 w 81583"/>
                <a:gd name="connsiteY16" fmla="*/ 70697 h 70696"/>
                <a:gd name="connsiteX17" fmla="*/ 53100 w 81583"/>
                <a:gd name="connsiteY17" fmla="*/ 59444 h 70696"/>
                <a:gd name="connsiteX18" fmla="*/ 59078 w 81583"/>
                <a:gd name="connsiteY18" fmla="*/ 50301 h 70696"/>
                <a:gd name="connsiteX19" fmla="*/ 71386 w 81583"/>
                <a:gd name="connsiteY19" fmla="*/ 42213 h 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1583" h="70696">
                  <a:moveTo>
                    <a:pt x="71386" y="42213"/>
                  </a:moveTo>
                  <a:cubicBezTo>
                    <a:pt x="72230" y="41087"/>
                    <a:pt x="78538" y="33070"/>
                    <a:pt x="81583" y="29202"/>
                  </a:cubicBezTo>
                  <a:lnTo>
                    <a:pt x="80177" y="26740"/>
                  </a:lnTo>
                  <a:cubicBezTo>
                    <a:pt x="77244" y="25917"/>
                    <a:pt x="70682" y="23645"/>
                    <a:pt x="67869" y="21114"/>
                  </a:cubicBezTo>
                  <a:cubicBezTo>
                    <a:pt x="64352" y="17949"/>
                    <a:pt x="66814" y="9861"/>
                    <a:pt x="64704" y="8102"/>
                  </a:cubicBezTo>
                  <a:cubicBezTo>
                    <a:pt x="62594" y="6344"/>
                    <a:pt x="57671" y="5641"/>
                    <a:pt x="55913" y="3531"/>
                  </a:cubicBezTo>
                  <a:cubicBezTo>
                    <a:pt x="54155" y="1421"/>
                    <a:pt x="49583" y="366"/>
                    <a:pt x="47121" y="14"/>
                  </a:cubicBezTo>
                  <a:cubicBezTo>
                    <a:pt x="45152" y="-267"/>
                    <a:pt x="38330" y="3650"/>
                    <a:pt x="35165" y="5641"/>
                  </a:cubicBezTo>
                  <a:lnTo>
                    <a:pt x="25671" y="8102"/>
                  </a:lnTo>
                  <a:cubicBezTo>
                    <a:pt x="23680" y="8925"/>
                    <a:pt x="18848" y="10423"/>
                    <a:pt x="15473" y="9861"/>
                  </a:cubicBezTo>
                  <a:cubicBezTo>
                    <a:pt x="12097" y="9298"/>
                    <a:pt x="5626" y="10796"/>
                    <a:pt x="2813" y="11619"/>
                  </a:cubicBezTo>
                  <a:cubicBezTo>
                    <a:pt x="1878" y="12674"/>
                    <a:pt x="0" y="15065"/>
                    <a:pt x="0" y="16190"/>
                  </a:cubicBezTo>
                  <a:cubicBezTo>
                    <a:pt x="0" y="17597"/>
                    <a:pt x="7736" y="27092"/>
                    <a:pt x="9143" y="29202"/>
                  </a:cubicBezTo>
                  <a:cubicBezTo>
                    <a:pt x="10550" y="31311"/>
                    <a:pt x="20044" y="36235"/>
                    <a:pt x="23209" y="37993"/>
                  </a:cubicBezTo>
                  <a:cubicBezTo>
                    <a:pt x="26374" y="39751"/>
                    <a:pt x="34110" y="44323"/>
                    <a:pt x="35165" y="46784"/>
                  </a:cubicBezTo>
                  <a:cubicBezTo>
                    <a:pt x="36009" y="48753"/>
                    <a:pt x="36452" y="63544"/>
                    <a:pt x="36572" y="70697"/>
                  </a:cubicBezTo>
                  <a:lnTo>
                    <a:pt x="47121" y="70697"/>
                  </a:lnTo>
                  <a:cubicBezTo>
                    <a:pt x="48999" y="67180"/>
                    <a:pt x="52818" y="60006"/>
                    <a:pt x="53100" y="59444"/>
                  </a:cubicBezTo>
                  <a:cubicBezTo>
                    <a:pt x="53451" y="58740"/>
                    <a:pt x="58023" y="51707"/>
                    <a:pt x="59078" y="50301"/>
                  </a:cubicBezTo>
                  <a:cubicBezTo>
                    <a:pt x="60133" y="48894"/>
                    <a:pt x="70331" y="43619"/>
                    <a:pt x="71386" y="4221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5" name="Freihandform: Form 320">
              <a:extLst>
                <a:ext uri="{FF2B5EF4-FFF2-40B4-BE49-F238E27FC236}">
                  <a16:creationId xmlns:a16="http://schemas.microsoft.com/office/drawing/2014/main" id="{C74235F2-6A74-C041-8FB4-A400DF452E87}"/>
                </a:ext>
              </a:extLst>
            </p:cNvPr>
            <p:cNvSpPr/>
            <p:nvPr/>
          </p:nvSpPr>
          <p:spPr>
            <a:xfrm>
              <a:off x="7704186" y="4158437"/>
              <a:ext cx="68956" cy="78262"/>
            </a:xfrm>
            <a:custGeom>
              <a:avLst/>
              <a:gdLst>
                <a:gd name="connsiteX0" fmla="*/ 9846 w 68956"/>
                <a:gd name="connsiteY0" fmla="*/ 50638 h 78262"/>
                <a:gd name="connsiteX1" fmla="*/ 0 w 68956"/>
                <a:gd name="connsiteY1" fmla="*/ 35517 h 78262"/>
                <a:gd name="connsiteX2" fmla="*/ 0 w 68956"/>
                <a:gd name="connsiteY2" fmla="*/ 24967 h 78262"/>
                <a:gd name="connsiteX3" fmla="*/ 1407 w 68956"/>
                <a:gd name="connsiteY3" fmla="*/ 17583 h 78262"/>
                <a:gd name="connsiteX4" fmla="*/ 11253 w 68956"/>
                <a:gd name="connsiteY4" fmla="*/ 14066 h 78262"/>
                <a:gd name="connsiteX5" fmla="*/ 15473 w 68956"/>
                <a:gd name="connsiteY5" fmla="*/ 20748 h 78262"/>
                <a:gd name="connsiteX6" fmla="*/ 20396 w 68956"/>
                <a:gd name="connsiteY6" fmla="*/ 17583 h 78262"/>
                <a:gd name="connsiteX7" fmla="*/ 20396 w 68956"/>
                <a:gd name="connsiteY7" fmla="*/ 6681 h 78262"/>
                <a:gd name="connsiteX8" fmla="*/ 24967 w 68956"/>
                <a:gd name="connsiteY8" fmla="*/ 2462 h 78262"/>
                <a:gd name="connsiteX9" fmla="*/ 33055 w 68956"/>
                <a:gd name="connsiteY9" fmla="*/ 0 h 78262"/>
                <a:gd name="connsiteX10" fmla="*/ 33055 w 68956"/>
                <a:gd name="connsiteY10" fmla="*/ 6681 h 78262"/>
                <a:gd name="connsiteX11" fmla="*/ 41143 w 68956"/>
                <a:gd name="connsiteY11" fmla="*/ 17583 h 78262"/>
                <a:gd name="connsiteX12" fmla="*/ 55561 w 68956"/>
                <a:gd name="connsiteY12" fmla="*/ 24967 h 78262"/>
                <a:gd name="connsiteX13" fmla="*/ 67869 w 68956"/>
                <a:gd name="connsiteY13" fmla="*/ 34110 h 78262"/>
                <a:gd name="connsiteX14" fmla="*/ 67869 w 68956"/>
                <a:gd name="connsiteY14" fmla="*/ 57319 h 78262"/>
                <a:gd name="connsiteX15" fmla="*/ 62946 w 68956"/>
                <a:gd name="connsiteY15" fmla="*/ 64001 h 78262"/>
                <a:gd name="connsiteX16" fmla="*/ 49935 w 68956"/>
                <a:gd name="connsiteY16" fmla="*/ 69276 h 78262"/>
                <a:gd name="connsiteX17" fmla="*/ 33055 w 68956"/>
                <a:gd name="connsiteY17" fmla="*/ 77715 h 78262"/>
                <a:gd name="connsiteX18" fmla="*/ 15473 w 68956"/>
                <a:gd name="connsiteY18" fmla="*/ 73847 h 78262"/>
                <a:gd name="connsiteX19" fmla="*/ 9846 w 68956"/>
                <a:gd name="connsiteY19" fmla="*/ 50638 h 78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8956" h="78262">
                  <a:moveTo>
                    <a:pt x="9846" y="50638"/>
                  </a:moveTo>
                  <a:cubicBezTo>
                    <a:pt x="9002" y="46418"/>
                    <a:pt x="2933" y="38801"/>
                    <a:pt x="0" y="35517"/>
                  </a:cubicBezTo>
                  <a:lnTo>
                    <a:pt x="0" y="24967"/>
                  </a:lnTo>
                  <a:lnTo>
                    <a:pt x="1407" y="17583"/>
                  </a:lnTo>
                  <a:lnTo>
                    <a:pt x="11253" y="14066"/>
                  </a:lnTo>
                  <a:cubicBezTo>
                    <a:pt x="12188" y="15241"/>
                    <a:pt x="14347" y="18216"/>
                    <a:pt x="15473" y="20748"/>
                  </a:cubicBezTo>
                  <a:cubicBezTo>
                    <a:pt x="16879" y="23912"/>
                    <a:pt x="20396" y="19341"/>
                    <a:pt x="20396" y="17583"/>
                  </a:cubicBezTo>
                  <a:cubicBezTo>
                    <a:pt x="20396" y="15824"/>
                    <a:pt x="20748" y="11253"/>
                    <a:pt x="20396" y="6681"/>
                  </a:cubicBezTo>
                  <a:cubicBezTo>
                    <a:pt x="20044" y="2110"/>
                    <a:pt x="23209" y="3517"/>
                    <a:pt x="24967" y="2462"/>
                  </a:cubicBezTo>
                  <a:cubicBezTo>
                    <a:pt x="26374" y="1618"/>
                    <a:pt x="30945" y="471"/>
                    <a:pt x="33055" y="0"/>
                  </a:cubicBezTo>
                  <a:lnTo>
                    <a:pt x="33055" y="6681"/>
                  </a:lnTo>
                  <a:cubicBezTo>
                    <a:pt x="33055" y="8791"/>
                    <a:pt x="40440" y="16176"/>
                    <a:pt x="41143" y="17583"/>
                  </a:cubicBezTo>
                  <a:cubicBezTo>
                    <a:pt x="41847" y="18989"/>
                    <a:pt x="53803" y="24264"/>
                    <a:pt x="55561" y="24967"/>
                  </a:cubicBezTo>
                  <a:cubicBezTo>
                    <a:pt x="57319" y="25671"/>
                    <a:pt x="65407" y="32704"/>
                    <a:pt x="67869" y="34110"/>
                  </a:cubicBezTo>
                  <a:cubicBezTo>
                    <a:pt x="69838" y="35236"/>
                    <a:pt x="68692" y="50054"/>
                    <a:pt x="67869" y="57319"/>
                  </a:cubicBezTo>
                  <a:lnTo>
                    <a:pt x="62946" y="64001"/>
                  </a:lnTo>
                  <a:cubicBezTo>
                    <a:pt x="60013" y="65759"/>
                    <a:pt x="53310" y="69276"/>
                    <a:pt x="49935" y="69276"/>
                  </a:cubicBezTo>
                  <a:cubicBezTo>
                    <a:pt x="45715" y="69276"/>
                    <a:pt x="35165" y="75605"/>
                    <a:pt x="33055" y="77715"/>
                  </a:cubicBezTo>
                  <a:cubicBezTo>
                    <a:pt x="30945" y="79825"/>
                    <a:pt x="16176" y="75254"/>
                    <a:pt x="15473" y="73847"/>
                  </a:cubicBezTo>
                  <a:cubicBezTo>
                    <a:pt x="14769" y="72440"/>
                    <a:pt x="10901" y="55913"/>
                    <a:pt x="9846" y="5063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6" name="Freihandform: Form 321">
              <a:extLst>
                <a:ext uri="{FF2B5EF4-FFF2-40B4-BE49-F238E27FC236}">
                  <a16:creationId xmlns:a16="http://schemas.microsoft.com/office/drawing/2014/main" id="{E36C0D61-9D12-2143-9D3D-16B18D5B9180}"/>
                </a:ext>
              </a:extLst>
            </p:cNvPr>
            <p:cNvSpPr/>
            <p:nvPr/>
          </p:nvSpPr>
          <p:spPr>
            <a:xfrm>
              <a:off x="7658472" y="4193954"/>
              <a:ext cx="133730" cy="123241"/>
            </a:xfrm>
            <a:custGeom>
              <a:avLst/>
              <a:gdLst>
                <a:gd name="connsiteX0" fmla="*/ 9846 w 133730"/>
                <a:gd name="connsiteY0" fmla="*/ 70682 h 123241"/>
                <a:gd name="connsiteX1" fmla="*/ 9846 w 133730"/>
                <a:gd name="connsiteY1" fmla="*/ 54858 h 123241"/>
                <a:gd name="connsiteX2" fmla="*/ 11605 w 133730"/>
                <a:gd name="connsiteY2" fmla="*/ 50990 h 123241"/>
                <a:gd name="connsiteX3" fmla="*/ 0 w 133730"/>
                <a:gd name="connsiteY3" fmla="*/ 39385 h 123241"/>
                <a:gd name="connsiteX4" fmla="*/ 2462 w 133730"/>
                <a:gd name="connsiteY4" fmla="*/ 32000 h 123241"/>
                <a:gd name="connsiteX5" fmla="*/ 9846 w 133730"/>
                <a:gd name="connsiteY5" fmla="*/ 20044 h 123241"/>
                <a:gd name="connsiteX6" fmla="*/ 20044 w 133730"/>
                <a:gd name="connsiteY6" fmla="*/ 14066 h 123241"/>
                <a:gd name="connsiteX7" fmla="*/ 39033 w 133730"/>
                <a:gd name="connsiteY7" fmla="*/ 5275 h 123241"/>
                <a:gd name="connsiteX8" fmla="*/ 45012 w 133730"/>
                <a:gd name="connsiteY8" fmla="*/ 0 h 123241"/>
                <a:gd name="connsiteX9" fmla="*/ 50990 w 133730"/>
                <a:gd name="connsiteY9" fmla="*/ 9143 h 123241"/>
                <a:gd name="connsiteX10" fmla="*/ 56264 w 133730"/>
                <a:gd name="connsiteY10" fmla="*/ 21451 h 123241"/>
                <a:gd name="connsiteX11" fmla="*/ 60484 w 133730"/>
                <a:gd name="connsiteY11" fmla="*/ 36220 h 123241"/>
                <a:gd name="connsiteX12" fmla="*/ 69979 w 133730"/>
                <a:gd name="connsiteY12" fmla="*/ 42550 h 123241"/>
                <a:gd name="connsiteX13" fmla="*/ 78770 w 133730"/>
                <a:gd name="connsiteY13" fmla="*/ 39385 h 123241"/>
                <a:gd name="connsiteX14" fmla="*/ 90375 w 133730"/>
                <a:gd name="connsiteY14" fmla="*/ 33407 h 123241"/>
                <a:gd name="connsiteX15" fmla="*/ 99518 w 133730"/>
                <a:gd name="connsiteY15" fmla="*/ 33407 h 123241"/>
                <a:gd name="connsiteX16" fmla="*/ 103386 w 133730"/>
                <a:gd name="connsiteY16" fmla="*/ 36220 h 123241"/>
                <a:gd name="connsiteX17" fmla="*/ 107957 w 133730"/>
                <a:gd name="connsiteY17" fmla="*/ 54858 h 123241"/>
                <a:gd name="connsiteX18" fmla="*/ 118507 w 133730"/>
                <a:gd name="connsiteY18" fmla="*/ 72440 h 123241"/>
                <a:gd name="connsiteX19" fmla="*/ 133628 w 133730"/>
                <a:gd name="connsiteY19" fmla="*/ 91781 h 123241"/>
                <a:gd name="connsiteX20" fmla="*/ 125188 w 133730"/>
                <a:gd name="connsiteY20" fmla="*/ 99869 h 123241"/>
                <a:gd name="connsiteX21" fmla="*/ 103386 w 133730"/>
                <a:gd name="connsiteY21" fmla="*/ 99869 h 123241"/>
                <a:gd name="connsiteX22" fmla="*/ 80880 w 133730"/>
                <a:gd name="connsiteY22" fmla="*/ 105496 h 123241"/>
                <a:gd name="connsiteX23" fmla="*/ 74902 w 133730"/>
                <a:gd name="connsiteY23" fmla="*/ 122023 h 123241"/>
                <a:gd name="connsiteX24" fmla="*/ 66111 w 133730"/>
                <a:gd name="connsiteY24" fmla="*/ 122023 h 123241"/>
                <a:gd name="connsiteX25" fmla="*/ 50990 w 133730"/>
                <a:gd name="connsiteY25" fmla="*/ 113232 h 123241"/>
                <a:gd name="connsiteX26" fmla="*/ 26374 w 133730"/>
                <a:gd name="connsiteY26" fmla="*/ 99869 h 123241"/>
                <a:gd name="connsiteX27" fmla="*/ 6330 w 133730"/>
                <a:gd name="connsiteY27" fmla="*/ 84397 h 123241"/>
                <a:gd name="connsiteX28" fmla="*/ 9846 w 133730"/>
                <a:gd name="connsiteY28" fmla="*/ 70682 h 123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3730" h="123241">
                  <a:moveTo>
                    <a:pt x="9846" y="70682"/>
                  </a:moveTo>
                  <a:lnTo>
                    <a:pt x="9846" y="54858"/>
                  </a:lnTo>
                  <a:lnTo>
                    <a:pt x="11605" y="50990"/>
                  </a:lnTo>
                  <a:lnTo>
                    <a:pt x="0" y="39385"/>
                  </a:lnTo>
                  <a:cubicBezTo>
                    <a:pt x="584" y="38330"/>
                    <a:pt x="1899" y="35376"/>
                    <a:pt x="2462" y="32000"/>
                  </a:cubicBezTo>
                  <a:cubicBezTo>
                    <a:pt x="3165" y="27781"/>
                    <a:pt x="6330" y="21451"/>
                    <a:pt x="9846" y="20044"/>
                  </a:cubicBezTo>
                  <a:cubicBezTo>
                    <a:pt x="13363" y="18638"/>
                    <a:pt x="15473" y="16176"/>
                    <a:pt x="20044" y="14066"/>
                  </a:cubicBezTo>
                  <a:cubicBezTo>
                    <a:pt x="24616" y="11956"/>
                    <a:pt x="35869" y="7033"/>
                    <a:pt x="39033" y="5275"/>
                  </a:cubicBezTo>
                  <a:cubicBezTo>
                    <a:pt x="41565" y="3868"/>
                    <a:pt x="44076" y="1174"/>
                    <a:pt x="45012" y="0"/>
                  </a:cubicBezTo>
                  <a:lnTo>
                    <a:pt x="50990" y="9143"/>
                  </a:lnTo>
                  <a:lnTo>
                    <a:pt x="56264" y="21451"/>
                  </a:lnTo>
                  <a:lnTo>
                    <a:pt x="60484" y="36220"/>
                  </a:lnTo>
                  <a:cubicBezTo>
                    <a:pt x="62362" y="37746"/>
                    <a:pt x="66884" y="41143"/>
                    <a:pt x="69979" y="42550"/>
                  </a:cubicBezTo>
                  <a:cubicBezTo>
                    <a:pt x="73073" y="43957"/>
                    <a:pt x="77131" y="41024"/>
                    <a:pt x="78770" y="39385"/>
                  </a:cubicBezTo>
                  <a:lnTo>
                    <a:pt x="90375" y="33407"/>
                  </a:lnTo>
                  <a:lnTo>
                    <a:pt x="99518" y="33407"/>
                  </a:lnTo>
                  <a:cubicBezTo>
                    <a:pt x="100805" y="33639"/>
                    <a:pt x="103386" y="34532"/>
                    <a:pt x="103386" y="36220"/>
                  </a:cubicBezTo>
                  <a:cubicBezTo>
                    <a:pt x="103386" y="38330"/>
                    <a:pt x="107254" y="50286"/>
                    <a:pt x="107957" y="54858"/>
                  </a:cubicBezTo>
                  <a:cubicBezTo>
                    <a:pt x="108661" y="59429"/>
                    <a:pt x="116397" y="70682"/>
                    <a:pt x="118507" y="72440"/>
                  </a:cubicBezTo>
                  <a:cubicBezTo>
                    <a:pt x="120617" y="74199"/>
                    <a:pt x="132573" y="86507"/>
                    <a:pt x="133628" y="91781"/>
                  </a:cubicBezTo>
                  <a:cubicBezTo>
                    <a:pt x="134683" y="97056"/>
                    <a:pt x="127298" y="99869"/>
                    <a:pt x="125188" y="99869"/>
                  </a:cubicBezTo>
                  <a:lnTo>
                    <a:pt x="103386" y="99869"/>
                  </a:lnTo>
                  <a:cubicBezTo>
                    <a:pt x="100221" y="99869"/>
                    <a:pt x="83693" y="104441"/>
                    <a:pt x="80880" y="105496"/>
                  </a:cubicBezTo>
                  <a:cubicBezTo>
                    <a:pt x="78067" y="106551"/>
                    <a:pt x="75957" y="119914"/>
                    <a:pt x="74902" y="122023"/>
                  </a:cubicBezTo>
                  <a:cubicBezTo>
                    <a:pt x="73847" y="124133"/>
                    <a:pt x="67166" y="123078"/>
                    <a:pt x="66111" y="122023"/>
                  </a:cubicBezTo>
                  <a:cubicBezTo>
                    <a:pt x="65056" y="120969"/>
                    <a:pt x="54155" y="114990"/>
                    <a:pt x="50990" y="113232"/>
                  </a:cubicBezTo>
                  <a:cubicBezTo>
                    <a:pt x="47825" y="111474"/>
                    <a:pt x="27781" y="101628"/>
                    <a:pt x="26374" y="99869"/>
                  </a:cubicBezTo>
                  <a:cubicBezTo>
                    <a:pt x="24967" y="98111"/>
                    <a:pt x="6330" y="86155"/>
                    <a:pt x="6330" y="84397"/>
                  </a:cubicBezTo>
                  <a:cubicBezTo>
                    <a:pt x="6330" y="82638"/>
                    <a:pt x="9846" y="73847"/>
                    <a:pt x="9846" y="70682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7" name="Freihandform: Form 322">
              <a:extLst>
                <a:ext uri="{FF2B5EF4-FFF2-40B4-BE49-F238E27FC236}">
                  <a16:creationId xmlns:a16="http://schemas.microsoft.com/office/drawing/2014/main" id="{07F0086A-1DF2-0645-9B31-04C934101133}"/>
                </a:ext>
              </a:extLst>
            </p:cNvPr>
            <p:cNvSpPr/>
            <p:nvPr/>
          </p:nvSpPr>
          <p:spPr>
            <a:xfrm>
              <a:off x="7761154" y="4216459"/>
              <a:ext cx="56607" cy="76660"/>
            </a:xfrm>
            <a:custGeom>
              <a:avLst/>
              <a:gdLst>
                <a:gd name="connsiteX0" fmla="*/ 53451 w 56607"/>
                <a:gd name="connsiteY0" fmla="*/ 48528 h 76660"/>
                <a:gd name="connsiteX1" fmla="*/ 56264 w 56607"/>
                <a:gd name="connsiteY1" fmla="*/ 72089 h 76660"/>
                <a:gd name="connsiteX2" fmla="*/ 47121 w 56607"/>
                <a:gd name="connsiteY2" fmla="*/ 76660 h 76660"/>
                <a:gd name="connsiteX3" fmla="*/ 31297 w 56607"/>
                <a:gd name="connsiteY3" fmla="*/ 74902 h 76660"/>
                <a:gd name="connsiteX4" fmla="*/ 29539 w 56607"/>
                <a:gd name="connsiteY4" fmla="*/ 64352 h 76660"/>
                <a:gd name="connsiteX5" fmla="*/ 11605 w 56607"/>
                <a:gd name="connsiteY5" fmla="*/ 48528 h 76660"/>
                <a:gd name="connsiteX6" fmla="*/ 2813 w 56607"/>
                <a:gd name="connsiteY6" fmla="*/ 21451 h 76660"/>
                <a:gd name="connsiteX7" fmla="*/ 0 w 56607"/>
                <a:gd name="connsiteY7" fmla="*/ 10550 h 76660"/>
                <a:gd name="connsiteX8" fmla="*/ 11605 w 56607"/>
                <a:gd name="connsiteY8" fmla="*/ 0 h 76660"/>
                <a:gd name="connsiteX9" fmla="*/ 21099 w 56607"/>
                <a:gd name="connsiteY9" fmla="*/ 2110 h 76660"/>
                <a:gd name="connsiteX10" fmla="*/ 29539 w 56607"/>
                <a:gd name="connsiteY10" fmla="*/ 21451 h 76660"/>
                <a:gd name="connsiteX11" fmla="*/ 53451 w 56607"/>
                <a:gd name="connsiteY11" fmla="*/ 48528 h 76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607" h="76660">
                  <a:moveTo>
                    <a:pt x="53451" y="48528"/>
                  </a:moveTo>
                  <a:cubicBezTo>
                    <a:pt x="57109" y="53029"/>
                    <a:pt x="56848" y="66111"/>
                    <a:pt x="56264" y="72089"/>
                  </a:cubicBezTo>
                  <a:lnTo>
                    <a:pt x="47121" y="76660"/>
                  </a:lnTo>
                  <a:cubicBezTo>
                    <a:pt x="42318" y="76428"/>
                    <a:pt x="32422" y="75746"/>
                    <a:pt x="31297" y="74902"/>
                  </a:cubicBezTo>
                  <a:cubicBezTo>
                    <a:pt x="30172" y="74058"/>
                    <a:pt x="29658" y="67517"/>
                    <a:pt x="29539" y="64352"/>
                  </a:cubicBezTo>
                  <a:cubicBezTo>
                    <a:pt x="24384" y="59078"/>
                    <a:pt x="13574" y="48528"/>
                    <a:pt x="11605" y="48528"/>
                  </a:cubicBezTo>
                  <a:cubicBezTo>
                    <a:pt x="9635" y="48528"/>
                    <a:pt x="4923" y="30474"/>
                    <a:pt x="2813" y="21451"/>
                  </a:cubicBezTo>
                  <a:lnTo>
                    <a:pt x="0" y="10550"/>
                  </a:lnTo>
                  <a:lnTo>
                    <a:pt x="11605" y="0"/>
                  </a:lnTo>
                  <a:lnTo>
                    <a:pt x="21099" y="2110"/>
                  </a:lnTo>
                  <a:cubicBezTo>
                    <a:pt x="22977" y="7033"/>
                    <a:pt x="27288" y="17794"/>
                    <a:pt x="29539" y="21451"/>
                  </a:cubicBezTo>
                  <a:cubicBezTo>
                    <a:pt x="32352" y="26022"/>
                    <a:pt x="48880" y="42902"/>
                    <a:pt x="53451" y="4852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8" name="Freihandform: Form 323">
              <a:extLst>
                <a:ext uri="{FF2B5EF4-FFF2-40B4-BE49-F238E27FC236}">
                  <a16:creationId xmlns:a16="http://schemas.microsoft.com/office/drawing/2014/main" id="{B5C6CA3C-3E13-C54A-A7A6-43E75CF5D613}"/>
                </a:ext>
              </a:extLst>
            </p:cNvPr>
            <p:cNvSpPr/>
            <p:nvPr/>
          </p:nvSpPr>
          <p:spPr>
            <a:xfrm>
              <a:off x="7731615" y="4290306"/>
              <a:ext cx="90040" cy="62252"/>
            </a:xfrm>
            <a:custGeom>
              <a:avLst/>
              <a:gdLst>
                <a:gd name="connsiteX0" fmla="*/ 90023 w 90040"/>
                <a:gd name="connsiteY0" fmla="*/ 13714 h 62252"/>
                <a:gd name="connsiteX1" fmla="*/ 85452 w 90040"/>
                <a:gd name="connsiteY1" fmla="*/ 0 h 62252"/>
                <a:gd name="connsiteX2" fmla="*/ 76660 w 90040"/>
                <a:gd name="connsiteY2" fmla="*/ 2813 h 62252"/>
                <a:gd name="connsiteX3" fmla="*/ 58726 w 90040"/>
                <a:gd name="connsiteY3" fmla="*/ 1055 h 62252"/>
                <a:gd name="connsiteX4" fmla="*/ 46770 w 90040"/>
                <a:gd name="connsiteY4" fmla="*/ 2813 h 62252"/>
                <a:gd name="connsiteX5" fmla="*/ 29539 w 90040"/>
                <a:gd name="connsiteY5" fmla="*/ 4220 h 62252"/>
                <a:gd name="connsiteX6" fmla="*/ 7033 w 90040"/>
                <a:gd name="connsiteY6" fmla="*/ 10550 h 62252"/>
                <a:gd name="connsiteX7" fmla="*/ 0 w 90040"/>
                <a:gd name="connsiteY7" fmla="*/ 28132 h 62252"/>
                <a:gd name="connsiteX8" fmla="*/ 3165 w 90040"/>
                <a:gd name="connsiteY8" fmla="*/ 34110 h 62252"/>
                <a:gd name="connsiteX9" fmla="*/ 14066 w 90040"/>
                <a:gd name="connsiteY9" fmla="*/ 42550 h 62252"/>
                <a:gd name="connsiteX10" fmla="*/ 22857 w 90040"/>
                <a:gd name="connsiteY10" fmla="*/ 51693 h 62252"/>
                <a:gd name="connsiteX11" fmla="*/ 43253 w 90040"/>
                <a:gd name="connsiteY11" fmla="*/ 62243 h 62252"/>
                <a:gd name="connsiteX12" fmla="*/ 54155 w 90040"/>
                <a:gd name="connsiteY12" fmla="*/ 54155 h 62252"/>
                <a:gd name="connsiteX13" fmla="*/ 65759 w 90040"/>
                <a:gd name="connsiteY13" fmla="*/ 42550 h 62252"/>
                <a:gd name="connsiteX14" fmla="*/ 81935 w 90040"/>
                <a:gd name="connsiteY14" fmla="*/ 29187 h 62252"/>
                <a:gd name="connsiteX15" fmla="*/ 90023 w 90040"/>
                <a:gd name="connsiteY15" fmla="*/ 13714 h 62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0040" h="62252">
                  <a:moveTo>
                    <a:pt x="90023" y="13714"/>
                  </a:moveTo>
                  <a:cubicBezTo>
                    <a:pt x="90304" y="12871"/>
                    <a:pt x="87090" y="4220"/>
                    <a:pt x="85452" y="0"/>
                  </a:cubicBezTo>
                  <a:cubicBezTo>
                    <a:pt x="83342" y="935"/>
                    <a:pt x="78629" y="2813"/>
                    <a:pt x="76660" y="2813"/>
                  </a:cubicBezTo>
                  <a:cubicBezTo>
                    <a:pt x="74199" y="2813"/>
                    <a:pt x="60836" y="0"/>
                    <a:pt x="58726" y="1055"/>
                  </a:cubicBezTo>
                  <a:cubicBezTo>
                    <a:pt x="56616" y="2110"/>
                    <a:pt x="48176" y="2462"/>
                    <a:pt x="46770" y="2813"/>
                  </a:cubicBezTo>
                  <a:cubicBezTo>
                    <a:pt x="45363" y="3165"/>
                    <a:pt x="32704" y="4220"/>
                    <a:pt x="29539" y="4220"/>
                  </a:cubicBezTo>
                  <a:cubicBezTo>
                    <a:pt x="26374" y="4220"/>
                    <a:pt x="9495" y="9143"/>
                    <a:pt x="7033" y="10550"/>
                  </a:cubicBezTo>
                  <a:cubicBezTo>
                    <a:pt x="5064" y="11675"/>
                    <a:pt x="1526" y="22738"/>
                    <a:pt x="0" y="28132"/>
                  </a:cubicBezTo>
                  <a:cubicBezTo>
                    <a:pt x="823" y="29890"/>
                    <a:pt x="2602" y="33548"/>
                    <a:pt x="3165" y="34110"/>
                  </a:cubicBezTo>
                  <a:cubicBezTo>
                    <a:pt x="3868" y="34814"/>
                    <a:pt x="13011" y="41143"/>
                    <a:pt x="14066" y="42550"/>
                  </a:cubicBezTo>
                  <a:cubicBezTo>
                    <a:pt x="15121" y="43957"/>
                    <a:pt x="22506" y="50990"/>
                    <a:pt x="22857" y="51693"/>
                  </a:cubicBezTo>
                  <a:cubicBezTo>
                    <a:pt x="23209" y="52396"/>
                    <a:pt x="41495" y="61891"/>
                    <a:pt x="43253" y="62243"/>
                  </a:cubicBezTo>
                  <a:cubicBezTo>
                    <a:pt x="44660" y="62524"/>
                    <a:pt x="51109" y="56968"/>
                    <a:pt x="54155" y="54155"/>
                  </a:cubicBezTo>
                  <a:cubicBezTo>
                    <a:pt x="57671" y="50757"/>
                    <a:pt x="64915" y="43675"/>
                    <a:pt x="65759" y="42550"/>
                  </a:cubicBezTo>
                  <a:cubicBezTo>
                    <a:pt x="66814" y="41143"/>
                    <a:pt x="80880" y="30945"/>
                    <a:pt x="81935" y="29187"/>
                  </a:cubicBezTo>
                  <a:cubicBezTo>
                    <a:pt x="82990" y="27429"/>
                    <a:pt x="89671" y="14769"/>
                    <a:pt x="90023" y="1371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9" name="Freihandform: Form 324">
              <a:extLst>
                <a:ext uri="{FF2B5EF4-FFF2-40B4-BE49-F238E27FC236}">
                  <a16:creationId xmlns:a16="http://schemas.microsoft.com/office/drawing/2014/main" id="{518393F2-B209-DA40-9913-507D045DEC16}"/>
                </a:ext>
              </a:extLst>
            </p:cNvPr>
            <p:cNvSpPr/>
            <p:nvPr/>
          </p:nvSpPr>
          <p:spPr>
            <a:xfrm>
              <a:off x="7775161" y="4267991"/>
              <a:ext cx="63263" cy="116343"/>
            </a:xfrm>
            <a:custGeom>
              <a:avLst/>
              <a:gdLst>
                <a:gd name="connsiteX0" fmla="*/ 54565 w 63263"/>
                <a:gd name="connsiteY0" fmla="*/ 5788 h 116343"/>
                <a:gd name="connsiteX1" fmla="*/ 43664 w 63263"/>
                <a:gd name="connsiteY1" fmla="*/ 865 h 116343"/>
                <a:gd name="connsiteX2" fmla="*/ 41202 w 63263"/>
                <a:gd name="connsiteY2" fmla="*/ 21612 h 116343"/>
                <a:gd name="connsiteX3" fmla="*/ 43664 w 63263"/>
                <a:gd name="connsiteY3" fmla="*/ 26887 h 116343"/>
                <a:gd name="connsiteX4" fmla="*/ 47181 w 63263"/>
                <a:gd name="connsiteY4" fmla="*/ 36382 h 116343"/>
                <a:gd name="connsiteX5" fmla="*/ 37686 w 63263"/>
                <a:gd name="connsiteY5" fmla="*/ 52206 h 116343"/>
                <a:gd name="connsiteX6" fmla="*/ 23972 w 63263"/>
                <a:gd name="connsiteY6" fmla="*/ 63107 h 116343"/>
                <a:gd name="connsiteX7" fmla="*/ 2872 w 63263"/>
                <a:gd name="connsiteY7" fmla="*/ 83151 h 116343"/>
                <a:gd name="connsiteX8" fmla="*/ 411 w 63263"/>
                <a:gd name="connsiteY8" fmla="*/ 99327 h 116343"/>
                <a:gd name="connsiteX9" fmla="*/ 3927 w 63263"/>
                <a:gd name="connsiteY9" fmla="*/ 116207 h 116343"/>
                <a:gd name="connsiteX10" fmla="*/ 19048 w 63263"/>
                <a:gd name="connsiteY10" fmla="*/ 103547 h 116343"/>
                <a:gd name="connsiteX11" fmla="*/ 37686 w 63263"/>
                <a:gd name="connsiteY11" fmla="*/ 88075 h 116343"/>
                <a:gd name="connsiteX12" fmla="*/ 52455 w 63263"/>
                <a:gd name="connsiteY12" fmla="*/ 76470 h 116343"/>
                <a:gd name="connsiteX13" fmla="*/ 62302 w 63263"/>
                <a:gd name="connsiteY13" fmla="*/ 59942 h 116343"/>
                <a:gd name="connsiteX14" fmla="*/ 62302 w 63263"/>
                <a:gd name="connsiteY14" fmla="*/ 21612 h 116343"/>
                <a:gd name="connsiteX15" fmla="*/ 54565 w 63263"/>
                <a:gd name="connsiteY15" fmla="*/ 5788 h 116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263" h="116343">
                  <a:moveTo>
                    <a:pt x="54565" y="5788"/>
                  </a:moveTo>
                  <a:cubicBezTo>
                    <a:pt x="52033" y="-1245"/>
                    <a:pt x="46245" y="-422"/>
                    <a:pt x="43664" y="865"/>
                  </a:cubicBezTo>
                  <a:lnTo>
                    <a:pt x="41202" y="21612"/>
                  </a:lnTo>
                  <a:lnTo>
                    <a:pt x="43664" y="26887"/>
                  </a:lnTo>
                  <a:lnTo>
                    <a:pt x="47181" y="36382"/>
                  </a:lnTo>
                  <a:lnTo>
                    <a:pt x="37686" y="52206"/>
                  </a:lnTo>
                  <a:lnTo>
                    <a:pt x="23972" y="63107"/>
                  </a:lnTo>
                  <a:cubicBezTo>
                    <a:pt x="17761" y="69317"/>
                    <a:pt x="4841" y="82026"/>
                    <a:pt x="2872" y="83151"/>
                  </a:cubicBezTo>
                  <a:cubicBezTo>
                    <a:pt x="411" y="84558"/>
                    <a:pt x="1817" y="95108"/>
                    <a:pt x="411" y="99327"/>
                  </a:cubicBezTo>
                  <a:cubicBezTo>
                    <a:pt x="-996" y="103547"/>
                    <a:pt x="1466" y="114800"/>
                    <a:pt x="3927" y="116207"/>
                  </a:cubicBezTo>
                  <a:cubicBezTo>
                    <a:pt x="6389" y="117613"/>
                    <a:pt x="16235" y="107767"/>
                    <a:pt x="19048" y="103547"/>
                  </a:cubicBezTo>
                  <a:cubicBezTo>
                    <a:pt x="21862" y="99327"/>
                    <a:pt x="33466" y="90536"/>
                    <a:pt x="37686" y="88075"/>
                  </a:cubicBezTo>
                  <a:cubicBezTo>
                    <a:pt x="41906" y="85613"/>
                    <a:pt x="49994" y="79987"/>
                    <a:pt x="52455" y="76470"/>
                  </a:cubicBezTo>
                  <a:cubicBezTo>
                    <a:pt x="54917" y="72954"/>
                    <a:pt x="60543" y="65569"/>
                    <a:pt x="62302" y="59942"/>
                  </a:cubicBezTo>
                  <a:cubicBezTo>
                    <a:pt x="64060" y="54316"/>
                    <a:pt x="63005" y="26887"/>
                    <a:pt x="62302" y="21612"/>
                  </a:cubicBezTo>
                  <a:cubicBezTo>
                    <a:pt x="61598" y="16337"/>
                    <a:pt x="57730" y="14579"/>
                    <a:pt x="54565" y="578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0" name="Freihandform: Form 325">
              <a:extLst>
                <a:ext uri="{FF2B5EF4-FFF2-40B4-BE49-F238E27FC236}">
                  <a16:creationId xmlns:a16="http://schemas.microsoft.com/office/drawing/2014/main" id="{FE2CAE97-43F2-8248-9FA5-5C5C53695AB0}"/>
                </a:ext>
              </a:extLst>
            </p:cNvPr>
            <p:cNvSpPr/>
            <p:nvPr/>
          </p:nvSpPr>
          <p:spPr>
            <a:xfrm>
              <a:off x="7673435" y="4289039"/>
              <a:ext cx="20709" cy="68828"/>
            </a:xfrm>
            <a:custGeom>
              <a:avLst/>
              <a:gdLst>
                <a:gd name="connsiteX0" fmla="*/ 20553 w 20709"/>
                <a:gd name="connsiteY0" fmla="*/ 18850 h 68828"/>
                <a:gd name="connsiteX1" fmla="*/ 6135 w 20709"/>
                <a:gd name="connsiteY1" fmla="*/ 564 h 68828"/>
                <a:gd name="connsiteX2" fmla="*/ 157 w 20709"/>
                <a:gd name="connsiteY2" fmla="*/ 15334 h 68828"/>
                <a:gd name="connsiteX3" fmla="*/ 4729 w 20709"/>
                <a:gd name="connsiteY3" fmla="*/ 46631 h 68828"/>
                <a:gd name="connsiteX4" fmla="*/ 6135 w 20709"/>
                <a:gd name="connsiteY4" fmla="*/ 68785 h 68828"/>
                <a:gd name="connsiteX5" fmla="*/ 16333 w 20709"/>
                <a:gd name="connsiteY5" fmla="*/ 58587 h 68828"/>
                <a:gd name="connsiteX6" fmla="*/ 20553 w 20709"/>
                <a:gd name="connsiteY6" fmla="*/ 39950 h 68828"/>
                <a:gd name="connsiteX7" fmla="*/ 20553 w 20709"/>
                <a:gd name="connsiteY7" fmla="*/ 18850 h 68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09" h="68828">
                  <a:moveTo>
                    <a:pt x="20553" y="18850"/>
                  </a:moveTo>
                  <a:cubicBezTo>
                    <a:pt x="20272" y="16037"/>
                    <a:pt x="10826" y="5488"/>
                    <a:pt x="6135" y="564"/>
                  </a:cubicBezTo>
                  <a:cubicBezTo>
                    <a:pt x="-546" y="-3304"/>
                    <a:pt x="-194" y="13927"/>
                    <a:pt x="157" y="15334"/>
                  </a:cubicBezTo>
                  <a:cubicBezTo>
                    <a:pt x="509" y="16740"/>
                    <a:pt x="4729" y="42059"/>
                    <a:pt x="4729" y="46631"/>
                  </a:cubicBezTo>
                  <a:cubicBezTo>
                    <a:pt x="4729" y="51202"/>
                    <a:pt x="6135" y="69840"/>
                    <a:pt x="6135" y="68785"/>
                  </a:cubicBezTo>
                  <a:cubicBezTo>
                    <a:pt x="6135" y="67730"/>
                    <a:pt x="15278" y="59994"/>
                    <a:pt x="16333" y="58587"/>
                  </a:cubicBezTo>
                  <a:cubicBezTo>
                    <a:pt x="17388" y="57180"/>
                    <a:pt x="20553" y="42059"/>
                    <a:pt x="20553" y="39950"/>
                  </a:cubicBezTo>
                  <a:cubicBezTo>
                    <a:pt x="20553" y="37840"/>
                    <a:pt x="20905" y="22367"/>
                    <a:pt x="20553" y="1885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1" name="Freihandform: Form 326">
              <a:extLst>
                <a:ext uri="{FF2B5EF4-FFF2-40B4-BE49-F238E27FC236}">
                  <a16:creationId xmlns:a16="http://schemas.microsoft.com/office/drawing/2014/main" id="{A0685348-B36D-B14B-932C-20B287004E7C}"/>
                </a:ext>
              </a:extLst>
            </p:cNvPr>
            <p:cNvSpPr/>
            <p:nvPr/>
          </p:nvSpPr>
          <p:spPr>
            <a:xfrm>
              <a:off x="7775161" y="4267991"/>
              <a:ext cx="63263" cy="116343"/>
            </a:xfrm>
            <a:custGeom>
              <a:avLst/>
              <a:gdLst>
                <a:gd name="connsiteX0" fmla="*/ 54565 w 63263"/>
                <a:gd name="connsiteY0" fmla="*/ 5788 h 116343"/>
                <a:gd name="connsiteX1" fmla="*/ 43664 w 63263"/>
                <a:gd name="connsiteY1" fmla="*/ 865 h 116343"/>
                <a:gd name="connsiteX2" fmla="*/ 41202 w 63263"/>
                <a:gd name="connsiteY2" fmla="*/ 21612 h 116343"/>
                <a:gd name="connsiteX3" fmla="*/ 43664 w 63263"/>
                <a:gd name="connsiteY3" fmla="*/ 26887 h 116343"/>
                <a:gd name="connsiteX4" fmla="*/ 47181 w 63263"/>
                <a:gd name="connsiteY4" fmla="*/ 36382 h 116343"/>
                <a:gd name="connsiteX5" fmla="*/ 37686 w 63263"/>
                <a:gd name="connsiteY5" fmla="*/ 52206 h 116343"/>
                <a:gd name="connsiteX6" fmla="*/ 23972 w 63263"/>
                <a:gd name="connsiteY6" fmla="*/ 63107 h 116343"/>
                <a:gd name="connsiteX7" fmla="*/ 2872 w 63263"/>
                <a:gd name="connsiteY7" fmla="*/ 83151 h 116343"/>
                <a:gd name="connsiteX8" fmla="*/ 411 w 63263"/>
                <a:gd name="connsiteY8" fmla="*/ 99327 h 116343"/>
                <a:gd name="connsiteX9" fmla="*/ 3927 w 63263"/>
                <a:gd name="connsiteY9" fmla="*/ 116207 h 116343"/>
                <a:gd name="connsiteX10" fmla="*/ 19048 w 63263"/>
                <a:gd name="connsiteY10" fmla="*/ 103547 h 116343"/>
                <a:gd name="connsiteX11" fmla="*/ 37686 w 63263"/>
                <a:gd name="connsiteY11" fmla="*/ 88075 h 116343"/>
                <a:gd name="connsiteX12" fmla="*/ 52455 w 63263"/>
                <a:gd name="connsiteY12" fmla="*/ 76470 h 116343"/>
                <a:gd name="connsiteX13" fmla="*/ 62302 w 63263"/>
                <a:gd name="connsiteY13" fmla="*/ 59942 h 116343"/>
                <a:gd name="connsiteX14" fmla="*/ 62302 w 63263"/>
                <a:gd name="connsiteY14" fmla="*/ 21612 h 116343"/>
                <a:gd name="connsiteX15" fmla="*/ 54565 w 63263"/>
                <a:gd name="connsiteY15" fmla="*/ 5788 h 116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263" h="116343">
                  <a:moveTo>
                    <a:pt x="54565" y="5788"/>
                  </a:moveTo>
                  <a:cubicBezTo>
                    <a:pt x="52033" y="-1245"/>
                    <a:pt x="46245" y="-422"/>
                    <a:pt x="43664" y="865"/>
                  </a:cubicBezTo>
                  <a:lnTo>
                    <a:pt x="41202" y="21612"/>
                  </a:lnTo>
                  <a:lnTo>
                    <a:pt x="43664" y="26887"/>
                  </a:lnTo>
                  <a:lnTo>
                    <a:pt x="47181" y="36382"/>
                  </a:lnTo>
                  <a:lnTo>
                    <a:pt x="37686" y="52206"/>
                  </a:lnTo>
                  <a:lnTo>
                    <a:pt x="23972" y="63107"/>
                  </a:lnTo>
                  <a:cubicBezTo>
                    <a:pt x="17761" y="69317"/>
                    <a:pt x="4841" y="82026"/>
                    <a:pt x="2872" y="83151"/>
                  </a:cubicBezTo>
                  <a:cubicBezTo>
                    <a:pt x="411" y="84558"/>
                    <a:pt x="1817" y="95108"/>
                    <a:pt x="411" y="99327"/>
                  </a:cubicBezTo>
                  <a:cubicBezTo>
                    <a:pt x="-996" y="103547"/>
                    <a:pt x="1466" y="114800"/>
                    <a:pt x="3927" y="116207"/>
                  </a:cubicBezTo>
                  <a:cubicBezTo>
                    <a:pt x="6389" y="117613"/>
                    <a:pt x="16235" y="107767"/>
                    <a:pt x="19048" y="103547"/>
                  </a:cubicBezTo>
                  <a:cubicBezTo>
                    <a:pt x="21862" y="99327"/>
                    <a:pt x="33466" y="90536"/>
                    <a:pt x="37686" y="88075"/>
                  </a:cubicBezTo>
                  <a:cubicBezTo>
                    <a:pt x="41906" y="85613"/>
                    <a:pt x="49994" y="79987"/>
                    <a:pt x="52455" y="76470"/>
                  </a:cubicBezTo>
                  <a:cubicBezTo>
                    <a:pt x="54917" y="72954"/>
                    <a:pt x="60543" y="65569"/>
                    <a:pt x="62302" y="59942"/>
                  </a:cubicBezTo>
                  <a:cubicBezTo>
                    <a:pt x="64060" y="54316"/>
                    <a:pt x="63005" y="26887"/>
                    <a:pt x="62302" y="21612"/>
                  </a:cubicBezTo>
                  <a:cubicBezTo>
                    <a:pt x="61598" y="16337"/>
                    <a:pt x="57730" y="14579"/>
                    <a:pt x="54565" y="578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2" name="Freihandform: Form 327">
              <a:extLst>
                <a:ext uri="{FF2B5EF4-FFF2-40B4-BE49-F238E27FC236}">
                  <a16:creationId xmlns:a16="http://schemas.microsoft.com/office/drawing/2014/main" id="{66B82D1E-B017-8140-8120-B693A277D71D}"/>
                </a:ext>
              </a:extLst>
            </p:cNvPr>
            <p:cNvSpPr/>
            <p:nvPr/>
          </p:nvSpPr>
          <p:spPr>
            <a:xfrm>
              <a:off x="7673435" y="4289039"/>
              <a:ext cx="20709" cy="68828"/>
            </a:xfrm>
            <a:custGeom>
              <a:avLst/>
              <a:gdLst>
                <a:gd name="connsiteX0" fmla="*/ 20553 w 20709"/>
                <a:gd name="connsiteY0" fmla="*/ 18850 h 68828"/>
                <a:gd name="connsiteX1" fmla="*/ 6135 w 20709"/>
                <a:gd name="connsiteY1" fmla="*/ 564 h 68828"/>
                <a:gd name="connsiteX2" fmla="*/ 157 w 20709"/>
                <a:gd name="connsiteY2" fmla="*/ 15334 h 68828"/>
                <a:gd name="connsiteX3" fmla="*/ 4729 w 20709"/>
                <a:gd name="connsiteY3" fmla="*/ 46631 h 68828"/>
                <a:gd name="connsiteX4" fmla="*/ 6135 w 20709"/>
                <a:gd name="connsiteY4" fmla="*/ 68785 h 68828"/>
                <a:gd name="connsiteX5" fmla="*/ 16333 w 20709"/>
                <a:gd name="connsiteY5" fmla="*/ 58587 h 68828"/>
                <a:gd name="connsiteX6" fmla="*/ 20553 w 20709"/>
                <a:gd name="connsiteY6" fmla="*/ 39950 h 68828"/>
                <a:gd name="connsiteX7" fmla="*/ 20553 w 20709"/>
                <a:gd name="connsiteY7" fmla="*/ 18850 h 68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09" h="68828">
                  <a:moveTo>
                    <a:pt x="20553" y="18850"/>
                  </a:moveTo>
                  <a:cubicBezTo>
                    <a:pt x="20272" y="16037"/>
                    <a:pt x="10826" y="5488"/>
                    <a:pt x="6135" y="564"/>
                  </a:cubicBezTo>
                  <a:cubicBezTo>
                    <a:pt x="-546" y="-3304"/>
                    <a:pt x="-194" y="13927"/>
                    <a:pt x="157" y="15334"/>
                  </a:cubicBezTo>
                  <a:cubicBezTo>
                    <a:pt x="509" y="16740"/>
                    <a:pt x="4729" y="42059"/>
                    <a:pt x="4729" y="46631"/>
                  </a:cubicBezTo>
                  <a:cubicBezTo>
                    <a:pt x="4729" y="51202"/>
                    <a:pt x="6135" y="69840"/>
                    <a:pt x="6135" y="68785"/>
                  </a:cubicBezTo>
                  <a:cubicBezTo>
                    <a:pt x="6135" y="67730"/>
                    <a:pt x="15278" y="59994"/>
                    <a:pt x="16333" y="58587"/>
                  </a:cubicBezTo>
                  <a:cubicBezTo>
                    <a:pt x="17388" y="57180"/>
                    <a:pt x="20553" y="42059"/>
                    <a:pt x="20553" y="39950"/>
                  </a:cubicBezTo>
                  <a:cubicBezTo>
                    <a:pt x="20553" y="37840"/>
                    <a:pt x="20905" y="22367"/>
                    <a:pt x="20553" y="1885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3" name="Freihandform: Form 328">
              <a:extLst>
                <a:ext uri="{FF2B5EF4-FFF2-40B4-BE49-F238E27FC236}">
                  <a16:creationId xmlns:a16="http://schemas.microsoft.com/office/drawing/2014/main" id="{131305D6-4C02-8C42-83A2-8D4EC1BAB280}"/>
                </a:ext>
              </a:extLst>
            </p:cNvPr>
            <p:cNvSpPr/>
            <p:nvPr/>
          </p:nvSpPr>
          <p:spPr>
            <a:xfrm>
              <a:off x="7676758" y="4347626"/>
              <a:ext cx="57319" cy="79121"/>
            </a:xfrm>
            <a:custGeom>
              <a:avLst/>
              <a:gdLst>
                <a:gd name="connsiteX0" fmla="*/ 57319 w 57319"/>
                <a:gd name="connsiteY0" fmla="*/ 79122 h 79121"/>
                <a:gd name="connsiteX1" fmla="*/ 34462 w 57319"/>
                <a:gd name="connsiteY1" fmla="*/ 78067 h 79121"/>
                <a:gd name="connsiteX2" fmla="*/ 23209 w 57319"/>
                <a:gd name="connsiteY2" fmla="*/ 64001 h 79121"/>
                <a:gd name="connsiteX3" fmla="*/ 8088 w 57319"/>
                <a:gd name="connsiteY3" fmla="*/ 45012 h 79121"/>
                <a:gd name="connsiteX4" fmla="*/ 0 w 57319"/>
                <a:gd name="connsiteY4" fmla="*/ 26374 h 79121"/>
                <a:gd name="connsiteX5" fmla="*/ 2462 w 57319"/>
                <a:gd name="connsiteY5" fmla="*/ 9143 h 79121"/>
                <a:gd name="connsiteX6" fmla="*/ 12659 w 57319"/>
                <a:gd name="connsiteY6" fmla="*/ 0 h 79121"/>
                <a:gd name="connsiteX7" fmla="*/ 16176 w 57319"/>
                <a:gd name="connsiteY7" fmla="*/ 24967 h 79121"/>
                <a:gd name="connsiteX8" fmla="*/ 24616 w 57319"/>
                <a:gd name="connsiteY8" fmla="*/ 45012 h 79121"/>
                <a:gd name="connsiteX9" fmla="*/ 42198 w 57319"/>
                <a:gd name="connsiteY9" fmla="*/ 64001 h 79121"/>
                <a:gd name="connsiteX10" fmla="*/ 57319 w 57319"/>
                <a:gd name="connsiteY10" fmla="*/ 79122 h 7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319" h="79121">
                  <a:moveTo>
                    <a:pt x="57319" y="79122"/>
                  </a:moveTo>
                  <a:lnTo>
                    <a:pt x="34462" y="78067"/>
                  </a:lnTo>
                  <a:lnTo>
                    <a:pt x="23209" y="64001"/>
                  </a:lnTo>
                  <a:cubicBezTo>
                    <a:pt x="21802" y="62243"/>
                    <a:pt x="10901" y="49935"/>
                    <a:pt x="8088" y="45012"/>
                  </a:cubicBezTo>
                  <a:cubicBezTo>
                    <a:pt x="5837" y="41073"/>
                    <a:pt x="1758" y="30945"/>
                    <a:pt x="0" y="26374"/>
                  </a:cubicBezTo>
                  <a:lnTo>
                    <a:pt x="2462" y="9143"/>
                  </a:lnTo>
                  <a:lnTo>
                    <a:pt x="12659" y="0"/>
                  </a:lnTo>
                  <a:cubicBezTo>
                    <a:pt x="13595" y="7153"/>
                    <a:pt x="15614" y="22154"/>
                    <a:pt x="16176" y="24967"/>
                  </a:cubicBezTo>
                  <a:cubicBezTo>
                    <a:pt x="16879" y="28484"/>
                    <a:pt x="23209" y="42550"/>
                    <a:pt x="24616" y="45012"/>
                  </a:cubicBezTo>
                  <a:cubicBezTo>
                    <a:pt x="26022" y="47473"/>
                    <a:pt x="40440" y="62243"/>
                    <a:pt x="42198" y="64001"/>
                  </a:cubicBezTo>
                  <a:lnTo>
                    <a:pt x="57319" y="7912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4" name="Freihandform: Form 329">
              <a:extLst>
                <a:ext uri="{FF2B5EF4-FFF2-40B4-BE49-F238E27FC236}">
                  <a16:creationId xmlns:a16="http://schemas.microsoft.com/office/drawing/2014/main" id="{B6258FE3-7C11-1F48-9FF6-D196614D3DC4}"/>
                </a:ext>
              </a:extLst>
            </p:cNvPr>
            <p:cNvSpPr/>
            <p:nvPr/>
          </p:nvSpPr>
          <p:spPr>
            <a:xfrm>
              <a:off x="7711219" y="4425693"/>
              <a:ext cx="51692" cy="65759"/>
            </a:xfrm>
            <a:custGeom>
              <a:avLst/>
              <a:gdLst>
                <a:gd name="connsiteX0" fmla="*/ 4220 w 51692"/>
                <a:gd name="connsiteY0" fmla="*/ 20044 h 65759"/>
                <a:gd name="connsiteX1" fmla="*/ 0 w 51692"/>
                <a:gd name="connsiteY1" fmla="*/ 1758 h 65759"/>
                <a:gd name="connsiteX2" fmla="*/ 21099 w 51692"/>
                <a:gd name="connsiteY2" fmla="*/ 0 h 65759"/>
                <a:gd name="connsiteX3" fmla="*/ 30242 w 51692"/>
                <a:gd name="connsiteY3" fmla="*/ 10550 h 65759"/>
                <a:gd name="connsiteX4" fmla="*/ 38330 w 51692"/>
                <a:gd name="connsiteY4" fmla="*/ 40088 h 65759"/>
                <a:gd name="connsiteX5" fmla="*/ 51693 w 51692"/>
                <a:gd name="connsiteY5" fmla="*/ 65759 h 65759"/>
                <a:gd name="connsiteX6" fmla="*/ 41143 w 51692"/>
                <a:gd name="connsiteY6" fmla="*/ 61539 h 65759"/>
                <a:gd name="connsiteX7" fmla="*/ 18286 w 51692"/>
                <a:gd name="connsiteY7" fmla="*/ 41143 h 65759"/>
                <a:gd name="connsiteX8" fmla="*/ 4220 w 51692"/>
                <a:gd name="connsiteY8" fmla="*/ 20044 h 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692" h="65759">
                  <a:moveTo>
                    <a:pt x="4220" y="20044"/>
                  </a:moveTo>
                  <a:lnTo>
                    <a:pt x="0" y="1758"/>
                  </a:lnTo>
                  <a:lnTo>
                    <a:pt x="21099" y="0"/>
                  </a:lnTo>
                  <a:cubicBezTo>
                    <a:pt x="24032" y="3165"/>
                    <a:pt x="29961" y="9706"/>
                    <a:pt x="30242" y="10550"/>
                  </a:cubicBezTo>
                  <a:cubicBezTo>
                    <a:pt x="30594" y="11605"/>
                    <a:pt x="37978" y="37627"/>
                    <a:pt x="38330" y="40088"/>
                  </a:cubicBezTo>
                  <a:cubicBezTo>
                    <a:pt x="38611" y="42058"/>
                    <a:pt x="47354" y="58023"/>
                    <a:pt x="51693" y="65759"/>
                  </a:cubicBezTo>
                  <a:cubicBezTo>
                    <a:pt x="48528" y="64585"/>
                    <a:pt x="41987" y="62102"/>
                    <a:pt x="41143" y="61539"/>
                  </a:cubicBezTo>
                  <a:cubicBezTo>
                    <a:pt x="40088" y="60836"/>
                    <a:pt x="18989" y="42550"/>
                    <a:pt x="18286" y="41143"/>
                  </a:cubicBezTo>
                  <a:cubicBezTo>
                    <a:pt x="17723" y="40018"/>
                    <a:pt x="8672" y="26606"/>
                    <a:pt x="4220" y="2004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5" name="Freihandform: Form 330">
              <a:extLst>
                <a:ext uri="{FF2B5EF4-FFF2-40B4-BE49-F238E27FC236}">
                  <a16:creationId xmlns:a16="http://schemas.microsoft.com/office/drawing/2014/main" id="{821E806F-FAB7-A446-B04F-05CF3D9A57EE}"/>
                </a:ext>
              </a:extLst>
            </p:cNvPr>
            <p:cNvSpPr/>
            <p:nvPr/>
          </p:nvSpPr>
          <p:spPr>
            <a:xfrm>
              <a:off x="4857287" y="4148236"/>
              <a:ext cx="149371" cy="53102"/>
            </a:xfrm>
            <a:custGeom>
              <a:avLst/>
              <a:gdLst>
                <a:gd name="connsiteX0" fmla="*/ 41414 w 149371"/>
                <a:gd name="connsiteY0" fmla="*/ 354 h 53102"/>
                <a:gd name="connsiteX1" fmla="*/ 271 w 149371"/>
                <a:gd name="connsiteY1" fmla="*/ 15124 h 53102"/>
                <a:gd name="connsiteX2" fmla="*/ 8711 w 149371"/>
                <a:gd name="connsiteY2" fmla="*/ 21805 h 53102"/>
                <a:gd name="connsiteX3" fmla="*/ 24535 w 149371"/>
                <a:gd name="connsiteY3" fmla="*/ 13366 h 53102"/>
                <a:gd name="connsiteX4" fmla="*/ 39304 w 149371"/>
                <a:gd name="connsiteY4" fmla="*/ 15124 h 53102"/>
                <a:gd name="connsiteX5" fmla="*/ 73766 w 149371"/>
                <a:gd name="connsiteY5" fmla="*/ 21805 h 53102"/>
                <a:gd name="connsiteX6" fmla="*/ 91701 w 149371"/>
                <a:gd name="connsiteY6" fmla="*/ 35871 h 53102"/>
                <a:gd name="connsiteX7" fmla="*/ 105415 w 149371"/>
                <a:gd name="connsiteY7" fmla="*/ 49234 h 53102"/>
                <a:gd name="connsiteX8" fmla="*/ 145503 w 149371"/>
                <a:gd name="connsiteY8" fmla="*/ 53102 h 53102"/>
                <a:gd name="connsiteX9" fmla="*/ 149372 w 149371"/>
                <a:gd name="connsiteY9" fmla="*/ 44663 h 53102"/>
                <a:gd name="connsiteX10" fmla="*/ 124404 w 149371"/>
                <a:gd name="connsiteY10" fmla="*/ 32003 h 53102"/>
                <a:gd name="connsiteX11" fmla="*/ 86777 w 149371"/>
                <a:gd name="connsiteY11" fmla="*/ 13366 h 53102"/>
                <a:gd name="connsiteX12" fmla="*/ 41414 w 149371"/>
                <a:gd name="connsiteY12" fmla="*/ 354 h 5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9371" h="53102">
                  <a:moveTo>
                    <a:pt x="41414" y="354"/>
                  </a:moveTo>
                  <a:cubicBezTo>
                    <a:pt x="27700" y="-2459"/>
                    <a:pt x="3084" y="12311"/>
                    <a:pt x="271" y="15124"/>
                  </a:cubicBezTo>
                  <a:cubicBezTo>
                    <a:pt x="-1417" y="18781"/>
                    <a:pt x="5194" y="21102"/>
                    <a:pt x="8711" y="21805"/>
                  </a:cubicBezTo>
                  <a:lnTo>
                    <a:pt x="24535" y="13366"/>
                  </a:lnTo>
                  <a:cubicBezTo>
                    <a:pt x="28874" y="13949"/>
                    <a:pt x="37898" y="15124"/>
                    <a:pt x="39304" y="15124"/>
                  </a:cubicBezTo>
                  <a:cubicBezTo>
                    <a:pt x="41063" y="15124"/>
                    <a:pt x="72008" y="21102"/>
                    <a:pt x="73766" y="21805"/>
                  </a:cubicBezTo>
                  <a:cubicBezTo>
                    <a:pt x="75525" y="22509"/>
                    <a:pt x="89239" y="32003"/>
                    <a:pt x="91701" y="35871"/>
                  </a:cubicBezTo>
                  <a:cubicBezTo>
                    <a:pt x="93670" y="38966"/>
                    <a:pt x="101666" y="46069"/>
                    <a:pt x="105415" y="49234"/>
                  </a:cubicBezTo>
                  <a:lnTo>
                    <a:pt x="145503" y="53102"/>
                  </a:lnTo>
                  <a:lnTo>
                    <a:pt x="149372" y="44663"/>
                  </a:lnTo>
                  <a:cubicBezTo>
                    <a:pt x="143161" y="41266"/>
                    <a:pt x="129468" y="33973"/>
                    <a:pt x="124404" y="32003"/>
                  </a:cubicBezTo>
                  <a:cubicBezTo>
                    <a:pt x="118075" y="29542"/>
                    <a:pt x="90997" y="15124"/>
                    <a:pt x="86777" y="13366"/>
                  </a:cubicBezTo>
                  <a:cubicBezTo>
                    <a:pt x="82558" y="11607"/>
                    <a:pt x="55129" y="3168"/>
                    <a:pt x="41414" y="35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6" name="Freihandform: Form 331">
              <a:extLst>
                <a:ext uri="{FF2B5EF4-FFF2-40B4-BE49-F238E27FC236}">
                  <a16:creationId xmlns:a16="http://schemas.microsoft.com/office/drawing/2014/main" id="{F22B78D1-70F7-7940-A934-DCB1C8D05A84}"/>
                </a:ext>
              </a:extLst>
            </p:cNvPr>
            <p:cNvSpPr/>
            <p:nvPr/>
          </p:nvSpPr>
          <p:spPr>
            <a:xfrm>
              <a:off x="5006658" y="4204152"/>
              <a:ext cx="87014" cy="29890"/>
            </a:xfrm>
            <a:custGeom>
              <a:avLst/>
              <a:gdLst>
                <a:gd name="connsiteX0" fmla="*/ 49583 w 87014"/>
                <a:gd name="connsiteY0" fmla="*/ 16528 h 29890"/>
                <a:gd name="connsiteX1" fmla="*/ 39385 w 87014"/>
                <a:gd name="connsiteY1" fmla="*/ 23912 h 29890"/>
                <a:gd name="connsiteX2" fmla="*/ 32352 w 87014"/>
                <a:gd name="connsiteY2" fmla="*/ 29890 h 29890"/>
                <a:gd name="connsiteX3" fmla="*/ 11956 w 87014"/>
                <a:gd name="connsiteY3" fmla="*/ 29890 h 29890"/>
                <a:gd name="connsiteX4" fmla="*/ 0 w 87014"/>
                <a:gd name="connsiteY4" fmla="*/ 26374 h 29890"/>
                <a:gd name="connsiteX5" fmla="*/ 17231 w 87014"/>
                <a:gd name="connsiteY5" fmla="*/ 16528 h 29890"/>
                <a:gd name="connsiteX6" fmla="*/ 27429 w 87014"/>
                <a:gd name="connsiteY6" fmla="*/ 5978 h 29890"/>
                <a:gd name="connsiteX7" fmla="*/ 39385 w 87014"/>
                <a:gd name="connsiteY7" fmla="*/ 0 h 29890"/>
                <a:gd name="connsiteX8" fmla="*/ 49583 w 87014"/>
                <a:gd name="connsiteY8" fmla="*/ 1758 h 29890"/>
                <a:gd name="connsiteX9" fmla="*/ 64001 w 87014"/>
                <a:gd name="connsiteY9" fmla="*/ 3517 h 29890"/>
                <a:gd name="connsiteX10" fmla="*/ 76660 w 87014"/>
                <a:gd name="connsiteY10" fmla="*/ 5978 h 29890"/>
                <a:gd name="connsiteX11" fmla="*/ 86858 w 87014"/>
                <a:gd name="connsiteY11" fmla="*/ 13011 h 29890"/>
                <a:gd name="connsiteX12" fmla="*/ 86858 w 87014"/>
                <a:gd name="connsiteY12" fmla="*/ 16528 h 29890"/>
                <a:gd name="connsiteX13" fmla="*/ 80528 w 87014"/>
                <a:gd name="connsiteY13" fmla="*/ 22154 h 29890"/>
                <a:gd name="connsiteX14" fmla="*/ 64001 w 87014"/>
                <a:gd name="connsiteY14" fmla="*/ 19341 h 29890"/>
                <a:gd name="connsiteX15" fmla="*/ 54858 w 87014"/>
                <a:gd name="connsiteY15" fmla="*/ 16528 h 29890"/>
                <a:gd name="connsiteX16" fmla="*/ 49583 w 87014"/>
                <a:gd name="connsiteY16" fmla="*/ 16528 h 29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7014" h="29890">
                  <a:moveTo>
                    <a:pt x="49583" y="16528"/>
                  </a:moveTo>
                  <a:lnTo>
                    <a:pt x="39385" y="23912"/>
                  </a:lnTo>
                  <a:lnTo>
                    <a:pt x="32352" y="29890"/>
                  </a:lnTo>
                  <a:lnTo>
                    <a:pt x="11956" y="29890"/>
                  </a:lnTo>
                  <a:lnTo>
                    <a:pt x="0" y="26374"/>
                  </a:lnTo>
                  <a:lnTo>
                    <a:pt x="17231" y="16528"/>
                  </a:lnTo>
                  <a:lnTo>
                    <a:pt x="27429" y="5978"/>
                  </a:lnTo>
                  <a:cubicBezTo>
                    <a:pt x="30362" y="3988"/>
                    <a:pt x="36853" y="0"/>
                    <a:pt x="39385" y="0"/>
                  </a:cubicBezTo>
                  <a:cubicBezTo>
                    <a:pt x="41917" y="0"/>
                    <a:pt x="47241" y="1174"/>
                    <a:pt x="49583" y="1758"/>
                  </a:cubicBezTo>
                  <a:cubicBezTo>
                    <a:pt x="53571" y="2229"/>
                    <a:pt x="62032" y="3235"/>
                    <a:pt x="64001" y="3517"/>
                  </a:cubicBezTo>
                  <a:cubicBezTo>
                    <a:pt x="66462" y="3868"/>
                    <a:pt x="73144" y="2813"/>
                    <a:pt x="76660" y="5978"/>
                  </a:cubicBezTo>
                  <a:cubicBezTo>
                    <a:pt x="80177" y="9143"/>
                    <a:pt x="86507" y="11253"/>
                    <a:pt x="86858" y="13011"/>
                  </a:cubicBezTo>
                  <a:cubicBezTo>
                    <a:pt x="87139" y="14418"/>
                    <a:pt x="86978" y="15944"/>
                    <a:pt x="86858" y="16528"/>
                  </a:cubicBezTo>
                  <a:cubicBezTo>
                    <a:pt x="86739" y="18989"/>
                    <a:pt x="85311" y="23561"/>
                    <a:pt x="80528" y="22154"/>
                  </a:cubicBezTo>
                  <a:cubicBezTo>
                    <a:pt x="74550" y="20396"/>
                    <a:pt x="67166" y="20044"/>
                    <a:pt x="64001" y="19341"/>
                  </a:cubicBezTo>
                  <a:cubicBezTo>
                    <a:pt x="61469" y="18778"/>
                    <a:pt x="56848" y="17231"/>
                    <a:pt x="54858" y="16528"/>
                  </a:cubicBezTo>
                  <a:lnTo>
                    <a:pt x="49583" y="1652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7" name="Freihandform: Form 332">
              <a:extLst>
                <a:ext uri="{FF2B5EF4-FFF2-40B4-BE49-F238E27FC236}">
                  <a16:creationId xmlns:a16="http://schemas.microsoft.com/office/drawing/2014/main" id="{DD4DA2FD-5D37-0E47-B21B-4E5E421EE347}"/>
                </a:ext>
              </a:extLst>
            </p:cNvPr>
            <p:cNvSpPr/>
            <p:nvPr/>
          </p:nvSpPr>
          <p:spPr>
            <a:xfrm>
              <a:off x="4951883" y="4226306"/>
              <a:ext cx="20665" cy="10911"/>
            </a:xfrm>
            <a:custGeom>
              <a:avLst/>
              <a:gdLst>
                <a:gd name="connsiteX0" fmla="*/ 1325 w 20665"/>
                <a:gd name="connsiteY0" fmla="*/ 4220 h 10911"/>
                <a:gd name="connsiteX1" fmla="*/ 5193 w 20665"/>
                <a:gd name="connsiteY1" fmla="*/ 0 h 10911"/>
                <a:gd name="connsiteX2" fmla="*/ 10819 w 20665"/>
                <a:gd name="connsiteY2" fmla="*/ 1758 h 10911"/>
                <a:gd name="connsiteX3" fmla="*/ 20666 w 20665"/>
                <a:gd name="connsiteY3" fmla="*/ 7736 h 10911"/>
                <a:gd name="connsiteX4" fmla="*/ 10819 w 20665"/>
                <a:gd name="connsiteY4" fmla="*/ 10901 h 10911"/>
                <a:gd name="connsiteX5" fmla="*/ 1325 w 20665"/>
                <a:gd name="connsiteY5" fmla="*/ 4220 h 10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665" h="10911">
                  <a:moveTo>
                    <a:pt x="1325" y="4220"/>
                  </a:moveTo>
                  <a:cubicBezTo>
                    <a:pt x="-2543" y="703"/>
                    <a:pt x="3083" y="1758"/>
                    <a:pt x="5193" y="0"/>
                  </a:cubicBezTo>
                  <a:lnTo>
                    <a:pt x="10819" y="1758"/>
                  </a:lnTo>
                  <a:cubicBezTo>
                    <a:pt x="13161" y="1758"/>
                    <a:pt x="18415" y="2954"/>
                    <a:pt x="20666" y="7736"/>
                  </a:cubicBezTo>
                  <a:cubicBezTo>
                    <a:pt x="20666" y="11253"/>
                    <a:pt x="14688" y="10901"/>
                    <a:pt x="10819" y="10901"/>
                  </a:cubicBezTo>
                  <a:cubicBezTo>
                    <a:pt x="6951" y="10901"/>
                    <a:pt x="5193" y="7736"/>
                    <a:pt x="1325" y="422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8" name="Freihandform: Form 333">
              <a:extLst>
                <a:ext uri="{FF2B5EF4-FFF2-40B4-BE49-F238E27FC236}">
                  <a16:creationId xmlns:a16="http://schemas.microsoft.com/office/drawing/2014/main" id="{E4293F9F-E76C-0143-A8C6-2ED7DEA90C43}"/>
                </a:ext>
              </a:extLst>
            </p:cNvPr>
            <p:cNvSpPr/>
            <p:nvPr/>
          </p:nvSpPr>
          <p:spPr>
            <a:xfrm>
              <a:off x="5121069" y="4225524"/>
              <a:ext cx="25126" cy="13089"/>
            </a:xfrm>
            <a:custGeom>
              <a:avLst/>
              <a:gdLst>
                <a:gd name="connsiteX0" fmla="*/ 16053 w 25126"/>
                <a:gd name="connsiteY0" fmla="*/ 781 h 13089"/>
                <a:gd name="connsiteX1" fmla="*/ 3042 w 25126"/>
                <a:gd name="connsiteY1" fmla="*/ 781 h 13089"/>
                <a:gd name="connsiteX2" fmla="*/ 932 w 25126"/>
                <a:gd name="connsiteY2" fmla="*/ 781 h 13089"/>
                <a:gd name="connsiteX3" fmla="*/ 932 w 25126"/>
                <a:gd name="connsiteY3" fmla="*/ 11683 h 13089"/>
                <a:gd name="connsiteX4" fmla="*/ 20625 w 25126"/>
                <a:gd name="connsiteY4" fmla="*/ 11683 h 13089"/>
                <a:gd name="connsiteX5" fmla="*/ 23438 w 25126"/>
                <a:gd name="connsiteY5" fmla="*/ 5001 h 13089"/>
                <a:gd name="connsiteX6" fmla="*/ 16053 w 25126"/>
                <a:gd name="connsiteY6" fmla="*/ 781 h 1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126" h="13089">
                  <a:moveTo>
                    <a:pt x="16053" y="781"/>
                  </a:moveTo>
                  <a:cubicBezTo>
                    <a:pt x="12537" y="-977"/>
                    <a:pt x="9723" y="781"/>
                    <a:pt x="3042" y="781"/>
                  </a:cubicBezTo>
                  <a:lnTo>
                    <a:pt x="932" y="781"/>
                  </a:lnTo>
                  <a:cubicBezTo>
                    <a:pt x="229" y="3363"/>
                    <a:pt x="-756" y="9151"/>
                    <a:pt x="932" y="11683"/>
                  </a:cubicBezTo>
                  <a:cubicBezTo>
                    <a:pt x="3042" y="14848"/>
                    <a:pt x="12537" y="11683"/>
                    <a:pt x="20625" y="11683"/>
                  </a:cubicBezTo>
                  <a:cubicBezTo>
                    <a:pt x="27095" y="11683"/>
                    <a:pt x="25196" y="7231"/>
                    <a:pt x="23438" y="5001"/>
                  </a:cubicBezTo>
                  <a:cubicBezTo>
                    <a:pt x="22151" y="4178"/>
                    <a:pt x="18866" y="2188"/>
                    <a:pt x="16053" y="78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9" name="Freihandform: Form 334">
              <a:extLst>
                <a:ext uri="{FF2B5EF4-FFF2-40B4-BE49-F238E27FC236}">
                  <a16:creationId xmlns:a16="http://schemas.microsoft.com/office/drawing/2014/main" id="{17CD0A19-DF8C-EA47-8C76-DBA2A2F38813}"/>
                </a:ext>
              </a:extLst>
            </p:cNvPr>
            <p:cNvSpPr/>
            <p:nvPr/>
          </p:nvSpPr>
          <p:spPr>
            <a:xfrm>
              <a:off x="5203004" y="4254438"/>
              <a:ext cx="7613" cy="6639"/>
            </a:xfrm>
            <a:custGeom>
              <a:avLst/>
              <a:gdLst>
                <a:gd name="connsiteX0" fmla="*/ 932 w 7613"/>
                <a:gd name="connsiteY0" fmla="*/ 6330 h 6639"/>
                <a:gd name="connsiteX1" fmla="*/ 932 w 7613"/>
                <a:gd name="connsiteY1" fmla="*/ 0 h 6639"/>
                <a:gd name="connsiteX2" fmla="*/ 2690 w 7613"/>
                <a:gd name="connsiteY2" fmla="*/ 0 h 6639"/>
                <a:gd name="connsiteX3" fmla="*/ 7613 w 7613"/>
                <a:gd name="connsiteY3" fmla="*/ 2110 h 6639"/>
                <a:gd name="connsiteX4" fmla="*/ 7613 w 7613"/>
                <a:gd name="connsiteY4" fmla="*/ 6330 h 6639"/>
                <a:gd name="connsiteX5" fmla="*/ 932 w 7613"/>
                <a:gd name="connsiteY5" fmla="*/ 6330 h 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13" h="6639">
                  <a:moveTo>
                    <a:pt x="932" y="6330"/>
                  </a:moveTo>
                  <a:cubicBezTo>
                    <a:pt x="-756" y="5767"/>
                    <a:pt x="229" y="1878"/>
                    <a:pt x="932" y="0"/>
                  </a:cubicBezTo>
                  <a:lnTo>
                    <a:pt x="2690" y="0"/>
                  </a:lnTo>
                  <a:lnTo>
                    <a:pt x="7613" y="2110"/>
                  </a:lnTo>
                  <a:lnTo>
                    <a:pt x="7613" y="6330"/>
                  </a:lnTo>
                  <a:cubicBezTo>
                    <a:pt x="6087" y="6562"/>
                    <a:pt x="2620" y="6892"/>
                    <a:pt x="932" y="633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0" name="Freihandform: Form 304">
              <a:extLst>
                <a:ext uri="{FF2B5EF4-FFF2-40B4-BE49-F238E27FC236}">
                  <a16:creationId xmlns:a16="http://schemas.microsoft.com/office/drawing/2014/main" id="{025FAC22-95BF-C44A-893F-3F940A03FC1A}"/>
                </a:ext>
              </a:extLst>
            </p:cNvPr>
            <p:cNvSpPr/>
            <p:nvPr/>
          </p:nvSpPr>
          <p:spPr>
            <a:xfrm>
              <a:off x="6707394" y="3903841"/>
              <a:ext cx="84606" cy="120989"/>
            </a:xfrm>
            <a:custGeom>
              <a:avLst/>
              <a:gdLst>
                <a:gd name="connsiteX0" fmla="*/ 106902 w 110418"/>
                <a:gd name="connsiteY0" fmla="*/ 33759 h 150567"/>
                <a:gd name="connsiteX1" fmla="*/ 110419 w 110418"/>
                <a:gd name="connsiteY1" fmla="*/ 6330 h 150567"/>
                <a:gd name="connsiteX2" fmla="*/ 110419 w 110418"/>
                <a:gd name="connsiteY2" fmla="*/ 0 h 150567"/>
                <a:gd name="connsiteX3" fmla="*/ 40792 w 110418"/>
                <a:gd name="connsiteY3" fmla="*/ 0 h 150567"/>
                <a:gd name="connsiteX4" fmla="*/ 31649 w 110418"/>
                <a:gd name="connsiteY4" fmla="*/ 30242 h 150567"/>
                <a:gd name="connsiteX5" fmla="*/ 40792 w 110418"/>
                <a:gd name="connsiteY5" fmla="*/ 40792 h 150567"/>
                <a:gd name="connsiteX6" fmla="*/ 26374 w 110418"/>
                <a:gd name="connsiteY6" fmla="*/ 66111 h 150567"/>
                <a:gd name="connsiteX7" fmla="*/ 0 w 110418"/>
                <a:gd name="connsiteY7" fmla="*/ 119914 h 150567"/>
                <a:gd name="connsiteX8" fmla="*/ 9846 w 110418"/>
                <a:gd name="connsiteY8" fmla="*/ 147342 h 150567"/>
                <a:gd name="connsiteX9" fmla="*/ 40792 w 110418"/>
                <a:gd name="connsiteY9" fmla="*/ 143123 h 150567"/>
                <a:gd name="connsiteX10" fmla="*/ 61539 w 110418"/>
                <a:gd name="connsiteY10" fmla="*/ 124485 h 150567"/>
                <a:gd name="connsiteX11" fmla="*/ 68221 w 110418"/>
                <a:gd name="connsiteY11" fmla="*/ 101276 h 150567"/>
                <a:gd name="connsiteX12" fmla="*/ 74550 w 110418"/>
                <a:gd name="connsiteY12" fmla="*/ 84748 h 150567"/>
                <a:gd name="connsiteX13" fmla="*/ 74550 w 110418"/>
                <a:gd name="connsiteY13" fmla="*/ 66111 h 150567"/>
                <a:gd name="connsiteX14" fmla="*/ 94595 w 110418"/>
                <a:gd name="connsiteY14" fmla="*/ 56616 h 150567"/>
                <a:gd name="connsiteX15" fmla="*/ 106902 w 110418"/>
                <a:gd name="connsiteY15" fmla="*/ 33759 h 150567"/>
                <a:gd name="connsiteX0" fmla="*/ 106902 w 110419"/>
                <a:gd name="connsiteY0" fmla="*/ 33759 h 147368"/>
                <a:gd name="connsiteX1" fmla="*/ 110419 w 110419"/>
                <a:gd name="connsiteY1" fmla="*/ 6330 h 147368"/>
                <a:gd name="connsiteX2" fmla="*/ 110419 w 110419"/>
                <a:gd name="connsiteY2" fmla="*/ 0 h 147368"/>
                <a:gd name="connsiteX3" fmla="*/ 40792 w 110419"/>
                <a:gd name="connsiteY3" fmla="*/ 0 h 147368"/>
                <a:gd name="connsiteX4" fmla="*/ 31649 w 110419"/>
                <a:gd name="connsiteY4" fmla="*/ 30242 h 147368"/>
                <a:gd name="connsiteX5" fmla="*/ 40792 w 110419"/>
                <a:gd name="connsiteY5" fmla="*/ 40792 h 147368"/>
                <a:gd name="connsiteX6" fmla="*/ 26374 w 110419"/>
                <a:gd name="connsiteY6" fmla="*/ 66111 h 147368"/>
                <a:gd name="connsiteX7" fmla="*/ 0 w 110419"/>
                <a:gd name="connsiteY7" fmla="*/ 119914 h 147368"/>
                <a:gd name="connsiteX8" fmla="*/ 9846 w 110419"/>
                <a:gd name="connsiteY8" fmla="*/ 147342 h 147368"/>
                <a:gd name="connsiteX9" fmla="*/ 61539 w 110419"/>
                <a:gd name="connsiteY9" fmla="*/ 124485 h 147368"/>
                <a:gd name="connsiteX10" fmla="*/ 68221 w 110419"/>
                <a:gd name="connsiteY10" fmla="*/ 101276 h 147368"/>
                <a:gd name="connsiteX11" fmla="*/ 74550 w 110419"/>
                <a:gd name="connsiteY11" fmla="*/ 84748 h 147368"/>
                <a:gd name="connsiteX12" fmla="*/ 74550 w 110419"/>
                <a:gd name="connsiteY12" fmla="*/ 66111 h 147368"/>
                <a:gd name="connsiteX13" fmla="*/ 94595 w 110419"/>
                <a:gd name="connsiteY13" fmla="*/ 56616 h 147368"/>
                <a:gd name="connsiteX14" fmla="*/ 106902 w 110419"/>
                <a:gd name="connsiteY14" fmla="*/ 33759 h 147368"/>
                <a:gd name="connsiteX0" fmla="*/ 106902 w 110419"/>
                <a:gd name="connsiteY0" fmla="*/ 33759 h 147615"/>
                <a:gd name="connsiteX1" fmla="*/ 110419 w 110419"/>
                <a:gd name="connsiteY1" fmla="*/ 6330 h 147615"/>
                <a:gd name="connsiteX2" fmla="*/ 110419 w 110419"/>
                <a:gd name="connsiteY2" fmla="*/ 0 h 147615"/>
                <a:gd name="connsiteX3" fmla="*/ 40792 w 110419"/>
                <a:gd name="connsiteY3" fmla="*/ 0 h 147615"/>
                <a:gd name="connsiteX4" fmla="*/ 31649 w 110419"/>
                <a:gd name="connsiteY4" fmla="*/ 30242 h 147615"/>
                <a:gd name="connsiteX5" fmla="*/ 40792 w 110419"/>
                <a:gd name="connsiteY5" fmla="*/ 40792 h 147615"/>
                <a:gd name="connsiteX6" fmla="*/ 26374 w 110419"/>
                <a:gd name="connsiteY6" fmla="*/ 66111 h 147615"/>
                <a:gd name="connsiteX7" fmla="*/ 0 w 110419"/>
                <a:gd name="connsiteY7" fmla="*/ 119914 h 147615"/>
                <a:gd name="connsiteX8" fmla="*/ 9846 w 110419"/>
                <a:gd name="connsiteY8" fmla="*/ 147342 h 147615"/>
                <a:gd name="connsiteX9" fmla="*/ 68221 w 110419"/>
                <a:gd name="connsiteY9" fmla="*/ 101276 h 147615"/>
                <a:gd name="connsiteX10" fmla="*/ 74550 w 110419"/>
                <a:gd name="connsiteY10" fmla="*/ 84748 h 147615"/>
                <a:gd name="connsiteX11" fmla="*/ 74550 w 110419"/>
                <a:gd name="connsiteY11" fmla="*/ 66111 h 147615"/>
                <a:gd name="connsiteX12" fmla="*/ 94595 w 110419"/>
                <a:gd name="connsiteY12" fmla="*/ 56616 h 147615"/>
                <a:gd name="connsiteX13" fmla="*/ 106902 w 110419"/>
                <a:gd name="connsiteY13" fmla="*/ 33759 h 147615"/>
                <a:gd name="connsiteX0" fmla="*/ 106902 w 110419"/>
                <a:gd name="connsiteY0" fmla="*/ 33759 h 148169"/>
                <a:gd name="connsiteX1" fmla="*/ 110419 w 110419"/>
                <a:gd name="connsiteY1" fmla="*/ 6330 h 148169"/>
                <a:gd name="connsiteX2" fmla="*/ 110419 w 110419"/>
                <a:gd name="connsiteY2" fmla="*/ 0 h 148169"/>
                <a:gd name="connsiteX3" fmla="*/ 40792 w 110419"/>
                <a:gd name="connsiteY3" fmla="*/ 0 h 148169"/>
                <a:gd name="connsiteX4" fmla="*/ 31649 w 110419"/>
                <a:gd name="connsiteY4" fmla="*/ 30242 h 148169"/>
                <a:gd name="connsiteX5" fmla="*/ 40792 w 110419"/>
                <a:gd name="connsiteY5" fmla="*/ 40792 h 148169"/>
                <a:gd name="connsiteX6" fmla="*/ 26374 w 110419"/>
                <a:gd name="connsiteY6" fmla="*/ 66111 h 148169"/>
                <a:gd name="connsiteX7" fmla="*/ 0 w 110419"/>
                <a:gd name="connsiteY7" fmla="*/ 119914 h 148169"/>
                <a:gd name="connsiteX8" fmla="*/ 9846 w 110419"/>
                <a:gd name="connsiteY8" fmla="*/ 147342 h 148169"/>
                <a:gd name="connsiteX9" fmla="*/ 74550 w 110419"/>
                <a:gd name="connsiteY9" fmla="*/ 84748 h 148169"/>
                <a:gd name="connsiteX10" fmla="*/ 74550 w 110419"/>
                <a:gd name="connsiteY10" fmla="*/ 66111 h 148169"/>
                <a:gd name="connsiteX11" fmla="*/ 94595 w 110419"/>
                <a:gd name="connsiteY11" fmla="*/ 56616 h 148169"/>
                <a:gd name="connsiteX12" fmla="*/ 106902 w 110419"/>
                <a:gd name="connsiteY12" fmla="*/ 33759 h 148169"/>
                <a:gd name="connsiteX0" fmla="*/ 106902 w 110419"/>
                <a:gd name="connsiteY0" fmla="*/ 33759 h 148169"/>
                <a:gd name="connsiteX1" fmla="*/ 110419 w 110419"/>
                <a:gd name="connsiteY1" fmla="*/ 6330 h 148169"/>
                <a:gd name="connsiteX2" fmla="*/ 110419 w 110419"/>
                <a:gd name="connsiteY2" fmla="*/ 0 h 148169"/>
                <a:gd name="connsiteX3" fmla="*/ 40792 w 110419"/>
                <a:gd name="connsiteY3" fmla="*/ 0 h 148169"/>
                <a:gd name="connsiteX4" fmla="*/ 31649 w 110419"/>
                <a:gd name="connsiteY4" fmla="*/ 30242 h 148169"/>
                <a:gd name="connsiteX5" fmla="*/ 40792 w 110419"/>
                <a:gd name="connsiteY5" fmla="*/ 40792 h 148169"/>
                <a:gd name="connsiteX6" fmla="*/ 26374 w 110419"/>
                <a:gd name="connsiteY6" fmla="*/ 66111 h 148169"/>
                <a:gd name="connsiteX7" fmla="*/ 0 w 110419"/>
                <a:gd name="connsiteY7" fmla="*/ 119914 h 148169"/>
                <a:gd name="connsiteX8" fmla="*/ 9846 w 110419"/>
                <a:gd name="connsiteY8" fmla="*/ 147342 h 148169"/>
                <a:gd name="connsiteX9" fmla="*/ 74550 w 110419"/>
                <a:gd name="connsiteY9" fmla="*/ 84748 h 148169"/>
                <a:gd name="connsiteX10" fmla="*/ 94595 w 110419"/>
                <a:gd name="connsiteY10" fmla="*/ 56616 h 148169"/>
                <a:gd name="connsiteX11" fmla="*/ 106902 w 110419"/>
                <a:gd name="connsiteY11" fmla="*/ 33759 h 148169"/>
                <a:gd name="connsiteX0" fmla="*/ 98978 w 102495"/>
                <a:gd name="connsiteY0" fmla="*/ 33759 h 147475"/>
                <a:gd name="connsiteX1" fmla="*/ 102495 w 102495"/>
                <a:gd name="connsiteY1" fmla="*/ 6330 h 147475"/>
                <a:gd name="connsiteX2" fmla="*/ 102495 w 102495"/>
                <a:gd name="connsiteY2" fmla="*/ 0 h 147475"/>
                <a:gd name="connsiteX3" fmla="*/ 32868 w 102495"/>
                <a:gd name="connsiteY3" fmla="*/ 0 h 147475"/>
                <a:gd name="connsiteX4" fmla="*/ 23725 w 102495"/>
                <a:gd name="connsiteY4" fmla="*/ 30242 h 147475"/>
                <a:gd name="connsiteX5" fmla="*/ 32868 w 102495"/>
                <a:gd name="connsiteY5" fmla="*/ 40792 h 147475"/>
                <a:gd name="connsiteX6" fmla="*/ 18450 w 102495"/>
                <a:gd name="connsiteY6" fmla="*/ 66111 h 147475"/>
                <a:gd name="connsiteX7" fmla="*/ 1922 w 102495"/>
                <a:gd name="connsiteY7" fmla="*/ 147342 h 147475"/>
                <a:gd name="connsiteX8" fmla="*/ 66626 w 102495"/>
                <a:gd name="connsiteY8" fmla="*/ 84748 h 147475"/>
                <a:gd name="connsiteX9" fmla="*/ 86671 w 102495"/>
                <a:gd name="connsiteY9" fmla="*/ 56616 h 147475"/>
                <a:gd name="connsiteX10" fmla="*/ 98978 w 102495"/>
                <a:gd name="connsiteY10" fmla="*/ 33759 h 147475"/>
                <a:gd name="connsiteX0" fmla="*/ 81401 w 84918"/>
                <a:gd name="connsiteY0" fmla="*/ 33759 h 84881"/>
                <a:gd name="connsiteX1" fmla="*/ 84918 w 84918"/>
                <a:gd name="connsiteY1" fmla="*/ 6330 h 84881"/>
                <a:gd name="connsiteX2" fmla="*/ 84918 w 84918"/>
                <a:gd name="connsiteY2" fmla="*/ 0 h 84881"/>
                <a:gd name="connsiteX3" fmla="*/ 15291 w 84918"/>
                <a:gd name="connsiteY3" fmla="*/ 0 h 84881"/>
                <a:gd name="connsiteX4" fmla="*/ 6148 w 84918"/>
                <a:gd name="connsiteY4" fmla="*/ 30242 h 84881"/>
                <a:gd name="connsiteX5" fmla="*/ 15291 w 84918"/>
                <a:gd name="connsiteY5" fmla="*/ 40792 h 84881"/>
                <a:gd name="connsiteX6" fmla="*/ 873 w 84918"/>
                <a:gd name="connsiteY6" fmla="*/ 66111 h 84881"/>
                <a:gd name="connsiteX7" fmla="*/ 49049 w 84918"/>
                <a:gd name="connsiteY7" fmla="*/ 84748 h 84881"/>
                <a:gd name="connsiteX8" fmla="*/ 69094 w 84918"/>
                <a:gd name="connsiteY8" fmla="*/ 56616 h 84881"/>
                <a:gd name="connsiteX9" fmla="*/ 81401 w 84918"/>
                <a:gd name="connsiteY9" fmla="*/ 33759 h 84881"/>
                <a:gd name="connsiteX0" fmla="*/ 81090 w 84607"/>
                <a:gd name="connsiteY0" fmla="*/ 33759 h 120987"/>
                <a:gd name="connsiteX1" fmla="*/ 84607 w 84607"/>
                <a:gd name="connsiteY1" fmla="*/ 6330 h 120987"/>
                <a:gd name="connsiteX2" fmla="*/ 84607 w 84607"/>
                <a:gd name="connsiteY2" fmla="*/ 0 h 120987"/>
                <a:gd name="connsiteX3" fmla="*/ 14980 w 84607"/>
                <a:gd name="connsiteY3" fmla="*/ 0 h 120987"/>
                <a:gd name="connsiteX4" fmla="*/ 5837 w 84607"/>
                <a:gd name="connsiteY4" fmla="*/ 30242 h 120987"/>
                <a:gd name="connsiteX5" fmla="*/ 14980 w 84607"/>
                <a:gd name="connsiteY5" fmla="*/ 40792 h 120987"/>
                <a:gd name="connsiteX6" fmla="*/ 562 w 84607"/>
                <a:gd name="connsiteY6" fmla="*/ 66111 h 120987"/>
                <a:gd name="connsiteX7" fmla="*/ 40981 w 84607"/>
                <a:gd name="connsiteY7" fmla="*/ 120945 h 120987"/>
                <a:gd name="connsiteX8" fmla="*/ 68783 w 84607"/>
                <a:gd name="connsiteY8" fmla="*/ 56616 h 120987"/>
                <a:gd name="connsiteX9" fmla="*/ 81090 w 84607"/>
                <a:gd name="connsiteY9" fmla="*/ 33759 h 120987"/>
                <a:gd name="connsiteX0" fmla="*/ 50064 w 84607"/>
                <a:gd name="connsiteY0" fmla="*/ 28588 h 120987"/>
                <a:gd name="connsiteX1" fmla="*/ 84607 w 84607"/>
                <a:gd name="connsiteY1" fmla="*/ 6330 h 120987"/>
                <a:gd name="connsiteX2" fmla="*/ 84607 w 84607"/>
                <a:gd name="connsiteY2" fmla="*/ 0 h 120987"/>
                <a:gd name="connsiteX3" fmla="*/ 14980 w 84607"/>
                <a:gd name="connsiteY3" fmla="*/ 0 h 120987"/>
                <a:gd name="connsiteX4" fmla="*/ 5837 w 84607"/>
                <a:gd name="connsiteY4" fmla="*/ 30242 h 120987"/>
                <a:gd name="connsiteX5" fmla="*/ 14980 w 84607"/>
                <a:gd name="connsiteY5" fmla="*/ 40792 h 120987"/>
                <a:gd name="connsiteX6" fmla="*/ 562 w 84607"/>
                <a:gd name="connsiteY6" fmla="*/ 66111 h 120987"/>
                <a:gd name="connsiteX7" fmla="*/ 40981 w 84607"/>
                <a:gd name="connsiteY7" fmla="*/ 120945 h 120987"/>
                <a:gd name="connsiteX8" fmla="*/ 68783 w 84607"/>
                <a:gd name="connsiteY8" fmla="*/ 56616 h 120987"/>
                <a:gd name="connsiteX9" fmla="*/ 50064 w 84607"/>
                <a:gd name="connsiteY9" fmla="*/ 28588 h 12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607" h="120987">
                  <a:moveTo>
                    <a:pt x="50064" y="28588"/>
                  </a:moveTo>
                  <a:cubicBezTo>
                    <a:pt x="50064" y="20992"/>
                    <a:pt x="83432" y="12308"/>
                    <a:pt x="84607" y="6330"/>
                  </a:cubicBezTo>
                  <a:lnTo>
                    <a:pt x="84607" y="0"/>
                  </a:lnTo>
                  <a:lnTo>
                    <a:pt x="14980" y="0"/>
                  </a:lnTo>
                  <a:cubicBezTo>
                    <a:pt x="12166" y="8440"/>
                    <a:pt x="6399" y="26304"/>
                    <a:pt x="5837" y="30242"/>
                  </a:cubicBezTo>
                  <a:cubicBezTo>
                    <a:pt x="5133" y="35165"/>
                    <a:pt x="11463" y="39385"/>
                    <a:pt x="14980" y="40792"/>
                  </a:cubicBezTo>
                  <a:cubicBezTo>
                    <a:pt x="18496" y="42198"/>
                    <a:pt x="-3771" y="52752"/>
                    <a:pt x="562" y="66111"/>
                  </a:cubicBezTo>
                  <a:cubicBezTo>
                    <a:pt x="4895" y="79470"/>
                    <a:pt x="29611" y="122527"/>
                    <a:pt x="40981" y="120945"/>
                  </a:cubicBezTo>
                  <a:cubicBezTo>
                    <a:pt x="50248" y="99502"/>
                    <a:pt x="67269" y="72009"/>
                    <a:pt x="68783" y="56616"/>
                  </a:cubicBezTo>
                  <a:cubicBezTo>
                    <a:pt x="70297" y="41223"/>
                    <a:pt x="50064" y="38082"/>
                    <a:pt x="50064" y="2858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 cap="flat">
              <a:solidFill>
                <a:schemeClr val="bg1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4514" name="Density collaborations/projects">
            <a:extLst>
              <a:ext uri="{FF2B5EF4-FFF2-40B4-BE49-F238E27FC236}">
                <a16:creationId xmlns:a16="http://schemas.microsoft.com/office/drawing/2014/main" id="{658173A1-3E83-514F-885E-9FAD51422AA8}"/>
              </a:ext>
            </a:extLst>
          </p:cNvPr>
          <p:cNvGrpSpPr/>
          <p:nvPr/>
        </p:nvGrpSpPr>
        <p:grpSpPr>
          <a:xfrm>
            <a:off x="935312" y="5708098"/>
            <a:ext cx="3460418" cy="622947"/>
            <a:chOff x="8654813" y="6279715"/>
            <a:chExt cx="3101369" cy="558311"/>
          </a:xfrm>
        </p:grpSpPr>
        <p:sp>
          <p:nvSpPr>
            <p:cNvPr id="372" name="Textfeld 671">
              <a:extLst>
                <a:ext uri="{FF2B5EF4-FFF2-40B4-BE49-F238E27FC236}">
                  <a16:creationId xmlns:a16="http://schemas.microsoft.com/office/drawing/2014/main" id="{8BEA7302-AC60-FA4B-B63A-F6F149FE53D5}"/>
                </a:ext>
              </a:extLst>
            </p:cNvPr>
            <p:cNvSpPr txBox="1"/>
            <p:nvPr/>
          </p:nvSpPr>
          <p:spPr>
            <a:xfrm>
              <a:off x="8654813" y="6545638"/>
              <a:ext cx="146087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550" b="1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</a:rPr>
                <a:t>&lt;600    &lt;400   &lt;200    &lt;100   &lt;50    &lt;20 </a:t>
              </a:r>
              <a:r>
                <a:rPr kumimoji="0" lang="de-DE" sz="7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</a:rPr>
                <a:t>	</a:t>
              </a:r>
            </a:p>
          </p:txBody>
        </p:sp>
        <p:sp>
          <p:nvSpPr>
            <p:cNvPr id="373" name="Textfeld 672">
              <a:extLst>
                <a:ext uri="{FF2B5EF4-FFF2-40B4-BE49-F238E27FC236}">
                  <a16:creationId xmlns:a16="http://schemas.microsoft.com/office/drawing/2014/main" id="{AB2EEB79-1B20-3E4C-B9B9-0713CE731F54}"/>
                </a:ext>
              </a:extLst>
            </p:cNvPr>
            <p:cNvSpPr txBox="1"/>
            <p:nvPr/>
          </p:nvSpPr>
          <p:spPr>
            <a:xfrm>
              <a:off x="8654813" y="6279715"/>
              <a:ext cx="3101369" cy="275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700" kern="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ensity </a:t>
              </a:r>
              <a:r>
                <a:rPr lang="de-DE" sz="700" kern="0" dirty="0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ollaborations</a:t>
              </a:r>
              <a:r>
                <a:rPr lang="de-DE" sz="700" kern="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/</a:t>
              </a:r>
              <a:r>
                <a:rPr lang="de-DE" sz="700" kern="0" dirty="0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rojects</a:t>
              </a:r>
              <a:r>
                <a:rPr lang="de-DE" sz="700" kern="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br>
                <a:rPr lang="de-DE" sz="700" b="1" kern="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</a:br>
              <a:r>
                <a:rPr lang="de-DE" sz="700" kern="0" dirty="0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s</a:t>
              </a:r>
              <a:r>
                <a:rPr lang="de-DE" sz="700" kern="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per 2022</a:t>
              </a:r>
              <a:endParaRPr kumimoji="0" lang="de-DE" sz="7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375" name="Rechteck 673">
              <a:extLst>
                <a:ext uri="{FF2B5EF4-FFF2-40B4-BE49-F238E27FC236}">
                  <a16:creationId xmlns:a16="http://schemas.microsoft.com/office/drawing/2014/main" id="{89DAB8A7-C0DD-3C48-B216-578F208D79D6}"/>
                </a:ext>
              </a:extLst>
            </p:cNvPr>
            <p:cNvSpPr/>
            <p:nvPr/>
          </p:nvSpPr>
          <p:spPr>
            <a:xfrm>
              <a:off x="8730370" y="6714430"/>
              <a:ext cx="1382159" cy="116279"/>
            </a:xfrm>
            <a:prstGeom prst="rect">
              <a:avLst/>
            </a:prstGeom>
            <a:gradFill>
              <a:gsLst>
                <a:gs pos="81000">
                  <a:schemeClr val="bg1"/>
                </a:gs>
                <a:gs pos="0">
                  <a:schemeClr val="tx1">
                    <a:lumMod val="75000"/>
                    <a:lumOff val="25000"/>
                  </a:schemeClr>
                </a:gs>
                <a:gs pos="33000">
                  <a:schemeClr val="tx1">
                    <a:lumMod val="50000"/>
                    <a:lumOff val="50000"/>
                  </a:schemeClr>
                </a:gs>
              </a:gsLst>
              <a:lin ang="0" scaled="1"/>
            </a:gra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Legend">
            <a:extLst>
              <a:ext uri="{FF2B5EF4-FFF2-40B4-BE49-F238E27FC236}">
                <a16:creationId xmlns:a16="http://schemas.microsoft.com/office/drawing/2014/main" id="{F71145AC-2B51-4A19-8C24-F755B46D3BA3}"/>
              </a:ext>
            </a:extLst>
          </p:cNvPr>
          <p:cNvGrpSpPr/>
          <p:nvPr/>
        </p:nvGrpSpPr>
        <p:grpSpPr>
          <a:xfrm>
            <a:off x="8850681" y="1512414"/>
            <a:ext cx="2412708" cy="4900612"/>
            <a:chOff x="8844336" y="2101778"/>
            <a:chExt cx="2412708" cy="4900612"/>
          </a:xfrm>
        </p:grpSpPr>
        <p:sp>
          <p:nvSpPr>
            <p:cNvPr id="1037" name="Rechteck 21">
              <a:extLst>
                <a:ext uri="{FF2B5EF4-FFF2-40B4-BE49-F238E27FC236}">
                  <a16:creationId xmlns:a16="http://schemas.microsoft.com/office/drawing/2014/main" id="{EE36499D-5D62-4C06-8E5F-426BA12C3976}"/>
                </a:ext>
              </a:extLst>
            </p:cNvPr>
            <p:cNvSpPr/>
            <p:nvPr/>
          </p:nvSpPr>
          <p:spPr>
            <a:xfrm>
              <a:off x="8856950" y="3216842"/>
              <a:ext cx="2387313" cy="982648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900" b="1" dirty="0">
                <a:solidFill>
                  <a:schemeClr val="bg1"/>
                </a:solidFill>
              </a:endParaRPr>
            </a:p>
          </p:txBody>
        </p:sp>
        <p:graphicFrame>
          <p:nvGraphicFramePr>
            <p:cNvPr id="1038" name="Chart 585">
              <a:extLst>
                <a:ext uri="{FF2B5EF4-FFF2-40B4-BE49-F238E27FC236}">
                  <a16:creationId xmlns:a16="http://schemas.microsoft.com/office/drawing/2014/main" id="{A39731ED-698B-401E-AC68-2416CAED2AE5}"/>
                </a:ext>
              </a:extLst>
            </p:cNvPr>
            <p:cNvGraphicFramePr/>
            <p:nvPr>
              <p:extLst/>
            </p:nvPr>
          </p:nvGraphicFramePr>
          <p:xfrm>
            <a:off x="8844336" y="3185505"/>
            <a:ext cx="2408447" cy="11990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1039" name="Rechteck 21">
              <a:extLst>
                <a:ext uri="{FF2B5EF4-FFF2-40B4-BE49-F238E27FC236}">
                  <a16:creationId xmlns:a16="http://schemas.microsoft.com/office/drawing/2014/main" id="{69807E7E-28DA-49F5-88D8-1C1361449B63}"/>
                </a:ext>
              </a:extLst>
            </p:cNvPr>
            <p:cNvSpPr/>
            <p:nvPr/>
          </p:nvSpPr>
          <p:spPr>
            <a:xfrm>
              <a:off x="8856950" y="2101778"/>
              <a:ext cx="2387313" cy="739518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9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040" name="Group 587">
              <a:extLst>
                <a:ext uri="{FF2B5EF4-FFF2-40B4-BE49-F238E27FC236}">
                  <a16:creationId xmlns:a16="http://schemas.microsoft.com/office/drawing/2014/main" id="{8A96E543-D659-4275-A554-9AAC2FB153F7}"/>
                </a:ext>
              </a:extLst>
            </p:cNvPr>
            <p:cNvGrpSpPr/>
            <p:nvPr/>
          </p:nvGrpSpPr>
          <p:grpSpPr>
            <a:xfrm>
              <a:off x="8960028" y="2122279"/>
              <a:ext cx="2200269" cy="659074"/>
              <a:chOff x="8960028" y="2132871"/>
              <a:chExt cx="2200269" cy="659074"/>
            </a:xfrm>
          </p:grpSpPr>
          <p:sp>
            <p:nvSpPr>
              <p:cNvPr id="1041" name="Flussdiagramm: Verbindungsstelle 565">
                <a:extLst>
                  <a:ext uri="{FF2B5EF4-FFF2-40B4-BE49-F238E27FC236}">
                    <a16:creationId xmlns:a16="http://schemas.microsoft.com/office/drawing/2014/main" id="{C16A6CA6-DF77-4F81-BD9E-63F85129530B}"/>
                  </a:ext>
                </a:extLst>
              </p:cNvPr>
              <p:cNvSpPr/>
              <p:nvPr/>
            </p:nvSpPr>
            <p:spPr>
              <a:xfrm>
                <a:off x="8960028" y="2494251"/>
                <a:ext cx="126177" cy="126177"/>
              </a:xfrm>
              <a:prstGeom prst="flowChartConnector">
                <a:avLst/>
              </a:prstGeom>
              <a:solidFill>
                <a:schemeClr val="bg2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2" name="Flussdiagramm: Verbindungsstelle 565">
                <a:extLst>
                  <a:ext uri="{FF2B5EF4-FFF2-40B4-BE49-F238E27FC236}">
                    <a16:creationId xmlns:a16="http://schemas.microsoft.com/office/drawing/2014/main" id="{64C270C4-738A-4722-B8FF-36C55D09A7E0}"/>
                  </a:ext>
                </a:extLst>
              </p:cNvPr>
              <p:cNvSpPr/>
              <p:nvPr/>
            </p:nvSpPr>
            <p:spPr>
              <a:xfrm>
                <a:off x="8960028" y="2325015"/>
                <a:ext cx="126177" cy="126177"/>
              </a:xfrm>
              <a:prstGeom prst="flowChartConnector">
                <a:avLst/>
              </a:prstGeom>
              <a:solidFill>
                <a:schemeClr val="accent5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3" name="Flussdiagramm: Verbindungsstelle 565">
                <a:extLst>
                  <a:ext uri="{FF2B5EF4-FFF2-40B4-BE49-F238E27FC236}">
                    <a16:creationId xmlns:a16="http://schemas.microsoft.com/office/drawing/2014/main" id="{D1C4E796-53D7-463B-91B8-BA75A22E6109}"/>
                  </a:ext>
                </a:extLst>
              </p:cNvPr>
              <p:cNvSpPr/>
              <p:nvPr/>
            </p:nvSpPr>
            <p:spPr>
              <a:xfrm>
                <a:off x="8960028" y="2155779"/>
                <a:ext cx="126177" cy="126177"/>
              </a:xfrm>
              <a:prstGeom prst="flowChartConnector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4" name="Flussdiagramm: Verbindungsstelle 565">
                <a:extLst>
                  <a:ext uri="{FF2B5EF4-FFF2-40B4-BE49-F238E27FC236}">
                    <a16:creationId xmlns:a16="http://schemas.microsoft.com/office/drawing/2014/main" id="{674FB0BF-6B86-45F3-920C-9457AA269D92}"/>
                  </a:ext>
                </a:extLst>
              </p:cNvPr>
              <p:cNvSpPr/>
              <p:nvPr/>
            </p:nvSpPr>
            <p:spPr>
              <a:xfrm>
                <a:off x="8960028" y="2663487"/>
                <a:ext cx="126177" cy="126177"/>
              </a:xfrm>
              <a:prstGeom prst="flowChartConnector">
                <a:avLst/>
              </a:prstGeom>
              <a:solidFill>
                <a:srgbClr val="00B0F0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5" name="Rectangle 592">
                <a:extLst>
                  <a:ext uri="{FF2B5EF4-FFF2-40B4-BE49-F238E27FC236}">
                    <a16:creationId xmlns:a16="http://schemas.microsoft.com/office/drawing/2014/main" id="{CA2346E0-EEDB-46DF-BAFB-21ABD5B08FF2}"/>
                  </a:ext>
                </a:extLst>
              </p:cNvPr>
              <p:cNvSpPr/>
              <p:nvPr/>
            </p:nvSpPr>
            <p:spPr>
              <a:xfrm>
                <a:off x="9132466" y="2132871"/>
                <a:ext cx="2027831" cy="146914"/>
              </a:xfrm>
              <a:prstGeom prst="rect">
                <a:avLst/>
              </a:prstGeom>
            </p:spPr>
            <p:txBody>
              <a:bodyPr wrap="none" lIns="0" anchor="ctr">
                <a:noAutofit/>
              </a:bodyPr>
              <a:lstStyle/>
              <a:p>
                <a:pPr marL="15875">
                  <a:lnSpc>
                    <a:spcPts val="1200"/>
                  </a:lnSpc>
                </a:pPr>
                <a:r>
                  <a:rPr lang="de-DE" sz="850" dirty="0"/>
                  <a:t>Max Planck Centers </a:t>
                </a:r>
                <a:r>
                  <a:rPr lang="de-DE" sz="850" b="1" dirty="0">
                    <a:solidFill>
                      <a:schemeClr val="accent4">
                        <a:lumMod val="50000"/>
                      </a:schemeClr>
                    </a:solidFill>
                  </a:rPr>
                  <a:t>(18)</a:t>
                </a:r>
              </a:p>
            </p:txBody>
          </p:sp>
          <p:sp>
            <p:nvSpPr>
              <p:cNvPr id="1046" name="Rectangle 593">
                <a:extLst>
                  <a:ext uri="{FF2B5EF4-FFF2-40B4-BE49-F238E27FC236}">
                    <a16:creationId xmlns:a16="http://schemas.microsoft.com/office/drawing/2014/main" id="{44AA983B-20B0-4105-BD07-060977E8F38E}"/>
                  </a:ext>
                </a:extLst>
              </p:cNvPr>
              <p:cNvSpPr/>
              <p:nvPr/>
            </p:nvSpPr>
            <p:spPr>
              <a:xfrm>
                <a:off x="9132466" y="2303591"/>
                <a:ext cx="2027831" cy="146914"/>
              </a:xfrm>
              <a:prstGeom prst="rect">
                <a:avLst/>
              </a:prstGeom>
            </p:spPr>
            <p:txBody>
              <a:bodyPr wrap="none" lIns="0" anchor="ctr">
                <a:noAutofit/>
              </a:bodyPr>
              <a:lstStyle/>
              <a:p>
                <a:pPr marL="15875">
                  <a:lnSpc>
                    <a:spcPts val="1200"/>
                  </a:lnSpc>
                </a:pPr>
                <a:r>
                  <a:rPr lang="de-DE" sz="850" dirty="0"/>
                  <a:t>Partner Institutes </a:t>
                </a:r>
                <a:r>
                  <a:rPr lang="de-DE" sz="850" b="1" dirty="0">
                    <a:solidFill>
                      <a:schemeClr val="accent4">
                        <a:lumMod val="50000"/>
                      </a:schemeClr>
                    </a:solidFill>
                  </a:rPr>
                  <a:t>(1)</a:t>
                </a:r>
                <a:r>
                  <a:rPr lang="de-DE" sz="850" dirty="0">
                    <a:solidFill>
                      <a:schemeClr val="accent4">
                        <a:lumMod val="75000"/>
                      </a:schemeClr>
                    </a:solidFill>
                  </a:rPr>
                  <a:t>  </a:t>
                </a:r>
                <a:r>
                  <a:rPr lang="de-DE" sz="850" dirty="0"/>
                  <a:t>/  MPI </a:t>
                </a:r>
                <a:r>
                  <a:rPr lang="de-DE" sz="850" dirty="0" err="1"/>
                  <a:t>abroad</a:t>
                </a:r>
                <a:r>
                  <a:rPr lang="de-DE" sz="850" dirty="0"/>
                  <a:t> </a:t>
                </a:r>
                <a:r>
                  <a:rPr lang="de-DE" sz="850" b="1" dirty="0">
                    <a:solidFill>
                      <a:schemeClr val="accent4">
                        <a:lumMod val="50000"/>
                      </a:schemeClr>
                    </a:solidFill>
                  </a:rPr>
                  <a:t>(5)</a:t>
                </a:r>
              </a:p>
            </p:txBody>
          </p:sp>
          <p:sp>
            <p:nvSpPr>
              <p:cNvPr id="1047" name="Rectangle 594">
                <a:extLst>
                  <a:ext uri="{FF2B5EF4-FFF2-40B4-BE49-F238E27FC236}">
                    <a16:creationId xmlns:a16="http://schemas.microsoft.com/office/drawing/2014/main" id="{2AAD514B-0996-4E50-ACAF-B5A95C2642CA}"/>
                  </a:ext>
                </a:extLst>
              </p:cNvPr>
              <p:cNvSpPr/>
              <p:nvPr/>
            </p:nvSpPr>
            <p:spPr>
              <a:xfrm>
                <a:off x="9132466" y="2474311"/>
                <a:ext cx="2027831" cy="146914"/>
              </a:xfrm>
              <a:prstGeom prst="rect">
                <a:avLst/>
              </a:prstGeom>
            </p:spPr>
            <p:txBody>
              <a:bodyPr wrap="none" lIns="0" anchor="ctr">
                <a:noAutofit/>
              </a:bodyPr>
              <a:lstStyle/>
              <a:p>
                <a:pPr marL="15875">
                  <a:lnSpc>
                    <a:spcPts val="1200"/>
                  </a:lnSpc>
                </a:pPr>
                <a:r>
                  <a:rPr lang="de-DE" sz="850" dirty="0"/>
                  <a:t>Research Infrastructure </a:t>
                </a:r>
                <a:r>
                  <a:rPr lang="de-DE" sz="850" b="1" dirty="0">
                    <a:solidFill>
                      <a:schemeClr val="accent4">
                        <a:lumMod val="50000"/>
                      </a:schemeClr>
                    </a:solidFill>
                  </a:rPr>
                  <a:t>(9)</a:t>
                </a:r>
              </a:p>
            </p:txBody>
          </p:sp>
          <p:sp>
            <p:nvSpPr>
              <p:cNvPr id="1048" name="Rectangle 595">
                <a:extLst>
                  <a:ext uri="{FF2B5EF4-FFF2-40B4-BE49-F238E27FC236}">
                    <a16:creationId xmlns:a16="http://schemas.microsoft.com/office/drawing/2014/main" id="{B80CB693-E9EA-4EDB-868D-AFFC1FF1B4F9}"/>
                  </a:ext>
                </a:extLst>
              </p:cNvPr>
              <p:cNvSpPr/>
              <p:nvPr/>
            </p:nvSpPr>
            <p:spPr>
              <a:xfrm>
                <a:off x="9132466" y="2645031"/>
                <a:ext cx="2027831" cy="146914"/>
              </a:xfrm>
              <a:prstGeom prst="rect">
                <a:avLst/>
              </a:prstGeom>
            </p:spPr>
            <p:txBody>
              <a:bodyPr wrap="none" lIns="0" anchor="ctr">
                <a:noAutofit/>
              </a:bodyPr>
              <a:lstStyle/>
              <a:p>
                <a:pPr marL="15875">
                  <a:lnSpc>
                    <a:spcPts val="1200"/>
                  </a:lnSpc>
                </a:pPr>
                <a:r>
                  <a:rPr lang="de-DE" sz="850" dirty="0"/>
                  <a:t>Research Groups </a:t>
                </a:r>
                <a:r>
                  <a:rPr lang="de-DE" sz="850" b="1" dirty="0">
                    <a:solidFill>
                      <a:schemeClr val="accent4">
                        <a:lumMod val="50000"/>
                      </a:schemeClr>
                    </a:solidFill>
                  </a:rPr>
                  <a:t>(2)</a:t>
                </a:r>
              </a:p>
            </p:txBody>
          </p:sp>
        </p:grpSp>
        <p:grpSp>
          <p:nvGrpSpPr>
            <p:cNvPr id="1049" name="Group 596">
              <a:extLst>
                <a:ext uri="{FF2B5EF4-FFF2-40B4-BE49-F238E27FC236}">
                  <a16:creationId xmlns:a16="http://schemas.microsoft.com/office/drawing/2014/main" id="{59897B8E-5EC6-47E5-977B-B92CC8A010A4}"/>
                </a:ext>
              </a:extLst>
            </p:cNvPr>
            <p:cNvGrpSpPr/>
            <p:nvPr/>
          </p:nvGrpSpPr>
          <p:grpSpPr>
            <a:xfrm>
              <a:off x="8847149" y="4160796"/>
              <a:ext cx="2409895" cy="2841594"/>
              <a:chOff x="8833973" y="3292729"/>
              <a:chExt cx="2214728" cy="2841594"/>
            </a:xfrm>
          </p:grpSpPr>
          <p:sp>
            <p:nvSpPr>
              <p:cNvPr id="1060" name="Rechteck 560">
                <a:extLst>
                  <a:ext uri="{FF2B5EF4-FFF2-40B4-BE49-F238E27FC236}">
                    <a16:creationId xmlns:a16="http://schemas.microsoft.com/office/drawing/2014/main" id="{81C5E4CA-1D37-4388-889C-39C6387F3571}"/>
                  </a:ext>
                </a:extLst>
              </p:cNvPr>
              <p:cNvSpPr/>
              <p:nvPr/>
            </p:nvSpPr>
            <p:spPr>
              <a:xfrm>
                <a:off x="8833973" y="4889697"/>
                <a:ext cx="1080000" cy="124462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lIns="72000" rIns="36000">
                <a:no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de-DE" sz="700" b="1" kern="0" dirty="0">
                    <a:solidFill>
                      <a:schemeClr val="bg2"/>
                    </a:solidFill>
                  </a:rPr>
                  <a:t>LATIN AMERICA</a:t>
                </a:r>
                <a:br>
                  <a:rPr lang="de-DE" sz="700" kern="0" dirty="0">
                    <a:solidFill>
                      <a:schemeClr val="bg2"/>
                    </a:solidFill>
                  </a:rPr>
                </a:br>
                <a:r>
                  <a:rPr lang="de-DE" sz="700" b="1" kern="0" dirty="0">
                    <a:solidFill>
                      <a:schemeClr val="bg1"/>
                    </a:solidFill>
                  </a:rPr>
                  <a:t>16 Partner Groups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Argentina	2</a:t>
                </a:r>
              </a:p>
              <a:p>
                <a:pPr marL="803275" indent="-803275"/>
                <a:r>
                  <a:rPr lang="de-DE" sz="700" kern="0" dirty="0" er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Bolivia</a:t>
                </a:r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	1</a:t>
                </a:r>
              </a:p>
              <a:p>
                <a:pPr marL="803275" indent="-803275"/>
                <a:r>
                  <a:rPr lang="de-DE" sz="700" kern="0" dirty="0" er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Brazil</a:t>
                </a:r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 	3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Chile 	4</a:t>
                </a:r>
              </a:p>
              <a:p>
                <a:pPr marL="803275" indent="-803275"/>
                <a:r>
                  <a:rPr lang="de-DE" sz="700" kern="0" dirty="0" er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Colombia</a:t>
                </a:r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	2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Mexico	2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Peru 	1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Uruguay	1</a:t>
                </a:r>
                <a:endParaRPr lang="de-DE" sz="600" kern="0" dirty="0">
                  <a:solidFill>
                    <a:schemeClr val="accent4">
                      <a:lumMod val="60000"/>
                      <a:lumOff val="40000"/>
                    </a:schemeClr>
                  </a:solidFill>
                </a:endParaRPr>
              </a:p>
            </p:txBody>
          </p:sp>
          <p:sp>
            <p:nvSpPr>
              <p:cNvPr id="1058" name="Rechteck 560">
                <a:extLst>
                  <a:ext uri="{FF2B5EF4-FFF2-40B4-BE49-F238E27FC236}">
                    <a16:creationId xmlns:a16="http://schemas.microsoft.com/office/drawing/2014/main" id="{4CB79A48-59B3-40C5-82A0-72D24A6328C3}"/>
                  </a:ext>
                </a:extLst>
              </p:cNvPr>
              <p:cNvSpPr/>
              <p:nvPr/>
            </p:nvSpPr>
            <p:spPr>
              <a:xfrm>
                <a:off x="9964785" y="4889697"/>
                <a:ext cx="1080000" cy="124462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lIns="72000" rIns="36000">
                <a:no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de-DE" sz="700" b="1" kern="0" dirty="0">
                    <a:solidFill>
                      <a:schemeClr val="bg2"/>
                    </a:solidFill>
                  </a:rPr>
                  <a:t>AFRICA</a:t>
                </a:r>
                <a:br>
                  <a:rPr lang="de-DE" sz="700" kern="0" dirty="0">
                    <a:solidFill>
                      <a:schemeClr val="bg2"/>
                    </a:solidFill>
                  </a:rPr>
                </a:br>
                <a:r>
                  <a:rPr lang="de-DE" sz="700" kern="0" dirty="0">
                    <a:solidFill>
                      <a:schemeClr val="bg2"/>
                    </a:solidFill>
                  </a:rPr>
                  <a:t>7</a:t>
                </a:r>
                <a:r>
                  <a:rPr lang="de-DE" sz="700" b="1" kern="0" dirty="0">
                    <a:solidFill>
                      <a:schemeClr val="bg1"/>
                    </a:solidFill>
                  </a:rPr>
                  <a:t> Partner Groups</a:t>
                </a:r>
              </a:p>
              <a:p>
                <a:pPr marL="803275" indent="-803275"/>
                <a:r>
                  <a:rPr lang="de-DE" sz="700" kern="0" dirty="0" er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Ethiopia</a:t>
                </a:r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	1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RSA	1</a:t>
                </a:r>
              </a:p>
              <a:p>
                <a:pPr marL="803275" indent="-803275"/>
                <a:r>
                  <a:rPr lang="de-DE" sz="700" kern="0" dirty="0" er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Kenya</a:t>
                </a:r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	1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Mali	1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Senegal	1</a:t>
                </a:r>
              </a:p>
              <a:p>
                <a:pPr marL="803275" indent="-803275"/>
                <a:r>
                  <a:rPr lang="de-DE" sz="700" kern="0" dirty="0" er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Tanzania</a:t>
                </a:r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	1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Uganda	1</a:t>
                </a:r>
              </a:p>
              <a:p>
                <a:pPr marL="956709" indent="-956709"/>
                <a:endParaRPr lang="de-DE" sz="700" kern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6" name="Rechteck 560">
                <a:extLst>
                  <a:ext uri="{FF2B5EF4-FFF2-40B4-BE49-F238E27FC236}">
                    <a16:creationId xmlns:a16="http://schemas.microsoft.com/office/drawing/2014/main" id="{BDDB26DA-6FFB-494E-8BA1-051E672FFD07}"/>
                  </a:ext>
                </a:extLst>
              </p:cNvPr>
              <p:cNvSpPr/>
              <p:nvPr/>
            </p:nvSpPr>
            <p:spPr>
              <a:xfrm>
                <a:off x="8842980" y="3301635"/>
                <a:ext cx="1090613" cy="85867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lIns="72000" rIns="36000">
                <a:no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de-DE" sz="700" b="1" kern="0" dirty="0">
                    <a:solidFill>
                      <a:schemeClr val="bg2"/>
                    </a:solidFill>
                  </a:rPr>
                  <a:t>ASIA</a:t>
                </a:r>
                <a:br>
                  <a:rPr lang="de-DE" sz="700" kern="0" dirty="0">
                    <a:solidFill>
                      <a:schemeClr val="bg1"/>
                    </a:solidFill>
                  </a:rPr>
                </a:br>
                <a:r>
                  <a:rPr lang="de-DE" sz="700" b="1" kern="0" dirty="0">
                    <a:solidFill>
                      <a:schemeClr val="bg1"/>
                    </a:solidFill>
                  </a:rPr>
                  <a:t>48 Partner Groups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India	24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China	18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Korea	 4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Bhutan	 1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Singapore	 1</a:t>
                </a:r>
              </a:p>
              <a:p>
                <a:pPr marL="803275" indent="-803275"/>
                <a:endParaRPr lang="de-DE" sz="700" kern="0" dirty="0">
                  <a:solidFill>
                    <a:schemeClr val="accent4"/>
                  </a:solidFill>
                </a:endParaRPr>
              </a:p>
              <a:p>
                <a:pPr marL="803275" indent="-803275"/>
                <a:r>
                  <a:rPr lang="de-DE" sz="700" kern="0" dirty="0">
                    <a:solidFill>
                      <a:schemeClr val="accent4"/>
                    </a:solidFill>
                  </a:rPr>
                  <a:t>		</a:t>
                </a:r>
              </a:p>
            </p:txBody>
          </p:sp>
          <p:sp>
            <p:nvSpPr>
              <p:cNvPr id="1054" name="Rechteck 560">
                <a:extLst>
                  <a:ext uri="{FF2B5EF4-FFF2-40B4-BE49-F238E27FC236}">
                    <a16:creationId xmlns:a16="http://schemas.microsoft.com/office/drawing/2014/main" id="{0B451347-5D78-4B7D-ADC2-91B40CEE5642}"/>
                  </a:ext>
                </a:extLst>
              </p:cNvPr>
              <p:cNvSpPr/>
              <p:nvPr/>
            </p:nvSpPr>
            <p:spPr>
              <a:xfrm>
                <a:off x="9968701" y="3292729"/>
                <a:ext cx="1080000" cy="154639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lIns="72000" rIns="36000">
                <a:no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de-DE" sz="700" b="1" kern="0" dirty="0">
                    <a:solidFill>
                      <a:schemeClr val="bg2"/>
                    </a:solidFill>
                  </a:rPr>
                  <a:t>EUROPE</a:t>
                </a:r>
                <a:br>
                  <a:rPr lang="de-DE" sz="700" kern="0" dirty="0">
                    <a:solidFill>
                      <a:schemeClr val="bg1"/>
                    </a:solidFill>
                  </a:rPr>
                </a:br>
                <a:r>
                  <a:rPr lang="de-DE" sz="700" b="1" kern="0" dirty="0">
                    <a:solidFill>
                      <a:schemeClr val="bg1"/>
                    </a:solidFill>
                  </a:rPr>
                  <a:t>20 Partner Groups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Czech </a:t>
                </a:r>
                <a:r>
                  <a:rPr lang="de-DE" sz="700" kern="0" dirty="0" er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Republic</a:t>
                </a:r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	1</a:t>
                </a:r>
              </a:p>
              <a:p>
                <a:pPr marL="803275" indent="-803275"/>
                <a:r>
                  <a:rPr lang="de-DE" sz="700" kern="0" dirty="0" er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Cyprus</a:t>
                </a:r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	2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Estonia	1</a:t>
                </a:r>
              </a:p>
              <a:p>
                <a:pPr marL="803275" indent="-803275"/>
                <a:r>
                  <a:rPr lang="de-DE" sz="700" kern="0" dirty="0" er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Greece</a:t>
                </a:r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	2</a:t>
                </a:r>
              </a:p>
              <a:p>
                <a:pPr marL="803275" indent="-803275"/>
                <a:r>
                  <a:rPr lang="de-DE" sz="700" kern="0" dirty="0" er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Hungary</a:t>
                </a:r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	1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Israel	1</a:t>
                </a:r>
              </a:p>
              <a:p>
                <a:pPr marL="803275" indent="-803275"/>
                <a:r>
                  <a:rPr lang="de-DE" sz="700" kern="0" dirty="0" er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Italy</a:t>
                </a:r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	3</a:t>
                </a:r>
              </a:p>
              <a:p>
                <a:pPr marL="803275" indent="-803275"/>
                <a:r>
                  <a:rPr lang="de-DE" sz="700" kern="0" dirty="0" err="1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Poland</a:t>
                </a:r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	1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Slovenia	1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Spain	6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Turkey	1</a:t>
                </a:r>
              </a:p>
              <a:p>
                <a:pPr marL="803275" indent="-803275"/>
                <a:r>
                  <a:rPr lang="de-DE" sz="700" kern="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	</a:t>
                </a:r>
              </a:p>
            </p:txBody>
          </p:sp>
        </p:grpSp>
        <p:sp>
          <p:nvSpPr>
            <p:cNvPr id="1062" name="Rechteck 21">
              <a:extLst>
                <a:ext uri="{FF2B5EF4-FFF2-40B4-BE49-F238E27FC236}">
                  <a16:creationId xmlns:a16="http://schemas.microsoft.com/office/drawing/2014/main" id="{AD8D7BD8-72BF-4A93-89BF-CE55666F1D51}"/>
                </a:ext>
              </a:extLst>
            </p:cNvPr>
            <p:cNvSpPr/>
            <p:nvPr/>
          </p:nvSpPr>
          <p:spPr>
            <a:xfrm>
              <a:off x="8856950" y="2900770"/>
              <a:ext cx="2387313" cy="264775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1064" name="Flussdiagramm: Verbindungsstelle 565">
              <a:extLst>
                <a:ext uri="{FF2B5EF4-FFF2-40B4-BE49-F238E27FC236}">
                  <a16:creationId xmlns:a16="http://schemas.microsoft.com/office/drawing/2014/main" id="{226F7324-4545-45BB-A384-D8249A5FBD19}"/>
                </a:ext>
              </a:extLst>
            </p:cNvPr>
            <p:cNvSpPr/>
            <p:nvPr/>
          </p:nvSpPr>
          <p:spPr>
            <a:xfrm>
              <a:off x="8960991" y="2973670"/>
              <a:ext cx="126177" cy="126177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234945" indent="-234945" algn="ctr">
                <a:lnSpc>
                  <a:spcPct val="120000"/>
                </a:lnSpc>
                <a:buClr>
                  <a:srgbClr val="116656"/>
                </a:buClr>
                <a:buSzPct val="120000"/>
                <a:buFont typeface="Wingdings" pitchFamily="2" charset="2"/>
                <a:buChar char="§"/>
              </a:pP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1065" name="Rectangle 612">
              <a:extLst>
                <a:ext uri="{FF2B5EF4-FFF2-40B4-BE49-F238E27FC236}">
                  <a16:creationId xmlns:a16="http://schemas.microsoft.com/office/drawing/2014/main" id="{75D2BCAC-8AE4-4744-89DB-AA12A57651B9}"/>
                </a:ext>
              </a:extLst>
            </p:cNvPr>
            <p:cNvSpPr/>
            <p:nvPr/>
          </p:nvSpPr>
          <p:spPr>
            <a:xfrm>
              <a:off x="9146187" y="2955046"/>
              <a:ext cx="2027831" cy="146914"/>
            </a:xfrm>
            <a:prstGeom prst="rect">
              <a:avLst/>
            </a:prstGeom>
          </p:spPr>
          <p:txBody>
            <a:bodyPr wrap="none" lIns="0" anchor="ctr">
              <a:noAutofit/>
            </a:bodyPr>
            <a:lstStyle/>
            <a:p>
              <a:pPr marL="15875">
                <a:lnSpc>
                  <a:spcPts val="1200"/>
                </a:lnSpc>
              </a:pPr>
              <a:r>
                <a:rPr lang="de-DE" sz="850" dirty="0"/>
                <a:t>Independent / Tandem Groups (18) </a:t>
              </a:r>
              <a:endParaRPr lang="de-DE" sz="850" dirty="0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</p:grpSp>
      <p:grpSp>
        <p:nvGrpSpPr>
          <p:cNvPr id="1066" name="Max Planck Centers">
            <a:extLst>
              <a:ext uri="{FF2B5EF4-FFF2-40B4-BE49-F238E27FC236}">
                <a16:creationId xmlns:a16="http://schemas.microsoft.com/office/drawing/2014/main" id="{944EAD73-5558-429E-84C2-F5C1CEDEB4AD}"/>
              </a:ext>
            </a:extLst>
          </p:cNvPr>
          <p:cNvGrpSpPr/>
          <p:nvPr/>
        </p:nvGrpSpPr>
        <p:grpSpPr>
          <a:xfrm>
            <a:off x="2260084" y="3322687"/>
            <a:ext cx="5847559" cy="1358977"/>
            <a:chOff x="2251412" y="3323323"/>
            <a:chExt cx="5847559" cy="1358977"/>
          </a:xfrm>
        </p:grpSpPr>
        <p:grpSp>
          <p:nvGrpSpPr>
            <p:cNvPr id="1067" name="Group 466">
              <a:extLst>
                <a:ext uri="{FF2B5EF4-FFF2-40B4-BE49-F238E27FC236}">
                  <a16:creationId xmlns:a16="http://schemas.microsoft.com/office/drawing/2014/main" id="{0478770F-887A-4E7C-9CEE-100EF3877F71}"/>
                </a:ext>
              </a:extLst>
            </p:cNvPr>
            <p:cNvGrpSpPr/>
            <p:nvPr/>
          </p:nvGrpSpPr>
          <p:grpSpPr>
            <a:xfrm>
              <a:off x="2335637" y="3443139"/>
              <a:ext cx="5763334" cy="1239161"/>
              <a:chOff x="2335637" y="3443139"/>
              <a:chExt cx="5763334" cy="1239161"/>
            </a:xfrm>
          </p:grpSpPr>
          <p:sp>
            <p:nvSpPr>
              <p:cNvPr id="1090" name="Textfeld 471">
                <a:extLst>
                  <a:ext uri="{FF2B5EF4-FFF2-40B4-BE49-F238E27FC236}">
                    <a16:creationId xmlns:a16="http://schemas.microsoft.com/office/drawing/2014/main" id="{80310B47-007C-440D-AB12-02362B595823}"/>
                  </a:ext>
                </a:extLst>
              </p:cNvPr>
              <p:cNvSpPr txBox="1"/>
              <p:nvPr/>
            </p:nvSpPr>
            <p:spPr>
              <a:xfrm>
                <a:off x="3296019" y="3982216"/>
                <a:ext cx="609086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endParaRPr lang="de-DE" sz="600" dirty="0"/>
              </a:p>
            </p:txBody>
          </p:sp>
          <p:sp>
            <p:nvSpPr>
              <p:cNvPr id="1091" name="Textfeld 519">
                <a:extLst>
                  <a:ext uri="{FF2B5EF4-FFF2-40B4-BE49-F238E27FC236}">
                    <a16:creationId xmlns:a16="http://schemas.microsoft.com/office/drawing/2014/main" id="{01663BAD-1E4A-41AE-AEE0-F97D27A25C0E}"/>
                  </a:ext>
                </a:extLst>
              </p:cNvPr>
              <p:cNvSpPr txBox="1"/>
              <p:nvPr/>
            </p:nvSpPr>
            <p:spPr>
              <a:xfrm>
                <a:off x="3386604" y="3901283"/>
                <a:ext cx="735327" cy="184666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Washington, Boston, NY </a:t>
                </a:r>
                <a:r>
                  <a:rPr lang="de-DE" sz="600" dirty="0">
                    <a:solidFill>
                      <a:schemeClr val="accent3"/>
                    </a:solidFill>
                  </a:rPr>
                  <a:t>(2)</a:t>
                </a:r>
              </a:p>
            </p:txBody>
          </p:sp>
          <p:sp>
            <p:nvSpPr>
              <p:cNvPr id="1092" name="Textfeld 520">
                <a:extLst>
                  <a:ext uri="{FF2B5EF4-FFF2-40B4-BE49-F238E27FC236}">
                    <a16:creationId xmlns:a16="http://schemas.microsoft.com/office/drawing/2014/main" id="{A6C03EFA-69F0-4C80-82F1-79298AECE00D}"/>
                  </a:ext>
                </a:extLst>
              </p:cNvPr>
              <p:cNvSpPr txBox="1"/>
              <p:nvPr/>
            </p:nvSpPr>
            <p:spPr>
              <a:xfrm>
                <a:off x="3243865" y="3719440"/>
                <a:ext cx="257207" cy="65485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Ottawa</a:t>
                </a:r>
              </a:p>
            </p:txBody>
          </p:sp>
          <p:sp>
            <p:nvSpPr>
              <p:cNvPr id="1093" name="Textfeld 521">
                <a:extLst>
                  <a:ext uri="{FF2B5EF4-FFF2-40B4-BE49-F238E27FC236}">
                    <a16:creationId xmlns:a16="http://schemas.microsoft.com/office/drawing/2014/main" id="{67BB2C7F-B379-4B61-ABFF-D6CDF371832C}"/>
                  </a:ext>
                </a:extLst>
              </p:cNvPr>
              <p:cNvSpPr txBox="1"/>
              <p:nvPr/>
            </p:nvSpPr>
            <p:spPr>
              <a:xfrm>
                <a:off x="2335637" y="3668665"/>
                <a:ext cx="609087" cy="63290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Vancouver</a:t>
                </a:r>
              </a:p>
            </p:txBody>
          </p:sp>
          <p:sp>
            <p:nvSpPr>
              <p:cNvPr id="1094" name="Textfeld 5">
                <a:extLst>
                  <a:ext uri="{FF2B5EF4-FFF2-40B4-BE49-F238E27FC236}">
                    <a16:creationId xmlns:a16="http://schemas.microsoft.com/office/drawing/2014/main" id="{CF8718EE-CDDD-4F52-AE85-FCA2F517F844}"/>
                  </a:ext>
                </a:extLst>
              </p:cNvPr>
              <p:cNvSpPr txBox="1"/>
              <p:nvPr/>
            </p:nvSpPr>
            <p:spPr>
              <a:xfrm>
                <a:off x="3158388" y="4057340"/>
                <a:ext cx="641145" cy="92333"/>
              </a:xfrm>
              <a:prstGeom prst="rect">
                <a:avLst/>
              </a:prstGeom>
              <a:noFill/>
            </p:spPr>
            <p:txBody>
              <a:bodyPr wrap="square" tIns="0" rIns="0" bIns="0" rtlCol="0">
                <a:spAutoFit/>
              </a:bodyPr>
              <a:lstStyle/>
              <a:p>
                <a:endParaRPr lang="de-DE" sz="600" dirty="0"/>
              </a:p>
            </p:txBody>
          </p:sp>
          <p:sp>
            <p:nvSpPr>
              <p:cNvPr id="1095" name="Textfeld 1023">
                <a:extLst>
                  <a:ext uri="{FF2B5EF4-FFF2-40B4-BE49-F238E27FC236}">
                    <a16:creationId xmlns:a16="http://schemas.microsoft.com/office/drawing/2014/main" id="{BEA9E9DC-A94E-4DE4-B54E-3B920420C8ED}"/>
                  </a:ext>
                </a:extLst>
              </p:cNvPr>
              <p:cNvSpPr txBox="1"/>
              <p:nvPr/>
            </p:nvSpPr>
            <p:spPr>
              <a:xfrm>
                <a:off x="2951245" y="3758304"/>
                <a:ext cx="279126" cy="632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>
                    <a:cs typeface="Arial" panose="020B0604020202020204" pitchFamily="34" charset="0"/>
                  </a:rPr>
                  <a:t>Toronto</a:t>
                </a:r>
              </a:p>
            </p:txBody>
          </p:sp>
          <p:sp>
            <p:nvSpPr>
              <p:cNvPr id="1096" name="Textfeld 1024">
                <a:extLst>
                  <a:ext uri="{FF2B5EF4-FFF2-40B4-BE49-F238E27FC236}">
                    <a16:creationId xmlns:a16="http://schemas.microsoft.com/office/drawing/2014/main" id="{89A4F561-C579-44B0-8513-9034E4BF1FE0}"/>
                  </a:ext>
                </a:extLst>
              </p:cNvPr>
              <p:cNvSpPr txBox="1"/>
              <p:nvPr/>
            </p:nvSpPr>
            <p:spPr>
              <a:xfrm>
                <a:off x="3886409" y="3494872"/>
                <a:ext cx="78943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90000"/>
                  </a:lnSpc>
                </a:pPr>
                <a:r>
                  <a:rPr lang="de-DE" sz="600" dirty="0"/>
                  <a:t>Cardiff, Bristol,</a:t>
                </a:r>
                <a:br>
                  <a:rPr lang="de-DE" sz="600" dirty="0"/>
                </a:br>
                <a:r>
                  <a:rPr lang="de-DE" sz="600" dirty="0"/>
                  <a:t> London </a:t>
                </a:r>
              </a:p>
            </p:txBody>
          </p:sp>
          <p:sp>
            <p:nvSpPr>
              <p:cNvPr id="1097" name="Textfeld 526">
                <a:extLst>
                  <a:ext uri="{FF2B5EF4-FFF2-40B4-BE49-F238E27FC236}">
                    <a16:creationId xmlns:a16="http://schemas.microsoft.com/office/drawing/2014/main" id="{B1BE09A0-C303-43A3-B1CE-3144BCD8971D}"/>
                  </a:ext>
                </a:extLst>
              </p:cNvPr>
              <p:cNvSpPr txBox="1"/>
              <p:nvPr/>
            </p:nvSpPr>
            <p:spPr>
              <a:xfrm>
                <a:off x="4076643" y="3667658"/>
                <a:ext cx="736497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de-DE" sz="600" dirty="0" err="1"/>
                  <a:t>Nijmegen,Twente</a:t>
                </a:r>
                <a:endParaRPr lang="de-DE" sz="600" dirty="0"/>
              </a:p>
            </p:txBody>
          </p:sp>
          <p:sp>
            <p:nvSpPr>
              <p:cNvPr id="1098" name="Textfeld 474">
                <a:extLst>
                  <a:ext uri="{FF2B5EF4-FFF2-40B4-BE49-F238E27FC236}">
                    <a16:creationId xmlns:a16="http://schemas.microsoft.com/office/drawing/2014/main" id="{0AA712EC-7BA6-455F-B053-B7F7A836DCC9}"/>
                  </a:ext>
                </a:extLst>
              </p:cNvPr>
              <p:cNvSpPr txBox="1"/>
              <p:nvPr/>
            </p:nvSpPr>
            <p:spPr>
              <a:xfrm>
                <a:off x="4581755" y="3747300"/>
                <a:ext cx="191542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endParaRPr lang="de-DE" sz="600" dirty="0"/>
              </a:p>
            </p:txBody>
          </p:sp>
          <p:sp>
            <p:nvSpPr>
              <p:cNvPr id="1099" name="Textfeld 1030">
                <a:extLst>
                  <a:ext uri="{FF2B5EF4-FFF2-40B4-BE49-F238E27FC236}">
                    <a16:creationId xmlns:a16="http://schemas.microsoft.com/office/drawing/2014/main" id="{6D8321A7-848F-4D92-A4B1-426A4C54459C}"/>
                  </a:ext>
                </a:extLst>
              </p:cNvPr>
              <p:cNvSpPr txBox="1"/>
              <p:nvPr/>
            </p:nvSpPr>
            <p:spPr>
              <a:xfrm>
                <a:off x="5131419" y="3443139"/>
                <a:ext cx="212695" cy="632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Lund</a:t>
                </a:r>
              </a:p>
            </p:txBody>
          </p:sp>
          <p:sp>
            <p:nvSpPr>
              <p:cNvPr id="1100" name="Textfeld 485">
                <a:extLst>
                  <a:ext uri="{FF2B5EF4-FFF2-40B4-BE49-F238E27FC236}">
                    <a16:creationId xmlns:a16="http://schemas.microsoft.com/office/drawing/2014/main" id="{9B2F827A-4ABE-4AF2-A556-F93691251F5D}"/>
                  </a:ext>
                </a:extLst>
              </p:cNvPr>
              <p:cNvSpPr txBox="1"/>
              <p:nvPr/>
            </p:nvSpPr>
            <p:spPr>
              <a:xfrm>
                <a:off x="5031505" y="3775838"/>
                <a:ext cx="635666" cy="63290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Lausanne/Zurich</a:t>
                </a:r>
              </a:p>
            </p:txBody>
          </p:sp>
          <p:sp>
            <p:nvSpPr>
              <p:cNvPr id="1101" name="Textfeld 480">
                <a:extLst>
                  <a:ext uri="{FF2B5EF4-FFF2-40B4-BE49-F238E27FC236}">
                    <a16:creationId xmlns:a16="http://schemas.microsoft.com/office/drawing/2014/main" id="{871FF6E0-813F-439B-8A55-57F53867D870}"/>
                  </a:ext>
                </a:extLst>
              </p:cNvPr>
              <p:cNvSpPr txBox="1"/>
              <p:nvPr/>
            </p:nvSpPr>
            <p:spPr>
              <a:xfrm>
                <a:off x="6010033" y="4589967"/>
                <a:ext cx="354316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endParaRPr lang="de-DE" sz="600" dirty="0"/>
              </a:p>
            </p:txBody>
          </p:sp>
          <p:sp>
            <p:nvSpPr>
              <p:cNvPr id="1102" name="Textfeld 481">
                <a:extLst>
                  <a:ext uri="{FF2B5EF4-FFF2-40B4-BE49-F238E27FC236}">
                    <a16:creationId xmlns:a16="http://schemas.microsoft.com/office/drawing/2014/main" id="{3F0EFD52-22E9-4623-ACBE-CE269532F01E}"/>
                  </a:ext>
                </a:extLst>
              </p:cNvPr>
              <p:cNvSpPr txBox="1"/>
              <p:nvPr/>
            </p:nvSpPr>
            <p:spPr>
              <a:xfrm>
                <a:off x="7757062" y="4082007"/>
                <a:ext cx="341909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Tokyo </a:t>
                </a:r>
                <a:endParaRPr lang="de-DE" sz="600" dirty="0">
                  <a:solidFill>
                    <a:schemeClr val="accent3"/>
                  </a:solidFill>
                </a:endParaRPr>
              </a:p>
            </p:txBody>
          </p:sp>
          <p:sp>
            <p:nvSpPr>
              <p:cNvPr id="1104" name="Textfeld 532">
                <a:extLst>
                  <a:ext uri="{FF2B5EF4-FFF2-40B4-BE49-F238E27FC236}">
                    <a16:creationId xmlns:a16="http://schemas.microsoft.com/office/drawing/2014/main" id="{85FF7B9B-FC8C-40FB-9E0A-B9EC04A46A9B}"/>
                  </a:ext>
                </a:extLst>
              </p:cNvPr>
              <p:cNvSpPr txBox="1"/>
              <p:nvPr/>
            </p:nvSpPr>
            <p:spPr>
              <a:xfrm>
                <a:off x="7286456" y="4339451"/>
                <a:ext cx="408982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endParaRPr lang="de-DE" sz="600" dirty="0"/>
              </a:p>
            </p:txBody>
          </p:sp>
          <p:sp>
            <p:nvSpPr>
              <p:cNvPr id="1105" name="Textfeld 485">
                <a:extLst>
                  <a:ext uri="{FF2B5EF4-FFF2-40B4-BE49-F238E27FC236}">
                    <a16:creationId xmlns:a16="http://schemas.microsoft.com/office/drawing/2014/main" id="{C5459027-1AF6-4D8B-ACD9-BA0B06A47B02}"/>
                  </a:ext>
                </a:extLst>
              </p:cNvPr>
              <p:cNvSpPr txBox="1"/>
              <p:nvPr/>
            </p:nvSpPr>
            <p:spPr>
              <a:xfrm>
                <a:off x="5985855" y="4006590"/>
                <a:ext cx="635666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endParaRPr lang="de-DE" sz="600" dirty="0"/>
              </a:p>
            </p:txBody>
          </p:sp>
        </p:grpSp>
        <p:grpSp>
          <p:nvGrpSpPr>
            <p:cNvPr id="1068" name="Group 467">
              <a:extLst>
                <a:ext uri="{FF2B5EF4-FFF2-40B4-BE49-F238E27FC236}">
                  <a16:creationId xmlns:a16="http://schemas.microsoft.com/office/drawing/2014/main" id="{CC237C27-53C4-4A8E-8C0C-38303011BDE0}"/>
                </a:ext>
              </a:extLst>
            </p:cNvPr>
            <p:cNvGrpSpPr/>
            <p:nvPr/>
          </p:nvGrpSpPr>
          <p:grpSpPr>
            <a:xfrm>
              <a:off x="2251412" y="3323323"/>
              <a:ext cx="5490000" cy="826895"/>
              <a:chOff x="2251412" y="3323323"/>
              <a:chExt cx="5490810" cy="826895"/>
            </a:xfrm>
          </p:grpSpPr>
          <p:sp>
            <p:nvSpPr>
              <p:cNvPr id="1069" name="Flussdiagramm: Verbindungsstelle 565">
                <a:extLst>
                  <a:ext uri="{FF2B5EF4-FFF2-40B4-BE49-F238E27FC236}">
                    <a16:creationId xmlns:a16="http://schemas.microsoft.com/office/drawing/2014/main" id="{D2F103F1-F7A1-4A51-AE97-F8976E8A0262}"/>
                  </a:ext>
                </a:extLst>
              </p:cNvPr>
              <p:cNvSpPr/>
              <p:nvPr/>
            </p:nvSpPr>
            <p:spPr>
              <a:xfrm>
                <a:off x="2251412" y="3678597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0" name="Flussdiagramm: Verbindungsstelle 565">
                <a:extLst>
                  <a:ext uri="{FF2B5EF4-FFF2-40B4-BE49-F238E27FC236}">
                    <a16:creationId xmlns:a16="http://schemas.microsoft.com/office/drawing/2014/main" id="{AE377DE0-760C-41D1-B521-E136875456A2}"/>
                  </a:ext>
                </a:extLst>
              </p:cNvPr>
              <p:cNvSpPr/>
              <p:nvPr/>
            </p:nvSpPr>
            <p:spPr>
              <a:xfrm>
                <a:off x="3129807" y="3855367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3" name="Flussdiagramm: Verbindungsstelle 565">
                <a:extLst>
                  <a:ext uri="{FF2B5EF4-FFF2-40B4-BE49-F238E27FC236}">
                    <a16:creationId xmlns:a16="http://schemas.microsoft.com/office/drawing/2014/main" id="{E40EF23A-EE1D-46B1-8A75-C66CEF9AD82C}"/>
                  </a:ext>
                </a:extLst>
              </p:cNvPr>
              <p:cNvSpPr/>
              <p:nvPr/>
            </p:nvSpPr>
            <p:spPr>
              <a:xfrm>
                <a:off x="3237494" y="3919648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4" name="Flussdiagramm: Verbindungsstelle 565">
                <a:extLst>
                  <a:ext uri="{FF2B5EF4-FFF2-40B4-BE49-F238E27FC236}">
                    <a16:creationId xmlns:a16="http://schemas.microsoft.com/office/drawing/2014/main" id="{DE8A8A3E-46E0-41F6-A015-5D4B51F559E6}"/>
                  </a:ext>
                </a:extLst>
              </p:cNvPr>
              <p:cNvSpPr/>
              <p:nvPr/>
            </p:nvSpPr>
            <p:spPr>
              <a:xfrm>
                <a:off x="3309103" y="3915697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5" name="Flussdiagramm: Verbindungsstelle 565">
                <a:extLst>
                  <a:ext uri="{FF2B5EF4-FFF2-40B4-BE49-F238E27FC236}">
                    <a16:creationId xmlns:a16="http://schemas.microsoft.com/office/drawing/2014/main" id="{2227D562-DDB3-4FE7-81FF-41802ECB10DB}"/>
                  </a:ext>
                </a:extLst>
              </p:cNvPr>
              <p:cNvSpPr/>
              <p:nvPr/>
            </p:nvSpPr>
            <p:spPr>
              <a:xfrm>
                <a:off x="3246751" y="3805705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7" name="Flussdiagramm: Verbindungsstelle 565">
                <a:extLst>
                  <a:ext uri="{FF2B5EF4-FFF2-40B4-BE49-F238E27FC236}">
                    <a16:creationId xmlns:a16="http://schemas.microsoft.com/office/drawing/2014/main" id="{1CDDBAB5-EA08-444A-B929-C52D31AC0475}"/>
                  </a:ext>
                </a:extLst>
              </p:cNvPr>
              <p:cNvSpPr/>
              <p:nvPr/>
            </p:nvSpPr>
            <p:spPr>
              <a:xfrm>
                <a:off x="4686549" y="3494872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8" name="Flussdiagramm: Verbindungsstelle 565">
                <a:extLst>
                  <a:ext uri="{FF2B5EF4-FFF2-40B4-BE49-F238E27FC236}">
                    <a16:creationId xmlns:a16="http://schemas.microsoft.com/office/drawing/2014/main" id="{208EF0CD-6490-4978-922F-B33AF9BFE607}"/>
                  </a:ext>
                </a:extLst>
              </p:cNvPr>
              <p:cNvSpPr/>
              <p:nvPr/>
            </p:nvSpPr>
            <p:spPr>
              <a:xfrm>
                <a:off x="4686549" y="3585556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9" name="Flussdiagramm: Verbindungsstelle 565">
                <a:extLst>
                  <a:ext uri="{FF2B5EF4-FFF2-40B4-BE49-F238E27FC236}">
                    <a16:creationId xmlns:a16="http://schemas.microsoft.com/office/drawing/2014/main" id="{00F7B03E-937D-442F-AF8C-9B6E66DA8EDA}"/>
                  </a:ext>
                </a:extLst>
              </p:cNvPr>
              <p:cNvSpPr/>
              <p:nvPr/>
            </p:nvSpPr>
            <p:spPr>
              <a:xfrm>
                <a:off x="4758382" y="3585556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0" name="Flussdiagramm: Verbindungsstelle 565">
                <a:extLst>
                  <a:ext uri="{FF2B5EF4-FFF2-40B4-BE49-F238E27FC236}">
                    <a16:creationId xmlns:a16="http://schemas.microsoft.com/office/drawing/2014/main" id="{342BB834-211C-4F55-AE34-CA254F964CF2}"/>
                  </a:ext>
                </a:extLst>
              </p:cNvPr>
              <p:cNvSpPr/>
              <p:nvPr/>
            </p:nvSpPr>
            <p:spPr>
              <a:xfrm>
                <a:off x="4821955" y="3682007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1" name="Flussdiagramm: Verbindungsstelle 565">
                <a:extLst>
                  <a:ext uri="{FF2B5EF4-FFF2-40B4-BE49-F238E27FC236}">
                    <a16:creationId xmlns:a16="http://schemas.microsoft.com/office/drawing/2014/main" id="{20FAF22D-736F-4E42-B04B-F8D4E5FA2EB0}"/>
                  </a:ext>
                </a:extLst>
              </p:cNvPr>
              <p:cNvSpPr/>
              <p:nvPr/>
            </p:nvSpPr>
            <p:spPr>
              <a:xfrm>
                <a:off x="5046857" y="3454842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2" name="Flussdiagramm: Verbindungsstelle 565">
                <a:extLst>
                  <a:ext uri="{FF2B5EF4-FFF2-40B4-BE49-F238E27FC236}">
                    <a16:creationId xmlns:a16="http://schemas.microsoft.com/office/drawing/2014/main" id="{541AFA91-82D7-4588-B8EA-9DDB730D54B4}"/>
                  </a:ext>
                </a:extLst>
              </p:cNvPr>
              <p:cNvSpPr/>
              <p:nvPr/>
            </p:nvSpPr>
            <p:spPr>
              <a:xfrm>
                <a:off x="3217059" y="3989817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3" name="Flussdiagramm: Verbindungsstelle 565">
                <a:extLst>
                  <a:ext uri="{FF2B5EF4-FFF2-40B4-BE49-F238E27FC236}">
                    <a16:creationId xmlns:a16="http://schemas.microsoft.com/office/drawing/2014/main" id="{FBE915B4-E670-452A-8F3D-FCD221C7C9A6}"/>
                  </a:ext>
                </a:extLst>
              </p:cNvPr>
              <p:cNvSpPr/>
              <p:nvPr/>
            </p:nvSpPr>
            <p:spPr>
              <a:xfrm>
                <a:off x="4877596" y="3786684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4" name="Flussdiagramm: Verbindungsstelle 565">
                <a:extLst>
                  <a:ext uri="{FF2B5EF4-FFF2-40B4-BE49-F238E27FC236}">
                    <a16:creationId xmlns:a16="http://schemas.microsoft.com/office/drawing/2014/main" id="{7D205D90-76F2-4EB1-ADF3-55004A7BF9B5}"/>
                  </a:ext>
                </a:extLst>
              </p:cNvPr>
              <p:cNvSpPr/>
              <p:nvPr/>
            </p:nvSpPr>
            <p:spPr>
              <a:xfrm>
                <a:off x="4947209" y="3787952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5" name="Flussdiagramm: Verbindungsstelle 565">
                <a:extLst>
                  <a:ext uri="{FF2B5EF4-FFF2-40B4-BE49-F238E27FC236}">
                    <a16:creationId xmlns:a16="http://schemas.microsoft.com/office/drawing/2014/main" id="{AEA9E68A-E288-43CF-A88A-F7E87C26F165}"/>
                  </a:ext>
                </a:extLst>
              </p:cNvPr>
              <p:cNvSpPr/>
              <p:nvPr/>
            </p:nvSpPr>
            <p:spPr>
              <a:xfrm>
                <a:off x="5259119" y="3323323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7" name="Flussdiagramm: Verbindungsstelle 565">
                <a:extLst>
                  <a:ext uri="{FF2B5EF4-FFF2-40B4-BE49-F238E27FC236}">
                    <a16:creationId xmlns:a16="http://schemas.microsoft.com/office/drawing/2014/main" id="{D9B07FB2-00F3-4B04-81D2-51C445FF8397}"/>
                  </a:ext>
                </a:extLst>
              </p:cNvPr>
              <p:cNvSpPr/>
              <p:nvPr/>
            </p:nvSpPr>
            <p:spPr>
              <a:xfrm>
                <a:off x="7677422" y="4085418"/>
                <a:ext cx="64800" cy="64800"/>
              </a:xfrm>
              <a:prstGeom prst="flowChartConnector">
                <a:avLst/>
              </a:prstGeom>
              <a:solidFill>
                <a:schemeClr val="accent1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106" name="MPI (Institute) abroad">
            <a:extLst>
              <a:ext uri="{FF2B5EF4-FFF2-40B4-BE49-F238E27FC236}">
                <a16:creationId xmlns:a16="http://schemas.microsoft.com/office/drawing/2014/main" id="{B4C338CB-A196-4CC3-BD0A-2F85B44D0D26}"/>
              </a:ext>
            </a:extLst>
          </p:cNvPr>
          <p:cNvGrpSpPr/>
          <p:nvPr/>
        </p:nvGrpSpPr>
        <p:grpSpPr>
          <a:xfrm>
            <a:off x="3072816" y="3559481"/>
            <a:ext cx="2795609" cy="813215"/>
            <a:chOff x="3072816" y="3559481"/>
            <a:chExt cx="2795609" cy="813215"/>
          </a:xfrm>
        </p:grpSpPr>
        <p:grpSp>
          <p:nvGrpSpPr>
            <p:cNvPr id="1107" name="Group 5">
              <a:extLst>
                <a:ext uri="{FF2B5EF4-FFF2-40B4-BE49-F238E27FC236}">
                  <a16:creationId xmlns:a16="http://schemas.microsoft.com/office/drawing/2014/main" id="{1B8D7A20-C421-4592-8661-1640A8181E69}"/>
                </a:ext>
              </a:extLst>
            </p:cNvPr>
            <p:cNvGrpSpPr/>
            <p:nvPr/>
          </p:nvGrpSpPr>
          <p:grpSpPr>
            <a:xfrm>
              <a:off x="3163865" y="3559481"/>
              <a:ext cx="2704560" cy="813215"/>
              <a:chOff x="3163865" y="3559481"/>
              <a:chExt cx="2704560" cy="813215"/>
            </a:xfrm>
          </p:grpSpPr>
          <p:sp>
            <p:nvSpPr>
              <p:cNvPr id="1114" name="Textfeld 490">
                <a:extLst>
                  <a:ext uri="{FF2B5EF4-FFF2-40B4-BE49-F238E27FC236}">
                    <a16:creationId xmlns:a16="http://schemas.microsoft.com/office/drawing/2014/main" id="{79F7D9BB-779E-4503-97C2-5AA1E50BE9C6}"/>
                  </a:ext>
                </a:extLst>
              </p:cNvPr>
              <p:cNvSpPr txBox="1"/>
              <p:nvPr/>
            </p:nvSpPr>
            <p:spPr>
              <a:xfrm>
                <a:off x="3163865" y="4280157"/>
                <a:ext cx="682543" cy="92539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Jupiter, FL</a:t>
                </a:r>
              </a:p>
            </p:txBody>
          </p:sp>
          <p:sp>
            <p:nvSpPr>
              <p:cNvPr id="1115" name="Textfeld 492">
                <a:extLst>
                  <a:ext uri="{FF2B5EF4-FFF2-40B4-BE49-F238E27FC236}">
                    <a16:creationId xmlns:a16="http://schemas.microsoft.com/office/drawing/2014/main" id="{FF0CBF45-8347-4972-AD58-573061FEC251}"/>
                  </a:ext>
                </a:extLst>
              </p:cNvPr>
              <p:cNvSpPr txBox="1"/>
              <p:nvPr/>
            </p:nvSpPr>
            <p:spPr>
              <a:xfrm>
                <a:off x="4968633" y="3559481"/>
                <a:ext cx="682543" cy="92539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 err="1"/>
                  <a:t>Nijmegen</a:t>
                </a:r>
                <a:r>
                  <a:rPr lang="de-DE" sz="600" dirty="0"/>
                  <a:t> </a:t>
                </a:r>
              </a:p>
            </p:txBody>
          </p:sp>
          <p:sp>
            <p:nvSpPr>
              <p:cNvPr id="1116" name="Textfeld 493">
                <a:extLst>
                  <a:ext uri="{FF2B5EF4-FFF2-40B4-BE49-F238E27FC236}">
                    <a16:creationId xmlns:a16="http://schemas.microsoft.com/office/drawing/2014/main" id="{111F2DD8-97BF-470B-9AF8-0C13A84A4EAC}"/>
                  </a:ext>
                </a:extLst>
              </p:cNvPr>
              <p:cNvSpPr txBox="1"/>
              <p:nvPr/>
            </p:nvSpPr>
            <p:spPr>
              <a:xfrm>
                <a:off x="5145642" y="3869579"/>
                <a:ext cx="682543" cy="92539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>
                    <a:cs typeface="Arial" panose="020B0604020202020204" pitchFamily="34" charset="0"/>
                  </a:rPr>
                  <a:t>Florence</a:t>
                </a:r>
              </a:p>
            </p:txBody>
          </p:sp>
          <p:sp>
            <p:nvSpPr>
              <p:cNvPr id="1117" name="Textfeld 493">
                <a:extLst>
                  <a:ext uri="{FF2B5EF4-FFF2-40B4-BE49-F238E27FC236}">
                    <a16:creationId xmlns:a16="http://schemas.microsoft.com/office/drawing/2014/main" id="{21B9F531-F24B-44D5-81D9-4B7E254DE599}"/>
                  </a:ext>
                </a:extLst>
              </p:cNvPr>
              <p:cNvSpPr txBox="1"/>
              <p:nvPr/>
            </p:nvSpPr>
            <p:spPr>
              <a:xfrm>
                <a:off x="5185882" y="3941271"/>
                <a:ext cx="682543" cy="92539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 err="1">
                    <a:cs typeface="Arial" panose="020B0604020202020204" pitchFamily="34" charset="0"/>
                  </a:rPr>
                  <a:t>Rome</a:t>
                </a:r>
                <a:endParaRPr lang="de-DE" sz="600" dirty="0">
                  <a:cs typeface="Arial" panose="020B0604020202020204" pitchFamily="34" charset="0"/>
                </a:endParaRPr>
              </a:p>
            </p:txBody>
          </p:sp>
          <p:sp>
            <p:nvSpPr>
              <p:cNvPr id="1118" name="Textfeld 491">
                <a:extLst>
                  <a:ext uri="{FF2B5EF4-FFF2-40B4-BE49-F238E27FC236}">
                    <a16:creationId xmlns:a16="http://schemas.microsoft.com/office/drawing/2014/main" id="{303A12A1-CAA6-4193-B18D-2D7750EAC7E8}"/>
                  </a:ext>
                </a:extLst>
              </p:cNvPr>
              <p:cNvSpPr txBox="1"/>
              <p:nvPr/>
            </p:nvSpPr>
            <p:spPr>
              <a:xfrm>
                <a:off x="4970646" y="3675306"/>
                <a:ext cx="682543" cy="92539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Luxembourg</a:t>
                </a:r>
              </a:p>
            </p:txBody>
          </p:sp>
        </p:grpSp>
        <p:grpSp>
          <p:nvGrpSpPr>
            <p:cNvPr id="1108" name="Group 4">
              <a:extLst>
                <a:ext uri="{FF2B5EF4-FFF2-40B4-BE49-F238E27FC236}">
                  <a16:creationId xmlns:a16="http://schemas.microsoft.com/office/drawing/2014/main" id="{9E0E942E-2E9B-4E2C-A997-2AB9E5B52CA3}"/>
                </a:ext>
              </a:extLst>
            </p:cNvPr>
            <p:cNvGrpSpPr/>
            <p:nvPr/>
          </p:nvGrpSpPr>
          <p:grpSpPr>
            <a:xfrm>
              <a:off x="3072816" y="3566171"/>
              <a:ext cx="2098985" cy="791507"/>
              <a:chOff x="3072816" y="3566171"/>
              <a:chExt cx="2098985" cy="791507"/>
            </a:xfrm>
          </p:grpSpPr>
          <p:sp>
            <p:nvSpPr>
              <p:cNvPr id="1109" name="Flussdiagramm: Verbindungsstelle 565">
                <a:extLst>
                  <a:ext uri="{FF2B5EF4-FFF2-40B4-BE49-F238E27FC236}">
                    <a16:creationId xmlns:a16="http://schemas.microsoft.com/office/drawing/2014/main" id="{CAAEA456-3A4C-42E1-B571-AB0715DFFD36}"/>
                  </a:ext>
                </a:extLst>
              </p:cNvPr>
              <p:cNvSpPr/>
              <p:nvPr/>
            </p:nvSpPr>
            <p:spPr>
              <a:xfrm>
                <a:off x="3072816" y="4292878"/>
                <a:ext cx="64813" cy="64800"/>
              </a:xfrm>
              <a:prstGeom prst="flowChartConnector">
                <a:avLst/>
              </a:prstGeom>
              <a:solidFill>
                <a:schemeClr val="accent5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0" name="Flussdiagramm: Verbindungsstelle 565">
                <a:extLst>
                  <a:ext uri="{FF2B5EF4-FFF2-40B4-BE49-F238E27FC236}">
                    <a16:creationId xmlns:a16="http://schemas.microsoft.com/office/drawing/2014/main" id="{446A4622-ACDE-4D40-BA2D-413C2390803C}"/>
                  </a:ext>
                </a:extLst>
              </p:cNvPr>
              <p:cNvSpPr/>
              <p:nvPr/>
            </p:nvSpPr>
            <p:spPr>
              <a:xfrm>
                <a:off x="4889664" y="3566171"/>
                <a:ext cx="64813" cy="64800"/>
              </a:xfrm>
              <a:prstGeom prst="flowChartConnector">
                <a:avLst/>
              </a:prstGeom>
              <a:solidFill>
                <a:schemeClr val="accent5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1" name="Flussdiagramm: Verbindungsstelle 565">
                <a:extLst>
                  <a:ext uri="{FF2B5EF4-FFF2-40B4-BE49-F238E27FC236}">
                    <a16:creationId xmlns:a16="http://schemas.microsoft.com/office/drawing/2014/main" id="{5B56DF75-505B-431E-801C-EEFAFC63FAB6}"/>
                  </a:ext>
                </a:extLst>
              </p:cNvPr>
              <p:cNvSpPr/>
              <p:nvPr/>
            </p:nvSpPr>
            <p:spPr>
              <a:xfrm>
                <a:off x="5060616" y="3885616"/>
                <a:ext cx="64813" cy="64800"/>
              </a:xfrm>
              <a:prstGeom prst="flowChartConnector">
                <a:avLst/>
              </a:prstGeom>
              <a:solidFill>
                <a:schemeClr val="accent5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2" name="Flussdiagramm: Verbindungsstelle 565">
                <a:extLst>
                  <a:ext uri="{FF2B5EF4-FFF2-40B4-BE49-F238E27FC236}">
                    <a16:creationId xmlns:a16="http://schemas.microsoft.com/office/drawing/2014/main" id="{BA04B407-33AA-42C2-82DC-517BEB65A988}"/>
                  </a:ext>
                </a:extLst>
              </p:cNvPr>
              <p:cNvSpPr/>
              <p:nvPr/>
            </p:nvSpPr>
            <p:spPr>
              <a:xfrm>
                <a:off x="5106988" y="3954243"/>
                <a:ext cx="64813" cy="64800"/>
              </a:xfrm>
              <a:prstGeom prst="flowChartConnector">
                <a:avLst/>
              </a:prstGeom>
              <a:solidFill>
                <a:schemeClr val="accent5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3" name="Flussdiagramm: Verbindungsstelle 565">
                <a:extLst>
                  <a:ext uri="{FF2B5EF4-FFF2-40B4-BE49-F238E27FC236}">
                    <a16:creationId xmlns:a16="http://schemas.microsoft.com/office/drawing/2014/main" id="{795904FA-A84D-40A9-A1EC-F9908A719197}"/>
                  </a:ext>
                </a:extLst>
              </p:cNvPr>
              <p:cNvSpPr/>
              <p:nvPr/>
            </p:nvSpPr>
            <p:spPr>
              <a:xfrm>
                <a:off x="4890404" y="3691782"/>
                <a:ext cx="64813" cy="64800"/>
              </a:xfrm>
              <a:prstGeom prst="flowChartConnector">
                <a:avLst/>
              </a:prstGeom>
              <a:solidFill>
                <a:schemeClr val="accent5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119" name="Partner Institutes">
            <a:extLst>
              <a:ext uri="{FF2B5EF4-FFF2-40B4-BE49-F238E27FC236}">
                <a16:creationId xmlns:a16="http://schemas.microsoft.com/office/drawing/2014/main" id="{DBB06EB4-FF2D-4141-8B5F-FA20D2180FCE}"/>
              </a:ext>
            </a:extLst>
          </p:cNvPr>
          <p:cNvGrpSpPr/>
          <p:nvPr/>
        </p:nvGrpSpPr>
        <p:grpSpPr>
          <a:xfrm>
            <a:off x="3595235" y="5702015"/>
            <a:ext cx="776186" cy="92539"/>
            <a:chOff x="3595235" y="5702015"/>
            <a:chExt cx="776186" cy="92539"/>
          </a:xfrm>
        </p:grpSpPr>
        <p:sp>
          <p:nvSpPr>
            <p:cNvPr id="1124" name="Textfeld 473">
              <a:extLst>
                <a:ext uri="{FF2B5EF4-FFF2-40B4-BE49-F238E27FC236}">
                  <a16:creationId xmlns:a16="http://schemas.microsoft.com/office/drawing/2014/main" id="{8D315F87-8031-4350-847B-39F05262597D}"/>
                </a:ext>
              </a:extLst>
            </p:cNvPr>
            <p:cNvSpPr txBox="1"/>
            <p:nvPr/>
          </p:nvSpPr>
          <p:spPr>
            <a:xfrm>
              <a:off x="3688878" y="5702015"/>
              <a:ext cx="682543" cy="9253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600" dirty="0"/>
                <a:t>Buenos Aires</a:t>
              </a:r>
            </a:p>
          </p:txBody>
        </p:sp>
        <p:sp>
          <p:nvSpPr>
            <p:cNvPr id="1122" name="Flussdiagramm: Verbindungsstelle 565">
              <a:extLst>
                <a:ext uri="{FF2B5EF4-FFF2-40B4-BE49-F238E27FC236}">
                  <a16:creationId xmlns:a16="http://schemas.microsoft.com/office/drawing/2014/main" id="{0660E8E3-F2DD-4709-BDC8-763AD681489D}"/>
                </a:ext>
              </a:extLst>
            </p:cNvPr>
            <p:cNvSpPr/>
            <p:nvPr/>
          </p:nvSpPr>
          <p:spPr>
            <a:xfrm>
              <a:off x="3595235" y="5716504"/>
              <a:ext cx="64813" cy="64800"/>
            </a:xfrm>
            <a:prstGeom prst="flowChartConnector">
              <a:avLst/>
            </a:prstGeom>
            <a:solidFill>
              <a:schemeClr val="accent5"/>
            </a:solidFill>
            <a:ln w="63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234945" indent="-234945" algn="ctr">
                <a:lnSpc>
                  <a:spcPct val="120000"/>
                </a:lnSpc>
                <a:buClr>
                  <a:srgbClr val="116656"/>
                </a:buClr>
                <a:buSzPct val="120000"/>
                <a:buFont typeface="Wingdings" pitchFamily="2" charset="2"/>
                <a:buChar char="§"/>
              </a:pPr>
              <a:endParaRPr lang="de-DE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26" name="Research Infrastructure">
            <a:extLst>
              <a:ext uri="{FF2B5EF4-FFF2-40B4-BE49-F238E27FC236}">
                <a16:creationId xmlns:a16="http://schemas.microsoft.com/office/drawing/2014/main" id="{403DDE79-9171-403C-B9ED-729D423493F1}"/>
              </a:ext>
            </a:extLst>
          </p:cNvPr>
          <p:cNvGrpSpPr/>
          <p:nvPr/>
        </p:nvGrpSpPr>
        <p:grpSpPr>
          <a:xfrm>
            <a:off x="1564932" y="3317292"/>
            <a:ext cx="5263201" cy="2194645"/>
            <a:chOff x="1564932" y="3317292"/>
            <a:chExt cx="5263201" cy="2194645"/>
          </a:xfrm>
        </p:grpSpPr>
        <p:grpSp>
          <p:nvGrpSpPr>
            <p:cNvPr id="1127" name="Group 393">
              <a:extLst>
                <a:ext uri="{FF2B5EF4-FFF2-40B4-BE49-F238E27FC236}">
                  <a16:creationId xmlns:a16="http://schemas.microsoft.com/office/drawing/2014/main" id="{3AD00F65-3082-438F-AE37-766AB3D485FB}"/>
                </a:ext>
              </a:extLst>
            </p:cNvPr>
            <p:cNvGrpSpPr/>
            <p:nvPr/>
          </p:nvGrpSpPr>
          <p:grpSpPr>
            <a:xfrm>
              <a:off x="1668552" y="3317292"/>
              <a:ext cx="5159581" cy="2194645"/>
              <a:chOff x="1668552" y="3317292"/>
              <a:chExt cx="5159581" cy="2194645"/>
            </a:xfrm>
          </p:grpSpPr>
          <p:sp>
            <p:nvSpPr>
              <p:cNvPr id="1139" name="Textfeld 470">
                <a:extLst>
                  <a:ext uri="{FF2B5EF4-FFF2-40B4-BE49-F238E27FC236}">
                    <a16:creationId xmlns:a16="http://schemas.microsoft.com/office/drawing/2014/main" id="{BFBC194E-C1FF-4E9C-9074-FEAD9F5DE759}"/>
                  </a:ext>
                </a:extLst>
              </p:cNvPr>
              <p:cNvSpPr txBox="1"/>
              <p:nvPr/>
            </p:nvSpPr>
            <p:spPr>
              <a:xfrm>
                <a:off x="1876984" y="4042308"/>
                <a:ext cx="527909" cy="927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de-DE" sz="600" dirty="0"/>
                  <a:t>Arizona, LBT</a:t>
                </a:r>
              </a:p>
            </p:txBody>
          </p:sp>
          <p:sp>
            <p:nvSpPr>
              <p:cNvPr id="1140" name="Textfeld 489">
                <a:extLst>
                  <a:ext uri="{FF2B5EF4-FFF2-40B4-BE49-F238E27FC236}">
                    <a16:creationId xmlns:a16="http://schemas.microsoft.com/office/drawing/2014/main" id="{1F3F954D-39AA-4100-9033-4C3BD6D01D9F}"/>
                  </a:ext>
                </a:extLst>
              </p:cNvPr>
              <p:cNvSpPr txBox="1"/>
              <p:nvPr/>
            </p:nvSpPr>
            <p:spPr>
              <a:xfrm>
                <a:off x="1668552" y="4410737"/>
                <a:ext cx="827652" cy="927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de-DE" sz="600" dirty="0"/>
                  <a:t>Hawaii, </a:t>
                </a:r>
                <a:r>
                  <a:rPr lang="de-DE" sz="600" dirty="0" err="1"/>
                  <a:t>PanSTARRS</a:t>
                </a:r>
                <a:endParaRPr lang="de-DE" sz="600" dirty="0"/>
              </a:p>
            </p:txBody>
          </p:sp>
          <p:sp>
            <p:nvSpPr>
              <p:cNvPr id="1141" name="Textfeld 484">
                <a:extLst>
                  <a:ext uri="{FF2B5EF4-FFF2-40B4-BE49-F238E27FC236}">
                    <a16:creationId xmlns:a16="http://schemas.microsoft.com/office/drawing/2014/main" id="{7ED57460-45CB-4F18-B1DB-D7225945BC4D}"/>
                  </a:ext>
                </a:extLst>
              </p:cNvPr>
              <p:cNvSpPr txBox="1"/>
              <p:nvPr/>
            </p:nvSpPr>
            <p:spPr>
              <a:xfrm>
                <a:off x="6226802" y="3317292"/>
                <a:ext cx="601331" cy="927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de-DE" sz="600" dirty="0"/>
                  <a:t>Zotino, ZOTTO</a:t>
                </a:r>
              </a:p>
            </p:txBody>
          </p:sp>
          <p:sp>
            <p:nvSpPr>
              <p:cNvPr id="1142" name="Textfeld 495">
                <a:extLst>
                  <a:ext uri="{FF2B5EF4-FFF2-40B4-BE49-F238E27FC236}">
                    <a16:creationId xmlns:a16="http://schemas.microsoft.com/office/drawing/2014/main" id="{E871A31D-3C13-45A8-8A77-15EE7E367987}"/>
                  </a:ext>
                </a:extLst>
              </p:cNvPr>
              <p:cNvSpPr txBox="1"/>
              <p:nvPr/>
            </p:nvSpPr>
            <p:spPr>
              <a:xfrm>
                <a:off x="3919378" y="5167393"/>
                <a:ext cx="586585" cy="927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de-DE" sz="600" dirty="0"/>
                  <a:t>Manaus, ATTO</a:t>
                </a:r>
              </a:p>
            </p:txBody>
          </p:sp>
          <p:sp>
            <p:nvSpPr>
              <p:cNvPr id="1143" name="Textfeld 487">
                <a:extLst>
                  <a:ext uri="{FF2B5EF4-FFF2-40B4-BE49-F238E27FC236}">
                    <a16:creationId xmlns:a16="http://schemas.microsoft.com/office/drawing/2014/main" id="{23418DD6-5D60-4291-B6D7-DD7AD97EDC4C}"/>
                  </a:ext>
                </a:extLst>
              </p:cNvPr>
              <p:cNvSpPr txBox="1"/>
              <p:nvPr/>
            </p:nvSpPr>
            <p:spPr>
              <a:xfrm>
                <a:off x="3897288" y="4403205"/>
                <a:ext cx="1020261" cy="185440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de-DE" sz="600" dirty="0"/>
                  <a:t>La Palma, MAGIC Tenerife, Solar </a:t>
                </a:r>
                <a:r>
                  <a:rPr lang="de-DE" sz="600" dirty="0" err="1"/>
                  <a:t>Telescopes</a:t>
                </a:r>
                <a:endParaRPr lang="de-DE" sz="600" dirty="0"/>
              </a:p>
            </p:txBody>
          </p:sp>
          <p:sp>
            <p:nvSpPr>
              <p:cNvPr id="1144" name="Textfeld 477">
                <a:extLst>
                  <a:ext uri="{FF2B5EF4-FFF2-40B4-BE49-F238E27FC236}">
                    <a16:creationId xmlns:a16="http://schemas.microsoft.com/office/drawing/2014/main" id="{4E5AA8ED-04B5-4253-A8F7-1A23958CD8BC}"/>
                  </a:ext>
                </a:extLst>
              </p:cNvPr>
              <p:cNvSpPr txBox="1"/>
              <p:nvPr/>
            </p:nvSpPr>
            <p:spPr>
              <a:xfrm>
                <a:off x="4357177" y="5345738"/>
                <a:ext cx="730126" cy="166199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90000"/>
                  </a:lnSpc>
                </a:pPr>
                <a:r>
                  <a:rPr lang="de-DE" sz="600" dirty="0"/>
                  <a:t>Namibia, </a:t>
                </a:r>
                <a:br>
                  <a:rPr lang="de-DE" sz="600" dirty="0"/>
                </a:br>
                <a:r>
                  <a:rPr lang="de-DE" sz="600" dirty="0"/>
                  <a:t>H.E.S.S.</a:t>
                </a:r>
              </a:p>
            </p:txBody>
          </p:sp>
          <p:sp>
            <p:nvSpPr>
              <p:cNvPr id="1145" name="Textfeld 486">
                <a:extLst>
                  <a:ext uri="{FF2B5EF4-FFF2-40B4-BE49-F238E27FC236}">
                    <a16:creationId xmlns:a16="http://schemas.microsoft.com/office/drawing/2014/main" id="{2F758A7F-BD3B-4B08-BE3F-EE8EEB137C4E}"/>
                  </a:ext>
                </a:extLst>
              </p:cNvPr>
              <p:cNvSpPr txBox="1"/>
              <p:nvPr/>
            </p:nvSpPr>
            <p:spPr>
              <a:xfrm>
                <a:off x="3820657" y="4041186"/>
                <a:ext cx="803663" cy="166199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90000"/>
                  </a:lnSpc>
                </a:pPr>
                <a:r>
                  <a:rPr lang="de-DE" sz="600" dirty="0"/>
                  <a:t>Calar Alto, </a:t>
                </a:r>
                <a:br>
                  <a:rPr lang="de-DE" sz="600" dirty="0"/>
                </a:br>
                <a:r>
                  <a:rPr lang="de-DE" sz="600" dirty="0"/>
                  <a:t>CAHA</a:t>
                </a:r>
              </a:p>
            </p:txBody>
          </p:sp>
          <p:sp>
            <p:nvSpPr>
              <p:cNvPr id="1146" name="Textfeld 488">
                <a:extLst>
                  <a:ext uri="{FF2B5EF4-FFF2-40B4-BE49-F238E27FC236}">
                    <a16:creationId xmlns:a16="http://schemas.microsoft.com/office/drawing/2014/main" id="{72B6BB1A-38AC-4C38-8B17-86774637428C}"/>
                  </a:ext>
                </a:extLst>
              </p:cNvPr>
              <p:cNvSpPr txBox="1"/>
              <p:nvPr/>
            </p:nvSpPr>
            <p:spPr>
              <a:xfrm>
                <a:off x="4300246" y="3847400"/>
                <a:ext cx="705722" cy="185440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de-DE" sz="600" dirty="0"/>
                  <a:t>Geneva, ATLAS</a:t>
                </a:r>
              </a:p>
              <a:p>
                <a:pPr>
                  <a:lnSpc>
                    <a:spcPct val="90000"/>
                  </a:lnSpc>
                </a:pPr>
                <a:r>
                  <a:rPr lang="de-DE" sz="600" dirty="0"/>
                  <a:t>Grenoble, IRAM</a:t>
                </a:r>
              </a:p>
            </p:txBody>
          </p:sp>
        </p:grpSp>
        <p:grpSp>
          <p:nvGrpSpPr>
            <p:cNvPr id="1128" name="Group 394">
              <a:extLst>
                <a:ext uri="{FF2B5EF4-FFF2-40B4-BE49-F238E27FC236}">
                  <a16:creationId xmlns:a16="http://schemas.microsoft.com/office/drawing/2014/main" id="{0D0C53D9-5564-4739-A2CE-9FAF2943928D}"/>
                </a:ext>
              </a:extLst>
            </p:cNvPr>
            <p:cNvGrpSpPr/>
            <p:nvPr/>
          </p:nvGrpSpPr>
          <p:grpSpPr>
            <a:xfrm>
              <a:off x="1564932" y="3317733"/>
              <a:ext cx="4615067" cy="2095800"/>
              <a:chOff x="1564932" y="3317733"/>
              <a:chExt cx="4615067" cy="2095800"/>
            </a:xfrm>
          </p:grpSpPr>
          <p:sp>
            <p:nvSpPr>
              <p:cNvPr id="1129" name="Flussdiagramm: Verbindungsstelle 538">
                <a:extLst>
                  <a:ext uri="{FF2B5EF4-FFF2-40B4-BE49-F238E27FC236}">
                    <a16:creationId xmlns:a16="http://schemas.microsoft.com/office/drawing/2014/main" id="{22DCACFD-3829-4E33-B59E-DE01C098764B}"/>
                  </a:ext>
                </a:extLst>
              </p:cNvPr>
              <p:cNvSpPr/>
              <p:nvPr/>
            </p:nvSpPr>
            <p:spPr>
              <a:xfrm>
                <a:off x="1564932" y="4423702"/>
                <a:ext cx="64800" cy="64800"/>
              </a:xfrm>
              <a:prstGeom prst="flowChartConnector">
                <a:avLst/>
              </a:prstGeom>
              <a:solidFill>
                <a:schemeClr val="bg2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234945" indent="-234945" algn="ctr">
                  <a:lnSpc>
                    <a:spcPct val="9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0" name="Flussdiagramm: Verbindungsstelle 538">
                <a:extLst>
                  <a:ext uri="{FF2B5EF4-FFF2-40B4-BE49-F238E27FC236}">
                    <a16:creationId xmlns:a16="http://schemas.microsoft.com/office/drawing/2014/main" id="{4FB273AC-5142-4E23-8810-C75029AF5F94}"/>
                  </a:ext>
                </a:extLst>
              </p:cNvPr>
              <p:cNvSpPr/>
              <p:nvPr/>
            </p:nvSpPr>
            <p:spPr>
              <a:xfrm>
                <a:off x="2363659" y="4046528"/>
                <a:ext cx="64800" cy="64800"/>
              </a:xfrm>
              <a:prstGeom prst="flowChartConnector">
                <a:avLst/>
              </a:prstGeom>
              <a:solidFill>
                <a:schemeClr val="bg2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234945" indent="-234945" algn="ctr">
                  <a:lnSpc>
                    <a:spcPct val="9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1" name="Flussdiagramm: Verbindungsstelle 565">
                <a:extLst>
                  <a:ext uri="{FF2B5EF4-FFF2-40B4-BE49-F238E27FC236}">
                    <a16:creationId xmlns:a16="http://schemas.microsoft.com/office/drawing/2014/main" id="{22F3DE89-F38C-4736-8090-E23EBD7F7368}"/>
                  </a:ext>
                </a:extLst>
              </p:cNvPr>
              <p:cNvSpPr/>
              <p:nvPr/>
            </p:nvSpPr>
            <p:spPr>
              <a:xfrm>
                <a:off x="3810007" y="5184001"/>
                <a:ext cx="64800" cy="64800"/>
              </a:xfrm>
              <a:prstGeom prst="flowChartConnector">
                <a:avLst/>
              </a:prstGeom>
              <a:solidFill>
                <a:schemeClr val="bg2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9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2" name="Flussdiagramm: Verbindungsstelle 565">
                <a:extLst>
                  <a:ext uri="{FF2B5EF4-FFF2-40B4-BE49-F238E27FC236}">
                    <a16:creationId xmlns:a16="http://schemas.microsoft.com/office/drawing/2014/main" id="{ED145B51-4696-4A61-BC97-411C2183DDFB}"/>
                  </a:ext>
                </a:extLst>
              </p:cNvPr>
              <p:cNvSpPr/>
              <p:nvPr/>
            </p:nvSpPr>
            <p:spPr>
              <a:xfrm>
                <a:off x="6115199" y="3317733"/>
                <a:ext cx="64800" cy="64800"/>
              </a:xfrm>
              <a:prstGeom prst="flowChartConnector">
                <a:avLst/>
              </a:prstGeom>
              <a:solidFill>
                <a:schemeClr val="bg2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9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3" name="Flussdiagramm: Verbindungsstelle 538">
                <a:extLst>
                  <a:ext uri="{FF2B5EF4-FFF2-40B4-BE49-F238E27FC236}">
                    <a16:creationId xmlns:a16="http://schemas.microsoft.com/office/drawing/2014/main" id="{32E8DDD6-6E84-49D0-A328-2B1C9595035D}"/>
                  </a:ext>
                </a:extLst>
              </p:cNvPr>
              <p:cNvSpPr/>
              <p:nvPr/>
            </p:nvSpPr>
            <p:spPr>
              <a:xfrm>
                <a:off x="4328743" y="4329189"/>
                <a:ext cx="64800" cy="64800"/>
              </a:xfrm>
              <a:prstGeom prst="flowChartConnector">
                <a:avLst/>
              </a:prstGeom>
              <a:solidFill>
                <a:schemeClr val="bg2"/>
              </a:solidFill>
              <a:ln w="6350" cap="rnd">
                <a:solidFill>
                  <a:schemeClr val="bg1"/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234945" indent="-234945" algn="ctr">
                  <a:lnSpc>
                    <a:spcPct val="9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4" name="Flussdiagramm: Verbindungsstelle 565">
                <a:extLst>
                  <a:ext uri="{FF2B5EF4-FFF2-40B4-BE49-F238E27FC236}">
                    <a16:creationId xmlns:a16="http://schemas.microsoft.com/office/drawing/2014/main" id="{4E4C87B6-537B-45AF-A084-53C6803F72B4}"/>
                  </a:ext>
                </a:extLst>
              </p:cNvPr>
              <p:cNvSpPr/>
              <p:nvPr/>
            </p:nvSpPr>
            <p:spPr>
              <a:xfrm>
                <a:off x="5132002" y="5348733"/>
                <a:ext cx="64800" cy="64800"/>
              </a:xfrm>
              <a:prstGeom prst="flowChartConnector">
                <a:avLst/>
              </a:prstGeom>
              <a:solidFill>
                <a:schemeClr val="bg2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9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5" name="Flussdiagramm: Verbindungsstelle 543">
                <a:extLst>
                  <a:ext uri="{FF2B5EF4-FFF2-40B4-BE49-F238E27FC236}">
                    <a16:creationId xmlns:a16="http://schemas.microsoft.com/office/drawing/2014/main" id="{B99B9A3B-00AE-48D5-933F-AE03420D002D}"/>
                  </a:ext>
                </a:extLst>
              </p:cNvPr>
              <p:cNvSpPr/>
              <p:nvPr/>
            </p:nvSpPr>
            <p:spPr>
              <a:xfrm>
                <a:off x="4660360" y="4035626"/>
                <a:ext cx="64800" cy="64800"/>
              </a:xfrm>
              <a:prstGeom prst="flowChartConnector">
                <a:avLst/>
              </a:prstGeom>
              <a:solidFill>
                <a:schemeClr val="bg2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234945" indent="-234945" algn="ctr">
                  <a:lnSpc>
                    <a:spcPct val="9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6" name="Flussdiagramm: Verbindungsstelle 538">
                <a:extLst>
                  <a:ext uri="{FF2B5EF4-FFF2-40B4-BE49-F238E27FC236}">
                    <a16:creationId xmlns:a16="http://schemas.microsoft.com/office/drawing/2014/main" id="{0E0AC06C-5390-49E3-B1DE-6B1186FC3C99}"/>
                  </a:ext>
                </a:extLst>
              </p:cNvPr>
              <p:cNvSpPr/>
              <p:nvPr/>
            </p:nvSpPr>
            <p:spPr>
              <a:xfrm>
                <a:off x="4858730" y="3902414"/>
                <a:ext cx="64800" cy="64800"/>
              </a:xfrm>
              <a:prstGeom prst="flowChartConnector">
                <a:avLst/>
              </a:prstGeom>
              <a:solidFill>
                <a:schemeClr val="bg2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234945" indent="-234945" algn="ctr">
                  <a:lnSpc>
                    <a:spcPct val="9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7" name="Flussdiagramm: Verbindungsstelle 538">
                <a:extLst>
                  <a:ext uri="{FF2B5EF4-FFF2-40B4-BE49-F238E27FC236}">
                    <a16:creationId xmlns:a16="http://schemas.microsoft.com/office/drawing/2014/main" id="{C0DA4D06-7DD1-47B9-99A9-D870E77B2514}"/>
                  </a:ext>
                </a:extLst>
              </p:cNvPr>
              <p:cNvSpPr/>
              <p:nvPr/>
            </p:nvSpPr>
            <p:spPr>
              <a:xfrm>
                <a:off x="4408225" y="4329189"/>
                <a:ext cx="64800" cy="64800"/>
              </a:xfrm>
              <a:prstGeom prst="flowChartConnector">
                <a:avLst/>
              </a:prstGeom>
              <a:solidFill>
                <a:schemeClr val="bg2"/>
              </a:solidFill>
              <a:ln w="6350" cap="rnd">
                <a:solidFill>
                  <a:schemeClr val="bg1"/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234945" indent="-234945" algn="ctr">
                  <a:lnSpc>
                    <a:spcPct val="9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8" name="Flussdiagramm: Verbindungsstelle 538">
                <a:extLst>
                  <a:ext uri="{FF2B5EF4-FFF2-40B4-BE49-F238E27FC236}">
                    <a16:creationId xmlns:a16="http://schemas.microsoft.com/office/drawing/2014/main" id="{E0C63D78-AB6E-4A35-BED7-FA897CA3CD80}"/>
                  </a:ext>
                </a:extLst>
              </p:cNvPr>
              <p:cNvSpPr/>
              <p:nvPr/>
            </p:nvSpPr>
            <p:spPr>
              <a:xfrm>
                <a:off x="4913366" y="3848657"/>
                <a:ext cx="64800" cy="64800"/>
              </a:xfrm>
              <a:prstGeom prst="flowChartConnector">
                <a:avLst/>
              </a:prstGeom>
              <a:solidFill>
                <a:schemeClr val="bg2"/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234945" indent="-234945" algn="ctr">
                  <a:lnSpc>
                    <a:spcPct val="9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147" name="Research Groups">
            <a:extLst>
              <a:ext uri="{FF2B5EF4-FFF2-40B4-BE49-F238E27FC236}">
                <a16:creationId xmlns:a16="http://schemas.microsoft.com/office/drawing/2014/main" id="{056C49AB-9F1C-481E-B833-FFAC15D3258B}"/>
              </a:ext>
            </a:extLst>
          </p:cNvPr>
          <p:cNvGrpSpPr/>
          <p:nvPr/>
        </p:nvGrpSpPr>
        <p:grpSpPr>
          <a:xfrm>
            <a:off x="5212918" y="3317603"/>
            <a:ext cx="1826513" cy="2424612"/>
            <a:chOff x="5212918" y="3317603"/>
            <a:chExt cx="1826513" cy="2424612"/>
          </a:xfrm>
        </p:grpSpPr>
        <p:grpSp>
          <p:nvGrpSpPr>
            <p:cNvPr id="1148" name="Gruppieren 589">
              <a:extLst>
                <a:ext uri="{FF2B5EF4-FFF2-40B4-BE49-F238E27FC236}">
                  <a16:creationId xmlns:a16="http://schemas.microsoft.com/office/drawing/2014/main" id="{A7D68693-C8CF-456A-AAB9-DBA2A821071C}"/>
                </a:ext>
              </a:extLst>
            </p:cNvPr>
            <p:cNvGrpSpPr/>
            <p:nvPr/>
          </p:nvGrpSpPr>
          <p:grpSpPr>
            <a:xfrm>
              <a:off x="5222314" y="3317603"/>
              <a:ext cx="1817117" cy="2424612"/>
              <a:chOff x="4056954" y="4261637"/>
              <a:chExt cx="1813069" cy="2419216"/>
            </a:xfrm>
          </p:grpSpPr>
          <p:sp>
            <p:nvSpPr>
              <p:cNvPr id="1154" name="Textfeld 599">
                <a:extLst>
                  <a:ext uri="{FF2B5EF4-FFF2-40B4-BE49-F238E27FC236}">
                    <a16:creationId xmlns:a16="http://schemas.microsoft.com/office/drawing/2014/main" id="{72320410-A3D4-424F-A00E-6985438C4AC4}"/>
                  </a:ext>
                </a:extLst>
              </p:cNvPr>
              <p:cNvSpPr txBox="1"/>
              <p:nvPr/>
            </p:nvSpPr>
            <p:spPr>
              <a:xfrm>
                <a:off x="4115672" y="4566352"/>
                <a:ext cx="840642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600" kern="0" dirty="0"/>
                  <a:t>Warschau/Krakau</a:t>
                </a:r>
                <a:endParaRPr kumimoji="0" lang="de-DE" sz="6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155" name="Textfeld 599">
                <a:extLst>
                  <a:ext uri="{FF2B5EF4-FFF2-40B4-BE49-F238E27FC236}">
                    <a16:creationId xmlns:a16="http://schemas.microsoft.com/office/drawing/2014/main" id="{D358D78A-0C7C-4B46-87F3-73DE2A495F8A}"/>
                  </a:ext>
                </a:extLst>
              </p:cNvPr>
              <p:cNvSpPr txBox="1"/>
              <p:nvPr/>
            </p:nvSpPr>
            <p:spPr>
              <a:xfrm>
                <a:off x="4056954" y="4261637"/>
                <a:ext cx="840642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lvl="0"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600" kern="0" dirty="0"/>
              </a:p>
            </p:txBody>
          </p:sp>
          <p:sp>
            <p:nvSpPr>
              <p:cNvPr id="1156" name="Textfeld 599">
                <a:extLst>
                  <a:ext uri="{FF2B5EF4-FFF2-40B4-BE49-F238E27FC236}">
                    <a16:creationId xmlns:a16="http://schemas.microsoft.com/office/drawing/2014/main" id="{706910CE-91A6-4FC3-855C-23A0991AF401}"/>
                  </a:ext>
                </a:extLst>
              </p:cNvPr>
              <p:cNvSpPr txBox="1"/>
              <p:nvPr/>
            </p:nvSpPr>
            <p:spPr>
              <a:xfrm>
                <a:off x="4308320" y="6496598"/>
                <a:ext cx="1561703" cy="184255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600" kern="0" dirty="0"/>
              </a:p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600" kern="0" dirty="0"/>
              </a:p>
            </p:txBody>
          </p:sp>
        </p:grpSp>
        <p:sp>
          <p:nvSpPr>
            <p:cNvPr id="1150" name="Flussdiagramm: Verbindungsstelle 565">
              <a:extLst>
                <a:ext uri="{FF2B5EF4-FFF2-40B4-BE49-F238E27FC236}">
                  <a16:creationId xmlns:a16="http://schemas.microsoft.com/office/drawing/2014/main" id="{4CB6931E-FEED-438F-81A1-FF9F03984BA9}"/>
                </a:ext>
              </a:extLst>
            </p:cNvPr>
            <p:cNvSpPr/>
            <p:nvPr/>
          </p:nvSpPr>
          <p:spPr>
            <a:xfrm>
              <a:off x="5212918" y="3634332"/>
              <a:ext cx="64813" cy="64800"/>
            </a:xfrm>
            <a:prstGeom prst="flowChartConnector">
              <a:avLst/>
            </a:prstGeom>
            <a:solidFill>
              <a:srgbClr val="00B0F0"/>
            </a:solidFill>
            <a:ln w="63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234945" indent="-234945" algn="ctr">
                <a:lnSpc>
                  <a:spcPct val="120000"/>
                </a:lnSpc>
                <a:buClr>
                  <a:srgbClr val="116656"/>
                </a:buClr>
                <a:buSzPct val="120000"/>
                <a:buFont typeface="Wingdings" pitchFamily="2" charset="2"/>
                <a:buChar char="§"/>
              </a:pPr>
              <a:endParaRPr lang="de-DE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57" name="Independent/ Tandem Groups">
            <a:extLst>
              <a:ext uri="{FF2B5EF4-FFF2-40B4-BE49-F238E27FC236}">
                <a16:creationId xmlns:a16="http://schemas.microsoft.com/office/drawing/2014/main" id="{ECC3A0AC-0B96-4D36-9CA3-0652BD7EB8B3}"/>
              </a:ext>
            </a:extLst>
          </p:cNvPr>
          <p:cNvGrpSpPr/>
          <p:nvPr/>
        </p:nvGrpSpPr>
        <p:grpSpPr>
          <a:xfrm>
            <a:off x="2164989" y="5049697"/>
            <a:ext cx="2329890" cy="921198"/>
            <a:chOff x="2164989" y="5049697"/>
            <a:chExt cx="2329890" cy="921198"/>
          </a:xfrm>
        </p:grpSpPr>
        <p:grpSp>
          <p:nvGrpSpPr>
            <p:cNvPr id="1158" name="Group 465">
              <a:extLst>
                <a:ext uri="{FF2B5EF4-FFF2-40B4-BE49-F238E27FC236}">
                  <a16:creationId xmlns:a16="http://schemas.microsoft.com/office/drawing/2014/main" id="{9B307AA4-3E31-44A9-9E2D-BDF101BCC500}"/>
                </a:ext>
              </a:extLst>
            </p:cNvPr>
            <p:cNvGrpSpPr/>
            <p:nvPr/>
          </p:nvGrpSpPr>
          <p:grpSpPr>
            <a:xfrm>
              <a:off x="3173801" y="5049697"/>
              <a:ext cx="897648" cy="791540"/>
              <a:chOff x="3173801" y="5049697"/>
              <a:chExt cx="897648" cy="791540"/>
            </a:xfrm>
          </p:grpSpPr>
          <p:sp>
            <p:nvSpPr>
              <p:cNvPr id="1166" name="Flussdiagramm: Verbindungsstelle 565">
                <a:extLst>
                  <a:ext uri="{FF2B5EF4-FFF2-40B4-BE49-F238E27FC236}">
                    <a16:creationId xmlns:a16="http://schemas.microsoft.com/office/drawing/2014/main" id="{6296FC46-12FB-4080-8216-61B42E23BF39}"/>
                  </a:ext>
                </a:extLst>
              </p:cNvPr>
              <p:cNvSpPr/>
              <p:nvPr/>
            </p:nvSpPr>
            <p:spPr>
              <a:xfrm>
                <a:off x="3173801" y="5124533"/>
                <a:ext cx="64800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7" name="Flussdiagramm: Verbindungsstelle 565">
                <a:extLst>
                  <a:ext uri="{FF2B5EF4-FFF2-40B4-BE49-F238E27FC236}">
                    <a16:creationId xmlns:a16="http://schemas.microsoft.com/office/drawing/2014/main" id="{18E6FD27-FA14-45F6-B1AE-52FEDF9FC53F}"/>
                  </a:ext>
                </a:extLst>
              </p:cNvPr>
              <p:cNvSpPr/>
              <p:nvPr/>
            </p:nvSpPr>
            <p:spPr>
              <a:xfrm>
                <a:off x="3244353" y="5124533"/>
                <a:ext cx="64800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8" name="Flussdiagramm: Verbindungsstelle 565">
                <a:extLst>
                  <a:ext uri="{FF2B5EF4-FFF2-40B4-BE49-F238E27FC236}">
                    <a16:creationId xmlns:a16="http://schemas.microsoft.com/office/drawing/2014/main" id="{AEADFDFA-1029-4AB2-B617-66F782FAB4F9}"/>
                  </a:ext>
                </a:extLst>
              </p:cNvPr>
              <p:cNvSpPr/>
              <p:nvPr/>
            </p:nvSpPr>
            <p:spPr>
              <a:xfrm>
                <a:off x="3314905" y="5124533"/>
                <a:ext cx="64800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1" name="Flussdiagramm: Verbindungsstelle 565">
                <a:extLst>
                  <a:ext uri="{FF2B5EF4-FFF2-40B4-BE49-F238E27FC236}">
                    <a16:creationId xmlns:a16="http://schemas.microsoft.com/office/drawing/2014/main" id="{46AE9E3E-48FC-4F97-A040-0885AE76EA92}"/>
                  </a:ext>
                </a:extLst>
              </p:cNvPr>
              <p:cNvSpPr/>
              <p:nvPr/>
            </p:nvSpPr>
            <p:spPr>
              <a:xfrm>
                <a:off x="3195506" y="5776437"/>
                <a:ext cx="64800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3" name="Flussdiagramm: Verbindungsstelle 565">
                <a:extLst>
                  <a:ext uri="{FF2B5EF4-FFF2-40B4-BE49-F238E27FC236}">
                    <a16:creationId xmlns:a16="http://schemas.microsoft.com/office/drawing/2014/main" id="{EDB3394B-743B-4726-B1F2-9D36048827A1}"/>
                  </a:ext>
                </a:extLst>
              </p:cNvPr>
              <p:cNvSpPr/>
              <p:nvPr/>
            </p:nvSpPr>
            <p:spPr>
              <a:xfrm>
                <a:off x="3173801" y="5049697"/>
                <a:ext cx="64800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4" name="Flussdiagramm: Verbindungsstelle 565">
                <a:extLst>
                  <a:ext uri="{FF2B5EF4-FFF2-40B4-BE49-F238E27FC236}">
                    <a16:creationId xmlns:a16="http://schemas.microsoft.com/office/drawing/2014/main" id="{6336A56B-938A-4706-82C1-DA4A27955B41}"/>
                  </a:ext>
                </a:extLst>
              </p:cNvPr>
              <p:cNvSpPr/>
              <p:nvPr/>
            </p:nvSpPr>
            <p:spPr>
              <a:xfrm>
                <a:off x="3244353" y="5049697"/>
                <a:ext cx="64800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5" name="Flussdiagramm: Verbindungsstelle 565">
                <a:extLst>
                  <a:ext uri="{FF2B5EF4-FFF2-40B4-BE49-F238E27FC236}">
                    <a16:creationId xmlns:a16="http://schemas.microsoft.com/office/drawing/2014/main" id="{F7A53FBD-6E87-494C-9229-61F413AD38C6}"/>
                  </a:ext>
                </a:extLst>
              </p:cNvPr>
              <p:cNvSpPr/>
              <p:nvPr/>
            </p:nvSpPr>
            <p:spPr>
              <a:xfrm>
                <a:off x="3314905" y="5049697"/>
                <a:ext cx="64800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6" name="Flussdiagramm: Verbindungsstelle 565">
                <a:extLst>
                  <a:ext uri="{FF2B5EF4-FFF2-40B4-BE49-F238E27FC236}">
                    <a16:creationId xmlns:a16="http://schemas.microsoft.com/office/drawing/2014/main" id="{FE352CF8-B733-4A87-9A94-701F21891A3E}"/>
                  </a:ext>
                </a:extLst>
              </p:cNvPr>
              <p:cNvSpPr/>
              <p:nvPr/>
            </p:nvSpPr>
            <p:spPr>
              <a:xfrm>
                <a:off x="3385457" y="5049697"/>
                <a:ext cx="64800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1" name="Flussdiagramm: Verbindungsstelle 565">
                <a:extLst>
                  <a:ext uri="{FF2B5EF4-FFF2-40B4-BE49-F238E27FC236}">
                    <a16:creationId xmlns:a16="http://schemas.microsoft.com/office/drawing/2014/main" id="{6C3299F5-E1ED-45AE-B368-315ED73518FF}"/>
                  </a:ext>
                </a:extLst>
              </p:cNvPr>
              <p:cNvSpPr/>
              <p:nvPr/>
            </p:nvSpPr>
            <p:spPr>
              <a:xfrm>
                <a:off x="3616445" y="5616834"/>
                <a:ext cx="64800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2" name="Flussdiagramm: Verbindungsstelle 565">
                <a:extLst>
                  <a:ext uri="{FF2B5EF4-FFF2-40B4-BE49-F238E27FC236}">
                    <a16:creationId xmlns:a16="http://schemas.microsoft.com/office/drawing/2014/main" id="{AEF16BB2-71F1-483D-9F8C-B99CB1C8BE2C}"/>
                  </a:ext>
                </a:extLst>
              </p:cNvPr>
              <p:cNvSpPr/>
              <p:nvPr/>
            </p:nvSpPr>
            <p:spPr>
              <a:xfrm>
                <a:off x="3686604" y="5616834"/>
                <a:ext cx="64800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3" name="Flussdiagramm: Verbindungsstelle 565">
                <a:extLst>
                  <a:ext uri="{FF2B5EF4-FFF2-40B4-BE49-F238E27FC236}">
                    <a16:creationId xmlns:a16="http://schemas.microsoft.com/office/drawing/2014/main" id="{4E755196-0111-4683-87FF-813769A3D07E}"/>
                  </a:ext>
                </a:extLst>
              </p:cNvPr>
              <p:cNvSpPr/>
              <p:nvPr/>
            </p:nvSpPr>
            <p:spPr>
              <a:xfrm>
                <a:off x="3756763" y="5616834"/>
                <a:ext cx="64800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4" name="Flussdiagramm: Verbindungsstelle 565">
                <a:extLst>
                  <a:ext uri="{FF2B5EF4-FFF2-40B4-BE49-F238E27FC236}">
                    <a16:creationId xmlns:a16="http://schemas.microsoft.com/office/drawing/2014/main" id="{DCCBD589-5EA3-452F-AB7B-1E80CA0535FE}"/>
                  </a:ext>
                </a:extLst>
              </p:cNvPr>
              <p:cNvSpPr/>
              <p:nvPr/>
            </p:nvSpPr>
            <p:spPr>
              <a:xfrm>
                <a:off x="3826921" y="5616834"/>
                <a:ext cx="64800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5" name="Flussdiagramm: Verbindungsstelle 565">
                <a:extLst>
                  <a:ext uri="{FF2B5EF4-FFF2-40B4-BE49-F238E27FC236}">
                    <a16:creationId xmlns:a16="http://schemas.microsoft.com/office/drawing/2014/main" id="{A218AAFC-88F8-41EC-86EF-5D506324FEF1}"/>
                  </a:ext>
                </a:extLst>
              </p:cNvPr>
              <p:cNvSpPr/>
              <p:nvPr/>
            </p:nvSpPr>
            <p:spPr>
              <a:xfrm>
                <a:off x="3934609" y="5519246"/>
                <a:ext cx="64854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6" name="Flussdiagramm: Verbindungsstelle 565">
                <a:extLst>
                  <a:ext uri="{FF2B5EF4-FFF2-40B4-BE49-F238E27FC236}">
                    <a16:creationId xmlns:a16="http://schemas.microsoft.com/office/drawing/2014/main" id="{2B5E4A74-DDA1-4EB2-AFCF-CF390733C5BF}"/>
                  </a:ext>
                </a:extLst>
              </p:cNvPr>
              <p:cNvSpPr/>
              <p:nvPr/>
            </p:nvSpPr>
            <p:spPr>
              <a:xfrm>
                <a:off x="4006595" y="5519246"/>
                <a:ext cx="64854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7" name="Flussdiagramm: Verbindungsstelle 565">
                <a:extLst>
                  <a:ext uri="{FF2B5EF4-FFF2-40B4-BE49-F238E27FC236}">
                    <a16:creationId xmlns:a16="http://schemas.microsoft.com/office/drawing/2014/main" id="{3232B7C2-96BA-4B02-B7AA-4F3D3E12EE26}"/>
                  </a:ext>
                </a:extLst>
              </p:cNvPr>
              <p:cNvSpPr/>
              <p:nvPr/>
            </p:nvSpPr>
            <p:spPr>
              <a:xfrm>
                <a:off x="3790636" y="5519246"/>
                <a:ext cx="64854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8" name="Flussdiagramm: Verbindungsstelle 565">
                <a:extLst>
                  <a:ext uri="{FF2B5EF4-FFF2-40B4-BE49-F238E27FC236}">
                    <a16:creationId xmlns:a16="http://schemas.microsoft.com/office/drawing/2014/main" id="{236C66C8-383D-4303-86FE-90FA793AC9FD}"/>
                  </a:ext>
                </a:extLst>
              </p:cNvPr>
              <p:cNvSpPr/>
              <p:nvPr/>
            </p:nvSpPr>
            <p:spPr>
              <a:xfrm>
                <a:off x="3862622" y="5519246"/>
                <a:ext cx="64854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9" name="Flussdiagramm: Verbindungsstelle 565">
                <a:extLst>
                  <a:ext uri="{FF2B5EF4-FFF2-40B4-BE49-F238E27FC236}">
                    <a16:creationId xmlns:a16="http://schemas.microsoft.com/office/drawing/2014/main" id="{7B71A189-85B7-46D2-86E7-6F9B8C6DAB06}"/>
                  </a:ext>
                </a:extLst>
              </p:cNvPr>
              <p:cNvSpPr/>
              <p:nvPr/>
            </p:nvSpPr>
            <p:spPr>
              <a:xfrm>
                <a:off x="3551678" y="5622609"/>
                <a:ext cx="64854" cy="648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6350" cap="rnd">
                <a:solidFill>
                  <a:schemeClr val="bg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234945" indent="-234945" algn="ctr">
                  <a:lnSpc>
                    <a:spcPct val="120000"/>
                  </a:lnSpc>
                  <a:buClr>
                    <a:srgbClr val="116656"/>
                  </a:buClr>
                  <a:buSzPct val="120000"/>
                  <a:buFont typeface="Wingdings" pitchFamily="2" charset="2"/>
                  <a:buChar char="§"/>
                </a:pP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59" name="Group 466">
              <a:extLst>
                <a:ext uri="{FF2B5EF4-FFF2-40B4-BE49-F238E27FC236}">
                  <a16:creationId xmlns:a16="http://schemas.microsoft.com/office/drawing/2014/main" id="{302FA46F-E459-4C1E-8960-B39D51E817E0}"/>
                </a:ext>
              </a:extLst>
            </p:cNvPr>
            <p:cNvGrpSpPr/>
            <p:nvPr/>
          </p:nvGrpSpPr>
          <p:grpSpPr>
            <a:xfrm>
              <a:off x="2164989" y="5070468"/>
              <a:ext cx="2329890" cy="900427"/>
              <a:chOff x="2164989" y="5070468"/>
              <a:chExt cx="2329890" cy="900427"/>
            </a:xfrm>
          </p:grpSpPr>
          <p:sp>
            <p:nvSpPr>
              <p:cNvPr id="1160" name="Textfeld 496">
                <a:extLst>
                  <a:ext uri="{FF2B5EF4-FFF2-40B4-BE49-F238E27FC236}">
                    <a16:creationId xmlns:a16="http://schemas.microsoft.com/office/drawing/2014/main" id="{C72E5935-0C7C-4C67-86B4-E443C990C9FE}"/>
                  </a:ext>
                </a:extLst>
              </p:cNvPr>
              <p:cNvSpPr txBox="1"/>
              <p:nvPr/>
            </p:nvSpPr>
            <p:spPr>
              <a:xfrm>
                <a:off x="2164989" y="5399681"/>
                <a:ext cx="780606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Tandem Groups </a:t>
                </a:r>
                <a:r>
                  <a:rPr lang="de-DE" sz="600" dirty="0">
                    <a:solidFill>
                      <a:schemeClr val="bg2">
                        <a:lumMod val="50000"/>
                      </a:schemeClr>
                    </a:solidFill>
                  </a:rPr>
                  <a:t>(18)</a:t>
                </a:r>
              </a:p>
            </p:txBody>
          </p:sp>
          <p:sp>
            <p:nvSpPr>
              <p:cNvPr id="1161" name="Textfeld 496">
                <a:extLst>
                  <a:ext uri="{FF2B5EF4-FFF2-40B4-BE49-F238E27FC236}">
                    <a16:creationId xmlns:a16="http://schemas.microsoft.com/office/drawing/2014/main" id="{848E1616-2F8C-4CCF-AEDB-1D62F88EEF2D}"/>
                  </a:ext>
                </a:extLst>
              </p:cNvPr>
              <p:cNvSpPr txBox="1"/>
              <p:nvPr/>
            </p:nvSpPr>
            <p:spPr>
              <a:xfrm>
                <a:off x="2714276" y="5070468"/>
                <a:ext cx="468057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Colombia </a:t>
                </a:r>
                <a:r>
                  <a:rPr lang="de-DE" sz="600" dirty="0">
                    <a:solidFill>
                      <a:schemeClr val="bg2">
                        <a:lumMod val="50000"/>
                      </a:schemeClr>
                    </a:solidFill>
                  </a:rPr>
                  <a:t>(7)</a:t>
                </a:r>
              </a:p>
            </p:txBody>
          </p:sp>
          <p:sp>
            <p:nvSpPr>
              <p:cNvPr id="1162" name="Textfeld 496">
                <a:extLst>
                  <a:ext uri="{FF2B5EF4-FFF2-40B4-BE49-F238E27FC236}">
                    <a16:creationId xmlns:a16="http://schemas.microsoft.com/office/drawing/2014/main" id="{E3F36016-A231-4C48-9196-47ABA5C73E6F}"/>
                  </a:ext>
                </a:extLst>
              </p:cNvPr>
              <p:cNvSpPr txBox="1"/>
              <p:nvPr/>
            </p:nvSpPr>
            <p:spPr>
              <a:xfrm>
                <a:off x="4102368" y="5505195"/>
                <a:ext cx="392511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Brazil </a:t>
                </a:r>
                <a:r>
                  <a:rPr lang="de-DE" sz="600" dirty="0">
                    <a:solidFill>
                      <a:schemeClr val="bg2">
                        <a:lumMod val="50000"/>
                      </a:schemeClr>
                    </a:solidFill>
                  </a:rPr>
                  <a:t>(4)</a:t>
                </a:r>
              </a:p>
            </p:txBody>
          </p:sp>
          <p:sp>
            <p:nvSpPr>
              <p:cNvPr id="1163" name="Textfeld 496">
                <a:extLst>
                  <a:ext uri="{FF2B5EF4-FFF2-40B4-BE49-F238E27FC236}">
                    <a16:creationId xmlns:a16="http://schemas.microsoft.com/office/drawing/2014/main" id="{0025F575-61C8-461B-80CD-756964245768}"/>
                  </a:ext>
                </a:extLst>
              </p:cNvPr>
              <p:cNvSpPr txBox="1"/>
              <p:nvPr/>
            </p:nvSpPr>
            <p:spPr>
              <a:xfrm>
                <a:off x="3911931" y="5608084"/>
                <a:ext cx="484699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   Uruguay </a:t>
                </a:r>
                <a:r>
                  <a:rPr lang="de-DE" sz="600" dirty="0">
                    <a:solidFill>
                      <a:schemeClr val="bg2">
                        <a:lumMod val="50000"/>
                      </a:schemeClr>
                    </a:solidFill>
                  </a:rPr>
                  <a:t>(6)</a:t>
                </a:r>
              </a:p>
            </p:txBody>
          </p:sp>
          <p:sp>
            <p:nvSpPr>
              <p:cNvPr id="1164" name="Textfeld 496">
                <a:extLst>
                  <a:ext uri="{FF2B5EF4-FFF2-40B4-BE49-F238E27FC236}">
                    <a16:creationId xmlns:a16="http://schemas.microsoft.com/office/drawing/2014/main" id="{F3AFFF1C-8686-45B0-BD8B-F0CFA954DD1D}"/>
                  </a:ext>
                </a:extLst>
              </p:cNvPr>
              <p:cNvSpPr txBox="1"/>
              <p:nvPr/>
            </p:nvSpPr>
            <p:spPr>
              <a:xfrm>
                <a:off x="2811567" y="5757998"/>
                <a:ext cx="332861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Chile </a:t>
                </a:r>
                <a:r>
                  <a:rPr lang="de-DE" sz="600" dirty="0">
                    <a:solidFill>
                      <a:schemeClr val="bg2">
                        <a:lumMod val="50000"/>
                      </a:schemeClr>
                    </a:solidFill>
                  </a:rPr>
                  <a:t>(1)</a:t>
                </a:r>
              </a:p>
            </p:txBody>
          </p:sp>
          <p:sp>
            <p:nvSpPr>
              <p:cNvPr id="1165" name="Textfeld 496">
                <a:extLst>
                  <a:ext uri="{FF2B5EF4-FFF2-40B4-BE49-F238E27FC236}">
                    <a16:creationId xmlns:a16="http://schemas.microsoft.com/office/drawing/2014/main" id="{051FE001-4668-4972-B3E8-2F42E24F679C}"/>
                  </a:ext>
                </a:extLst>
              </p:cNvPr>
              <p:cNvSpPr txBox="1"/>
              <p:nvPr/>
            </p:nvSpPr>
            <p:spPr>
              <a:xfrm>
                <a:off x="3660948" y="5878562"/>
                <a:ext cx="484699" cy="92333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600" dirty="0"/>
                  <a:t>Argentina </a:t>
                </a:r>
                <a:endParaRPr lang="de-DE" sz="600" dirty="0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</p:grpSp>
      </p:grpSp>
      <p:sp>
        <p:nvSpPr>
          <p:cNvPr id="64518" name="Title">
            <a:extLst>
              <a:ext uri="{FF2B5EF4-FFF2-40B4-BE49-F238E27FC236}">
                <a16:creationId xmlns:a16="http://schemas.microsoft.com/office/drawing/2014/main" id="{801E99DC-57F7-4D48-848B-9D2A139FB0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821061"/>
          </a:xfrm>
          <a:noFill/>
        </p:spPr>
        <p:txBody>
          <a:bodyPr/>
          <a:lstStyle/>
          <a:p>
            <a:r>
              <a:rPr lang="en-GB" dirty="0"/>
              <a:t>International COLLABORATION  </a:t>
            </a:r>
            <a:br>
              <a:rPr lang="en-GB" dirty="0"/>
            </a:br>
            <a:r>
              <a:rPr lang="en-GB" sz="1800" b="0" cap="none" spc="40" dirty="0"/>
              <a:t>Instruments und Infrastructure (4/2023)</a:t>
            </a:r>
            <a:endParaRPr lang="en-DE" sz="1800" b="0" spc="4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October 2023   		</a:t>
            </a:r>
            <a:fld id="{39BD8F7B-007B-4382-9581-D231A1A1395B}" type="slidenum">
              <a:rPr lang="de-DE" smtClean="0"/>
              <a:t>12</a:t>
            </a:fld>
            <a:endParaRPr lang="de-DE" dirty="0"/>
          </a:p>
        </p:txBody>
      </p:sp>
      <p:sp>
        <p:nvSpPr>
          <p:cNvPr id="489" name="Flussdiagramm: Verbindungsstelle 565">
            <a:extLst>
              <a:ext uri="{FF2B5EF4-FFF2-40B4-BE49-F238E27FC236}">
                <a16:creationId xmlns:a16="http://schemas.microsoft.com/office/drawing/2014/main" id="{6C3299F5-E1ED-45AE-B368-315ED73518FF}"/>
              </a:ext>
            </a:extLst>
          </p:cNvPr>
          <p:cNvSpPr/>
          <p:nvPr/>
        </p:nvSpPr>
        <p:spPr>
          <a:xfrm>
            <a:off x="3893804" y="5618921"/>
            <a:ext cx="64800" cy="64800"/>
          </a:xfrm>
          <a:prstGeom prst="rect">
            <a:avLst/>
          </a:prstGeom>
          <a:solidFill>
            <a:schemeClr val="accent2">
              <a:lumMod val="50000"/>
            </a:schemeClr>
          </a:solidFill>
          <a:ln w="63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34945" indent="-234945" algn="ctr">
              <a:lnSpc>
                <a:spcPct val="120000"/>
              </a:lnSpc>
              <a:buClr>
                <a:srgbClr val="116656"/>
              </a:buClr>
              <a:buSzPct val="120000"/>
              <a:buFont typeface="Wingdings" pitchFamily="2" charset="2"/>
              <a:buChar char="§"/>
            </a:pPr>
            <a:endParaRPr lang="de-DE" sz="600" dirty="0">
              <a:solidFill>
                <a:schemeClr val="tx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17351" y="5468519"/>
            <a:ext cx="74787" cy="71535"/>
          </a:xfrm>
          <a:prstGeom prst="rect">
            <a:avLst/>
          </a:prstGeom>
        </p:spPr>
      </p:pic>
      <p:sp>
        <p:nvSpPr>
          <p:cNvPr id="484" name="Textfeld 481">
            <a:extLst>
              <a:ext uri="{FF2B5EF4-FFF2-40B4-BE49-F238E27FC236}">
                <a16:creationId xmlns:a16="http://schemas.microsoft.com/office/drawing/2014/main" id="{1337EA0D-4D1D-43D5-9285-58F001DBA3D8}"/>
              </a:ext>
            </a:extLst>
          </p:cNvPr>
          <p:cNvSpPr txBox="1"/>
          <p:nvPr/>
        </p:nvSpPr>
        <p:spPr>
          <a:xfrm>
            <a:off x="8010659" y="5453110"/>
            <a:ext cx="341909" cy="92333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de-DE" sz="600" dirty="0"/>
              <a:t>Brisbane</a:t>
            </a:r>
            <a:endParaRPr lang="de-DE" sz="600" dirty="0">
              <a:solidFill>
                <a:schemeClr val="accent3"/>
              </a:solidFill>
            </a:endParaRPr>
          </a:p>
        </p:txBody>
      </p:sp>
      <p:sp>
        <p:nvSpPr>
          <p:cNvPr id="481" name="Rechteck 560">
            <a:extLst>
              <a:ext uri="{FF2B5EF4-FFF2-40B4-BE49-F238E27FC236}">
                <a16:creationId xmlns:a16="http://schemas.microsoft.com/office/drawing/2014/main" id="{5B5F4A52-B6A9-4FB7-A5DB-897D3E369851}"/>
              </a:ext>
            </a:extLst>
          </p:cNvPr>
          <p:cNvSpPr/>
          <p:nvPr/>
        </p:nvSpPr>
        <p:spPr>
          <a:xfrm>
            <a:off x="8854368" y="4485239"/>
            <a:ext cx="1186168" cy="6512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lIns="72000" rIns="36000">
            <a:noAutofit/>
          </a:bodyPr>
          <a:lstStyle/>
          <a:p>
            <a:pPr>
              <a:spcAft>
                <a:spcPts val="300"/>
              </a:spcAft>
            </a:pPr>
            <a:r>
              <a:rPr lang="de-DE" sz="700" b="1" kern="0" dirty="0">
                <a:solidFill>
                  <a:schemeClr val="bg2"/>
                </a:solidFill>
              </a:rPr>
              <a:t>NORTH AMERICA</a:t>
            </a:r>
            <a:br>
              <a:rPr lang="de-DE" sz="700" kern="0" dirty="0">
                <a:solidFill>
                  <a:schemeClr val="bg1"/>
                </a:solidFill>
              </a:rPr>
            </a:br>
            <a:r>
              <a:rPr lang="de-DE" sz="700" b="1" kern="0" dirty="0">
                <a:solidFill>
                  <a:schemeClr val="bg1"/>
                </a:solidFill>
              </a:rPr>
              <a:t>2 Partner Groups</a:t>
            </a:r>
          </a:p>
          <a:p>
            <a:pPr marL="803275" indent="-803275"/>
            <a:r>
              <a:rPr lang="de-DE" sz="700" kern="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anada	1</a:t>
            </a:r>
          </a:p>
          <a:p>
            <a:pPr marL="803275" indent="-803275"/>
            <a:r>
              <a:rPr lang="de-DE" sz="700" kern="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USA	1	</a:t>
            </a:r>
            <a:endParaRPr lang="de-DE" sz="700" kern="0" dirty="0">
              <a:solidFill>
                <a:schemeClr val="accent4"/>
              </a:solidFill>
            </a:endParaRPr>
          </a:p>
          <a:p>
            <a:pPr marL="803275" indent="-803275"/>
            <a:r>
              <a:rPr lang="de-DE" sz="700" kern="0" dirty="0">
                <a:solidFill>
                  <a:schemeClr val="accent4"/>
                </a:solidFill>
              </a:rPr>
              <a:t>		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3C670C5-1E25-437C-BBE8-195D06F400D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8086" y="3572171"/>
            <a:ext cx="73158" cy="73158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6AA148E5-A7F1-4B4E-912B-E9BF58530CAA}"/>
              </a:ext>
            </a:extLst>
          </p:cNvPr>
          <p:cNvSpPr txBox="1"/>
          <p:nvPr/>
        </p:nvSpPr>
        <p:spPr>
          <a:xfrm>
            <a:off x="5339826" y="3176812"/>
            <a:ext cx="370517" cy="2387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600" dirty="0"/>
              <a:t>Helsinki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150D592-29CD-4941-9247-051FCCE754E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44984" y="3635027"/>
            <a:ext cx="73158" cy="7315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3437FC5-E652-4084-AAF0-05CA09D1986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84506" y="3972857"/>
            <a:ext cx="73158" cy="73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7707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GB" dirty="0"/>
              <a:t>… has his/her own budget	</a:t>
            </a:r>
          </a:p>
          <a:p>
            <a:r>
              <a:rPr lang="en-GB" dirty="0"/>
              <a:t>… recruits staff	</a:t>
            </a:r>
          </a:p>
          <a:p>
            <a:r>
              <a:rPr lang="en-GB" dirty="0"/>
              <a:t>… procures third-party funds	</a:t>
            </a:r>
          </a:p>
          <a:p>
            <a:r>
              <a:rPr lang="en-GB" dirty="0"/>
              <a:t>… selects research topics	</a:t>
            </a:r>
          </a:p>
          <a:p>
            <a:r>
              <a:rPr lang="en-GB" dirty="0"/>
              <a:t>… identifies cooperation partners </a:t>
            </a:r>
            <a:br>
              <a:rPr lang="en-GB" dirty="0"/>
            </a:br>
            <a:r>
              <a:rPr lang="en-GB" dirty="0"/>
              <a:t>     in Germany and abroad</a:t>
            </a:r>
          </a:p>
          <a:p>
            <a:r>
              <a:rPr lang="en-GB" dirty="0"/>
              <a:t>… shapes research structures</a:t>
            </a:r>
            <a:br>
              <a:rPr lang="en-GB" dirty="0"/>
            </a:br>
            <a:r>
              <a:rPr lang="en-GB" dirty="0"/>
              <a:t>    (projects/departments)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x Planck Principles</a:t>
            </a:r>
            <a:br>
              <a:rPr lang="en-GB" dirty="0"/>
            </a:br>
            <a:r>
              <a:rPr lang="en-GB" cap="none" dirty="0"/>
              <a:t>Each Max Planck Institute / each Director</a:t>
            </a:r>
            <a:br>
              <a:rPr lang="en-GB" dirty="0"/>
            </a:b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60CC77DD-D812-4519-BB32-0D149C5E6B80}" type="slidenum">
              <a:rPr lang="pt-BR" smtClean="0"/>
              <a:t>13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9" y="2097088"/>
            <a:ext cx="5193742" cy="3474035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A3C11CE-854F-A641-A95F-819C21B7B5F2}"/>
              </a:ext>
            </a:extLst>
          </p:cNvPr>
          <p:cNvSpPr txBox="1"/>
          <p:nvPr/>
        </p:nvSpPr>
        <p:spPr>
          <a:xfrm rot="16200000">
            <a:off x="49139" y="4727429"/>
            <a:ext cx="156427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800" i="1" kern="600" spc="130">
                <a:solidFill>
                  <a:schemeClr val="tx1">
                    <a:lumMod val="50000"/>
                    <a:lumOff val="50000"/>
                  </a:schemeClr>
                </a:solidFill>
              </a:rPr>
              <a:t>© MPL, Florian </a:t>
            </a:r>
            <a:r>
              <a:rPr lang="de-DE" sz="800" i="1" kern="600" spc="130" err="1">
                <a:solidFill>
                  <a:schemeClr val="tx1">
                    <a:lumMod val="50000"/>
                    <a:lumOff val="50000"/>
                  </a:schemeClr>
                </a:solidFill>
              </a:rPr>
              <a:t>Trykowski</a:t>
            </a:r>
            <a:endParaRPr lang="de-DE" sz="800" i="1" kern="600" spc="13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12053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qual Opportunities Programm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72000" y="2088000"/>
            <a:ext cx="5947784" cy="4320000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ise Meitner Excellence </a:t>
            </a:r>
            <a:r>
              <a:rPr lang="de-DE" dirty="0" err="1"/>
              <a:t>Program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Minerva-</a:t>
            </a:r>
            <a:r>
              <a:rPr lang="de-DE" dirty="0" err="1"/>
              <a:t>FemmeNet</a:t>
            </a:r>
            <a:r>
              <a:rPr lang="de-DE" dirty="0"/>
              <a:t> (Mentoring Network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Minerva Fast Track </a:t>
            </a:r>
            <a:r>
              <a:rPr lang="de-DE" dirty="0" err="1"/>
              <a:t>Program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Elisabeth-Schiemann-Kolle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Sign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! </a:t>
            </a:r>
            <a:r>
              <a:rPr lang="de-DE" dirty="0" err="1"/>
              <a:t>Careerbuilding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E4075FE8-1115-4C4E-BAE5-7150E23EC893}" type="slidenum">
              <a:rPr lang="pt-BR" smtClean="0"/>
              <a:t>14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7243" y="2088000"/>
            <a:ext cx="5395089" cy="4514317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1797" y="2708340"/>
            <a:ext cx="5160203" cy="2741358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6A3C11CE-854F-A641-A95F-819C21B7B5F2}"/>
              </a:ext>
            </a:extLst>
          </p:cNvPr>
          <p:cNvSpPr txBox="1"/>
          <p:nvPr/>
        </p:nvSpPr>
        <p:spPr>
          <a:xfrm rot="16200000">
            <a:off x="11648046" y="5057387"/>
            <a:ext cx="42159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800" i="1" kern="600" spc="13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 MPG</a:t>
            </a:r>
          </a:p>
        </p:txBody>
      </p:sp>
    </p:spTree>
    <p:extLst>
      <p:ext uri="{BB962C8B-B14F-4D97-AF65-F5344CB8AC3E}">
        <p14:creationId xmlns:p14="http://schemas.microsoft.com/office/powerpoint/2010/main" val="22183822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441" y="3743022"/>
            <a:ext cx="4598571" cy="1930645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FD94E269-070C-40BF-BF29-36B8AE713A15}" type="slidenum">
              <a:rPr lang="pt-BR" smtClean="0"/>
              <a:t>15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se Meitner </a:t>
            </a:r>
            <a:r>
              <a:rPr lang="de-DE" dirty="0" err="1"/>
              <a:t>ExCellence</a:t>
            </a:r>
            <a:r>
              <a:rPr lang="de-DE" dirty="0"/>
              <a:t> </a:t>
            </a:r>
            <a:r>
              <a:rPr lang="de-DE" dirty="0" err="1"/>
              <a:t>program</a:t>
            </a:r>
            <a:br>
              <a:rPr lang="de-DE" dirty="0"/>
            </a:br>
            <a:r>
              <a:rPr lang="en-US" sz="2100" cap="none" dirty="0"/>
              <a:t>Recruiting and promoting exceptionally qualified female scientists</a:t>
            </a:r>
            <a:endParaRPr lang="de-DE" sz="2100" cap="none" dirty="0"/>
          </a:p>
        </p:txBody>
      </p:sp>
      <p:sp>
        <p:nvSpPr>
          <p:cNvPr id="13" name="Inhaltsplatzhalter 12"/>
          <p:cNvSpPr>
            <a:spLocks noGrp="1"/>
          </p:cNvSpPr>
          <p:nvPr>
            <p:ph sz="half" idx="2"/>
          </p:nvPr>
        </p:nvSpPr>
        <p:spPr>
          <a:xfrm>
            <a:off x="3402227" y="2088000"/>
            <a:ext cx="4229773" cy="4320000"/>
          </a:xfrm>
        </p:spPr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/>
              <a:t>free scientific developmen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/>
              <a:t>long-term professional security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/>
              <a:t>clear career perspectives</a:t>
            </a:r>
            <a:endParaRPr lang="de-DE" b="1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A3C11CE-854F-A641-A95F-819C21B7B5F2}"/>
              </a:ext>
            </a:extLst>
          </p:cNvPr>
          <p:cNvSpPr txBox="1"/>
          <p:nvPr/>
        </p:nvSpPr>
        <p:spPr>
          <a:xfrm rot="16200000">
            <a:off x="2940446" y="5140785"/>
            <a:ext cx="42159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800" i="1" kern="600" spc="130">
                <a:solidFill>
                  <a:schemeClr val="tx1">
                    <a:lumMod val="50000"/>
                    <a:lumOff val="50000"/>
                  </a:schemeClr>
                </a:solidFill>
              </a:rPr>
              <a:t>© MPG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1" y="1926380"/>
            <a:ext cx="2051440" cy="3512312"/>
          </a:xfrm>
          <a:prstGeom prst="rect">
            <a:avLst/>
          </a:prstGeom>
        </p:spPr>
      </p:pic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C43237FD-3ECE-C846-A021-362179611DF4}"/>
              </a:ext>
            </a:extLst>
          </p:cNvPr>
          <p:cNvSpPr txBox="1">
            <a:spLocks/>
          </p:cNvSpPr>
          <p:nvPr/>
        </p:nvSpPr>
        <p:spPr>
          <a:xfrm>
            <a:off x="972001" y="5510692"/>
            <a:ext cx="2276797" cy="3259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1" hangingPunct="1">
              <a:lnSpc>
                <a:spcPts val="23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-180000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8000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.SF NS Symbols Regular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21600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525"/>
              </a:spcAft>
              <a:buFont typeface="Symbol" pitchFamily="2" charset="2"/>
              <a:buChar char="-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216000" algn="l" defTabSz="9144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525"/>
              </a:spcAft>
              <a:buSzPct val="110000"/>
              <a:buFont typeface=".SF NS Symbols Regular"/>
              <a:buChar char="↘"/>
              <a:defRPr sz="1300" b="0" i="1" kern="600" spc="3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Font typeface="Arial" panose="020B0604020202020204" pitchFamily="34" charset="0"/>
              <a:buNone/>
            </a:pPr>
            <a:r>
              <a:rPr lang="de-DE" sz="1400" spc="50"/>
              <a:t>Lise Meitner (1878-1968)</a:t>
            </a:r>
            <a:endParaRPr lang="de-DE" sz="140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6528" y="580444"/>
            <a:ext cx="4232143" cy="6235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5162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772339" y="2101425"/>
            <a:ext cx="4844677" cy="277232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64800" y="720000"/>
            <a:ext cx="9900000" cy="1117038"/>
          </a:xfrm>
        </p:spPr>
        <p:txBody>
          <a:bodyPr/>
          <a:lstStyle/>
          <a:p>
            <a:r>
              <a:rPr lang="en-GB" dirty="0"/>
              <a:t>Career Perspectives: </a:t>
            </a:r>
            <a:r>
              <a:rPr lang="en-GB" cap="none" dirty="0"/>
              <a:t>Max Planck Research Group Leaders</a:t>
            </a:r>
            <a:br>
              <a:rPr lang="en-GB" cap="none" dirty="0"/>
            </a:br>
            <a:r>
              <a:rPr lang="en-GB" cap="none" dirty="0"/>
              <a:t>Where do they go?</a:t>
            </a:r>
            <a:br>
              <a:rPr lang="de-DE" cap="none" dirty="0"/>
            </a:br>
            <a:br>
              <a:rPr lang="de-DE" dirty="0"/>
            </a:b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1"/>
          </p:nvPr>
        </p:nvSpPr>
        <p:spPr>
          <a:xfrm>
            <a:off x="971999" y="2281880"/>
            <a:ext cx="4654444" cy="4126119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11 %	Continuation at the MPI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	(amongst others, in W2 positions)</a:t>
            </a:r>
          </a:p>
          <a:p>
            <a:r>
              <a:rPr lang="en-GB" dirty="0">
                <a:solidFill>
                  <a:schemeClr val="bg1"/>
                </a:solidFill>
              </a:rPr>
              <a:t>10 %	MPI Director (Scientific Member)</a:t>
            </a:r>
          </a:p>
          <a:p>
            <a:r>
              <a:rPr lang="en-GB" dirty="0">
                <a:solidFill>
                  <a:schemeClr val="bg1"/>
                </a:solidFill>
              </a:rPr>
              <a:t>59 % 	W2/W3 Positions at universities 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	</a:t>
            </a:r>
            <a:r>
              <a:rPr lang="en-GB" b="0" dirty="0">
                <a:solidFill>
                  <a:schemeClr val="bg1"/>
                </a:solidFill>
              </a:rPr>
              <a:t>(national &amp; international)</a:t>
            </a:r>
          </a:p>
          <a:p>
            <a:r>
              <a:rPr lang="en-GB" dirty="0">
                <a:solidFill>
                  <a:schemeClr val="bg1"/>
                </a:solidFill>
              </a:rPr>
              <a:t>20 % 	In other scientific institutions;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	economy/other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half" idx="2"/>
          </p:nvPr>
        </p:nvSpPr>
        <p:spPr>
          <a:xfrm>
            <a:off x="6277232" y="2088000"/>
            <a:ext cx="5494768" cy="4320000"/>
          </a:xfrm>
        </p:spPr>
        <p:txBody>
          <a:bodyPr>
            <a:normAutofit/>
          </a:bodyPr>
          <a:lstStyle/>
          <a:p>
            <a:r>
              <a:rPr lang="en-GB" b="0" dirty="0"/>
              <a:t>Max Planck Research Groups offer junior scientists with </a:t>
            </a:r>
            <a:br>
              <a:rPr lang="en-GB" b="0" dirty="0"/>
            </a:br>
            <a:r>
              <a:rPr lang="en-GB" b="0" dirty="0"/>
              <a:t>a doctoral degree an excellent opportunity to qualify for </a:t>
            </a:r>
            <a:br>
              <a:rPr lang="en-GB" b="0" dirty="0"/>
            </a:br>
            <a:r>
              <a:rPr lang="en-GB" b="0" dirty="0"/>
              <a:t>a further career at a high level.</a:t>
            </a:r>
          </a:p>
          <a:p>
            <a:r>
              <a:rPr lang="en-GB" b="0" dirty="0"/>
              <a:t>Max Planck Group Leaders are appointed by the President and (similar to directors at Max Planck Institutes) enjoy an independent status.</a:t>
            </a:r>
          </a:p>
          <a:p>
            <a:r>
              <a:rPr lang="en-GB" b="0" dirty="0"/>
              <a:t>There are </a:t>
            </a:r>
            <a:r>
              <a:rPr lang="en-GB" dirty="0"/>
              <a:t>194 Max Planck Research Groups</a:t>
            </a:r>
            <a:r>
              <a:rPr lang="en-GB" b="0" dirty="0"/>
              <a:t>.</a:t>
            </a:r>
          </a:p>
          <a:p>
            <a:r>
              <a:rPr lang="en-GB" b="0" dirty="0"/>
              <a:t>Max Planck Research Group Leaders are from all over the world, a significant number of them comes from the top 20 universities in the Shanghai Ranking. </a:t>
            </a:r>
          </a:p>
          <a:p>
            <a:r>
              <a:rPr lang="en-GB" b="0" i="1" dirty="0"/>
              <a:t>as per 31.12.2020</a:t>
            </a:r>
          </a:p>
          <a:p>
            <a:endParaRPr lang="en-GB" b="0" dirty="0"/>
          </a:p>
          <a:p>
            <a:endParaRPr lang="en-GB" b="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7CC7520F-0A2F-4C3D-B983-DE2906947EF8}" type="slidenum">
              <a:rPr lang="pt-BR" smtClean="0"/>
              <a:t>16</a:t>
            </a:fld>
            <a:endParaRPr lang="de-DE"/>
          </a:p>
        </p:txBody>
      </p:sp>
      <p:sp>
        <p:nvSpPr>
          <p:cNvPr id="11" name="Rechteck 10"/>
          <p:cNvSpPr/>
          <p:nvPr/>
        </p:nvSpPr>
        <p:spPr>
          <a:xfrm>
            <a:off x="5258522" y="1891032"/>
            <a:ext cx="735842" cy="6537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1236" y="3828334"/>
            <a:ext cx="3073128" cy="2571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3015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llipse 22"/>
          <p:cNvSpPr/>
          <p:nvPr/>
        </p:nvSpPr>
        <p:spPr>
          <a:xfrm>
            <a:off x="8268173" y="1632442"/>
            <a:ext cx="3141058" cy="3141058"/>
          </a:xfrm>
          <a:prstGeom prst="ellipse">
            <a:avLst/>
          </a:prstGeom>
          <a:solidFill>
            <a:schemeClr val="accent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22" name="Ellipse 21"/>
          <p:cNvSpPr/>
          <p:nvPr/>
        </p:nvSpPr>
        <p:spPr>
          <a:xfrm>
            <a:off x="4424856" y="1668696"/>
            <a:ext cx="3141058" cy="3141058"/>
          </a:xfrm>
          <a:prstGeom prst="ellipse">
            <a:avLst/>
          </a:prstGeom>
          <a:solidFill>
            <a:srgbClr val="29485D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634681" y="1668696"/>
            <a:ext cx="3141058" cy="3141058"/>
          </a:xfrm>
          <a:prstGeom prst="ellipse">
            <a:avLst/>
          </a:pr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16" name="Grafik 5">
            <a:extLst>
              <a:ext uri="{FF2B5EF4-FFF2-40B4-BE49-F238E27FC236}">
                <a16:creationId xmlns:a16="http://schemas.microsoft.com/office/drawing/2014/main" id="{D92341F2-BE08-4965-9EEF-3B49495D592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46" t="56189" r="4836" b="32295"/>
          <a:stretch/>
        </p:blipFill>
        <p:spPr>
          <a:xfrm>
            <a:off x="91158" y="5191724"/>
            <a:ext cx="11930921" cy="94118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IENTIFIC </a:t>
            </a:r>
            <a:r>
              <a:rPr lang="de-DE" dirty="0" err="1"/>
              <a:t>Section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1A035337-F6FF-42CD-B902-73497577C6BC}" type="slidenum">
              <a:rPr lang="pt-BR" smtClean="0"/>
              <a:t>17</a:t>
            </a:fld>
            <a:endParaRPr lang="de-DE"/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90EFA1A1-C2CE-4DA9-B0D7-C6100680D3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681" y="3020200"/>
            <a:ext cx="3056543" cy="948978"/>
          </a:xfrm>
          <a:prstGeom prst="rect">
            <a:avLst/>
          </a:prstGeom>
        </p:spPr>
        <p:txBody>
          <a:bodyPr vert="horz" lIns="0" tIns="0" rIns="0" bIns="0" numCol="1" spcCol="180000" rtlCol="0">
            <a:noAutofit/>
          </a:bodyPr>
          <a:lstStyle/>
          <a:p>
            <a:pPr algn="ctr" defTabSz="914400">
              <a:lnSpc>
                <a:spcPts val="2300"/>
              </a:lnSpc>
            </a:pPr>
            <a:r>
              <a:rPr lang="de-DE" sz="1600" b="1" kern="600" spc="40" dirty="0" err="1">
                <a:solidFill>
                  <a:schemeClr val="bg1"/>
                </a:solidFill>
              </a:rPr>
              <a:t>Biology</a:t>
            </a:r>
            <a:r>
              <a:rPr lang="de-DE" sz="1600" b="1" kern="600" spc="40" dirty="0">
                <a:solidFill>
                  <a:schemeClr val="bg1"/>
                </a:solidFill>
              </a:rPr>
              <a:t> </a:t>
            </a:r>
            <a:r>
              <a:rPr lang="de-DE" sz="1600" b="1" kern="600" spc="40" dirty="0" err="1">
                <a:solidFill>
                  <a:schemeClr val="bg1"/>
                </a:solidFill>
              </a:rPr>
              <a:t>and</a:t>
            </a:r>
            <a:r>
              <a:rPr lang="de-DE" sz="1600" b="1" kern="600" spc="40" dirty="0">
                <a:solidFill>
                  <a:schemeClr val="bg1"/>
                </a:solidFill>
              </a:rPr>
              <a:t> </a:t>
            </a:r>
            <a:r>
              <a:rPr lang="de-DE" sz="1600" b="1" kern="600" spc="40" dirty="0" err="1">
                <a:solidFill>
                  <a:schemeClr val="bg1"/>
                </a:solidFill>
              </a:rPr>
              <a:t>Medicine</a:t>
            </a:r>
            <a:r>
              <a:rPr lang="de-DE" sz="1600" b="1" kern="600" spc="40" dirty="0">
                <a:solidFill>
                  <a:schemeClr val="bg1"/>
                </a:solidFill>
              </a:rPr>
              <a:t> </a:t>
            </a:r>
          </a:p>
          <a:p>
            <a:pPr algn="ctr" defTabSz="914400">
              <a:lnSpc>
                <a:spcPts val="2300"/>
              </a:lnSpc>
            </a:pPr>
            <a:r>
              <a:rPr lang="de-DE" sz="1600" b="1" kern="600" spc="40" dirty="0" err="1">
                <a:solidFill>
                  <a:schemeClr val="bg1"/>
                </a:solidFill>
              </a:rPr>
              <a:t>Section</a:t>
            </a:r>
            <a:endParaRPr lang="de-DE" sz="1600" b="1" kern="600" spc="40" dirty="0">
              <a:solidFill>
                <a:schemeClr val="bg1"/>
              </a:solidFill>
            </a:endParaRPr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BEAA8F59-A682-42D2-884E-3EB2FB87EE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9009" y="2985904"/>
            <a:ext cx="3180383" cy="820738"/>
          </a:xfrm>
          <a:prstGeom prst="rect">
            <a:avLst/>
          </a:prstGeom>
        </p:spPr>
        <p:txBody>
          <a:bodyPr vert="horz" lIns="0" tIns="0" rIns="0" bIns="0" numCol="1" spcCol="180000" rtlCol="0">
            <a:noAutofit/>
          </a:bodyPr>
          <a:lstStyle/>
          <a:p>
            <a:pPr algn="ctr" defTabSz="914400">
              <a:lnSpc>
                <a:spcPts val="2300"/>
              </a:lnSpc>
            </a:pPr>
            <a:r>
              <a:rPr lang="de-DE" sz="1600" b="1" kern="600" spc="40" dirty="0" err="1">
                <a:solidFill>
                  <a:schemeClr val="bg1"/>
                </a:solidFill>
              </a:rPr>
              <a:t>Humanities</a:t>
            </a:r>
            <a:r>
              <a:rPr lang="de-DE" sz="1600" b="1" kern="600" spc="40" dirty="0">
                <a:solidFill>
                  <a:schemeClr val="bg1"/>
                </a:solidFill>
              </a:rPr>
              <a:t> </a:t>
            </a:r>
            <a:r>
              <a:rPr lang="de-DE" sz="1600" b="1" kern="600" spc="40" dirty="0" err="1">
                <a:solidFill>
                  <a:schemeClr val="bg1"/>
                </a:solidFill>
              </a:rPr>
              <a:t>and</a:t>
            </a:r>
            <a:r>
              <a:rPr lang="de-DE" sz="1600" b="1" kern="600" spc="40" dirty="0">
                <a:solidFill>
                  <a:schemeClr val="bg1"/>
                </a:solidFill>
              </a:rPr>
              <a:t> </a:t>
            </a:r>
            <a:r>
              <a:rPr lang="de-DE" sz="1600" b="1" kern="600" spc="40" dirty="0" err="1">
                <a:solidFill>
                  <a:schemeClr val="bg1"/>
                </a:solidFill>
              </a:rPr>
              <a:t>Social</a:t>
            </a:r>
            <a:r>
              <a:rPr lang="de-DE" sz="1600" b="1" kern="600" spc="40" dirty="0">
                <a:solidFill>
                  <a:schemeClr val="bg1"/>
                </a:solidFill>
              </a:rPr>
              <a:t> </a:t>
            </a:r>
            <a:r>
              <a:rPr lang="de-DE" sz="1600" b="1" kern="600" spc="40" dirty="0" err="1">
                <a:solidFill>
                  <a:schemeClr val="bg1"/>
                </a:solidFill>
              </a:rPr>
              <a:t>Sciences</a:t>
            </a:r>
            <a:r>
              <a:rPr lang="de-DE" sz="1600" b="1" kern="600" spc="40" dirty="0">
                <a:solidFill>
                  <a:schemeClr val="bg1"/>
                </a:solidFill>
              </a:rPr>
              <a:t> </a:t>
            </a:r>
            <a:r>
              <a:rPr lang="de-DE" sz="1600" b="1" kern="600" spc="40" dirty="0" err="1">
                <a:solidFill>
                  <a:schemeClr val="bg1"/>
                </a:solidFill>
              </a:rPr>
              <a:t>Section</a:t>
            </a:r>
            <a:endParaRPr lang="de-DE" sz="1600" b="1" kern="600" spc="40" dirty="0">
              <a:solidFill>
                <a:schemeClr val="bg1"/>
              </a:solidFill>
            </a:endParaRP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D0023EA1-0205-4605-81A4-318549A814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1140" y="2985904"/>
            <a:ext cx="3034774" cy="820738"/>
          </a:xfrm>
          <a:prstGeom prst="rect">
            <a:avLst/>
          </a:prstGeom>
        </p:spPr>
        <p:txBody>
          <a:bodyPr vert="horz" lIns="0" tIns="0" rIns="0" bIns="0" numCol="1" spcCol="180000" rtlCol="0">
            <a:noAutofit/>
          </a:bodyPr>
          <a:lstStyle/>
          <a:p>
            <a:pPr algn="ctr" defTabSz="914400">
              <a:lnSpc>
                <a:spcPts val="2300"/>
              </a:lnSpc>
            </a:pPr>
            <a:r>
              <a:rPr lang="en-US" sz="1600" b="1" kern="600" spc="40" dirty="0">
                <a:solidFill>
                  <a:schemeClr val="bg1"/>
                </a:solidFill>
              </a:rPr>
              <a:t>Chemistry, Physics, and Technology Section</a:t>
            </a:r>
          </a:p>
        </p:txBody>
      </p:sp>
    </p:spTree>
    <p:extLst>
      <p:ext uri="{BB962C8B-B14F-4D97-AF65-F5344CB8AC3E}">
        <p14:creationId xmlns:p14="http://schemas.microsoft.com/office/powerpoint/2010/main" val="41626427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772339" y="1853076"/>
            <a:ext cx="10471924" cy="43292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Developmental and Evolutionary Biology &amp; Gene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Immunobiology and Infection Biology &amp; Medic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Behavioural Sci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Microbiology &amp; Ec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Neurosci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Plant Re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Structural and Cell Bi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Physi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iology and Medicine Section</a:t>
            </a:r>
            <a:br>
              <a:rPr lang="en-GB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6394A27A-4DE3-4BDD-BF3B-B201590DE372}" type="slidenum">
              <a:rPr lang="pt-BR" smtClean="0"/>
              <a:t>18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263" y="4936142"/>
            <a:ext cx="3324473" cy="107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995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772339" y="1853076"/>
            <a:ext cx="10471924" cy="4329239"/>
          </a:xfrm>
          <a:prstGeom prst="rect">
            <a:avLst/>
          </a:prstGeom>
          <a:solidFill>
            <a:srgbClr val="294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mistry, Physics and Technology Section</a:t>
            </a:r>
            <a:br>
              <a:rPr lang="en-GB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B204B9F5-D0B8-439A-8490-01A316454537}" type="slidenum">
              <a:rPr lang="pt-BR" smtClean="0"/>
              <a:t>19</a:t>
            </a:fld>
            <a:endParaRPr lang="de-DE"/>
          </a:p>
        </p:txBody>
      </p:sp>
      <p:sp>
        <p:nvSpPr>
          <p:cNvPr id="10" name="Inhaltsplatzhalter 5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Astronomy &amp; Astrophys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Chemis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Solid State Research &amp; Material Sci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Earth Sciences and Climate Re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Particle, Plasma and Quantum Phys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Complex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Computer Sc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Mathematics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727" y="4868676"/>
            <a:ext cx="3683616" cy="118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3214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66625DC-7498-7246-A53C-01A0C80093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66625DC-7498-7246-A53C-01A0C8009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85367E-31B9-9D4F-93B7-FE7E1EFA3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Quick fac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41C260-885F-4D4D-B568-B6E2544E4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October 2023   		</a:t>
            </a:r>
            <a:fld id="{7135ABC5-68BD-475E-9BC9-53DD1587F591}" type="slidenum">
              <a:rPr lang="de-DE" smtClean="0"/>
              <a:t>2</a:t>
            </a:fld>
            <a:endParaRPr lang="de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DCC5B0-157C-F743-9287-76B3365CCCEF}"/>
              </a:ext>
            </a:extLst>
          </p:cNvPr>
          <p:cNvSpPr/>
          <p:nvPr/>
        </p:nvSpPr>
        <p:spPr>
          <a:xfrm>
            <a:off x="947737" y="209708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85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>
                <a:solidFill>
                  <a:schemeClr val="bg1"/>
                </a:solidFill>
              </a:rPr>
              <a:t>MPIs</a:t>
            </a:r>
            <a:endParaRPr lang="en-GB" sz="3600" b="1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CDE6FB-16A3-8245-867A-5C9787B88F09}"/>
              </a:ext>
            </a:extLst>
          </p:cNvPr>
          <p:cNvSpPr/>
          <p:nvPr/>
        </p:nvSpPr>
        <p:spPr>
          <a:xfrm>
            <a:off x="3557912" y="209708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5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>
                <a:solidFill>
                  <a:schemeClr val="bg1"/>
                </a:solidFill>
              </a:rPr>
              <a:t>MPIs abroa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955855-A6EF-DE48-8D51-E2E650750D21}"/>
              </a:ext>
            </a:extLst>
          </p:cNvPr>
          <p:cNvSpPr/>
          <p:nvPr/>
        </p:nvSpPr>
        <p:spPr>
          <a:xfrm>
            <a:off x="6168088" y="209708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72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18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>
                <a:solidFill>
                  <a:schemeClr val="bg1"/>
                </a:solidFill>
              </a:rPr>
              <a:t>Max Planck </a:t>
            </a:r>
            <a:r>
              <a:rPr lang="en-GB" sz="1200" b="1" dirty="0" err="1">
                <a:solidFill>
                  <a:schemeClr val="bg1"/>
                </a:solidFill>
              </a:rPr>
              <a:t>Centers</a:t>
            </a:r>
            <a:r>
              <a:rPr lang="en-GB" sz="1200" b="1" dirty="0">
                <a:solidFill>
                  <a:schemeClr val="bg1"/>
                </a:solidFill>
              </a:rPr>
              <a:t> e.g.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br>
              <a:rPr lang="en-GB" sz="1200" dirty="0">
                <a:solidFill>
                  <a:schemeClr val="bg1"/>
                </a:solidFill>
              </a:rPr>
            </a:br>
            <a:r>
              <a:rPr lang="en-GB" sz="1200" dirty="0">
                <a:solidFill>
                  <a:schemeClr val="bg1"/>
                </a:solidFill>
              </a:rPr>
              <a:t>in the USA, India, Ital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E6B9F8-87C5-6346-8A52-64C2CCE8390A}"/>
              </a:ext>
            </a:extLst>
          </p:cNvPr>
          <p:cNvSpPr/>
          <p:nvPr/>
        </p:nvSpPr>
        <p:spPr>
          <a:xfrm>
            <a:off x="8778265" y="209708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28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>
                <a:solidFill>
                  <a:schemeClr val="bg1"/>
                </a:solidFill>
              </a:rPr>
              <a:t>Nobel Prizes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dirty="0">
                <a:solidFill>
                  <a:schemeClr val="bg1"/>
                </a:solidFill>
              </a:rPr>
              <a:t>31 Nobel Prize Laureat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565EFE2-2227-1040-81DC-D2DDC7E0C589}"/>
              </a:ext>
            </a:extLst>
          </p:cNvPr>
          <p:cNvSpPr/>
          <p:nvPr/>
        </p:nvSpPr>
        <p:spPr>
          <a:xfrm>
            <a:off x="947737" y="358591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3</a:t>
            </a:r>
            <a:r>
              <a:rPr lang="en-GB" sz="4400" b="1" baseline="30000" dirty="0">
                <a:solidFill>
                  <a:schemeClr val="bg1"/>
                </a:solidFill>
              </a:rPr>
              <a:t>rd</a:t>
            </a:r>
            <a:r>
              <a:rPr lang="en-GB" sz="1200" b="1" dirty="0">
                <a:solidFill>
                  <a:schemeClr val="bg1"/>
                </a:solidFill>
              </a:rPr>
              <a:t> Place </a:t>
            </a:r>
            <a:br>
              <a:rPr lang="en-GB" sz="1200" b="1" dirty="0">
                <a:solidFill>
                  <a:schemeClr val="bg1"/>
                </a:solidFill>
              </a:rPr>
            </a:br>
            <a:r>
              <a:rPr lang="en-GB" sz="1200" dirty="0">
                <a:solidFill>
                  <a:schemeClr val="bg1"/>
                </a:solidFill>
              </a:rPr>
              <a:t>Nature Publishing Index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4CE42C2-CC78-D349-B094-C75365AC4986}"/>
              </a:ext>
            </a:extLst>
          </p:cNvPr>
          <p:cNvSpPr/>
          <p:nvPr/>
        </p:nvSpPr>
        <p:spPr>
          <a:xfrm>
            <a:off x="3557912" y="358591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1400" b="1" dirty="0">
                <a:solidFill>
                  <a:schemeClr val="bg1"/>
                </a:solidFill>
              </a:rPr>
              <a:t>Top  </a:t>
            </a:r>
            <a:r>
              <a:rPr lang="en-GB" sz="4400" b="1" dirty="0">
                <a:solidFill>
                  <a:schemeClr val="bg1"/>
                </a:solidFill>
              </a:rPr>
              <a:t>25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dirty="0">
                <a:solidFill>
                  <a:schemeClr val="bg1"/>
                </a:solidFill>
              </a:rPr>
              <a:t>Top Global Innovators of Thomson Reute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AD47B0-3686-8347-A68C-3C27AAF059B8}"/>
              </a:ext>
            </a:extLst>
          </p:cNvPr>
          <p:cNvSpPr/>
          <p:nvPr/>
        </p:nvSpPr>
        <p:spPr>
          <a:xfrm>
            <a:off x="6168088" y="358591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24k</a:t>
            </a:r>
            <a:br>
              <a:rPr lang="en-GB" sz="4400" b="1" dirty="0">
                <a:solidFill>
                  <a:schemeClr val="bg1"/>
                </a:solidFill>
              </a:rPr>
            </a:br>
            <a:r>
              <a:rPr lang="en-GB" sz="1200" b="1" dirty="0">
                <a:solidFill>
                  <a:schemeClr val="bg1"/>
                </a:solidFill>
              </a:rPr>
              <a:t>Employees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5AE58F-F283-2A47-87EC-D9949BCD48C3}"/>
              </a:ext>
            </a:extLst>
          </p:cNvPr>
          <p:cNvSpPr/>
          <p:nvPr/>
        </p:nvSpPr>
        <p:spPr>
          <a:xfrm>
            <a:off x="8778265" y="358591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2,1</a:t>
            </a:r>
            <a:r>
              <a:rPr lang="en-GB" sz="1200" b="1" dirty="0">
                <a:solidFill>
                  <a:schemeClr val="bg1"/>
                </a:solidFill>
              </a:rPr>
              <a:t>  Billion € </a:t>
            </a:r>
            <a:br>
              <a:rPr lang="en-GB" sz="1200" b="1" dirty="0">
                <a:solidFill>
                  <a:schemeClr val="bg1"/>
                </a:solidFill>
              </a:rPr>
            </a:br>
            <a:r>
              <a:rPr lang="en-GB" sz="1200" b="1" dirty="0">
                <a:solidFill>
                  <a:schemeClr val="bg1"/>
                </a:solidFill>
              </a:rPr>
              <a:t>Budget</a:t>
            </a:r>
            <a:br>
              <a:rPr lang="en-GB" sz="1200" dirty="0">
                <a:solidFill>
                  <a:schemeClr val="bg1"/>
                </a:solidFill>
              </a:rPr>
            </a:br>
            <a:r>
              <a:rPr lang="en-GB" sz="11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(Total federal/state subsidies 2022)</a:t>
            </a:r>
            <a:endParaRPr lang="en-GB" sz="115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48FF4B-CCA8-104D-8BC0-DA095AFFF1D5}"/>
              </a:ext>
            </a:extLst>
          </p:cNvPr>
          <p:cNvSpPr/>
          <p:nvPr/>
        </p:nvSpPr>
        <p:spPr>
          <a:xfrm>
            <a:off x="947737" y="5074748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8,000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>
                <a:solidFill>
                  <a:schemeClr val="bg1"/>
                </a:solidFill>
              </a:rPr>
              <a:t>Junior Scientists </a:t>
            </a:r>
            <a:br>
              <a:rPr lang="en-GB" sz="1200" b="1" dirty="0">
                <a:solidFill>
                  <a:schemeClr val="bg1"/>
                </a:solidFill>
              </a:rPr>
            </a:br>
            <a:r>
              <a:rPr lang="en-GB" sz="1200" dirty="0">
                <a:solidFill>
                  <a:schemeClr val="bg1"/>
                </a:solidFill>
              </a:rPr>
              <a:t>from around the worl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29EAD8-B833-9E43-A475-3550D3D1EBBB}"/>
              </a:ext>
            </a:extLst>
          </p:cNvPr>
          <p:cNvSpPr/>
          <p:nvPr/>
        </p:nvSpPr>
        <p:spPr>
          <a:xfrm>
            <a:off x="3557912" y="5074748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159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>
                <a:solidFill>
                  <a:schemeClr val="bg1"/>
                </a:solidFill>
              </a:rPr>
              <a:t>Start-u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4D94693-6EEF-9D43-8E87-BB9A039156AC}"/>
              </a:ext>
            </a:extLst>
          </p:cNvPr>
          <p:cNvSpPr/>
          <p:nvPr/>
        </p:nvSpPr>
        <p:spPr>
          <a:xfrm>
            <a:off x="6168088" y="5074748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135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>
                <a:solidFill>
                  <a:schemeClr val="bg1"/>
                </a:solidFill>
              </a:rPr>
              <a:t>Inventions </a:t>
            </a:r>
            <a:r>
              <a:rPr lang="en-GB" sz="1200" dirty="0">
                <a:solidFill>
                  <a:schemeClr val="bg1"/>
                </a:solidFill>
              </a:rPr>
              <a:t>(2021)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AC6A9B7-6589-4144-9894-9E106D2D23FC}"/>
              </a:ext>
            </a:extLst>
          </p:cNvPr>
          <p:cNvSpPr/>
          <p:nvPr/>
        </p:nvSpPr>
        <p:spPr>
          <a:xfrm>
            <a:off x="8778265" y="5074748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1</a:t>
            </a:r>
            <a:r>
              <a:rPr lang="en-GB" sz="4400" b="1" baseline="30000" dirty="0">
                <a:solidFill>
                  <a:schemeClr val="bg1"/>
                </a:solidFill>
              </a:rPr>
              <a:t>st</a:t>
            </a:r>
            <a:r>
              <a:rPr lang="en-GB" sz="1200" b="1" baseline="30000" dirty="0">
                <a:solidFill>
                  <a:schemeClr val="bg1"/>
                </a:solidFill>
              </a:rPr>
              <a:t> </a:t>
            </a:r>
            <a:r>
              <a:rPr lang="en-GB" sz="1200" b="1" dirty="0">
                <a:solidFill>
                  <a:schemeClr val="bg1"/>
                </a:solidFill>
              </a:rPr>
              <a:t> Place 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>
                <a:solidFill>
                  <a:schemeClr val="bg1"/>
                </a:solidFill>
              </a:rPr>
              <a:t>Most popular employer in the natural sciences</a:t>
            </a:r>
          </a:p>
        </p:txBody>
      </p:sp>
      <p:pic>
        <p:nvPicPr>
          <p:cNvPr id="39" name="Inhaltsplatzhalter 4">
            <a:extLst>
              <a:ext uri="{FF2B5EF4-FFF2-40B4-BE49-F238E27FC236}">
                <a16:creationId xmlns:a16="http://schemas.microsoft.com/office/drawing/2014/main" id="{B603170F-4C3C-B445-A345-17DB95F976A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067"/>
          <a:stretch/>
        </p:blipFill>
        <p:spPr>
          <a:xfrm>
            <a:off x="5411055" y="5201074"/>
            <a:ext cx="557038" cy="473105"/>
          </a:xfrm>
          <a:prstGeom prst="rect">
            <a:avLst/>
          </a:prstGeom>
        </p:spPr>
      </p:pic>
      <p:pic>
        <p:nvPicPr>
          <p:cNvPr id="41" name="Grafik 5">
            <a:extLst>
              <a:ext uri="{FF2B5EF4-FFF2-40B4-BE49-F238E27FC236}">
                <a16:creationId xmlns:a16="http://schemas.microsoft.com/office/drawing/2014/main" id="{B1CAD229-8A55-7E43-9553-B3D01E5634B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9502"/>
          <a:stretch/>
        </p:blipFill>
        <p:spPr>
          <a:xfrm>
            <a:off x="2636695" y="2178731"/>
            <a:ext cx="711366" cy="572633"/>
          </a:xfrm>
          <a:prstGeom prst="rect">
            <a:avLst/>
          </a:prstGeom>
        </p:spPr>
      </p:pic>
      <p:pic>
        <p:nvPicPr>
          <p:cNvPr id="42" name="Grafik 6">
            <a:extLst>
              <a:ext uri="{FF2B5EF4-FFF2-40B4-BE49-F238E27FC236}">
                <a16:creationId xmlns:a16="http://schemas.microsoft.com/office/drawing/2014/main" id="{60C63ADD-CBD6-D644-98EB-F39C6E1F4F37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421"/>
          <a:stretch/>
        </p:blipFill>
        <p:spPr>
          <a:xfrm>
            <a:off x="10571555" y="5171319"/>
            <a:ext cx="613846" cy="519189"/>
          </a:xfrm>
          <a:prstGeom prst="rect">
            <a:avLst/>
          </a:prstGeom>
        </p:spPr>
      </p:pic>
      <p:pic>
        <p:nvPicPr>
          <p:cNvPr id="43" name="Grafik 7">
            <a:extLst>
              <a:ext uri="{FF2B5EF4-FFF2-40B4-BE49-F238E27FC236}">
                <a16:creationId xmlns:a16="http://schemas.microsoft.com/office/drawing/2014/main" id="{55E64244-B559-A447-91F8-19242BA9457C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7068"/>
          <a:stretch/>
        </p:blipFill>
        <p:spPr>
          <a:xfrm>
            <a:off x="7713620" y="3559628"/>
            <a:ext cx="998420" cy="728166"/>
          </a:xfrm>
          <a:prstGeom prst="rect">
            <a:avLst/>
          </a:prstGeom>
        </p:spPr>
      </p:pic>
      <p:pic>
        <p:nvPicPr>
          <p:cNvPr id="44" name="Grafik 8">
            <a:extLst>
              <a:ext uri="{FF2B5EF4-FFF2-40B4-BE49-F238E27FC236}">
                <a16:creationId xmlns:a16="http://schemas.microsoft.com/office/drawing/2014/main" id="{54D981F9-096D-5043-AB46-947C356E748A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455" t="1939" r="1455" b="17616"/>
          <a:stretch/>
        </p:blipFill>
        <p:spPr>
          <a:xfrm>
            <a:off x="7937183" y="5164240"/>
            <a:ext cx="704945" cy="567089"/>
          </a:xfrm>
          <a:prstGeom prst="rect">
            <a:avLst/>
          </a:prstGeom>
        </p:spPr>
      </p:pic>
      <p:pic>
        <p:nvPicPr>
          <p:cNvPr id="45" name="Grafik 9">
            <a:extLst>
              <a:ext uri="{FF2B5EF4-FFF2-40B4-BE49-F238E27FC236}">
                <a16:creationId xmlns:a16="http://schemas.microsoft.com/office/drawing/2014/main" id="{227B1471-8C7D-B948-8ED5-28CF313217B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2584" y="2201391"/>
            <a:ext cx="616995" cy="607123"/>
          </a:xfrm>
          <a:prstGeom prst="rect">
            <a:avLst/>
          </a:prstGeom>
        </p:spPr>
      </p:pic>
      <p:pic>
        <p:nvPicPr>
          <p:cNvPr id="46" name="Grafik 10">
            <a:extLst>
              <a:ext uri="{FF2B5EF4-FFF2-40B4-BE49-F238E27FC236}">
                <a16:creationId xmlns:a16="http://schemas.microsoft.com/office/drawing/2014/main" id="{F2A106FE-EC11-A64D-BCFA-381D8D6A0162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624"/>
          <a:stretch/>
        </p:blipFill>
        <p:spPr>
          <a:xfrm>
            <a:off x="2700455" y="3705453"/>
            <a:ext cx="653501" cy="564469"/>
          </a:xfrm>
          <a:prstGeom prst="rect">
            <a:avLst/>
          </a:prstGeom>
        </p:spPr>
      </p:pic>
      <p:pic>
        <p:nvPicPr>
          <p:cNvPr id="47" name="Grafik 11">
            <a:extLst>
              <a:ext uri="{FF2B5EF4-FFF2-40B4-BE49-F238E27FC236}">
                <a16:creationId xmlns:a16="http://schemas.microsoft.com/office/drawing/2014/main" id="{8399D22A-1D90-B147-9629-416A57904284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737"/>
          <a:stretch/>
        </p:blipFill>
        <p:spPr>
          <a:xfrm>
            <a:off x="2674937" y="5167213"/>
            <a:ext cx="710736" cy="613101"/>
          </a:xfrm>
          <a:prstGeom prst="rect">
            <a:avLst/>
          </a:prstGeom>
        </p:spPr>
      </p:pic>
      <p:pic>
        <p:nvPicPr>
          <p:cNvPr id="48" name="Grafik 12">
            <a:extLst>
              <a:ext uri="{FF2B5EF4-FFF2-40B4-BE49-F238E27FC236}">
                <a16:creationId xmlns:a16="http://schemas.microsoft.com/office/drawing/2014/main" id="{A6D3F8BE-CAB8-4E4F-9689-A5B6E178A522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2810"/>
          <a:stretch/>
        </p:blipFill>
        <p:spPr>
          <a:xfrm>
            <a:off x="5331277" y="2228557"/>
            <a:ext cx="620671" cy="541158"/>
          </a:xfrm>
          <a:prstGeom prst="rect">
            <a:avLst/>
          </a:prstGeom>
        </p:spPr>
      </p:pic>
      <p:pic>
        <p:nvPicPr>
          <p:cNvPr id="49" name="Grafik 13">
            <a:extLst>
              <a:ext uri="{FF2B5EF4-FFF2-40B4-BE49-F238E27FC236}">
                <a16:creationId xmlns:a16="http://schemas.microsoft.com/office/drawing/2014/main" id="{5EB93BAC-82FE-E340-8E0A-524373A9570A}"/>
              </a:ext>
            </a:extLst>
          </p:cNvPr>
          <p:cNvPicPr>
            <a:picLocks noChangeAspect="1"/>
          </p:cNvPicPr>
          <p:nvPr/>
        </p:nvPicPr>
        <p:blipFill rotWithShape="1"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5189"/>
          <a:stretch/>
        </p:blipFill>
        <p:spPr>
          <a:xfrm>
            <a:off x="7733263" y="2149210"/>
            <a:ext cx="837639" cy="626647"/>
          </a:xfrm>
          <a:prstGeom prst="rect">
            <a:avLst/>
          </a:prstGeom>
        </p:spPr>
      </p:pic>
      <p:pic>
        <p:nvPicPr>
          <p:cNvPr id="51" name="Graphic 50" descr="Ribbon with solid fill">
            <a:extLst>
              <a:ext uri="{FF2B5EF4-FFF2-40B4-BE49-F238E27FC236}">
                <a16:creationId xmlns:a16="http://schemas.microsoft.com/office/drawing/2014/main" id="{C9BA80D9-1764-AA4E-A05C-227490B3EC17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/>
          </a:blip>
          <a:stretch>
            <a:fillRect/>
          </a:stretch>
        </p:blipFill>
        <p:spPr>
          <a:xfrm>
            <a:off x="5393871" y="3657600"/>
            <a:ext cx="604157" cy="604157"/>
          </a:xfrm>
          <a:prstGeom prst="rect">
            <a:avLst/>
          </a:prstGeom>
        </p:spPr>
      </p:pic>
      <p:pic>
        <p:nvPicPr>
          <p:cNvPr id="53" name="Graphic 52" descr="Bank with solid fill">
            <a:extLst>
              <a:ext uri="{FF2B5EF4-FFF2-40B4-BE49-F238E27FC236}">
                <a16:creationId xmlns:a16="http://schemas.microsoft.com/office/drawing/2014/main" id="{88732BD8-D9AA-E041-AAA8-982FB4237D7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/>
          </a:blip>
          <a:stretch>
            <a:fillRect/>
          </a:stretch>
        </p:blipFill>
        <p:spPr>
          <a:xfrm>
            <a:off x="10561865" y="3641271"/>
            <a:ext cx="604157" cy="60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8707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772339" y="1853076"/>
            <a:ext cx="10471924" cy="43292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Cultural Stud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Jurisprud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Social Sci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Cognitive Re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Linguistics</a:t>
            </a:r>
          </a:p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uman Sciences Sectio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FD01BB74-12B4-4518-A1E7-818C65046EDF}" type="slidenum">
              <a:rPr lang="pt-BR" smtClean="0"/>
              <a:t>20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5071" y="4837014"/>
            <a:ext cx="3888089" cy="1256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1916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half" idx="2"/>
          </p:nvPr>
        </p:nvSpPr>
        <p:spPr>
          <a:xfrm>
            <a:off x="7068475" y="2097088"/>
            <a:ext cx="4860000" cy="43109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tructured PhD student training in collaboration with univers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80 Max Planck Institutes involv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36 German universities involv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bout 55 % of PhD students are </a:t>
            </a:r>
            <a:br>
              <a:rPr lang="en-GB" dirty="0"/>
            </a:br>
            <a:r>
              <a:rPr lang="en-GB" dirty="0"/>
              <a:t>from outside Germany</a:t>
            </a:r>
          </a:p>
          <a:p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PRS </a:t>
            </a:r>
            <a:r>
              <a:rPr lang="de-DE" dirty="0"/>
              <a:t>–</a:t>
            </a:r>
            <a:r>
              <a:rPr lang="en-GB" dirty="0"/>
              <a:t> </a:t>
            </a:r>
            <a:r>
              <a:rPr lang="en-GB" dirty="0" err="1"/>
              <a:t>InternationAl</a:t>
            </a:r>
            <a:r>
              <a:rPr lang="en-GB" dirty="0"/>
              <a:t> Max Planck Research Schools</a:t>
            </a:r>
            <a:br>
              <a:rPr lang="en-GB" dirty="0"/>
            </a:br>
            <a:r>
              <a:rPr lang="en-GB" b="0" cap="none" dirty="0"/>
              <a:t>69 IMPRS with more than 3.000 PhD students (</a:t>
            </a:r>
            <a:r>
              <a:rPr lang="en-GB" b="0" dirty="0"/>
              <a:t>01/2023)</a:t>
            </a:r>
            <a:br>
              <a:rPr lang="en-GB" b="0" i="1" dirty="0"/>
            </a:b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9DEC1F90-6CF0-4457-AC5C-480DB35A7143}" type="slidenum">
              <a:rPr lang="pt-BR" smtClean="0"/>
              <a:t>21</a:t>
            </a:fld>
            <a:endParaRPr lang="de-DE"/>
          </a:p>
        </p:txBody>
      </p:sp>
      <p:pic>
        <p:nvPicPr>
          <p:cNvPr id="8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7739" y="2097088"/>
            <a:ext cx="5877979" cy="2840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98548"/>
            <a:ext cx="4029243" cy="337145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6A3C11CE-854F-A641-A95F-819C21B7B5F2}"/>
              </a:ext>
            </a:extLst>
          </p:cNvPr>
          <p:cNvSpPr txBox="1"/>
          <p:nvPr/>
        </p:nvSpPr>
        <p:spPr>
          <a:xfrm rot="16200000">
            <a:off x="325762" y="3883611"/>
            <a:ext cx="10323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800" i="1" kern="600" spc="13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 Sabine Jakobs</a:t>
            </a:r>
          </a:p>
        </p:txBody>
      </p:sp>
    </p:spTree>
    <p:extLst>
      <p:ext uri="{BB962C8B-B14F-4D97-AF65-F5344CB8AC3E}">
        <p14:creationId xmlns:p14="http://schemas.microsoft.com/office/powerpoint/2010/main" val="4543682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RS Locations</a:t>
            </a:r>
            <a:br>
              <a:rPr lang="de-DE" dirty="0"/>
            </a:br>
            <a:r>
              <a:rPr lang="de-DE" b="0" cap="none" dirty="0"/>
              <a:t>69 IMPRS (</a:t>
            </a:r>
            <a:r>
              <a:rPr lang="de-DE" b="0" cap="none" dirty="0" err="1"/>
              <a:t>as</a:t>
            </a:r>
            <a:r>
              <a:rPr lang="de-DE" b="0" cap="none" dirty="0"/>
              <a:t> per 01/2023)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B73AE142-3034-485A-825E-CF0FF04EBB80}" type="slidenum">
              <a:rPr lang="pt-BR" smtClean="0"/>
              <a:t>22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6F58CCF-0547-49B5-B89F-1146AF925C58}"/>
              </a:ext>
            </a:extLst>
          </p:cNvPr>
          <p:cNvGrpSpPr/>
          <p:nvPr/>
        </p:nvGrpSpPr>
        <p:grpSpPr>
          <a:xfrm>
            <a:off x="1020884" y="5159226"/>
            <a:ext cx="2161099" cy="953901"/>
            <a:chOff x="2936884" y="5308592"/>
            <a:chExt cx="2161099" cy="953901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5AA9CE17-6E64-43E5-B957-91D2D98D6593}"/>
                </a:ext>
              </a:extLst>
            </p:cNvPr>
            <p:cNvGrpSpPr/>
            <p:nvPr/>
          </p:nvGrpSpPr>
          <p:grpSpPr>
            <a:xfrm>
              <a:off x="2936884" y="5666111"/>
              <a:ext cx="2161099" cy="596382"/>
              <a:chOff x="2936884" y="5666111"/>
              <a:chExt cx="2161099" cy="596382"/>
            </a:xfrm>
          </p:grpSpPr>
          <p:grpSp>
            <p:nvGrpSpPr>
              <p:cNvPr id="10" name="Gruppieren 9">
                <a:extLst>
                  <a:ext uri="{FF2B5EF4-FFF2-40B4-BE49-F238E27FC236}">
                    <a16:creationId xmlns:a16="http://schemas.microsoft.com/office/drawing/2014/main" id="{ECC33157-1597-4F41-9164-6A881F47818E}"/>
                  </a:ext>
                </a:extLst>
              </p:cNvPr>
              <p:cNvGrpSpPr/>
              <p:nvPr/>
            </p:nvGrpSpPr>
            <p:grpSpPr>
              <a:xfrm>
                <a:off x="2936884" y="5666111"/>
                <a:ext cx="2161099" cy="596382"/>
                <a:chOff x="2936884" y="5666111"/>
                <a:chExt cx="2161099" cy="596382"/>
              </a:xfrm>
            </p:grpSpPr>
            <p:sp>
              <p:nvSpPr>
                <p:cNvPr id="12" name="Textfeld 11">
                  <a:extLst>
                    <a:ext uri="{FF2B5EF4-FFF2-40B4-BE49-F238E27FC236}">
                      <a16:creationId xmlns:a16="http://schemas.microsoft.com/office/drawing/2014/main" id="{4DEF02C0-079C-42E3-B97A-ACA62E3CB924}"/>
                    </a:ext>
                  </a:extLst>
                </p:cNvPr>
                <p:cNvSpPr txBox="1"/>
                <p:nvPr/>
              </p:nvSpPr>
              <p:spPr>
                <a:xfrm>
                  <a:off x="3163986" y="5666111"/>
                  <a:ext cx="1933997" cy="59638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algn="l">
                    <a:lnSpc>
                      <a:spcPts val="1600"/>
                    </a:lnSpc>
                    <a:spcBef>
                      <a:spcPts val="1150"/>
                    </a:spcBef>
                  </a:pPr>
                  <a:r>
                    <a:rPr lang="de-DE" sz="1000" dirty="0"/>
                    <a:t>Jupiter, USA</a:t>
                  </a:r>
                  <a:br>
                    <a:rPr lang="de-DE" sz="1000" dirty="0"/>
                  </a:br>
                  <a:r>
                    <a:rPr lang="de-DE" sz="1000" dirty="0"/>
                    <a:t>Nijmegen, NL</a:t>
                  </a:r>
                  <a:br>
                    <a:rPr lang="de-DE" sz="1000" dirty="0"/>
                  </a:br>
                  <a:r>
                    <a:rPr lang="de-DE" sz="1000" dirty="0"/>
                    <a:t>Luxemburg, LU</a:t>
                  </a:r>
                </a:p>
              </p:txBody>
            </p:sp>
            <p:sp>
              <p:nvSpPr>
                <p:cNvPr id="13" name="Ellipse 12">
                  <a:extLst>
                    <a:ext uri="{FF2B5EF4-FFF2-40B4-BE49-F238E27FC236}">
                      <a16:creationId xmlns:a16="http://schemas.microsoft.com/office/drawing/2014/main" id="{BB542C3F-FA56-4B73-A202-A390292628FA}"/>
                    </a:ext>
                  </a:extLst>
                </p:cNvPr>
                <p:cNvSpPr/>
                <p:nvPr/>
              </p:nvSpPr>
              <p:spPr>
                <a:xfrm>
                  <a:off x="2936884" y="5666111"/>
                  <a:ext cx="144000" cy="144000"/>
                </a:xfrm>
                <a:prstGeom prst="ellipse">
                  <a:avLst/>
                </a:prstGeom>
                <a:solidFill>
                  <a:schemeClr val="accent2"/>
                </a:solidFill>
                <a:ln w="19050" cmpd="sng">
                  <a:noFill/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de-DE" sz="13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4" name="Ellipse 13">
                  <a:extLst>
                    <a:ext uri="{FF2B5EF4-FFF2-40B4-BE49-F238E27FC236}">
                      <a16:creationId xmlns:a16="http://schemas.microsoft.com/office/drawing/2014/main" id="{7A6F5C07-1CBA-4088-B01F-38EE61B969FF}"/>
                    </a:ext>
                  </a:extLst>
                </p:cNvPr>
                <p:cNvSpPr/>
                <p:nvPr/>
              </p:nvSpPr>
              <p:spPr>
                <a:xfrm>
                  <a:off x="2936884" y="5894711"/>
                  <a:ext cx="144000" cy="144000"/>
                </a:xfrm>
                <a:prstGeom prst="ellipse">
                  <a:avLst/>
                </a:prstGeom>
                <a:solidFill>
                  <a:schemeClr val="accent5"/>
                </a:solidFill>
                <a:ln w="19050" cmpd="sng">
                  <a:noFill/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de-DE" sz="1300" b="1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FCD7A0FA-B666-4CD8-BA34-7238D45104B7}"/>
                  </a:ext>
                </a:extLst>
              </p:cNvPr>
              <p:cNvSpPr/>
              <p:nvPr/>
            </p:nvSpPr>
            <p:spPr>
              <a:xfrm>
                <a:off x="2936884" y="6113786"/>
                <a:ext cx="144000" cy="144000"/>
              </a:xfrm>
              <a:prstGeom prst="ellipse">
                <a:avLst/>
              </a:prstGeom>
              <a:solidFill>
                <a:schemeClr val="accent5"/>
              </a:solidFill>
              <a:ln w="19050" cmpd="sng">
                <a:noFill/>
                <a:prstDash val="dash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de-DE" sz="13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CF269BEA-52FB-49A4-A92F-67FC480FD95E}"/>
                </a:ext>
              </a:extLst>
            </p:cNvPr>
            <p:cNvSpPr txBox="1"/>
            <p:nvPr/>
          </p:nvSpPr>
          <p:spPr>
            <a:xfrm>
              <a:off x="2936884" y="5308592"/>
              <a:ext cx="2017100" cy="253339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de-DE" sz="1000" spc="100" dirty="0"/>
                <a:t>LOCATIONS ABROAD</a:t>
              </a:r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367C4B2-34D6-4874-9086-EC718B89DBA7}"/>
              </a:ext>
            </a:extLst>
          </p:cNvPr>
          <p:cNvGrpSpPr/>
          <p:nvPr/>
        </p:nvGrpSpPr>
        <p:grpSpPr>
          <a:xfrm>
            <a:off x="3656673" y="566442"/>
            <a:ext cx="6926282" cy="5886746"/>
            <a:chOff x="3656673" y="566442"/>
            <a:chExt cx="6926282" cy="5886746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050C6363-79E9-4AA5-97D8-53AC56BEF5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25237" t="18350" b="18833"/>
            <a:stretch/>
          </p:blipFill>
          <p:spPr>
            <a:xfrm>
              <a:off x="3656673" y="566442"/>
              <a:ext cx="6926282" cy="5886746"/>
            </a:xfrm>
            <a:prstGeom prst="rect">
              <a:avLst/>
            </a:prstGeom>
          </p:spPr>
        </p:pic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321FCAFF-5657-4B7A-B561-CAA11501D88A}"/>
                </a:ext>
              </a:extLst>
            </p:cNvPr>
            <p:cNvSpPr/>
            <p:nvPr/>
          </p:nvSpPr>
          <p:spPr>
            <a:xfrm>
              <a:off x="8124404" y="5750052"/>
              <a:ext cx="1933997" cy="666623"/>
            </a:xfrm>
            <a:prstGeom prst="rect">
              <a:avLst/>
            </a:pr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26016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54C93F6-4036-4E43-B7FE-C1AABE2545D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46" t="41477" r="10367" b="32294"/>
          <a:stretch/>
        </p:blipFill>
        <p:spPr>
          <a:xfrm rot="10800000">
            <a:off x="947738" y="2733113"/>
            <a:ext cx="10296524" cy="198357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859" y="1870845"/>
            <a:ext cx="2990425" cy="4228298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9CB1610A-CF00-3A4B-A8C0-8850333B0ED7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>
          <a:blip r:embed="rId4"/>
          <a:stretch>
            <a:fillRect/>
          </a:stretch>
        </p:blipFill>
        <p:spPr>
          <a:xfrm>
            <a:off x="5253349" y="696922"/>
            <a:ext cx="5995928" cy="5614988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572B171-3735-2443-B95B-2347903E8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valuation Procedures</a:t>
            </a:r>
            <a:br>
              <a:rPr lang="en-GB" dirty="0"/>
            </a:br>
            <a:r>
              <a:rPr lang="en-GB" b="0" dirty="0"/>
              <a:t>Ex-Post Evaluation</a:t>
            </a:r>
            <a:br>
              <a:rPr lang="en-GB" b="0" dirty="0"/>
            </a:br>
            <a:endParaRPr lang="de-DE" b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D5DC9B-9AD2-1C4C-BFB9-0E5249C7CBC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ED1FC0AF-A62C-4F56-8A60-16D2BA0F57FA}" type="slidenum">
              <a:rPr lang="pt-BR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05135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012E11-915D-EA4E-A529-30A8B2FA5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ny Thanks for your Attention!</a:t>
            </a:r>
            <a:br>
              <a:rPr lang="en-GB" dirty="0"/>
            </a:br>
            <a:r>
              <a:rPr lang="en-GB" sz="1800" b="0" cap="none" spc="50" dirty="0"/>
              <a:t>Please contact us if you have any questions.</a:t>
            </a:r>
            <a:endParaRPr lang="en-GB" sz="180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9F0412B-F929-DD4C-8D99-4244E9D5E6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ax-Planck-Gesellschaft</a:t>
            </a:r>
            <a:br>
              <a:rPr lang="de-DE" dirty="0"/>
            </a:br>
            <a:r>
              <a:rPr lang="de-DE" dirty="0"/>
              <a:t>zur Förderung der Wissenschaften e.V.</a:t>
            </a:r>
          </a:p>
          <a:p>
            <a:pPr lvl="1"/>
            <a:r>
              <a:rPr lang="de-DE" dirty="0"/>
              <a:t>Communication Department</a:t>
            </a:r>
            <a:br>
              <a:rPr lang="de-DE" dirty="0"/>
            </a:br>
            <a:r>
              <a:rPr lang="de-DE" dirty="0"/>
              <a:t>Hofgartenstr. 8, 80539 </a:t>
            </a:r>
            <a:r>
              <a:rPr lang="de-DE" dirty="0" err="1"/>
              <a:t>Munich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Phone: +49 (0)89 2108-1276</a:t>
            </a:r>
            <a:br>
              <a:rPr lang="de-DE" dirty="0"/>
            </a:br>
            <a:r>
              <a:rPr lang="de-DE" dirty="0"/>
              <a:t>Fax: +49 (0)89 2108-1207</a:t>
            </a:r>
          </a:p>
          <a:p>
            <a:pPr lvl="1"/>
            <a:r>
              <a:rPr lang="de-DE" dirty="0"/>
              <a:t>Email: presse@gv.mpg.de</a:t>
            </a:r>
            <a:br>
              <a:rPr lang="de-DE" dirty="0"/>
            </a:br>
            <a:r>
              <a:rPr lang="de-DE" dirty="0"/>
              <a:t>Internet: www.mpg.d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October 2023   		</a:t>
            </a:r>
            <a:fld id="{FB1FA2AA-788F-4F33-A5B7-710E388315D4}" type="slidenum">
              <a:rPr lang="de-DE" smtClean="0"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08489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Max Planck Society – founded in 1948</a:t>
            </a:r>
            <a:br>
              <a:rPr lang="de-DE"/>
            </a:b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B8201029-B3F7-400D-8FDD-B93505C7252B}" type="slidenum">
              <a:rPr lang="pt-BR" smtClean="0"/>
              <a:t>3</a:t>
            </a:fld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1" y="1529859"/>
            <a:ext cx="2417736" cy="1759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Inhaltsplatzhalter 8">
            <a:extLst>
              <a:ext uri="{FF2B5EF4-FFF2-40B4-BE49-F238E27FC236}">
                <a16:creationId xmlns:a16="http://schemas.microsoft.com/office/drawing/2014/main" id="{4E3980D0-8858-2245-8157-2593B9AFA3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0" y="2219325"/>
            <a:ext cx="4848225" cy="4057650"/>
          </a:xfrm>
          <a:prstGeom prst="rect">
            <a:avLst/>
          </a:prstGeom>
        </p:spPr>
      </p:pic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C43237FD-3ECE-C846-A021-362179611DF4}"/>
              </a:ext>
            </a:extLst>
          </p:cNvPr>
          <p:cNvSpPr txBox="1">
            <a:spLocks/>
          </p:cNvSpPr>
          <p:nvPr/>
        </p:nvSpPr>
        <p:spPr>
          <a:xfrm>
            <a:off x="6372000" y="2088000"/>
            <a:ext cx="4860000" cy="43200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-180000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8000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.SF NS Symbols Regular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21600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525"/>
              </a:spcAft>
              <a:buFont typeface="Symbol" pitchFamily="2" charset="2"/>
              <a:buChar char="-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216000" algn="l" defTabSz="9144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525"/>
              </a:spcAft>
              <a:buSzPct val="110000"/>
              <a:buFont typeface=".SF NS Symbols Regular"/>
              <a:buChar char="↘"/>
              <a:defRPr sz="1300" b="0" i="1" kern="600" spc="3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buNone/>
            </a:pPr>
            <a:r>
              <a:rPr lang="en-US" spc="50" dirty="0"/>
              <a:t>Max Planck (1858-1947)</a:t>
            </a:r>
          </a:p>
          <a:p>
            <a:pPr lvl="2" indent="0">
              <a:buNone/>
            </a:pPr>
            <a:r>
              <a:rPr lang="en-US" b="0" spc="50" dirty="0"/>
              <a:t>Founder of the Quantum Theory,</a:t>
            </a:r>
            <a:br>
              <a:rPr lang="en-US" b="0" spc="50" dirty="0"/>
            </a:br>
            <a:r>
              <a:rPr lang="en-US" b="0" spc="50" dirty="0"/>
              <a:t>Nobel Prize 1918</a:t>
            </a:r>
            <a:endParaRPr lang="de-DE" b="0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7058" y="3524194"/>
            <a:ext cx="7242916" cy="2289462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6A3C11CE-854F-A641-A95F-819C21B7B5F2}"/>
              </a:ext>
            </a:extLst>
          </p:cNvPr>
          <p:cNvSpPr txBox="1"/>
          <p:nvPr/>
        </p:nvSpPr>
        <p:spPr>
          <a:xfrm>
            <a:off x="972000" y="6284889"/>
            <a:ext cx="42159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800" i="1" kern="600" spc="130">
                <a:solidFill>
                  <a:schemeClr val="tx1">
                    <a:lumMod val="50000"/>
                    <a:lumOff val="50000"/>
                  </a:schemeClr>
                </a:solidFill>
              </a:rPr>
              <a:t>© MPG</a:t>
            </a:r>
          </a:p>
        </p:txBody>
      </p:sp>
    </p:spTree>
    <p:extLst>
      <p:ext uri="{BB962C8B-B14F-4D97-AF65-F5344CB8AC3E}">
        <p14:creationId xmlns:p14="http://schemas.microsoft.com/office/powerpoint/2010/main" val="6480843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Mission and Guiding Principles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57134009-030A-44FD-9D44-7D35A583EBB6}" type="slidenum">
              <a:rPr lang="pt-BR" smtClean="0"/>
              <a:t>4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1" y="1529859"/>
            <a:ext cx="2417736" cy="1759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Inhaltsplatzhalter 8">
            <a:extLst>
              <a:ext uri="{FF2B5EF4-FFF2-40B4-BE49-F238E27FC236}">
                <a16:creationId xmlns:a16="http://schemas.microsoft.com/office/drawing/2014/main" id="{4E3980D0-8858-2245-8157-2593B9AFA3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0" y="2219325"/>
            <a:ext cx="4848225" cy="4057650"/>
          </a:xfrm>
          <a:prstGeom prst="rect">
            <a:avLst/>
          </a:prstGeom>
        </p:spPr>
      </p:pic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C43237FD-3ECE-C846-A021-362179611DF4}"/>
              </a:ext>
            </a:extLst>
          </p:cNvPr>
          <p:cNvSpPr txBox="1">
            <a:spLocks/>
          </p:cNvSpPr>
          <p:nvPr/>
        </p:nvSpPr>
        <p:spPr>
          <a:xfrm>
            <a:off x="6372000" y="2088000"/>
            <a:ext cx="5029168" cy="43200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-180000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8000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.SF NS Symbols Regular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21600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525"/>
              </a:spcAft>
              <a:buFont typeface="Symbol" pitchFamily="2" charset="2"/>
              <a:buChar char="-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216000" algn="l" defTabSz="9144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525"/>
              </a:spcAft>
              <a:buSzPct val="110000"/>
              <a:buFont typeface=".SF NS Symbols Regular"/>
              <a:buChar char="↘"/>
              <a:defRPr sz="1300" b="0" i="1" kern="600" spc="3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2" indent="-285750"/>
            <a:r>
              <a:rPr lang="en-US" spc="50" dirty="0"/>
              <a:t>cutting-edge basic research, strictly curiosity-driven and quality oriented</a:t>
            </a:r>
          </a:p>
          <a:p>
            <a:pPr marL="285750" lvl="2" indent="-285750"/>
            <a:r>
              <a:rPr lang="en-US" spc="50" dirty="0"/>
              <a:t>autonomy, scientists decide upon science</a:t>
            </a:r>
          </a:p>
          <a:p>
            <a:pPr marL="285750" lvl="2" indent="-285750"/>
            <a:r>
              <a:rPr lang="en-US" spc="50" dirty="0" err="1"/>
              <a:t>Harnack</a:t>
            </a:r>
            <a:r>
              <a:rPr lang="en-US" spc="50" dirty="0"/>
              <a:t> Principle, people not programs</a:t>
            </a:r>
          </a:p>
          <a:p>
            <a:pPr marL="285750" lvl="2" indent="-285750"/>
            <a:r>
              <a:rPr lang="en-US" spc="50" dirty="0"/>
              <a:t>flexible, dynamic, interdisciplinary MPIs</a:t>
            </a:r>
          </a:p>
          <a:p>
            <a:pPr marL="285750" lvl="2" indent="-285750"/>
            <a:r>
              <a:rPr lang="en-US" spc="50" dirty="0"/>
              <a:t>long-term trust systems with significant core funding for high-risk projects</a:t>
            </a:r>
          </a:p>
          <a:p>
            <a:pPr marL="285750" lvl="2" indent="-285750"/>
            <a:r>
              <a:rPr lang="en-US" spc="50" dirty="0"/>
              <a:t>quality assurance by peers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A3C11CE-854F-A641-A95F-819C21B7B5F2}"/>
              </a:ext>
            </a:extLst>
          </p:cNvPr>
          <p:cNvSpPr txBox="1"/>
          <p:nvPr/>
        </p:nvSpPr>
        <p:spPr>
          <a:xfrm>
            <a:off x="972000" y="6284889"/>
            <a:ext cx="42159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800" i="1" kern="600" spc="130">
                <a:solidFill>
                  <a:schemeClr val="tx1">
                    <a:lumMod val="50000"/>
                    <a:lumOff val="50000"/>
                  </a:schemeClr>
                </a:solidFill>
              </a:rPr>
              <a:t>© MPG</a:t>
            </a:r>
          </a:p>
        </p:txBody>
      </p:sp>
    </p:spTree>
    <p:extLst>
      <p:ext uri="{BB962C8B-B14F-4D97-AF65-F5344CB8AC3E}">
        <p14:creationId xmlns:p14="http://schemas.microsoft.com/office/powerpoint/2010/main" val="35748081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>
          <a:xfrm>
            <a:off x="752559" y="1534459"/>
            <a:ext cx="10705433" cy="452253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-2033" y="1906453"/>
            <a:ext cx="3457205" cy="416387"/>
          </a:xfrm>
          <a:prstGeom prst="rect">
            <a:avLst/>
          </a:pr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947739" y="1955189"/>
            <a:ext cx="3060000" cy="4310912"/>
          </a:xfrm>
        </p:spPr>
        <p:txBody>
          <a:bodyPr/>
          <a:lstStyle/>
          <a:p>
            <a:pPr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obel Prize in </a:t>
            </a:r>
            <a:r>
              <a:rPr lang="en-GB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enc </a:t>
            </a:r>
            <a:r>
              <a:rPr lang="de-DE" sz="1100" i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usz</a:t>
            </a:r>
            <a:endParaRPr lang="de-DE" sz="1100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obel Prize in Medicine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vante</a:t>
            </a: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ääbo</a:t>
            </a:r>
            <a:endParaRPr lang="de-DE" sz="1100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 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obel Prize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emistry 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jamin List</a:t>
            </a:r>
          </a:p>
          <a:p>
            <a:pPr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 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GB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us Hasselmann</a:t>
            </a:r>
          </a:p>
          <a:p>
            <a:pPr lvl="0"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 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emistry 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manuelle </a:t>
            </a:r>
            <a:r>
              <a:rPr lang="de-DE" sz="1100" i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pentier</a:t>
            </a:r>
            <a:endParaRPr lang="de-DE" sz="1100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 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GB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inhard </a:t>
            </a:r>
            <a:r>
              <a:rPr lang="de-DE" sz="1100" i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zel</a:t>
            </a:r>
            <a:endParaRPr lang="de-DE" sz="1100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emistry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fan W. Hell </a:t>
            </a:r>
          </a:p>
          <a:p>
            <a:pPr lvl="0"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7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emistry 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hard Ertl</a:t>
            </a:r>
          </a:p>
          <a:p>
            <a:pPr lvl="0"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5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GB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br>
              <a:rPr lang="en-GB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dor Hänsch</a:t>
            </a:r>
          </a:p>
          <a:p>
            <a:pPr>
              <a:lnSpc>
                <a:spcPts val="1000"/>
              </a:lnSpc>
            </a:pPr>
            <a:endParaRPr lang="en-US" sz="1000" dirty="0"/>
          </a:p>
        </p:txBody>
      </p:sp>
      <p:sp>
        <p:nvSpPr>
          <p:cNvPr id="7" name="Inhaltsplatzhalter 6"/>
          <p:cNvSpPr>
            <a:spLocks noGrp="1"/>
          </p:cNvSpPr>
          <p:nvPr>
            <p:ph sz="half" idx="2"/>
          </p:nvPr>
        </p:nvSpPr>
        <p:spPr>
          <a:xfrm>
            <a:off x="3655404" y="1987741"/>
            <a:ext cx="2551187" cy="4310912"/>
          </a:xfrm>
        </p:spPr>
        <p:txBody>
          <a:bodyPr/>
          <a:lstStyle/>
          <a:p>
            <a:pPr lvl="0"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cs typeface="Arial" panose="020B0604020202020204" pitchFamily="34" charset="0"/>
              </a:rPr>
              <a:t>1995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in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Medicine</a:t>
            </a:r>
            <a:b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cs typeface="Arial" panose="020B0604020202020204" pitchFamily="34" charset="0"/>
              </a:rPr>
              <a:t>Christiane Nüsslein-</a:t>
            </a:r>
            <a:r>
              <a:rPr lang="de-DE" sz="1100" i="1" dirty="0" err="1">
                <a:solidFill>
                  <a:srgbClr val="333333"/>
                </a:solidFill>
                <a:cs typeface="Arial" panose="020B0604020202020204" pitchFamily="34" charset="0"/>
              </a:rPr>
              <a:t>Volhard</a:t>
            </a:r>
            <a:endParaRPr lang="de-DE" sz="1100" i="1" dirty="0">
              <a:solidFill>
                <a:srgbClr val="333333"/>
              </a:solidFill>
              <a:cs typeface="Arial" panose="020B0604020202020204" pitchFamily="34" charset="0"/>
            </a:endParaRPr>
          </a:p>
          <a:p>
            <a:pPr lvl="0"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cs typeface="Arial" panose="020B0604020202020204" pitchFamily="34" charset="0"/>
              </a:rPr>
              <a:t>1995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for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Chemistry</a:t>
            </a:r>
            <a:b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cs typeface="Arial" panose="020B0604020202020204" pitchFamily="34" charset="0"/>
              </a:rPr>
              <a:t>Paul Crutzen </a:t>
            </a:r>
          </a:p>
          <a:p>
            <a:pPr lvl="0"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cs typeface="Arial" panose="020B0604020202020204" pitchFamily="34" charset="0"/>
              </a:rPr>
              <a:t>1991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in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Medicine</a:t>
            </a:r>
            <a:b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000000"/>
                </a:solidFill>
                <a:cs typeface="Arial" panose="020B0604020202020204" pitchFamily="34" charset="0"/>
              </a:rPr>
              <a:t>Erwin Neher</a:t>
            </a:r>
          </a:p>
          <a:p>
            <a:pPr lvl="0">
              <a:lnSpc>
                <a:spcPts val="1300"/>
              </a:lnSpc>
            </a:pPr>
            <a:r>
              <a:rPr lang="de-DE" sz="1100" dirty="0">
                <a:solidFill>
                  <a:srgbClr val="006C66"/>
                </a:solidFill>
                <a:cs typeface="Arial" panose="020B0604020202020204" pitchFamily="34" charset="0"/>
              </a:rPr>
              <a:t>1991 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– Nobel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in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Medicine</a:t>
            </a:r>
            <a:b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cs typeface="Arial" panose="020B0604020202020204" pitchFamily="34" charset="0"/>
              </a:rPr>
              <a:t>Bert </a:t>
            </a:r>
            <a:r>
              <a:rPr lang="de-DE" sz="1100" i="1" dirty="0" err="1">
                <a:solidFill>
                  <a:srgbClr val="333333"/>
                </a:solidFill>
                <a:cs typeface="Arial" panose="020B0604020202020204" pitchFamily="34" charset="0"/>
              </a:rPr>
              <a:t>Sakmann</a:t>
            </a:r>
            <a:endParaRPr lang="de-DE" sz="1100" i="1" dirty="0">
              <a:solidFill>
                <a:srgbClr val="333333"/>
              </a:solidFill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</a:pPr>
            <a:r>
              <a:rPr lang="de-DE" sz="1100" dirty="0">
                <a:solidFill>
                  <a:srgbClr val="006C66"/>
                </a:solidFill>
                <a:cs typeface="Arial" panose="020B0604020202020204" pitchFamily="34" charset="0"/>
              </a:rPr>
              <a:t>1988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for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Chemistry</a:t>
            </a:r>
            <a:b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cs typeface="Arial" panose="020B0604020202020204" pitchFamily="34" charset="0"/>
              </a:rPr>
              <a:t>Robert Huber</a:t>
            </a:r>
          </a:p>
          <a:p>
            <a:pPr>
              <a:lnSpc>
                <a:spcPct val="100000"/>
              </a:lnSpc>
            </a:pPr>
            <a:r>
              <a:rPr lang="de-DE" sz="1100" dirty="0">
                <a:solidFill>
                  <a:srgbClr val="006C66"/>
                </a:solidFill>
                <a:cs typeface="Arial" panose="020B0604020202020204" pitchFamily="34" charset="0"/>
              </a:rPr>
              <a:t>1988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for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Chemistry</a:t>
            </a:r>
            <a:b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cs typeface="Arial" panose="020B0604020202020204" pitchFamily="34" charset="0"/>
              </a:rPr>
              <a:t>Hartmut Michel</a:t>
            </a:r>
          </a:p>
          <a:p>
            <a:pPr>
              <a:lnSpc>
                <a:spcPct val="100000"/>
              </a:lnSpc>
            </a:pPr>
            <a:r>
              <a:rPr lang="de-DE" sz="1100" dirty="0">
                <a:solidFill>
                  <a:srgbClr val="006C66"/>
                </a:solidFill>
                <a:cs typeface="Arial" panose="020B0604020202020204" pitchFamily="34" charset="0"/>
              </a:rPr>
              <a:t>1988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rgbClr val="333333"/>
                </a:solidFill>
                <a:cs typeface="Arial" panose="020B0604020202020204" pitchFamily="34" charset="0"/>
              </a:rPr>
              <a:t>for</a:t>
            </a:r>
            <a: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  <a:t> Chemistry</a:t>
            </a:r>
            <a:br>
              <a:rPr lang="de-DE" sz="1100" dirty="0">
                <a:solidFill>
                  <a:srgbClr val="333333"/>
                </a:solidFill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cs typeface="Arial" panose="020B0604020202020204" pitchFamily="34" charset="0"/>
              </a:rPr>
              <a:t>Johann Deisenhofer*</a:t>
            </a:r>
          </a:p>
          <a:p>
            <a:pPr>
              <a:lnSpc>
                <a:spcPct val="1000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86 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nst Ruska</a:t>
            </a:r>
          </a:p>
          <a:p>
            <a:pPr>
              <a:lnSpc>
                <a:spcPct val="100000"/>
              </a:lnSpc>
            </a:pPr>
            <a:endParaRPr lang="en-US" sz="1100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13"/>
          </p:nvPr>
        </p:nvSpPr>
        <p:spPr>
          <a:xfrm>
            <a:off x="6406823" y="2441024"/>
            <a:ext cx="2438355" cy="353089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85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us von Klitzing</a:t>
            </a:r>
          </a:p>
          <a:p>
            <a:pPr>
              <a:lnSpc>
                <a:spcPct val="1000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73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ine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rad Lorenz</a:t>
            </a:r>
          </a:p>
          <a:p>
            <a:pPr>
              <a:lnSpc>
                <a:spcPct val="1000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67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emistry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fred Eigen</a:t>
            </a:r>
          </a:p>
          <a:p>
            <a:pPr>
              <a:lnSpc>
                <a:spcPct val="1000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64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ine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odor Lynen</a:t>
            </a:r>
          </a:p>
          <a:p>
            <a:pPr>
              <a:lnSpc>
                <a:spcPct val="1000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63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emistry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rl Ziegler</a:t>
            </a:r>
          </a:p>
          <a:p>
            <a:pPr>
              <a:lnSpc>
                <a:spcPct val="100000"/>
              </a:lnSpc>
            </a:pPr>
            <a:r>
              <a:rPr lang="de-DE" sz="110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4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br>
              <a:rPr lang="de-DE" sz="11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lter Bothe</a:t>
            </a:r>
          </a:p>
          <a:p>
            <a:pPr>
              <a:lnSpc>
                <a:spcPct val="100000"/>
              </a:lnSpc>
            </a:pPr>
            <a:r>
              <a:rPr lang="de-DE" sz="1100" kern="1200" spc="0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44</a:t>
            </a:r>
            <a:r>
              <a:rPr lang="de-DE" sz="1100" kern="1200" spc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kern="1200" spc="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kern="1200" spc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kern="1200" spc="0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100" kern="1200" spc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emistry</a:t>
            </a:r>
          </a:p>
          <a:p>
            <a:pPr lvl="0" defTabSz="457200">
              <a:lnSpc>
                <a:spcPct val="100000"/>
              </a:lnSpc>
              <a:spcBef>
                <a:spcPts val="0"/>
              </a:spcBef>
            </a:pPr>
            <a:r>
              <a:rPr lang="de-DE" sz="1100" i="1" kern="1200" spc="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to Hahn</a:t>
            </a:r>
          </a:p>
          <a:p>
            <a:pPr>
              <a:lnSpc>
                <a:spcPct val="100000"/>
              </a:lnSpc>
            </a:pPr>
            <a:endParaRPr lang="de-DE" sz="1100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en-US" sz="11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110275"/>
          </a:xfrm>
        </p:spPr>
        <p:txBody>
          <a:bodyPr/>
          <a:lstStyle/>
          <a:p>
            <a:r>
              <a:rPr lang="en-GB" dirty="0"/>
              <a:t>31 Nobel Prize Laureates</a:t>
            </a:r>
            <a:endParaRPr lang="de-DE" cap="non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October 2023   		</a:t>
            </a:r>
            <a:fld id="{41AB7B57-DF01-43C8-9E3D-4261F2CBB94E}" type="slidenum">
              <a:rPr lang="de-DE" smtClean="0"/>
              <a:t>5</a:t>
            </a:fld>
            <a:endParaRPr lang="de-DE" dirty="0"/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1482C52D-6197-4225-83A5-4AC8F216A8CC}"/>
              </a:ext>
            </a:extLst>
          </p:cNvPr>
          <p:cNvSpPr/>
          <p:nvPr/>
        </p:nvSpPr>
        <p:spPr>
          <a:xfrm>
            <a:off x="1" y="1136091"/>
            <a:ext cx="12192000" cy="3983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r>
              <a:rPr lang="de-DE" sz="1200" b="1" dirty="0">
                <a:solidFill>
                  <a:schemeClr val="bg1"/>
                </a:solidFill>
              </a:rPr>
              <a:t>__________ </a:t>
            </a:r>
            <a:r>
              <a:rPr lang="en-US" sz="1200" b="1" spc="50" dirty="0">
                <a:solidFill>
                  <a:schemeClr val="bg1"/>
                </a:solidFill>
              </a:rPr>
              <a:t>who have received the Nobel Prize as a Scientific Member of the MPG/KWG</a:t>
            </a:r>
            <a:endParaRPr lang="en-DE" sz="2400" b="1" spc="50" dirty="0">
              <a:solidFill>
                <a:schemeClr val="bg1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8177" y="256355"/>
            <a:ext cx="1515562" cy="1515562"/>
          </a:xfrm>
          <a:prstGeom prst="rect">
            <a:avLst/>
          </a:prstGeom>
        </p:spPr>
      </p:pic>
      <p:sp>
        <p:nvSpPr>
          <p:cNvPr id="17" name="Textfeld 16"/>
          <p:cNvSpPr txBox="1"/>
          <p:nvPr/>
        </p:nvSpPr>
        <p:spPr>
          <a:xfrm>
            <a:off x="8996465" y="2376291"/>
            <a:ext cx="2662690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39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emistry</a:t>
            </a:r>
          </a:p>
          <a:p>
            <a:pPr lvl="0"/>
            <a:r>
              <a:rPr lang="de-DE" sz="1100" b="1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lf Butenandt</a:t>
            </a:r>
          </a:p>
          <a:p>
            <a:pPr lvl="0"/>
            <a:endParaRPr lang="de-DE" sz="1100" b="1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38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ine</a:t>
            </a:r>
            <a:endParaRPr lang="de-DE" sz="1100" b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chard Kuhn</a:t>
            </a:r>
          </a:p>
          <a:p>
            <a:endParaRPr lang="de-DE" sz="1100" b="1" dirty="0">
              <a:solidFill>
                <a:srgbClr val="006C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36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emistry</a:t>
            </a:r>
          </a:p>
          <a:p>
            <a:r>
              <a:rPr lang="de-DE" sz="1100" b="1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ter Debye</a:t>
            </a:r>
          </a:p>
          <a:p>
            <a:endParaRPr lang="de-DE" sz="1100" b="1" dirty="0">
              <a:solidFill>
                <a:srgbClr val="006C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31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Nobel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ine</a:t>
            </a:r>
            <a:b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b="1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to Warburg</a:t>
            </a:r>
          </a:p>
          <a:p>
            <a:endParaRPr lang="de-DE" sz="1100" b="1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21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endParaRPr lang="de-DE" sz="1100" b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de-DE" sz="1100" b="1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bert Einstein</a:t>
            </a:r>
          </a:p>
          <a:p>
            <a:pPr lvl="0"/>
            <a:endParaRPr lang="de-DE" sz="1100" b="1" dirty="0">
              <a:solidFill>
                <a:srgbClr val="006C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18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emistry</a:t>
            </a:r>
          </a:p>
          <a:p>
            <a:pPr lvl="0"/>
            <a:r>
              <a:rPr lang="de-DE" sz="1100" b="1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itz Haber</a:t>
            </a:r>
          </a:p>
          <a:p>
            <a:pPr lvl="0"/>
            <a:endParaRPr lang="de-DE" sz="1100" b="1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de-DE" sz="11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15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emistry</a:t>
            </a:r>
          </a:p>
          <a:p>
            <a:pPr lvl="0"/>
            <a:r>
              <a:rPr lang="de-DE" sz="1100" b="1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chard </a:t>
            </a:r>
            <a:r>
              <a:rPr lang="de-DE" sz="1100" b="1" i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stätter</a:t>
            </a:r>
            <a:endParaRPr lang="de-DE" sz="1100" b="1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de-DE" sz="1100" b="1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de-DE" sz="1100" b="1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947739" y="6125683"/>
            <a:ext cx="10413479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de-DE" sz="9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sz="9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1988, the year the prize was awarded, Deisenhofer accepted a call to the University of Texas, USA. He had carried out the Nobel Prize-winning research a few years earlier together with </a:t>
            </a:r>
            <a:r>
              <a:rPr lang="en-US" sz="9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Hartmut</a:t>
            </a:r>
            <a:r>
              <a:rPr lang="en-US" sz="9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Michel and Robert Huber at the Max Planck Institute for Biochemistry, </a:t>
            </a:r>
            <a:r>
              <a:rPr lang="en-US" sz="9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artinsried</a:t>
            </a:r>
            <a:r>
              <a:rPr lang="en-US" sz="9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187470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752560" y="1534459"/>
            <a:ext cx="5343442" cy="452253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10" name="Grafik 5">
            <a:extLst>
              <a:ext uri="{FF2B5EF4-FFF2-40B4-BE49-F238E27FC236}">
                <a16:creationId xmlns:a16="http://schemas.microsoft.com/office/drawing/2014/main" id="{D6A690ED-34B7-46EF-8B87-0D8F229D630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39" t="40360" r="50000" b="3516"/>
          <a:stretch/>
        </p:blipFill>
        <p:spPr>
          <a:xfrm flipH="1">
            <a:off x="6096001" y="1940253"/>
            <a:ext cx="5345681" cy="424443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8646000" cy="834222"/>
          </a:xfrm>
        </p:spPr>
        <p:txBody>
          <a:bodyPr/>
          <a:lstStyle/>
          <a:p>
            <a:r>
              <a:rPr lang="de-DE" dirty="0"/>
              <a:t>8 Nobel </a:t>
            </a:r>
            <a:r>
              <a:rPr lang="de-DE" dirty="0" err="1"/>
              <a:t>prize</a:t>
            </a:r>
            <a:r>
              <a:rPr lang="de-DE" dirty="0"/>
              <a:t> </a:t>
            </a:r>
            <a:r>
              <a:rPr lang="de-DE" dirty="0" err="1"/>
              <a:t>Laureates</a:t>
            </a:r>
            <a:r>
              <a:rPr lang="de-DE" dirty="0"/>
              <a:t> </a:t>
            </a:r>
            <a:endParaRPr lang="de-DE" cap="none" dirty="0"/>
          </a:p>
        </p:txBody>
      </p:sp>
      <p:sp>
        <p:nvSpPr>
          <p:cNvPr id="12" name="Textfeld 11"/>
          <p:cNvSpPr txBox="1"/>
          <p:nvPr/>
        </p:nvSpPr>
        <p:spPr>
          <a:xfrm>
            <a:off x="944014" y="1710294"/>
            <a:ext cx="2402694" cy="2282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300"/>
              </a:lnSpc>
            </a:pPr>
            <a:endParaRPr lang="de-DE" sz="1100" b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300"/>
              </a:lnSpc>
            </a:pPr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9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emistry</a:t>
            </a:r>
            <a:b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b="1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 </a:t>
            </a:r>
            <a:r>
              <a:rPr lang="de-DE" sz="1100" b="1" i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nath</a:t>
            </a:r>
            <a:endParaRPr lang="de-DE" sz="1100" b="1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300"/>
              </a:lnSpc>
            </a:pPr>
            <a:endParaRPr lang="de-DE" sz="1100" b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84 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obel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ine</a:t>
            </a:r>
            <a:endParaRPr lang="de-DE" sz="1100" b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orges Köhler</a:t>
            </a:r>
          </a:p>
          <a:p>
            <a:endParaRPr lang="de-DE" sz="1100" b="1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35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ine</a:t>
            </a:r>
            <a:endParaRPr lang="de-DE" sz="1100" b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ns Spemann</a:t>
            </a:r>
          </a:p>
          <a:p>
            <a:endParaRPr lang="de-DE" sz="1100" b="1" dirty="0">
              <a:solidFill>
                <a:srgbClr val="006C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32 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obel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b="1" dirty="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endParaRPr lang="de-DE" sz="1100" b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i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rner Heisenberg</a:t>
            </a:r>
          </a:p>
          <a:p>
            <a:endParaRPr lang="de-DE" sz="1100" b="1" i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2">
            <a:extLst>
              <a:ext uri="{FF2B5EF4-FFF2-40B4-BE49-F238E27FC236}">
                <a16:creationId xmlns:a16="http://schemas.microsoft.com/office/drawing/2014/main" id="{1482C52D-6197-4225-83A5-4AC8F216A8CC}"/>
              </a:ext>
            </a:extLst>
          </p:cNvPr>
          <p:cNvSpPr/>
          <p:nvPr/>
        </p:nvSpPr>
        <p:spPr>
          <a:xfrm>
            <a:off x="1" y="1136091"/>
            <a:ext cx="12192000" cy="3983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r>
              <a:rPr lang="de-DE" sz="1200" b="1" dirty="0">
                <a:solidFill>
                  <a:schemeClr val="bg1"/>
                </a:solidFill>
              </a:rPr>
              <a:t>__________ </a:t>
            </a:r>
            <a:r>
              <a:rPr lang="en-US" sz="1200" b="1" spc="100" dirty="0">
                <a:solidFill>
                  <a:schemeClr val="bg1"/>
                </a:solidFill>
              </a:rPr>
              <a:t>who have done research at the MPG/KWG</a:t>
            </a:r>
            <a:endParaRPr lang="en-DE" sz="2400" b="1" spc="100" dirty="0">
              <a:solidFill>
                <a:schemeClr val="bg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346708" y="1710294"/>
            <a:ext cx="2402694" cy="22878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300"/>
              </a:lnSpc>
            </a:pPr>
            <a:endParaRPr lang="de-DE" sz="11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25 </a:t>
            </a:r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endParaRPr lang="de-DE" sz="11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de-DE" sz="11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mes Franck</a:t>
            </a:r>
          </a:p>
          <a:p>
            <a:pPr lvl="0"/>
            <a:endParaRPr lang="de-DE" sz="11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22 </a:t>
            </a:r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obel </a:t>
            </a:r>
            <a:r>
              <a:rPr lang="de-DE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ine</a:t>
            </a:r>
            <a:endParaRPr lang="de-DE" sz="11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to Meyerhof</a:t>
            </a:r>
          </a:p>
          <a:p>
            <a:pPr lvl="0"/>
            <a:endParaRPr lang="de-DE" sz="11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18</a:t>
            </a:r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obel </a:t>
            </a:r>
            <a:r>
              <a:rPr lang="de-DE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 Planck</a:t>
            </a:r>
          </a:p>
          <a:p>
            <a:pPr lvl="0"/>
            <a:endParaRPr lang="de-DE" sz="11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solidFill>
                  <a:srgbClr val="006C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14 </a:t>
            </a:r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obel </a:t>
            </a:r>
            <a:r>
              <a:rPr lang="de-DE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ze</a:t>
            </a:r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endParaRPr lang="de-DE" sz="1100" b="1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 von Laue </a:t>
            </a:r>
          </a:p>
          <a:p>
            <a:pPr>
              <a:lnSpc>
                <a:spcPts val="1300"/>
              </a:lnSpc>
            </a:pPr>
            <a:endParaRPr lang="de-DE" sz="11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8177" y="256355"/>
            <a:ext cx="1515562" cy="1515562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-PLANCK-GESELLSCHAFT | October 2023   		</a:t>
            </a:r>
            <a:fld id="{7103093E-AB69-4BF0-8D6C-5C661815316A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17850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27ED4570-10A7-493C-86BC-79D5C29C9C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524"/>
          <a:stretch/>
        </p:blipFill>
        <p:spPr>
          <a:xfrm>
            <a:off x="1830141" y="849624"/>
            <a:ext cx="4515356" cy="5693564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tes of Max Planck Institutes </a:t>
            </a:r>
            <a:r>
              <a:rPr lang="de-DE" cap="none" dirty="0"/>
              <a:t>&amp; ASSOCIATED INSTITUTES</a:t>
            </a:r>
            <a:br>
              <a:rPr lang="de-DE" dirty="0"/>
            </a:br>
            <a:r>
              <a:rPr lang="de-DE" sz="1900" b="0" cap="none" spc="50" dirty="0"/>
              <a:t>10/2023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CB811F15-C11B-4A3B-A0F5-E6E5DE2D0458}" type="slidenum">
              <a:rPr lang="pt-BR" smtClean="0"/>
              <a:t>7</a:t>
            </a:fld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058B3F4-B7EE-421E-A575-08127A23A8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13" t="9802" r="74686" b="41059"/>
          <a:stretch/>
        </p:blipFill>
        <p:spPr>
          <a:xfrm>
            <a:off x="6677227" y="1380671"/>
            <a:ext cx="2956049" cy="5123928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6889831" y="2827707"/>
            <a:ext cx="3597493" cy="427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 PLANCK INSTITUTES ABROAD</a:t>
            </a:r>
          </a:p>
          <a:p>
            <a:endParaRPr lang="de-DE" sz="975" dirty="0">
              <a:solidFill>
                <a:srgbClr val="0073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9613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4800" y="720000"/>
            <a:ext cx="10337514" cy="1332000"/>
          </a:xfrm>
        </p:spPr>
        <p:txBody>
          <a:bodyPr/>
          <a:lstStyle/>
          <a:p>
            <a:r>
              <a:rPr lang="en-US" dirty="0"/>
              <a:t>Organizational structure of the Max Planck Society</a:t>
            </a:r>
            <a:br>
              <a:rPr lang="de-DE" dirty="0"/>
            </a:br>
            <a:r>
              <a:rPr lang="en-US" sz="2000" b="0" cap="none" dirty="0"/>
              <a:t>An independent, non-profit research organization</a:t>
            </a:r>
            <a:r>
              <a:rPr lang="de-DE" sz="2000" b="0" cap="none" dirty="0"/>
              <a:t> </a:t>
            </a:r>
            <a:r>
              <a:rPr lang="de-DE" sz="2000" b="0" cap="none" dirty="0" err="1"/>
              <a:t>and</a:t>
            </a:r>
            <a:r>
              <a:rPr lang="de-DE" sz="2000" b="0" cap="none" dirty="0"/>
              <a:t> a registered </a:t>
            </a:r>
            <a:r>
              <a:rPr lang="de-DE" sz="2000" b="0" cap="none" dirty="0" err="1"/>
              <a:t>association</a:t>
            </a:r>
            <a:r>
              <a:rPr lang="de-DE" sz="2000" b="0" cap="none" dirty="0"/>
              <a:t>.</a:t>
            </a: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8694DAD0-067D-4245-A38D-8FA87E5ADE4C}" type="slidenum">
              <a:rPr lang="pt-BR" smtClean="0"/>
              <a:t>8</a:t>
            </a:fld>
            <a:endParaRPr lang="de-DE" dirty="0"/>
          </a:p>
        </p:txBody>
      </p:sp>
      <p:sp>
        <p:nvSpPr>
          <p:cNvPr id="6" name="Inhaltsplatzhalter 8"/>
          <p:cNvSpPr>
            <a:spLocks noGrp="1"/>
          </p:cNvSpPr>
          <p:nvPr>
            <p:ph sz="half" idx="1"/>
          </p:nvPr>
        </p:nvSpPr>
        <p:spPr>
          <a:xfrm>
            <a:off x="972000" y="2088000"/>
            <a:ext cx="4718507" cy="4320000"/>
          </a:xfrm>
        </p:spPr>
        <p:txBody>
          <a:bodyPr>
            <a:normAutofit/>
          </a:bodyPr>
          <a:lstStyle/>
          <a:p>
            <a:r>
              <a:rPr lang="en-US" b="0" dirty="0"/>
              <a:t>Individual governing bodies within the Max Planck Society make the decisions required </a:t>
            </a:r>
            <a:br>
              <a:rPr lang="en-US" b="0" dirty="0"/>
            </a:br>
            <a:r>
              <a:rPr lang="en-US" b="0" dirty="0"/>
              <a:t>to ensure that this large research organization functions efficiently. </a:t>
            </a:r>
          </a:p>
          <a:p>
            <a:r>
              <a:rPr lang="en-US" b="0" dirty="0"/>
              <a:t>Members of the Max Planck Society include the Supporting Members, the Honorary Members, and the ex-officio Members. Other members include the appointed Scientific Members to the Society, who are usually institute directors.</a:t>
            </a:r>
            <a:endParaRPr lang="de-DE" b="0" dirty="0"/>
          </a:p>
        </p:txBody>
      </p:sp>
      <p:pic>
        <p:nvPicPr>
          <p:cNvPr id="7" name="Inhaltsplatzhalter 7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121" y="1817109"/>
            <a:ext cx="4927533" cy="4927533"/>
          </a:xfr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54693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search </a:t>
            </a:r>
            <a:r>
              <a:rPr lang="de-DE" err="1"/>
              <a:t>knows</a:t>
            </a:r>
            <a:r>
              <a:rPr lang="de-DE"/>
              <a:t>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Boundaries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AX-PLANCK-GESELLSCHAFT | October 2023   		</a:t>
            </a:r>
            <a:fld id="{37733296-CD11-402F-968A-CEDFBBD16C19}" type="slidenum">
              <a:rPr lang="pt-BR" smtClean="0"/>
              <a:t>9</a:t>
            </a:fld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906" b="11567"/>
          <a:stretch/>
        </p:blipFill>
        <p:spPr>
          <a:xfrm>
            <a:off x="1367387" y="1371600"/>
            <a:ext cx="9497413" cy="497205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825" y="1678654"/>
            <a:ext cx="6330138" cy="3486469"/>
          </a:xfrm>
          <a:prstGeom prst="rect">
            <a:avLst/>
          </a:prstGeom>
        </p:spPr>
      </p:pic>
      <p:sp>
        <p:nvSpPr>
          <p:cNvPr id="17" name="Inhaltsplatzhalter 7"/>
          <p:cNvSpPr txBox="1">
            <a:spLocks/>
          </p:cNvSpPr>
          <p:nvPr/>
        </p:nvSpPr>
        <p:spPr>
          <a:xfrm>
            <a:off x="972000" y="2088000"/>
            <a:ext cx="3060000" cy="1773707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/>
          </a:p>
          <a:p>
            <a:pPr algn="ctr"/>
            <a:r>
              <a:rPr lang="en-GB"/>
              <a:t>Increases the access to outstanding research institutions and experts</a:t>
            </a:r>
            <a:endParaRPr lang="en-GB" dirty="0"/>
          </a:p>
        </p:txBody>
      </p:sp>
      <p:sp>
        <p:nvSpPr>
          <p:cNvPr id="18" name="Inhaltsplatzhalter 8"/>
          <p:cNvSpPr txBox="1">
            <a:spLocks/>
          </p:cNvSpPr>
          <p:nvPr/>
        </p:nvSpPr>
        <p:spPr>
          <a:xfrm>
            <a:off x="4572000" y="2088000"/>
            <a:ext cx="3060000" cy="1773707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-180000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8000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.SF NS Symbols Regular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21600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525"/>
              </a:spcAft>
              <a:buFont typeface="Symbol" pitchFamily="2" charset="2"/>
              <a:buChar char="-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216000" algn="l" defTabSz="9144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525"/>
              </a:spcAft>
              <a:buSzPct val="110000"/>
              <a:buFont typeface=".SF NS Symbols Regular"/>
              <a:buChar char="↘"/>
              <a:defRPr sz="1300" b="0" i="1" kern="600" spc="3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br>
              <a:rPr lang="en-GB" dirty="0"/>
            </a:br>
            <a:r>
              <a:rPr lang="en-GB" dirty="0"/>
              <a:t>Attracts top scientists</a:t>
            </a:r>
          </a:p>
          <a:p>
            <a:pPr algn="ctr"/>
            <a:r>
              <a:rPr lang="en-GB" dirty="0"/>
              <a:t>Increases opportunities </a:t>
            </a:r>
            <a:br>
              <a:rPr lang="en-GB" dirty="0"/>
            </a:br>
            <a:r>
              <a:rPr lang="en-GB" dirty="0"/>
              <a:t>for junior scientists </a:t>
            </a:r>
            <a:br>
              <a:rPr lang="en-GB" dirty="0"/>
            </a:br>
            <a:r>
              <a:rPr lang="en-GB" dirty="0"/>
              <a:t>and researchers</a:t>
            </a:r>
          </a:p>
          <a:p>
            <a:pPr algn="ctr"/>
            <a:endParaRPr lang="en-GB" dirty="0"/>
          </a:p>
        </p:txBody>
      </p:sp>
      <p:sp>
        <p:nvSpPr>
          <p:cNvPr id="19" name="Inhaltsplatzhalter 9"/>
          <p:cNvSpPr txBox="1">
            <a:spLocks/>
          </p:cNvSpPr>
          <p:nvPr/>
        </p:nvSpPr>
        <p:spPr>
          <a:xfrm>
            <a:off x="8172000" y="2088000"/>
            <a:ext cx="3060000" cy="1773707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-180000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8000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.SF NS Symbols Regular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21600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525"/>
              </a:spcAft>
              <a:buFont typeface="Symbol" pitchFamily="2" charset="2"/>
              <a:buChar char="-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216000" algn="l" defTabSz="9144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525"/>
              </a:spcAft>
              <a:buSzPct val="110000"/>
              <a:buFont typeface=".SF NS Symbols Regular"/>
              <a:buChar char="↘"/>
              <a:defRPr sz="1300" b="0" i="1" kern="600" spc="3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  <a:p>
            <a:pPr algn="ctr"/>
            <a:r>
              <a:rPr lang="en-GB" dirty="0"/>
              <a:t>Supports the </a:t>
            </a:r>
            <a:br>
              <a:rPr lang="en-GB" dirty="0"/>
            </a:br>
            <a:r>
              <a:rPr lang="en-GB" dirty="0"/>
              <a:t>development of new research approaches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972000" y="4091553"/>
            <a:ext cx="10272263" cy="584775"/>
          </a:xfrm>
          <a:prstGeom prst="rect">
            <a:avLst/>
          </a:prstGeom>
          <a:solidFill>
            <a:srgbClr val="006C6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tionality is a central characteristic of research </a:t>
            </a:r>
          </a:p>
          <a:p>
            <a:pPr algn="ctr"/>
            <a:r>
              <a:rPr lang="en-GB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a key prerequisite for its success.</a:t>
            </a:r>
          </a:p>
        </p:txBody>
      </p:sp>
    </p:spTree>
    <p:extLst>
      <p:ext uri="{BB962C8B-B14F-4D97-AF65-F5344CB8AC3E}">
        <p14:creationId xmlns:p14="http://schemas.microsoft.com/office/powerpoint/2010/main" val="9685833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FUSSZEILE" val="October 2023   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eTm3QHDU5LbxrxaATl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heme/theme1.xml><?xml version="1.0" encoding="utf-8"?>
<a:theme xmlns:a="http://schemas.openxmlformats.org/drawingml/2006/main" name="Office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uer_Master_MPG_11022020.potx" id="{E5752118-EE05-4E4F-A145-59D6BA7FA0D0}" vid="{2E164B52-9EEA-4743-A142-5BC79C92C89C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EventReceiverItemAdded</Name>
    <Synchronization>Synchronous</Synchronization>
    <Type>10001</Type>
    <SequenceNumber>16000</SequenceNumber>
    <Url/>
    <Assembly>MPG.Intra20.Publishing, Version=1.0.0.0, Culture=neutral, PublicKeyToken=87bb4b3fa8c36758</Assembly>
    <Class>MPG.Intra20.Publishing.SharePoint.EventReceiver.DocumentEventReceiver.DocumentEventReceiv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MPG Dokument" ma:contentTypeID="0x0101004AB6DF3283EA4DF58212D22E9467034C0023A64271FE22DC48B2B99B2778455AED" ma:contentTypeVersion="120" ma:contentTypeDescription="Dokument Inhaltstyp" ma:contentTypeScope="" ma:versionID="d696d5158c1b6e19e7bfc46dcdfde08b">
  <xsd:schema xmlns:xsd="http://www.w3.org/2001/XMLSchema" xmlns:xs="http://www.w3.org/2001/XMLSchema" xmlns:p="http://schemas.microsoft.com/office/2006/metadata/properties" xmlns:ns1="http://schemas.microsoft.com/sharepoint/v3" xmlns:ns2="c6c67821-26bb-42f7-bdf8-5a2625b641ff" xmlns:ns3="16fc17a0-5841-4503-b789-375c05c557be" xmlns:ns4="d5cd22d4-9834-4042-9ffa-1de00a681b3d" targetNamespace="http://schemas.microsoft.com/office/2006/metadata/properties" ma:root="true" ma:fieldsID="86004261562d00cc3ea3cac2085063be" ns1:_="" ns2:_="" ns3:_="" ns4:_="">
    <xsd:import namespace="http://schemas.microsoft.com/sharepoint/v3"/>
    <xsd:import namespace="c6c67821-26bb-42f7-bdf8-5a2625b641ff"/>
    <xsd:import namespace="16fc17a0-5841-4503-b789-375c05c557be"/>
    <xsd:import namespace="d5cd22d4-9834-4042-9ffa-1de00a681b3d"/>
    <xsd:element name="properties">
      <xsd:complexType>
        <xsd:sequence>
          <xsd:element name="documentManagement">
            <xsd:complexType>
              <xsd:all>
                <xsd:element ref="ns1:mpgPLContentResponsible"/>
                <xsd:element ref="ns1:mpgPLPublishingDate" minOccurs="0"/>
                <xsd:element ref="ns1:mpgPLExpiryDate" minOccurs="0"/>
                <xsd:element ref="ns2:TaxKeywordTaxHTField" minOccurs="0"/>
                <xsd:element ref="ns1:mpgDocDocTypeTaxHTField" minOccurs="0"/>
                <xsd:element ref="ns2:TaxCatchAll" minOccurs="0"/>
                <xsd:element ref="ns2:TaxCatchAllLabel" minOccurs="0"/>
                <xsd:element ref="ns1:mpgDocTargetGroupTaxHTField" minOccurs="0"/>
                <xsd:element ref="ns1:mpgPLLanguageTaxHTField" minOccurs="0"/>
                <xsd:element ref="ns3:SharedWithUsers" minOccurs="0"/>
                <xsd:element ref="ns4:MaxPlanckJournalArchiv" minOccurs="0"/>
                <xsd:element ref="ns2:mpgDoc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mpgPLContentResponsible" ma:index="8" ma:displayName="Inhaltsverantwortliche*r" ma:description="" ma:list="UserInfo" ma:SharePointGroup="0" ma:internalName="mpgPLContentResponsib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PLPublishingDate" ma:index="9" nillable="true" ma:displayName="Veröffentlichungsdatum" ma:default="[TODAY]" ma:description="" ma:format="DateOnly" ma:internalName="mpgPLPublishingDate">
      <xsd:simpleType>
        <xsd:restriction base="dms:DateTime"/>
      </xsd:simpleType>
    </xsd:element>
    <xsd:element name="mpgPLExpiryDate" ma:index="10" nillable="true" ma:displayName="Ablaufdatum" ma:description="" ma:format="DateOnly" ma:internalName="mpgPLExpiryDate">
      <xsd:simpleType>
        <xsd:restriction base="dms:DateTime"/>
      </xsd:simpleType>
    </xsd:element>
    <xsd:element name="mpgDocDocTypeTaxHTField" ma:index="13" ma:taxonomy="true" ma:internalName="mpgDocDocTypeTaxHTField" ma:taxonomyFieldName="mpgDocDocType" ma:displayName="Art" ma:fieldId="{601dbd04-b693-439b-b28e-0b23f1dc2428}" ma:sspId="41004379-2ab6-411a-b317-f2f5ec94df92" ma:termSetId="e1711f15-461a-476e-9d7d-f02bebbaddb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DocTargetGroupTaxHTField" ma:index="17" ma:taxonomy="true" ma:internalName="mpgDocTargetGroupTaxHTField" ma:taxonomyFieldName="mpgDocTargetGroup" ma:displayName="Zielgruppe" ma:fieldId="{6ba75283-d0e7-4150-bb2c-741bb77c72d2}" ma:sspId="41004379-2ab6-411a-b317-f2f5ec94df92" ma:termSetId="54bc12ce-a5a6-4ae3-8b04-494423616de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PLLanguageTaxHTField" ma:index="19" ma:taxonomy="true" ma:internalName="mpgPLLanguageTaxHTField" ma:taxonomyFieldName="mpgPLLanguage" ma:displayName="Sprache" ma:fieldId="{b1679fa1-1b0d-44c5-99e4-91e3fdab4b26}" ma:sspId="41004379-2ab6-411a-b317-f2f5ec94df92" ma:termSetId="e30160ba-dae6-41a6-ae27-2318da01846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67821-26bb-42f7-bdf8-5a2625b641ff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Keywords" ma:fieldId="{23f27201-bee3-471e-b2e7-b64fd8b7ca38}" ma:taxonomyMulti="true" ma:sspId="41004379-2ab6-411a-b317-f2f5ec94df9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4" nillable="true" ma:displayName="Taxonomy Catch All Column" ma:description="" ma:hidden="true" ma:list="{d7fbe5fd-9a95-431e-af01-f63580c6228b}" ma:internalName="TaxCatchAll" ma:showField="CatchAllData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Taxonomy Catch All Column1" ma:description="" ma:hidden="true" ma:list="{d7fbe5fd-9a95-431e-af01-f63580c6228b}" ma:internalName="TaxCatchAllLabel" ma:readOnly="true" ma:showField="CatchAllDataLabel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mpgDocDescription" ma:index="24" nillable="true" ma:displayName="Description" ma:description="" ma:internalName="mpgDocDescription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fc17a0-5841-4503-b789-375c05c557be" elementFormDefault="qualified">
    <xsd:import namespace="http://schemas.microsoft.com/office/2006/documentManagement/types"/>
    <xsd:import namespace="http://schemas.microsoft.com/office/infopath/2007/PartnerControls"/>
    <xsd:element name="SharedWithUsers" ma:index="21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cd22d4-9834-4042-9ffa-1de00a681b3d" elementFormDefault="qualified">
    <xsd:import namespace="http://schemas.microsoft.com/office/2006/documentManagement/types"/>
    <xsd:import namespace="http://schemas.microsoft.com/office/infopath/2007/PartnerControls"/>
    <xsd:element name="MaxPlanckJournalArchiv" ma:index="22" nillable="true" ma:displayName="MaxPlanckJournalArchiv" ma:default="0" ma:internalName="MaxPlanckJournalArchiv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pgDocDescription xmlns="c6c67821-26bb-42f7-bdf8-5a2625b641ff">Presentation/slides (PPT) with general and recent facts and figures on the Max Planck Society.</mpgDocDescription>
    <mpgPLPublishingDate xmlns="http://schemas.microsoft.com/sharepoint/v3">2020-02-03T23:00:00+00:00</mpgPLPublishingDate>
    <mpgPLContentResponsible xmlns="http://schemas.microsoft.com/sharepoint/v3">
      <UserInfo>
        <DisplayName>i:0e.t|sso-gv|057328</DisplayName>
        <AccountId>493</AccountId>
        <AccountType/>
      </UserInfo>
    </mpgPLContentResponsible>
    <mpgDocTargetGroup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GV</TermName>
          <TermId xmlns="http://schemas.microsoft.com/office/infopath/2007/PartnerControls">57c45585-e7ac-4fd7-9240-3f1dcd05ca05</TermId>
        </TermInfo>
      </Terms>
    </mpgDocTargetGroupTaxHTField>
    <TaxCatchAll xmlns="c6c67821-26bb-42f7-bdf8-5a2625b641ff">
      <Value>9</Value>
      <Value>2798</Value>
      <Value>2</Value>
    </TaxCatchAll>
    <mpgPLExpiryDate xmlns="http://schemas.microsoft.com/sharepoint/v3" xsi:nil="true"/>
    <mpgPLLanguage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eutsch</TermName>
          <TermId xmlns="http://schemas.microsoft.com/office/infopath/2007/PartnerControls">44abdae6-0e73-433a-aa95-162c84ae1ca9</TermId>
        </TermInfo>
      </Terms>
    </mpgPLLanguageTaxHTField>
    <MaxPlanckJournalArchiv xmlns="d5cd22d4-9834-4042-9ffa-1de00a681b3d">false</MaxPlanckJournalArchiv>
    <TaxKeywordTaxHTField xmlns="c6c67821-26bb-42f7-bdf8-5a2625b641ff">
      <Terms xmlns="http://schemas.microsoft.com/office/infopath/2007/PartnerControls"/>
    </TaxKeywordTaxHTField>
    <mpgDocDocType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äsentation</TermName>
          <TermId xmlns="http://schemas.microsoft.com/office/infopath/2007/PartnerControls">dc2b1f02-b75a-443e-b17e-512d033543e3</TermId>
        </TermInfo>
      </Terms>
    </mpgDocDocTypeTaxHTField>
  </documentManagement>
</p:properties>
</file>

<file path=customXml/itemProps1.xml><?xml version="1.0" encoding="utf-8"?>
<ds:datastoreItem xmlns:ds="http://schemas.openxmlformats.org/officeDocument/2006/customXml" ds:itemID="{928933F7-A132-4105-9848-172E0511BB0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8BC675-436F-4C51-9ED0-7C8F8DBE2094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F9A92EBB-B46C-480D-83AD-548B4A0E0F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6c67821-26bb-42f7-bdf8-5a2625b641ff"/>
    <ds:schemaRef ds:uri="16fc17a0-5841-4503-b789-375c05c557be"/>
    <ds:schemaRef ds:uri="d5cd22d4-9834-4042-9ffa-1de00a681b3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4A56C827-7751-4E85-9AB1-32E2AFC29232}">
  <ds:schemaRefs>
    <ds:schemaRef ds:uri="d5cd22d4-9834-4042-9ffa-1de00a681b3d"/>
    <ds:schemaRef ds:uri="http://purl.org/dc/terms/"/>
    <ds:schemaRef ds:uri="http://purl.org/dc/elements/1.1/"/>
    <ds:schemaRef ds:uri="http://schemas.microsoft.com/office/2006/documentManagement/types"/>
    <ds:schemaRef ds:uri="16fc17a0-5841-4503-b789-375c05c557be"/>
    <ds:schemaRef ds:uri="http://schemas.microsoft.com/sharepoint/v3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c6c67821-26bb-42f7-bdf8-5a2625b641ff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18</Words>
  <Application>Microsoft Office PowerPoint</Application>
  <PresentationFormat>Breitbild</PresentationFormat>
  <Paragraphs>341</Paragraphs>
  <Slides>2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4</vt:i4>
      </vt:variant>
    </vt:vector>
  </HeadingPairs>
  <TitlesOfParts>
    <vt:vector size="34" baseType="lpstr">
      <vt:lpstr>ＭＳ Ｐゴシック</vt:lpstr>
      <vt:lpstr>.SF NS Symbols Regular</vt:lpstr>
      <vt:lpstr>Arial</vt:lpstr>
      <vt:lpstr>Calibri</vt:lpstr>
      <vt:lpstr>Symbol</vt:lpstr>
      <vt:lpstr>Wingdings</vt:lpstr>
      <vt:lpstr>Wingdings 3</vt:lpstr>
      <vt:lpstr>Office</vt:lpstr>
      <vt:lpstr>think-cell Folie</vt:lpstr>
      <vt:lpstr>think-cell Slide</vt:lpstr>
      <vt:lpstr>Max-Planck-Gesellschaft</vt:lpstr>
      <vt:lpstr>Quick facts</vt:lpstr>
      <vt:lpstr>Max Planck Society – founded in 1948 </vt:lpstr>
      <vt:lpstr>Mission and Guiding Principles</vt:lpstr>
      <vt:lpstr>31 Nobel Prize Laureates</vt:lpstr>
      <vt:lpstr>8 Nobel prize Laureates </vt:lpstr>
      <vt:lpstr>Sites of Max Planck Institutes &amp; ASSOCIATED INSTITUTES 10/2023</vt:lpstr>
      <vt:lpstr>Organizational structure of the Max Planck Society An independent, non-profit research organization and a registered association. </vt:lpstr>
      <vt:lpstr>Research knows no Boundaries</vt:lpstr>
      <vt:lpstr>MAX PLANCK CENTERs AND PARTNER INSTITUTES 03/2022</vt:lpstr>
      <vt:lpstr>INTERNATIONAL BACKGROUND of Max Planck Scientific Staff as per 31.12.2022; without Florida, Luxemburg, ESI      </vt:lpstr>
      <vt:lpstr>International COLLABORATION   Instruments und Infrastructure (4/2023)</vt:lpstr>
      <vt:lpstr>Max Planck Principles Each Max Planck Institute / each Director </vt:lpstr>
      <vt:lpstr>Equal Opportunities Programmes</vt:lpstr>
      <vt:lpstr>Lise Meitner ExCellence program Recruiting and promoting exceptionally qualified female scientists</vt:lpstr>
      <vt:lpstr>Career Perspectives: Max Planck Research Group Leaders Where do they go?  </vt:lpstr>
      <vt:lpstr>SCIENTIFIC Sections</vt:lpstr>
      <vt:lpstr>Biology and Medicine Section </vt:lpstr>
      <vt:lpstr>Chemistry, Physics and Technology Section </vt:lpstr>
      <vt:lpstr>Human Sciences Section</vt:lpstr>
      <vt:lpstr>IMPRS – InternationAl Max Planck Research Schools 69 IMPRS with more than 3.000 PhD students (01/2023) </vt:lpstr>
      <vt:lpstr>IMPRS Locations 69 IMPRS (as per 01/2023)</vt:lpstr>
      <vt:lpstr>Evaluation Procedures Ex-Post Evaluation </vt:lpstr>
      <vt:lpstr>Many Thanks for your Attention! Please contact us if you have any questions.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lija Budimlic</dc:creator>
  <cp:keywords/>
  <cp:lastModifiedBy>Dalija Budimlic</cp:lastModifiedBy>
  <cp:revision>72</cp:revision>
  <dcterms:created xsi:type="dcterms:W3CDTF">2020-02-11T08:20:15Z</dcterms:created>
  <dcterms:modified xsi:type="dcterms:W3CDTF">2023-10-04T10:0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mpgDocTargetGroup">
    <vt:lpwstr>2;#GV|57c45585-e7ac-4fd7-9240-3f1dcd05ca05</vt:lpwstr>
  </property>
  <property fmtid="{D5CDD505-2E9C-101B-9397-08002B2CF9AE}" pid="4" name="mpgDocDocType">
    <vt:lpwstr>2798;#Präsentation|dc2b1f02-b75a-443e-b17e-512d033543e3</vt:lpwstr>
  </property>
  <property fmtid="{D5CDD505-2E9C-101B-9397-08002B2CF9AE}" pid="5" name="ContentTypeId">
    <vt:lpwstr>0x0101004AB6DF3283EA4DF58212D22E9467034C0023A64271FE22DC48B2B99B2778455AED</vt:lpwstr>
  </property>
  <property fmtid="{D5CDD505-2E9C-101B-9397-08002B2CF9AE}" pid="6" name="mpgPLLanguage">
    <vt:lpwstr>9;#deutsch|44abdae6-0e73-433a-aa95-162c84ae1ca9</vt:lpwstr>
  </property>
</Properties>
</file>